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8" r:id="rId2"/>
    <p:sldId id="257" r:id="rId3"/>
  </p:sldIdLst>
  <p:sldSz cx="6858000" cy="9906000" type="A4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F8FE"/>
    <a:srgbClr val="0F1890"/>
    <a:srgbClr val="5DB0EE"/>
    <a:srgbClr val="A1B4E3"/>
    <a:srgbClr val="FFFFFF"/>
    <a:srgbClr val="191925"/>
    <a:srgbClr val="6DA0FC"/>
    <a:srgbClr val="FFCB3E"/>
    <a:srgbClr val="708CD5"/>
    <a:srgbClr val="1F3C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80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415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ya Muthukrishnan" userId="b537101c-71db-48f5-9a07-607ebb71d678" providerId="ADAL" clId="{CFAA400D-4EEF-4639-A268-AEE0C86E6FD1}"/>
    <pc:docChg chg="modSld">
      <pc:chgData name="Ramya Muthukrishnan" userId="b537101c-71db-48f5-9a07-607ebb71d678" providerId="ADAL" clId="{CFAA400D-4EEF-4639-A268-AEE0C86E6FD1}" dt="2023-03-25T12:20:10.246" v="0" actId="207"/>
      <pc:docMkLst>
        <pc:docMk/>
      </pc:docMkLst>
      <pc:sldChg chg="modSp mod">
        <pc:chgData name="Ramya Muthukrishnan" userId="b537101c-71db-48f5-9a07-607ebb71d678" providerId="ADAL" clId="{CFAA400D-4EEF-4639-A268-AEE0C86E6FD1}" dt="2023-03-25T12:20:10.246" v="0" actId="207"/>
        <pc:sldMkLst>
          <pc:docMk/>
          <pc:sldMk cId="1165238629" sldId="258"/>
        </pc:sldMkLst>
        <pc:spChg chg="mod">
          <ac:chgData name="Ramya Muthukrishnan" userId="b537101c-71db-48f5-9a07-607ebb71d678" providerId="ADAL" clId="{CFAA400D-4EEF-4639-A268-AEE0C86E6FD1}" dt="2023-03-25T12:20:10.246" v="0" actId="207"/>
          <ac:spMkLst>
            <pc:docMk/>
            <pc:sldMk cId="1165238629" sldId="258"/>
            <ac:spMk id="2" creationId="{159B1C3A-0C9D-763A-F0C6-D508B2E20466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5597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817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038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5075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925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8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779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238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687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5211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373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15C64CC-CF87-C4E0-941E-AF53D1DA1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84587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15C64CC-CF87-C4E0-941E-AF53D1DA1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7DF7B8-38D5-4C0F-AA11-61B7D3C6F490}" type="datetimeFigureOut">
              <a:rPr lang="en-US" smtClean="0"/>
              <a:t>3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974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BD19F8-B87D-3B75-C7A6-30A65A14E4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138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BD19F8-B87D-3B75-C7A6-30A65A14E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59B1C3A-0C9D-763A-F0C6-D508B2E20466}"/>
              </a:ext>
            </a:extLst>
          </p:cNvPr>
          <p:cNvSpPr/>
          <p:nvPr/>
        </p:nvSpPr>
        <p:spPr>
          <a:xfrm>
            <a:off x="1" y="0"/>
            <a:ext cx="6858000" cy="9906000"/>
          </a:xfrm>
          <a:prstGeom prst="rect">
            <a:avLst/>
          </a:prstGeom>
          <a:solidFill>
            <a:srgbClr val="E9F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3" name="Rectangle: Rounded Corners 752">
            <a:extLst>
              <a:ext uri="{FF2B5EF4-FFF2-40B4-BE49-F238E27FC236}">
                <a16:creationId xmlns:a16="http://schemas.microsoft.com/office/drawing/2014/main" id="{A8769F2D-4C07-F571-224B-1AF820FB8807}"/>
              </a:ext>
            </a:extLst>
          </p:cNvPr>
          <p:cNvSpPr/>
          <p:nvPr/>
        </p:nvSpPr>
        <p:spPr>
          <a:xfrm>
            <a:off x="133800" y="145667"/>
            <a:ext cx="6590403" cy="9614666"/>
          </a:xfrm>
          <a:prstGeom prst="roundRect">
            <a:avLst>
              <a:gd name="adj" fmla="val 2572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2883722-0297-93B3-80F5-6C544366D11B}"/>
              </a:ext>
            </a:extLst>
          </p:cNvPr>
          <p:cNvSpPr/>
          <p:nvPr/>
        </p:nvSpPr>
        <p:spPr>
          <a:xfrm flipH="1" flipV="1">
            <a:off x="4655379" y="7722297"/>
            <a:ext cx="2068824" cy="2038036"/>
          </a:xfrm>
          <a:custGeom>
            <a:avLst/>
            <a:gdLst>
              <a:gd name="connsiteX0" fmla="*/ 2652948 w 3689395"/>
              <a:gd name="connsiteY0" fmla="*/ 0 h 3634488"/>
              <a:gd name="connsiteX1" fmla="*/ 3450944 w 3689395"/>
              <a:gd name="connsiteY1" fmla="*/ 0 h 3634488"/>
              <a:gd name="connsiteX2" fmla="*/ 3488176 w 3689395"/>
              <a:gd name="connsiteY2" fmla="*/ 77290 h 3634488"/>
              <a:gd name="connsiteX3" fmla="*/ 3689395 w 3689395"/>
              <a:gd name="connsiteY3" fmla="*/ 1073962 h 3634488"/>
              <a:gd name="connsiteX4" fmla="*/ 1128869 w 3689395"/>
              <a:gd name="connsiteY4" fmla="*/ 3634488 h 3634488"/>
              <a:gd name="connsiteX5" fmla="*/ 132197 w 3689395"/>
              <a:gd name="connsiteY5" fmla="*/ 3433269 h 3634488"/>
              <a:gd name="connsiteX6" fmla="*/ 0 w 3689395"/>
              <a:gd name="connsiteY6" fmla="*/ 3369587 h 3634488"/>
              <a:gd name="connsiteX7" fmla="*/ 0 w 3689395"/>
              <a:gd name="connsiteY7" fmla="*/ 2556982 h 3634488"/>
              <a:gd name="connsiteX8" fmla="*/ 85709 w 3689395"/>
              <a:gd name="connsiteY8" fmla="*/ 2621074 h 3634488"/>
              <a:gd name="connsiteX9" fmla="*/ 1128869 w 3689395"/>
              <a:gd name="connsiteY9" fmla="*/ 2939715 h 3634488"/>
              <a:gd name="connsiteX10" fmla="*/ 2994622 w 3689395"/>
              <a:gd name="connsiteY10" fmla="*/ 1073962 h 3634488"/>
              <a:gd name="connsiteX11" fmla="*/ 2675981 w 3689395"/>
              <a:gd name="connsiteY11" fmla="*/ 30802 h 3634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9395" h="3634488">
                <a:moveTo>
                  <a:pt x="2652948" y="0"/>
                </a:moveTo>
                <a:lnTo>
                  <a:pt x="3450944" y="0"/>
                </a:lnTo>
                <a:lnTo>
                  <a:pt x="3488176" y="77290"/>
                </a:lnTo>
                <a:cubicBezTo>
                  <a:pt x="3617746" y="383627"/>
                  <a:pt x="3689395" y="720427"/>
                  <a:pt x="3689395" y="1073962"/>
                </a:cubicBezTo>
                <a:cubicBezTo>
                  <a:pt x="3689395" y="2488101"/>
                  <a:pt x="2543008" y="3634488"/>
                  <a:pt x="1128869" y="3634488"/>
                </a:cubicBezTo>
                <a:cubicBezTo>
                  <a:pt x="775334" y="3634488"/>
                  <a:pt x="438534" y="3562839"/>
                  <a:pt x="132197" y="3433269"/>
                </a:cubicBezTo>
                <a:lnTo>
                  <a:pt x="0" y="3369587"/>
                </a:lnTo>
                <a:lnTo>
                  <a:pt x="0" y="2556982"/>
                </a:lnTo>
                <a:lnTo>
                  <a:pt x="85709" y="2621074"/>
                </a:lnTo>
                <a:cubicBezTo>
                  <a:pt x="383485" y="2822247"/>
                  <a:pt x="742459" y="2939715"/>
                  <a:pt x="1128869" y="2939715"/>
                </a:cubicBezTo>
                <a:cubicBezTo>
                  <a:pt x="2159296" y="2939715"/>
                  <a:pt x="2994622" y="2104389"/>
                  <a:pt x="2994622" y="1073962"/>
                </a:cubicBezTo>
                <a:cubicBezTo>
                  <a:pt x="2994622" y="687552"/>
                  <a:pt x="2877154" y="328578"/>
                  <a:pt x="2675981" y="30802"/>
                </a:cubicBezTo>
                <a:close/>
              </a:path>
            </a:pathLst>
          </a:custGeom>
          <a:solidFill>
            <a:srgbClr val="E9F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F5F1706-59A3-D6D4-40B9-F6A933033F7F}"/>
              </a:ext>
            </a:extLst>
          </p:cNvPr>
          <p:cNvSpPr/>
          <p:nvPr/>
        </p:nvSpPr>
        <p:spPr>
          <a:xfrm>
            <a:off x="133801" y="145667"/>
            <a:ext cx="3689395" cy="3634488"/>
          </a:xfrm>
          <a:custGeom>
            <a:avLst/>
            <a:gdLst>
              <a:gd name="connsiteX0" fmla="*/ 2652948 w 3689395"/>
              <a:gd name="connsiteY0" fmla="*/ 0 h 3634488"/>
              <a:gd name="connsiteX1" fmla="*/ 3450944 w 3689395"/>
              <a:gd name="connsiteY1" fmla="*/ 0 h 3634488"/>
              <a:gd name="connsiteX2" fmla="*/ 3488176 w 3689395"/>
              <a:gd name="connsiteY2" fmla="*/ 77290 h 3634488"/>
              <a:gd name="connsiteX3" fmla="*/ 3689395 w 3689395"/>
              <a:gd name="connsiteY3" fmla="*/ 1073962 h 3634488"/>
              <a:gd name="connsiteX4" fmla="*/ 1128869 w 3689395"/>
              <a:gd name="connsiteY4" fmla="*/ 3634488 h 3634488"/>
              <a:gd name="connsiteX5" fmla="*/ 132197 w 3689395"/>
              <a:gd name="connsiteY5" fmla="*/ 3433269 h 3634488"/>
              <a:gd name="connsiteX6" fmla="*/ 0 w 3689395"/>
              <a:gd name="connsiteY6" fmla="*/ 3369587 h 3634488"/>
              <a:gd name="connsiteX7" fmla="*/ 0 w 3689395"/>
              <a:gd name="connsiteY7" fmla="*/ 2556982 h 3634488"/>
              <a:gd name="connsiteX8" fmla="*/ 85709 w 3689395"/>
              <a:gd name="connsiteY8" fmla="*/ 2621074 h 3634488"/>
              <a:gd name="connsiteX9" fmla="*/ 1128869 w 3689395"/>
              <a:gd name="connsiteY9" fmla="*/ 2939715 h 3634488"/>
              <a:gd name="connsiteX10" fmla="*/ 2994622 w 3689395"/>
              <a:gd name="connsiteY10" fmla="*/ 1073962 h 3634488"/>
              <a:gd name="connsiteX11" fmla="*/ 2675981 w 3689395"/>
              <a:gd name="connsiteY11" fmla="*/ 30802 h 3634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9395" h="3634488">
                <a:moveTo>
                  <a:pt x="2652948" y="0"/>
                </a:moveTo>
                <a:lnTo>
                  <a:pt x="3450944" y="0"/>
                </a:lnTo>
                <a:lnTo>
                  <a:pt x="3488176" y="77290"/>
                </a:lnTo>
                <a:cubicBezTo>
                  <a:pt x="3617746" y="383627"/>
                  <a:pt x="3689395" y="720427"/>
                  <a:pt x="3689395" y="1073962"/>
                </a:cubicBezTo>
                <a:cubicBezTo>
                  <a:pt x="3689395" y="2488101"/>
                  <a:pt x="2543008" y="3634488"/>
                  <a:pt x="1128869" y="3634488"/>
                </a:cubicBezTo>
                <a:cubicBezTo>
                  <a:pt x="775334" y="3634488"/>
                  <a:pt x="438534" y="3562839"/>
                  <a:pt x="132197" y="3433269"/>
                </a:cubicBezTo>
                <a:lnTo>
                  <a:pt x="0" y="3369587"/>
                </a:lnTo>
                <a:lnTo>
                  <a:pt x="0" y="2556982"/>
                </a:lnTo>
                <a:lnTo>
                  <a:pt x="85709" y="2621074"/>
                </a:lnTo>
                <a:cubicBezTo>
                  <a:pt x="383485" y="2822247"/>
                  <a:pt x="742459" y="2939715"/>
                  <a:pt x="1128869" y="2939715"/>
                </a:cubicBezTo>
                <a:cubicBezTo>
                  <a:pt x="2159296" y="2939715"/>
                  <a:pt x="2994622" y="2104389"/>
                  <a:pt x="2994622" y="1073962"/>
                </a:cubicBezTo>
                <a:cubicBezTo>
                  <a:pt x="2994622" y="687552"/>
                  <a:pt x="2877154" y="328578"/>
                  <a:pt x="2675981" y="30802"/>
                </a:cubicBezTo>
                <a:close/>
              </a:path>
            </a:pathLst>
          </a:custGeom>
          <a:solidFill>
            <a:srgbClr val="E9F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222A39-5E85-03E6-D4B3-1CFB2E975927}"/>
              </a:ext>
            </a:extLst>
          </p:cNvPr>
          <p:cNvSpPr txBox="1"/>
          <p:nvPr/>
        </p:nvSpPr>
        <p:spPr>
          <a:xfrm>
            <a:off x="353785" y="4906161"/>
            <a:ext cx="3327042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IN" sz="3600" b="1" dirty="0">
                <a:latin typeface="Montserrat" panose="00000800000000000000" pitchFamily="50" charset="0"/>
              </a:rPr>
              <a:t>WHO SHOULD USE </a:t>
            </a:r>
            <a:r>
              <a:rPr lang="en-IN" sz="3600" b="1" dirty="0">
                <a:solidFill>
                  <a:srgbClr val="0F1890"/>
                </a:solidFill>
                <a:latin typeface="Montserrat" panose="00000800000000000000" pitchFamily="50" charset="0"/>
              </a:rPr>
              <a:t>FINANCIAL MODELLING?</a:t>
            </a:r>
            <a:endParaRPr lang="en-US" sz="3600" b="1" dirty="0">
              <a:solidFill>
                <a:srgbClr val="0F1890"/>
              </a:solidFill>
              <a:latin typeface="Montserrat" panose="00000800000000000000" pitchFamily="50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274778E-889A-4DBB-BC55-5FD98D0AA7C4}"/>
              </a:ext>
            </a:extLst>
          </p:cNvPr>
          <p:cNvSpPr txBox="1"/>
          <p:nvPr/>
        </p:nvSpPr>
        <p:spPr>
          <a:xfrm>
            <a:off x="353785" y="8097740"/>
            <a:ext cx="3160124" cy="13378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IN" sz="1600" dirty="0">
                <a:latin typeface="Roboto" panose="02000000000000000000" pitchFamily="2" charset="0"/>
                <a:ea typeface="Roboto" panose="02000000000000000000" pitchFamily="2" charset="0"/>
              </a:rPr>
              <a:t>The only essential prerequisite is a clear understanding of the financial investments so that you can start plugging in the numbers &amp; building your forecast.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8AB236-CF76-A9D9-2066-987937E3673F}"/>
              </a:ext>
            </a:extLst>
          </p:cNvPr>
          <p:cNvSpPr txBox="1"/>
          <p:nvPr/>
        </p:nvSpPr>
        <p:spPr>
          <a:xfrm>
            <a:off x="353785" y="7309956"/>
            <a:ext cx="3160124" cy="525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IN" sz="1600" dirty="0">
                <a:latin typeface="Roboto" panose="02000000000000000000" pitchFamily="2" charset="0"/>
                <a:ea typeface="Roboto" panose="02000000000000000000" pitchFamily="2" charset="0"/>
              </a:rPr>
              <a:t>Financial modelling serves a wide range of people &amp; industries. 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891809F4-EF05-450B-9192-07DEAFEC9364}"/>
              </a:ext>
            </a:extLst>
          </p:cNvPr>
          <p:cNvSpPr/>
          <p:nvPr/>
        </p:nvSpPr>
        <p:spPr>
          <a:xfrm>
            <a:off x="4199520" y="1174126"/>
            <a:ext cx="591765" cy="589630"/>
          </a:xfrm>
          <a:custGeom>
            <a:avLst/>
            <a:gdLst>
              <a:gd name="connsiteX0" fmla="*/ 1000133 w 1001578"/>
              <a:gd name="connsiteY0" fmla="*/ 0 h 997965"/>
              <a:gd name="connsiteX1" fmla="*/ 1001579 w 1001578"/>
              <a:gd name="connsiteY1" fmla="*/ 996520 h 997965"/>
              <a:gd name="connsiteX2" fmla="*/ 1445 w 1001578"/>
              <a:gd name="connsiteY2" fmla="*/ 997965 h 997965"/>
              <a:gd name="connsiteX3" fmla="*/ 0 w 1001578"/>
              <a:gd name="connsiteY3" fmla="*/ 1445 h 997965"/>
              <a:gd name="connsiteX4" fmla="*/ 1000133 w 1001578"/>
              <a:gd name="connsiteY4" fmla="*/ 0 h 997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78" h="997965">
                <a:moveTo>
                  <a:pt x="1000133" y="0"/>
                </a:moveTo>
                <a:cubicBezTo>
                  <a:pt x="648313" y="352837"/>
                  <a:pt x="648742" y="644722"/>
                  <a:pt x="1001579" y="996520"/>
                </a:cubicBezTo>
                <a:lnTo>
                  <a:pt x="1445" y="997965"/>
                </a:lnTo>
                <a:cubicBezTo>
                  <a:pt x="353266" y="645129"/>
                  <a:pt x="352837" y="353243"/>
                  <a:pt x="0" y="1445"/>
                </a:cubicBezTo>
                <a:lnTo>
                  <a:pt x="1000133" y="0"/>
                </a:lnTo>
                <a:close/>
              </a:path>
            </a:pathLst>
          </a:custGeom>
          <a:solidFill>
            <a:srgbClr val="0F1890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85E09DFE-C8E1-49A8-A762-2BE438F3A7CF}"/>
              </a:ext>
            </a:extLst>
          </p:cNvPr>
          <p:cNvSpPr/>
          <p:nvPr/>
        </p:nvSpPr>
        <p:spPr>
          <a:xfrm>
            <a:off x="4076700" y="461262"/>
            <a:ext cx="835671" cy="835670"/>
          </a:xfrm>
          <a:custGeom>
            <a:avLst/>
            <a:gdLst>
              <a:gd name="connsiteX0" fmla="*/ 0 w 1414396"/>
              <a:gd name="connsiteY0" fmla="*/ 707187 h 1414395"/>
              <a:gd name="connsiteX1" fmla="*/ 707209 w 1414396"/>
              <a:gd name="connsiteY1" fmla="*/ 1414396 h 1414395"/>
              <a:gd name="connsiteX2" fmla="*/ 1414396 w 1414396"/>
              <a:gd name="connsiteY2" fmla="*/ 707187 h 1414395"/>
              <a:gd name="connsiteX3" fmla="*/ 1024162 w 1414396"/>
              <a:gd name="connsiteY3" fmla="*/ 74840 h 1414395"/>
              <a:gd name="connsiteX4" fmla="*/ 869875 w 1414396"/>
              <a:gd name="connsiteY4" fmla="*/ 18812 h 1414395"/>
              <a:gd name="connsiteX5" fmla="*/ 707209 w 1414396"/>
              <a:gd name="connsiteY5" fmla="*/ 0 h 1414395"/>
              <a:gd name="connsiteX6" fmla="*/ 0 w 1414396"/>
              <a:gd name="connsiteY6" fmla="*/ 707187 h 1414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396" h="1414395">
                <a:moveTo>
                  <a:pt x="0" y="707187"/>
                </a:moveTo>
                <a:cubicBezTo>
                  <a:pt x="0" y="1097782"/>
                  <a:pt x="316614" y="1414396"/>
                  <a:pt x="707209" y="1414396"/>
                </a:cubicBezTo>
                <a:cubicBezTo>
                  <a:pt x="1097782" y="1414396"/>
                  <a:pt x="1414396" y="1097782"/>
                  <a:pt x="1414396" y="707187"/>
                </a:cubicBezTo>
                <a:cubicBezTo>
                  <a:pt x="1414396" y="430568"/>
                  <a:pt x="1255570" y="191052"/>
                  <a:pt x="1024162" y="74840"/>
                </a:cubicBezTo>
                <a:cubicBezTo>
                  <a:pt x="975654" y="50473"/>
                  <a:pt x="923961" y="31503"/>
                  <a:pt x="869875" y="18812"/>
                </a:cubicBezTo>
                <a:cubicBezTo>
                  <a:pt x="817685" y="6504"/>
                  <a:pt x="763193" y="0"/>
                  <a:pt x="707209" y="0"/>
                </a:cubicBezTo>
                <a:cubicBezTo>
                  <a:pt x="316614" y="0"/>
                  <a:pt x="0" y="316614"/>
                  <a:pt x="0" y="707187"/>
                </a:cubicBezTo>
                <a:close/>
              </a:path>
            </a:pathLst>
          </a:custGeom>
          <a:solidFill>
            <a:srgbClr val="0F1890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04DAB35-D9AC-4020-A0DD-99B03621254E}"/>
              </a:ext>
            </a:extLst>
          </p:cNvPr>
          <p:cNvSpPr/>
          <p:nvPr/>
        </p:nvSpPr>
        <p:spPr>
          <a:xfrm>
            <a:off x="4179720" y="564282"/>
            <a:ext cx="629632" cy="629645"/>
          </a:xfrm>
          <a:custGeom>
            <a:avLst/>
            <a:gdLst>
              <a:gd name="connsiteX0" fmla="*/ 0 w 1065669"/>
              <a:gd name="connsiteY0" fmla="*/ 532846 h 1065691"/>
              <a:gd name="connsiteX1" fmla="*/ 532846 w 1065669"/>
              <a:gd name="connsiteY1" fmla="*/ 1065692 h 1065691"/>
              <a:gd name="connsiteX2" fmla="*/ 1065669 w 1065669"/>
              <a:gd name="connsiteY2" fmla="*/ 532846 h 1065691"/>
              <a:gd name="connsiteX3" fmla="*/ 771661 w 1065669"/>
              <a:gd name="connsiteY3" fmla="*/ 56412 h 1065691"/>
              <a:gd name="connsiteX4" fmla="*/ 655427 w 1065669"/>
              <a:gd name="connsiteY4" fmla="*/ 14182 h 1065691"/>
              <a:gd name="connsiteX5" fmla="*/ 532869 w 1065669"/>
              <a:gd name="connsiteY5" fmla="*/ 0 h 1065691"/>
              <a:gd name="connsiteX6" fmla="*/ 0 w 1065669"/>
              <a:gd name="connsiteY6" fmla="*/ 532846 h 10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5669" h="1065691">
                <a:moveTo>
                  <a:pt x="0" y="532846"/>
                </a:moveTo>
                <a:cubicBezTo>
                  <a:pt x="0" y="827125"/>
                  <a:pt x="238544" y="1065692"/>
                  <a:pt x="532846" y="1065692"/>
                </a:cubicBezTo>
                <a:cubicBezTo>
                  <a:pt x="827125" y="1065692"/>
                  <a:pt x="1065669" y="827148"/>
                  <a:pt x="1065669" y="532846"/>
                </a:cubicBezTo>
                <a:cubicBezTo>
                  <a:pt x="1065669" y="324427"/>
                  <a:pt x="946002" y="143967"/>
                  <a:pt x="771661" y="56412"/>
                </a:cubicBezTo>
                <a:cubicBezTo>
                  <a:pt x="735122" y="38052"/>
                  <a:pt x="696166" y="23757"/>
                  <a:pt x="655427" y="14182"/>
                </a:cubicBezTo>
                <a:cubicBezTo>
                  <a:pt x="616087" y="4901"/>
                  <a:pt x="575031" y="0"/>
                  <a:pt x="532869" y="0"/>
                </a:cubicBezTo>
                <a:cubicBezTo>
                  <a:pt x="238567" y="0"/>
                  <a:pt x="0" y="238567"/>
                  <a:pt x="0" y="532846"/>
                </a:cubicBezTo>
                <a:close/>
              </a:path>
            </a:pathLst>
          </a:custGeom>
          <a:solidFill>
            <a:schemeClr val="bg1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A57DB83C-6751-4562-B0EE-3778FB447E1E}"/>
              </a:ext>
            </a:extLst>
          </p:cNvPr>
          <p:cNvSpPr/>
          <p:nvPr/>
        </p:nvSpPr>
        <p:spPr>
          <a:xfrm>
            <a:off x="4199520" y="2344683"/>
            <a:ext cx="591765" cy="589630"/>
          </a:xfrm>
          <a:custGeom>
            <a:avLst/>
            <a:gdLst>
              <a:gd name="connsiteX0" fmla="*/ 1000133 w 1001578"/>
              <a:gd name="connsiteY0" fmla="*/ 0 h 997965"/>
              <a:gd name="connsiteX1" fmla="*/ 1001579 w 1001578"/>
              <a:gd name="connsiteY1" fmla="*/ 996520 h 997965"/>
              <a:gd name="connsiteX2" fmla="*/ 1445 w 1001578"/>
              <a:gd name="connsiteY2" fmla="*/ 997965 h 997965"/>
              <a:gd name="connsiteX3" fmla="*/ 0 w 1001578"/>
              <a:gd name="connsiteY3" fmla="*/ 1445 h 997965"/>
              <a:gd name="connsiteX4" fmla="*/ 1000133 w 1001578"/>
              <a:gd name="connsiteY4" fmla="*/ 0 h 997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78" h="997965">
                <a:moveTo>
                  <a:pt x="1000133" y="0"/>
                </a:moveTo>
                <a:cubicBezTo>
                  <a:pt x="648313" y="352837"/>
                  <a:pt x="648742" y="644722"/>
                  <a:pt x="1001579" y="996520"/>
                </a:cubicBezTo>
                <a:lnTo>
                  <a:pt x="1445" y="997965"/>
                </a:lnTo>
                <a:cubicBezTo>
                  <a:pt x="353266" y="645129"/>
                  <a:pt x="352837" y="353243"/>
                  <a:pt x="0" y="1445"/>
                </a:cubicBezTo>
                <a:lnTo>
                  <a:pt x="1000133" y="0"/>
                </a:lnTo>
                <a:close/>
              </a:path>
            </a:pathLst>
          </a:custGeom>
          <a:solidFill>
            <a:srgbClr val="5DB0EE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1899D0C2-DCA1-427E-A661-C759B2A1FCA2}"/>
              </a:ext>
            </a:extLst>
          </p:cNvPr>
          <p:cNvSpPr/>
          <p:nvPr/>
        </p:nvSpPr>
        <p:spPr>
          <a:xfrm>
            <a:off x="4076700" y="1639322"/>
            <a:ext cx="835671" cy="835670"/>
          </a:xfrm>
          <a:custGeom>
            <a:avLst/>
            <a:gdLst>
              <a:gd name="connsiteX0" fmla="*/ 0 w 1414396"/>
              <a:gd name="connsiteY0" fmla="*/ 707187 h 1414395"/>
              <a:gd name="connsiteX1" fmla="*/ 707209 w 1414396"/>
              <a:gd name="connsiteY1" fmla="*/ 1414396 h 1414395"/>
              <a:gd name="connsiteX2" fmla="*/ 1414396 w 1414396"/>
              <a:gd name="connsiteY2" fmla="*/ 707187 h 1414395"/>
              <a:gd name="connsiteX3" fmla="*/ 1024162 w 1414396"/>
              <a:gd name="connsiteY3" fmla="*/ 74840 h 1414395"/>
              <a:gd name="connsiteX4" fmla="*/ 869875 w 1414396"/>
              <a:gd name="connsiteY4" fmla="*/ 18812 h 1414395"/>
              <a:gd name="connsiteX5" fmla="*/ 707209 w 1414396"/>
              <a:gd name="connsiteY5" fmla="*/ 0 h 1414395"/>
              <a:gd name="connsiteX6" fmla="*/ 0 w 1414396"/>
              <a:gd name="connsiteY6" fmla="*/ 707187 h 1414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396" h="1414395">
                <a:moveTo>
                  <a:pt x="0" y="707187"/>
                </a:moveTo>
                <a:cubicBezTo>
                  <a:pt x="0" y="1097782"/>
                  <a:pt x="316614" y="1414396"/>
                  <a:pt x="707209" y="1414396"/>
                </a:cubicBezTo>
                <a:cubicBezTo>
                  <a:pt x="1097782" y="1414396"/>
                  <a:pt x="1414396" y="1097782"/>
                  <a:pt x="1414396" y="707187"/>
                </a:cubicBezTo>
                <a:cubicBezTo>
                  <a:pt x="1414396" y="430568"/>
                  <a:pt x="1255570" y="191052"/>
                  <a:pt x="1024162" y="74840"/>
                </a:cubicBezTo>
                <a:cubicBezTo>
                  <a:pt x="975654" y="50473"/>
                  <a:pt x="923961" y="31503"/>
                  <a:pt x="869875" y="18812"/>
                </a:cubicBezTo>
                <a:cubicBezTo>
                  <a:pt x="817685" y="6504"/>
                  <a:pt x="763193" y="0"/>
                  <a:pt x="707209" y="0"/>
                </a:cubicBezTo>
                <a:cubicBezTo>
                  <a:pt x="316614" y="0"/>
                  <a:pt x="0" y="316614"/>
                  <a:pt x="0" y="707187"/>
                </a:cubicBezTo>
                <a:close/>
              </a:path>
            </a:pathLst>
          </a:custGeom>
          <a:solidFill>
            <a:srgbClr val="5DB0EE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47B083E4-756F-4A57-968B-F5FFC63D6BFF}"/>
              </a:ext>
            </a:extLst>
          </p:cNvPr>
          <p:cNvSpPr/>
          <p:nvPr/>
        </p:nvSpPr>
        <p:spPr>
          <a:xfrm>
            <a:off x="4179720" y="1742342"/>
            <a:ext cx="629632" cy="629645"/>
          </a:xfrm>
          <a:custGeom>
            <a:avLst/>
            <a:gdLst>
              <a:gd name="connsiteX0" fmla="*/ 0 w 1065669"/>
              <a:gd name="connsiteY0" fmla="*/ 532846 h 1065691"/>
              <a:gd name="connsiteX1" fmla="*/ 532846 w 1065669"/>
              <a:gd name="connsiteY1" fmla="*/ 1065692 h 1065691"/>
              <a:gd name="connsiteX2" fmla="*/ 1065669 w 1065669"/>
              <a:gd name="connsiteY2" fmla="*/ 532846 h 1065691"/>
              <a:gd name="connsiteX3" fmla="*/ 771661 w 1065669"/>
              <a:gd name="connsiteY3" fmla="*/ 56412 h 1065691"/>
              <a:gd name="connsiteX4" fmla="*/ 655427 w 1065669"/>
              <a:gd name="connsiteY4" fmla="*/ 14182 h 1065691"/>
              <a:gd name="connsiteX5" fmla="*/ 532869 w 1065669"/>
              <a:gd name="connsiteY5" fmla="*/ 0 h 1065691"/>
              <a:gd name="connsiteX6" fmla="*/ 0 w 1065669"/>
              <a:gd name="connsiteY6" fmla="*/ 532846 h 10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5669" h="1065691">
                <a:moveTo>
                  <a:pt x="0" y="532846"/>
                </a:moveTo>
                <a:cubicBezTo>
                  <a:pt x="0" y="827125"/>
                  <a:pt x="238544" y="1065692"/>
                  <a:pt x="532846" y="1065692"/>
                </a:cubicBezTo>
                <a:cubicBezTo>
                  <a:pt x="827125" y="1065692"/>
                  <a:pt x="1065669" y="827148"/>
                  <a:pt x="1065669" y="532846"/>
                </a:cubicBezTo>
                <a:cubicBezTo>
                  <a:pt x="1065669" y="324427"/>
                  <a:pt x="946002" y="143967"/>
                  <a:pt x="771661" y="56412"/>
                </a:cubicBezTo>
                <a:cubicBezTo>
                  <a:pt x="735122" y="38052"/>
                  <a:pt x="696166" y="23757"/>
                  <a:pt x="655427" y="14182"/>
                </a:cubicBezTo>
                <a:cubicBezTo>
                  <a:pt x="616087" y="4901"/>
                  <a:pt x="575031" y="0"/>
                  <a:pt x="532869" y="0"/>
                </a:cubicBezTo>
                <a:cubicBezTo>
                  <a:pt x="238567" y="0"/>
                  <a:pt x="0" y="238567"/>
                  <a:pt x="0" y="532846"/>
                </a:cubicBezTo>
                <a:close/>
              </a:path>
            </a:pathLst>
          </a:custGeom>
          <a:solidFill>
            <a:schemeClr val="bg1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38BD364E-7E99-4573-8522-54DB461E3044}"/>
              </a:ext>
            </a:extLst>
          </p:cNvPr>
          <p:cNvSpPr/>
          <p:nvPr/>
        </p:nvSpPr>
        <p:spPr>
          <a:xfrm>
            <a:off x="4076700" y="2809880"/>
            <a:ext cx="835671" cy="835670"/>
          </a:xfrm>
          <a:custGeom>
            <a:avLst/>
            <a:gdLst>
              <a:gd name="connsiteX0" fmla="*/ 0 w 1414396"/>
              <a:gd name="connsiteY0" fmla="*/ 707187 h 1414395"/>
              <a:gd name="connsiteX1" fmla="*/ 707209 w 1414396"/>
              <a:gd name="connsiteY1" fmla="*/ 1414396 h 1414395"/>
              <a:gd name="connsiteX2" fmla="*/ 1414396 w 1414396"/>
              <a:gd name="connsiteY2" fmla="*/ 707187 h 1414395"/>
              <a:gd name="connsiteX3" fmla="*/ 1024162 w 1414396"/>
              <a:gd name="connsiteY3" fmla="*/ 74840 h 1414395"/>
              <a:gd name="connsiteX4" fmla="*/ 869875 w 1414396"/>
              <a:gd name="connsiteY4" fmla="*/ 18812 h 1414395"/>
              <a:gd name="connsiteX5" fmla="*/ 707209 w 1414396"/>
              <a:gd name="connsiteY5" fmla="*/ 0 h 1414395"/>
              <a:gd name="connsiteX6" fmla="*/ 0 w 1414396"/>
              <a:gd name="connsiteY6" fmla="*/ 707187 h 1414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396" h="1414395">
                <a:moveTo>
                  <a:pt x="0" y="707187"/>
                </a:moveTo>
                <a:cubicBezTo>
                  <a:pt x="0" y="1097782"/>
                  <a:pt x="316614" y="1414396"/>
                  <a:pt x="707209" y="1414396"/>
                </a:cubicBezTo>
                <a:cubicBezTo>
                  <a:pt x="1097782" y="1414396"/>
                  <a:pt x="1414396" y="1097782"/>
                  <a:pt x="1414396" y="707187"/>
                </a:cubicBezTo>
                <a:cubicBezTo>
                  <a:pt x="1414396" y="430568"/>
                  <a:pt x="1255570" y="191052"/>
                  <a:pt x="1024162" y="74840"/>
                </a:cubicBezTo>
                <a:cubicBezTo>
                  <a:pt x="975654" y="50473"/>
                  <a:pt x="923961" y="31503"/>
                  <a:pt x="869875" y="18812"/>
                </a:cubicBezTo>
                <a:cubicBezTo>
                  <a:pt x="817685" y="6504"/>
                  <a:pt x="763193" y="0"/>
                  <a:pt x="707209" y="0"/>
                </a:cubicBezTo>
                <a:cubicBezTo>
                  <a:pt x="316614" y="0"/>
                  <a:pt x="0" y="316614"/>
                  <a:pt x="0" y="707187"/>
                </a:cubicBezTo>
                <a:close/>
              </a:path>
            </a:pathLst>
          </a:custGeom>
          <a:solidFill>
            <a:srgbClr val="0F1890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D1011591-3A66-4326-98F4-E0B0E70024FE}"/>
              </a:ext>
            </a:extLst>
          </p:cNvPr>
          <p:cNvSpPr/>
          <p:nvPr/>
        </p:nvSpPr>
        <p:spPr>
          <a:xfrm>
            <a:off x="4199520" y="3503622"/>
            <a:ext cx="591765" cy="589630"/>
          </a:xfrm>
          <a:custGeom>
            <a:avLst/>
            <a:gdLst>
              <a:gd name="connsiteX0" fmla="*/ 1000133 w 1001578"/>
              <a:gd name="connsiteY0" fmla="*/ 0 h 997965"/>
              <a:gd name="connsiteX1" fmla="*/ 1001579 w 1001578"/>
              <a:gd name="connsiteY1" fmla="*/ 996520 h 997965"/>
              <a:gd name="connsiteX2" fmla="*/ 1445 w 1001578"/>
              <a:gd name="connsiteY2" fmla="*/ 997965 h 997965"/>
              <a:gd name="connsiteX3" fmla="*/ 0 w 1001578"/>
              <a:gd name="connsiteY3" fmla="*/ 1445 h 997965"/>
              <a:gd name="connsiteX4" fmla="*/ 1000133 w 1001578"/>
              <a:gd name="connsiteY4" fmla="*/ 0 h 997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78" h="997965">
                <a:moveTo>
                  <a:pt x="1000133" y="0"/>
                </a:moveTo>
                <a:cubicBezTo>
                  <a:pt x="648313" y="352837"/>
                  <a:pt x="648742" y="644722"/>
                  <a:pt x="1001579" y="996520"/>
                </a:cubicBezTo>
                <a:lnTo>
                  <a:pt x="1445" y="997965"/>
                </a:lnTo>
                <a:cubicBezTo>
                  <a:pt x="353266" y="645129"/>
                  <a:pt x="352837" y="353243"/>
                  <a:pt x="0" y="1445"/>
                </a:cubicBezTo>
                <a:lnTo>
                  <a:pt x="1000133" y="0"/>
                </a:lnTo>
                <a:close/>
              </a:path>
            </a:pathLst>
          </a:custGeom>
          <a:solidFill>
            <a:srgbClr val="0F1890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22" name="Freeform: Shape 121">
            <a:extLst>
              <a:ext uri="{FF2B5EF4-FFF2-40B4-BE49-F238E27FC236}">
                <a16:creationId xmlns:a16="http://schemas.microsoft.com/office/drawing/2014/main" id="{B366DD14-A078-416E-8676-DB36C3877656}"/>
              </a:ext>
            </a:extLst>
          </p:cNvPr>
          <p:cNvSpPr/>
          <p:nvPr/>
        </p:nvSpPr>
        <p:spPr>
          <a:xfrm>
            <a:off x="4199520" y="4674178"/>
            <a:ext cx="591765" cy="589630"/>
          </a:xfrm>
          <a:custGeom>
            <a:avLst/>
            <a:gdLst>
              <a:gd name="connsiteX0" fmla="*/ 1000133 w 1001578"/>
              <a:gd name="connsiteY0" fmla="*/ 0 h 997965"/>
              <a:gd name="connsiteX1" fmla="*/ 1001579 w 1001578"/>
              <a:gd name="connsiteY1" fmla="*/ 996520 h 997965"/>
              <a:gd name="connsiteX2" fmla="*/ 1445 w 1001578"/>
              <a:gd name="connsiteY2" fmla="*/ 997965 h 997965"/>
              <a:gd name="connsiteX3" fmla="*/ 0 w 1001578"/>
              <a:gd name="connsiteY3" fmla="*/ 1445 h 997965"/>
              <a:gd name="connsiteX4" fmla="*/ 1000133 w 1001578"/>
              <a:gd name="connsiteY4" fmla="*/ 0 h 997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78" h="997965">
                <a:moveTo>
                  <a:pt x="1000133" y="0"/>
                </a:moveTo>
                <a:cubicBezTo>
                  <a:pt x="648313" y="352837"/>
                  <a:pt x="648742" y="644722"/>
                  <a:pt x="1001579" y="996520"/>
                </a:cubicBezTo>
                <a:lnTo>
                  <a:pt x="1445" y="997965"/>
                </a:lnTo>
                <a:cubicBezTo>
                  <a:pt x="353266" y="645129"/>
                  <a:pt x="352837" y="353243"/>
                  <a:pt x="0" y="1445"/>
                </a:cubicBezTo>
                <a:lnTo>
                  <a:pt x="1000133" y="0"/>
                </a:lnTo>
                <a:close/>
              </a:path>
            </a:pathLst>
          </a:custGeom>
          <a:solidFill>
            <a:srgbClr val="5DB0EE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5EBE29A4-BF2E-460E-8E97-1B56EA5E5548}"/>
              </a:ext>
            </a:extLst>
          </p:cNvPr>
          <p:cNvSpPr/>
          <p:nvPr/>
        </p:nvSpPr>
        <p:spPr>
          <a:xfrm>
            <a:off x="4076700" y="3968818"/>
            <a:ext cx="835671" cy="835670"/>
          </a:xfrm>
          <a:custGeom>
            <a:avLst/>
            <a:gdLst>
              <a:gd name="connsiteX0" fmla="*/ 0 w 1414396"/>
              <a:gd name="connsiteY0" fmla="*/ 707187 h 1414395"/>
              <a:gd name="connsiteX1" fmla="*/ 707209 w 1414396"/>
              <a:gd name="connsiteY1" fmla="*/ 1414396 h 1414395"/>
              <a:gd name="connsiteX2" fmla="*/ 1414396 w 1414396"/>
              <a:gd name="connsiteY2" fmla="*/ 707187 h 1414395"/>
              <a:gd name="connsiteX3" fmla="*/ 1024162 w 1414396"/>
              <a:gd name="connsiteY3" fmla="*/ 74840 h 1414395"/>
              <a:gd name="connsiteX4" fmla="*/ 869875 w 1414396"/>
              <a:gd name="connsiteY4" fmla="*/ 18812 h 1414395"/>
              <a:gd name="connsiteX5" fmla="*/ 707209 w 1414396"/>
              <a:gd name="connsiteY5" fmla="*/ 0 h 1414395"/>
              <a:gd name="connsiteX6" fmla="*/ 0 w 1414396"/>
              <a:gd name="connsiteY6" fmla="*/ 707187 h 1414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396" h="1414395">
                <a:moveTo>
                  <a:pt x="0" y="707187"/>
                </a:moveTo>
                <a:cubicBezTo>
                  <a:pt x="0" y="1097782"/>
                  <a:pt x="316614" y="1414396"/>
                  <a:pt x="707209" y="1414396"/>
                </a:cubicBezTo>
                <a:cubicBezTo>
                  <a:pt x="1097782" y="1414396"/>
                  <a:pt x="1414396" y="1097782"/>
                  <a:pt x="1414396" y="707187"/>
                </a:cubicBezTo>
                <a:cubicBezTo>
                  <a:pt x="1414396" y="430568"/>
                  <a:pt x="1255570" y="191052"/>
                  <a:pt x="1024162" y="74840"/>
                </a:cubicBezTo>
                <a:cubicBezTo>
                  <a:pt x="975654" y="50473"/>
                  <a:pt x="923961" y="31503"/>
                  <a:pt x="869875" y="18812"/>
                </a:cubicBezTo>
                <a:cubicBezTo>
                  <a:pt x="817685" y="6504"/>
                  <a:pt x="763193" y="0"/>
                  <a:pt x="707209" y="0"/>
                </a:cubicBezTo>
                <a:cubicBezTo>
                  <a:pt x="316614" y="0"/>
                  <a:pt x="0" y="316614"/>
                  <a:pt x="0" y="707187"/>
                </a:cubicBezTo>
                <a:close/>
              </a:path>
            </a:pathLst>
          </a:custGeom>
          <a:solidFill>
            <a:srgbClr val="5DB0EE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75AFB635-4EC2-4272-BC56-37C14E1596D2}"/>
              </a:ext>
            </a:extLst>
          </p:cNvPr>
          <p:cNvSpPr/>
          <p:nvPr/>
        </p:nvSpPr>
        <p:spPr>
          <a:xfrm>
            <a:off x="4179720" y="4071838"/>
            <a:ext cx="629632" cy="629645"/>
          </a:xfrm>
          <a:custGeom>
            <a:avLst/>
            <a:gdLst>
              <a:gd name="connsiteX0" fmla="*/ 0 w 1065669"/>
              <a:gd name="connsiteY0" fmla="*/ 532846 h 1065691"/>
              <a:gd name="connsiteX1" fmla="*/ 532846 w 1065669"/>
              <a:gd name="connsiteY1" fmla="*/ 1065692 h 1065691"/>
              <a:gd name="connsiteX2" fmla="*/ 1065669 w 1065669"/>
              <a:gd name="connsiteY2" fmla="*/ 532846 h 1065691"/>
              <a:gd name="connsiteX3" fmla="*/ 771661 w 1065669"/>
              <a:gd name="connsiteY3" fmla="*/ 56412 h 1065691"/>
              <a:gd name="connsiteX4" fmla="*/ 655427 w 1065669"/>
              <a:gd name="connsiteY4" fmla="*/ 14182 h 1065691"/>
              <a:gd name="connsiteX5" fmla="*/ 532869 w 1065669"/>
              <a:gd name="connsiteY5" fmla="*/ 0 h 1065691"/>
              <a:gd name="connsiteX6" fmla="*/ 0 w 1065669"/>
              <a:gd name="connsiteY6" fmla="*/ 532846 h 10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5669" h="1065691">
                <a:moveTo>
                  <a:pt x="0" y="532846"/>
                </a:moveTo>
                <a:cubicBezTo>
                  <a:pt x="0" y="827125"/>
                  <a:pt x="238544" y="1065692"/>
                  <a:pt x="532846" y="1065692"/>
                </a:cubicBezTo>
                <a:cubicBezTo>
                  <a:pt x="827125" y="1065692"/>
                  <a:pt x="1065669" y="827148"/>
                  <a:pt x="1065669" y="532846"/>
                </a:cubicBezTo>
                <a:cubicBezTo>
                  <a:pt x="1065669" y="324427"/>
                  <a:pt x="946002" y="143967"/>
                  <a:pt x="771661" y="56412"/>
                </a:cubicBezTo>
                <a:cubicBezTo>
                  <a:pt x="735122" y="38052"/>
                  <a:pt x="696166" y="23757"/>
                  <a:pt x="655427" y="14182"/>
                </a:cubicBezTo>
                <a:cubicBezTo>
                  <a:pt x="616087" y="4901"/>
                  <a:pt x="575031" y="0"/>
                  <a:pt x="532869" y="0"/>
                </a:cubicBezTo>
                <a:cubicBezTo>
                  <a:pt x="238567" y="0"/>
                  <a:pt x="0" y="238567"/>
                  <a:pt x="0" y="532846"/>
                </a:cubicBezTo>
                <a:close/>
              </a:path>
            </a:pathLst>
          </a:custGeom>
          <a:solidFill>
            <a:schemeClr val="bg1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DC8B2ABE-01F6-41AD-B626-9A022E3226DE}"/>
              </a:ext>
            </a:extLst>
          </p:cNvPr>
          <p:cNvSpPr/>
          <p:nvPr/>
        </p:nvSpPr>
        <p:spPr>
          <a:xfrm>
            <a:off x="4076700" y="5139375"/>
            <a:ext cx="835671" cy="835670"/>
          </a:xfrm>
          <a:custGeom>
            <a:avLst/>
            <a:gdLst>
              <a:gd name="connsiteX0" fmla="*/ 0 w 1414396"/>
              <a:gd name="connsiteY0" fmla="*/ 707187 h 1414395"/>
              <a:gd name="connsiteX1" fmla="*/ 707209 w 1414396"/>
              <a:gd name="connsiteY1" fmla="*/ 1414396 h 1414395"/>
              <a:gd name="connsiteX2" fmla="*/ 1414396 w 1414396"/>
              <a:gd name="connsiteY2" fmla="*/ 707187 h 1414395"/>
              <a:gd name="connsiteX3" fmla="*/ 1024162 w 1414396"/>
              <a:gd name="connsiteY3" fmla="*/ 74840 h 1414395"/>
              <a:gd name="connsiteX4" fmla="*/ 869875 w 1414396"/>
              <a:gd name="connsiteY4" fmla="*/ 18812 h 1414395"/>
              <a:gd name="connsiteX5" fmla="*/ 707209 w 1414396"/>
              <a:gd name="connsiteY5" fmla="*/ 0 h 1414395"/>
              <a:gd name="connsiteX6" fmla="*/ 0 w 1414396"/>
              <a:gd name="connsiteY6" fmla="*/ 707187 h 1414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396" h="1414395">
                <a:moveTo>
                  <a:pt x="0" y="707187"/>
                </a:moveTo>
                <a:cubicBezTo>
                  <a:pt x="0" y="1097782"/>
                  <a:pt x="316614" y="1414396"/>
                  <a:pt x="707209" y="1414396"/>
                </a:cubicBezTo>
                <a:cubicBezTo>
                  <a:pt x="1097782" y="1414396"/>
                  <a:pt x="1414396" y="1097782"/>
                  <a:pt x="1414396" y="707187"/>
                </a:cubicBezTo>
                <a:cubicBezTo>
                  <a:pt x="1414396" y="430568"/>
                  <a:pt x="1255570" y="191052"/>
                  <a:pt x="1024162" y="74840"/>
                </a:cubicBezTo>
                <a:cubicBezTo>
                  <a:pt x="975654" y="50473"/>
                  <a:pt x="923961" y="31503"/>
                  <a:pt x="869875" y="18812"/>
                </a:cubicBezTo>
                <a:cubicBezTo>
                  <a:pt x="817685" y="6504"/>
                  <a:pt x="763193" y="0"/>
                  <a:pt x="707209" y="0"/>
                </a:cubicBezTo>
                <a:cubicBezTo>
                  <a:pt x="316614" y="0"/>
                  <a:pt x="0" y="316614"/>
                  <a:pt x="0" y="707187"/>
                </a:cubicBezTo>
                <a:close/>
              </a:path>
            </a:pathLst>
          </a:custGeom>
          <a:solidFill>
            <a:srgbClr val="0F1890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8AA1E5D1-99AA-4573-A098-8A51921D12B9}"/>
              </a:ext>
            </a:extLst>
          </p:cNvPr>
          <p:cNvSpPr/>
          <p:nvPr/>
        </p:nvSpPr>
        <p:spPr>
          <a:xfrm>
            <a:off x="4179720" y="2912899"/>
            <a:ext cx="629632" cy="629645"/>
          </a:xfrm>
          <a:custGeom>
            <a:avLst/>
            <a:gdLst>
              <a:gd name="connsiteX0" fmla="*/ 0 w 1065669"/>
              <a:gd name="connsiteY0" fmla="*/ 532846 h 1065691"/>
              <a:gd name="connsiteX1" fmla="*/ 532846 w 1065669"/>
              <a:gd name="connsiteY1" fmla="*/ 1065692 h 1065691"/>
              <a:gd name="connsiteX2" fmla="*/ 1065669 w 1065669"/>
              <a:gd name="connsiteY2" fmla="*/ 532846 h 1065691"/>
              <a:gd name="connsiteX3" fmla="*/ 771661 w 1065669"/>
              <a:gd name="connsiteY3" fmla="*/ 56412 h 1065691"/>
              <a:gd name="connsiteX4" fmla="*/ 655427 w 1065669"/>
              <a:gd name="connsiteY4" fmla="*/ 14182 h 1065691"/>
              <a:gd name="connsiteX5" fmla="*/ 532869 w 1065669"/>
              <a:gd name="connsiteY5" fmla="*/ 0 h 1065691"/>
              <a:gd name="connsiteX6" fmla="*/ 0 w 1065669"/>
              <a:gd name="connsiteY6" fmla="*/ 532846 h 10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5669" h="1065691">
                <a:moveTo>
                  <a:pt x="0" y="532846"/>
                </a:moveTo>
                <a:cubicBezTo>
                  <a:pt x="0" y="827125"/>
                  <a:pt x="238544" y="1065692"/>
                  <a:pt x="532846" y="1065692"/>
                </a:cubicBezTo>
                <a:cubicBezTo>
                  <a:pt x="827125" y="1065692"/>
                  <a:pt x="1065669" y="827148"/>
                  <a:pt x="1065669" y="532846"/>
                </a:cubicBezTo>
                <a:cubicBezTo>
                  <a:pt x="1065669" y="324427"/>
                  <a:pt x="946002" y="143967"/>
                  <a:pt x="771661" y="56412"/>
                </a:cubicBezTo>
                <a:cubicBezTo>
                  <a:pt x="735122" y="38052"/>
                  <a:pt x="696166" y="23757"/>
                  <a:pt x="655427" y="14182"/>
                </a:cubicBezTo>
                <a:cubicBezTo>
                  <a:pt x="616087" y="4901"/>
                  <a:pt x="575031" y="0"/>
                  <a:pt x="532869" y="0"/>
                </a:cubicBezTo>
                <a:cubicBezTo>
                  <a:pt x="238567" y="0"/>
                  <a:pt x="0" y="238567"/>
                  <a:pt x="0" y="532846"/>
                </a:cubicBezTo>
                <a:close/>
              </a:path>
            </a:pathLst>
          </a:custGeom>
          <a:solidFill>
            <a:schemeClr val="bg1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id="{EC3AACFA-008B-4D24-81AB-51C931C82D47}"/>
              </a:ext>
            </a:extLst>
          </p:cNvPr>
          <p:cNvSpPr/>
          <p:nvPr/>
        </p:nvSpPr>
        <p:spPr>
          <a:xfrm>
            <a:off x="4199520" y="5844735"/>
            <a:ext cx="591765" cy="589630"/>
          </a:xfrm>
          <a:custGeom>
            <a:avLst/>
            <a:gdLst>
              <a:gd name="connsiteX0" fmla="*/ 1000133 w 1001578"/>
              <a:gd name="connsiteY0" fmla="*/ 0 h 997965"/>
              <a:gd name="connsiteX1" fmla="*/ 1001579 w 1001578"/>
              <a:gd name="connsiteY1" fmla="*/ 996520 h 997965"/>
              <a:gd name="connsiteX2" fmla="*/ 1445 w 1001578"/>
              <a:gd name="connsiteY2" fmla="*/ 997965 h 997965"/>
              <a:gd name="connsiteX3" fmla="*/ 0 w 1001578"/>
              <a:gd name="connsiteY3" fmla="*/ 1445 h 997965"/>
              <a:gd name="connsiteX4" fmla="*/ 1000133 w 1001578"/>
              <a:gd name="connsiteY4" fmla="*/ 0 h 997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78" h="997965">
                <a:moveTo>
                  <a:pt x="1000133" y="0"/>
                </a:moveTo>
                <a:cubicBezTo>
                  <a:pt x="648313" y="352837"/>
                  <a:pt x="648742" y="644722"/>
                  <a:pt x="1001579" y="996520"/>
                </a:cubicBezTo>
                <a:lnTo>
                  <a:pt x="1445" y="997965"/>
                </a:lnTo>
                <a:cubicBezTo>
                  <a:pt x="353266" y="645129"/>
                  <a:pt x="352837" y="353243"/>
                  <a:pt x="0" y="1445"/>
                </a:cubicBezTo>
                <a:lnTo>
                  <a:pt x="1000133" y="0"/>
                </a:lnTo>
                <a:close/>
              </a:path>
            </a:pathLst>
          </a:custGeom>
          <a:solidFill>
            <a:srgbClr val="0F1890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384BD453-1557-4FA4-B748-3421D833C098}"/>
              </a:ext>
            </a:extLst>
          </p:cNvPr>
          <p:cNvSpPr/>
          <p:nvPr/>
        </p:nvSpPr>
        <p:spPr>
          <a:xfrm>
            <a:off x="4199520" y="7015291"/>
            <a:ext cx="591765" cy="589630"/>
          </a:xfrm>
          <a:custGeom>
            <a:avLst/>
            <a:gdLst>
              <a:gd name="connsiteX0" fmla="*/ 1000133 w 1001578"/>
              <a:gd name="connsiteY0" fmla="*/ 0 h 997965"/>
              <a:gd name="connsiteX1" fmla="*/ 1001579 w 1001578"/>
              <a:gd name="connsiteY1" fmla="*/ 996520 h 997965"/>
              <a:gd name="connsiteX2" fmla="*/ 1445 w 1001578"/>
              <a:gd name="connsiteY2" fmla="*/ 997965 h 997965"/>
              <a:gd name="connsiteX3" fmla="*/ 0 w 1001578"/>
              <a:gd name="connsiteY3" fmla="*/ 1445 h 997965"/>
              <a:gd name="connsiteX4" fmla="*/ 1000133 w 1001578"/>
              <a:gd name="connsiteY4" fmla="*/ 0 h 997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78" h="997965">
                <a:moveTo>
                  <a:pt x="1000133" y="0"/>
                </a:moveTo>
                <a:cubicBezTo>
                  <a:pt x="648313" y="352837"/>
                  <a:pt x="648742" y="644722"/>
                  <a:pt x="1001579" y="996520"/>
                </a:cubicBezTo>
                <a:lnTo>
                  <a:pt x="1445" y="997965"/>
                </a:lnTo>
                <a:cubicBezTo>
                  <a:pt x="353266" y="645129"/>
                  <a:pt x="352837" y="353243"/>
                  <a:pt x="0" y="1445"/>
                </a:cubicBezTo>
                <a:lnTo>
                  <a:pt x="1000133" y="0"/>
                </a:lnTo>
                <a:close/>
              </a:path>
            </a:pathLst>
          </a:custGeom>
          <a:solidFill>
            <a:srgbClr val="5DB0EE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D22F46AB-82D9-4C2E-A241-9661FD1851AD}"/>
              </a:ext>
            </a:extLst>
          </p:cNvPr>
          <p:cNvSpPr/>
          <p:nvPr/>
        </p:nvSpPr>
        <p:spPr>
          <a:xfrm>
            <a:off x="4076700" y="6309931"/>
            <a:ext cx="835671" cy="835670"/>
          </a:xfrm>
          <a:custGeom>
            <a:avLst/>
            <a:gdLst>
              <a:gd name="connsiteX0" fmla="*/ 0 w 1414396"/>
              <a:gd name="connsiteY0" fmla="*/ 707187 h 1414395"/>
              <a:gd name="connsiteX1" fmla="*/ 707209 w 1414396"/>
              <a:gd name="connsiteY1" fmla="*/ 1414396 h 1414395"/>
              <a:gd name="connsiteX2" fmla="*/ 1414396 w 1414396"/>
              <a:gd name="connsiteY2" fmla="*/ 707187 h 1414395"/>
              <a:gd name="connsiteX3" fmla="*/ 1024162 w 1414396"/>
              <a:gd name="connsiteY3" fmla="*/ 74840 h 1414395"/>
              <a:gd name="connsiteX4" fmla="*/ 869875 w 1414396"/>
              <a:gd name="connsiteY4" fmla="*/ 18812 h 1414395"/>
              <a:gd name="connsiteX5" fmla="*/ 707209 w 1414396"/>
              <a:gd name="connsiteY5" fmla="*/ 0 h 1414395"/>
              <a:gd name="connsiteX6" fmla="*/ 0 w 1414396"/>
              <a:gd name="connsiteY6" fmla="*/ 707187 h 1414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396" h="1414395">
                <a:moveTo>
                  <a:pt x="0" y="707187"/>
                </a:moveTo>
                <a:cubicBezTo>
                  <a:pt x="0" y="1097782"/>
                  <a:pt x="316614" y="1414396"/>
                  <a:pt x="707209" y="1414396"/>
                </a:cubicBezTo>
                <a:cubicBezTo>
                  <a:pt x="1097782" y="1414396"/>
                  <a:pt x="1414396" y="1097782"/>
                  <a:pt x="1414396" y="707187"/>
                </a:cubicBezTo>
                <a:cubicBezTo>
                  <a:pt x="1414396" y="430568"/>
                  <a:pt x="1255570" y="191052"/>
                  <a:pt x="1024162" y="74840"/>
                </a:cubicBezTo>
                <a:cubicBezTo>
                  <a:pt x="975654" y="50473"/>
                  <a:pt x="923961" y="31503"/>
                  <a:pt x="869875" y="18812"/>
                </a:cubicBezTo>
                <a:cubicBezTo>
                  <a:pt x="817685" y="6504"/>
                  <a:pt x="763193" y="0"/>
                  <a:pt x="707209" y="0"/>
                </a:cubicBezTo>
                <a:cubicBezTo>
                  <a:pt x="316614" y="0"/>
                  <a:pt x="0" y="316614"/>
                  <a:pt x="0" y="707187"/>
                </a:cubicBezTo>
                <a:close/>
              </a:path>
            </a:pathLst>
          </a:custGeom>
          <a:solidFill>
            <a:srgbClr val="5DB0EE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30" name="Freeform: Shape 129">
            <a:extLst>
              <a:ext uri="{FF2B5EF4-FFF2-40B4-BE49-F238E27FC236}">
                <a16:creationId xmlns:a16="http://schemas.microsoft.com/office/drawing/2014/main" id="{DFFF4EC2-B6AE-42D3-89E0-1F997FD08D97}"/>
              </a:ext>
            </a:extLst>
          </p:cNvPr>
          <p:cNvSpPr/>
          <p:nvPr/>
        </p:nvSpPr>
        <p:spPr>
          <a:xfrm>
            <a:off x="4179720" y="6412951"/>
            <a:ext cx="629632" cy="629645"/>
          </a:xfrm>
          <a:custGeom>
            <a:avLst/>
            <a:gdLst>
              <a:gd name="connsiteX0" fmla="*/ 0 w 1065669"/>
              <a:gd name="connsiteY0" fmla="*/ 532846 h 1065691"/>
              <a:gd name="connsiteX1" fmla="*/ 532846 w 1065669"/>
              <a:gd name="connsiteY1" fmla="*/ 1065692 h 1065691"/>
              <a:gd name="connsiteX2" fmla="*/ 1065669 w 1065669"/>
              <a:gd name="connsiteY2" fmla="*/ 532846 h 1065691"/>
              <a:gd name="connsiteX3" fmla="*/ 771661 w 1065669"/>
              <a:gd name="connsiteY3" fmla="*/ 56412 h 1065691"/>
              <a:gd name="connsiteX4" fmla="*/ 655427 w 1065669"/>
              <a:gd name="connsiteY4" fmla="*/ 14182 h 1065691"/>
              <a:gd name="connsiteX5" fmla="*/ 532869 w 1065669"/>
              <a:gd name="connsiteY5" fmla="*/ 0 h 1065691"/>
              <a:gd name="connsiteX6" fmla="*/ 0 w 1065669"/>
              <a:gd name="connsiteY6" fmla="*/ 532846 h 10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5669" h="1065691">
                <a:moveTo>
                  <a:pt x="0" y="532846"/>
                </a:moveTo>
                <a:cubicBezTo>
                  <a:pt x="0" y="827125"/>
                  <a:pt x="238544" y="1065692"/>
                  <a:pt x="532846" y="1065692"/>
                </a:cubicBezTo>
                <a:cubicBezTo>
                  <a:pt x="827125" y="1065692"/>
                  <a:pt x="1065669" y="827148"/>
                  <a:pt x="1065669" y="532846"/>
                </a:cubicBezTo>
                <a:cubicBezTo>
                  <a:pt x="1065669" y="324427"/>
                  <a:pt x="946002" y="143967"/>
                  <a:pt x="771661" y="56412"/>
                </a:cubicBezTo>
                <a:cubicBezTo>
                  <a:pt x="735122" y="38052"/>
                  <a:pt x="696166" y="23757"/>
                  <a:pt x="655427" y="14182"/>
                </a:cubicBezTo>
                <a:cubicBezTo>
                  <a:pt x="616087" y="4901"/>
                  <a:pt x="575031" y="0"/>
                  <a:pt x="532869" y="0"/>
                </a:cubicBezTo>
                <a:cubicBezTo>
                  <a:pt x="238567" y="0"/>
                  <a:pt x="0" y="238567"/>
                  <a:pt x="0" y="532846"/>
                </a:cubicBezTo>
                <a:close/>
              </a:path>
            </a:pathLst>
          </a:custGeom>
          <a:solidFill>
            <a:schemeClr val="bg1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31" name="Freeform: Shape 130">
            <a:extLst>
              <a:ext uri="{FF2B5EF4-FFF2-40B4-BE49-F238E27FC236}">
                <a16:creationId xmlns:a16="http://schemas.microsoft.com/office/drawing/2014/main" id="{B63A90AC-207B-4CB1-87A0-BD0AD2F8F847}"/>
              </a:ext>
            </a:extLst>
          </p:cNvPr>
          <p:cNvSpPr/>
          <p:nvPr/>
        </p:nvSpPr>
        <p:spPr>
          <a:xfrm>
            <a:off x="4076700" y="7480488"/>
            <a:ext cx="835671" cy="835670"/>
          </a:xfrm>
          <a:custGeom>
            <a:avLst/>
            <a:gdLst>
              <a:gd name="connsiteX0" fmla="*/ 0 w 1414396"/>
              <a:gd name="connsiteY0" fmla="*/ 707187 h 1414395"/>
              <a:gd name="connsiteX1" fmla="*/ 707209 w 1414396"/>
              <a:gd name="connsiteY1" fmla="*/ 1414396 h 1414395"/>
              <a:gd name="connsiteX2" fmla="*/ 1414396 w 1414396"/>
              <a:gd name="connsiteY2" fmla="*/ 707187 h 1414395"/>
              <a:gd name="connsiteX3" fmla="*/ 1024162 w 1414396"/>
              <a:gd name="connsiteY3" fmla="*/ 74840 h 1414395"/>
              <a:gd name="connsiteX4" fmla="*/ 869875 w 1414396"/>
              <a:gd name="connsiteY4" fmla="*/ 18812 h 1414395"/>
              <a:gd name="connsiteX5" fmla="*/ 707209 w 1414396"/>
              <a:gd name="connsiteY5" fmla="*/ 0 h 1414395"/>
              <a:gd name="connsiteX6" fmla="*/ 0 w 1414396"/>
              <a:gd name="connsiteY6" fmla="*/ 707187 h 1414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396" h="1414395">
                <a:moveTo>
                  <a:pt x="0" y="707187"/>
                </a:moveTo>
                <a:cubicBezTo>
                  <a:pt x="0" y="1097782"/>
                  <a:pt x="316614" y="1414396"/>
                  <a:pt x="707209" y="1414396"/>
                </a:cubicBezTo>
                <a:cubicBezTo>
                  <a:pt x="1097782" y="1414396"/>
                  <a:pt x="1414396" y="1097782"/>
                  <a:pt x="1414396" y="707187"/>
                </a:cubicBezTo>
                <a:cubicBezTo>
                  <a:pt x="1414396" y="430568"/>
                  <a:pt x="1255570" y="191052"/>
                  <a:pt x="1024162" y="74840"/>
                </a:cubicBezTo>
                <a:cubicBezTo>
                  <a:pt x="975654" y="50473"/>
                  <a:pt x="923961" y="31503"/>
                  <a:pt x="869875" y="18812"/>
                </a:cubicBezTo>
                <a:cubicBezTo>
                  <a:pt x="817685" y="6504"/>
                  <a:pt x="763193" y="0"/>
                  <a:pt x="707209" y="0"/>
                </a:cubicBezTo>
                <a:cubicBezTo>
                  <a:pt x="316614" y="0"/>
                  <a:pt x="0" y="316614"/>
                  <a:pt x="0" y="707187"/>
                </a:cubicBezTo>
                <a:close/>
              </a:path>
            </a:pathLst>
          </a:custGeom>
          <a:solidFill>
            <a:srgbClr val="0F1890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512BF71B-65A4-4339-B1BF-20EFAE40E01B}"/>
              </a:ext>
            </a:extLst>
          </p:cNvPr>
          <p:cNvSpPr/>
          <p:nvPr/>
        </p:nvSpPr>
        <p:spPr>
          <a:xfrm>
            <a:off x="4179720" y="5242394"/>
            <a:ext cx="629632" cy="629645"/>
          </a:xfrm>
          <a:custGeom>
            <a:avLst/>
            <a:gdLst>
              <a:gd name="connsiteX0" fmla="*/ 0 w 1065669"/>
              <a:gd name="connsiteY0" fmla="*/ 532846 h 1065691"/>
              <a:gd name="connsiteX1" fmla="*/ 532846 w 1065669"/>
              <a:gd name="connsiteY1" fmla="*/ 1065692 h 1065691"/>
              <a:gd name="connsiteX2" fmla="*/ 1065669 w 1065669"/>
              <a:gd name="connsiteY2" fmla="*/ 532846 h 1065691"/>
              <a:gd name="connsiteX3" fmla="*/ 771661 w 1065669"/>
              <a:gd name="connsiteY3" fmla="*/ 56412 h 1065691"/>
              <a:gd name="connsiteX4" fmla="*/ 655427 w 1065669"/>
              <a:gd name="connsiteY4" fmla="*/ 14182 h 1065691"/>
              <a:gd name="connsiteX5" fmla="*/ 532869 w 1065669"/>
              <a:gd name="connsiteY5" fmla="*/ 0 h 1065691"/>
              <a:gd name="connsiteX6" fmla="*/ 0 w 1065669"/>
              <a:gd name="connsiteY6" fmla="*/ 532846 h 10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5669" h="1065691">
                <a:moveTo>
                  <a:pt x="0" y="532846"/>
                </a:moveTo>
                <a:cubicBezTo>
                  <a:pt x="0" y="827125"/>
                  <a:pt x="238544" y="1065692"/>
                  <a:pt x="532846" y="1065692"/>
                </a:cubicBezTo>
                <a:cubicBezTo>
                  <a:pt x="827125" y="1065692"/>
                  <a:pt x="1065669" y="827148"/>
                  <a:pt x="1065669" y="532846"/>
                </a:cubicBezTo>
                <a:cubicBezTo>
                  <a:pt x="1065669" y="324427"/>
                  <a:pt x="946002" y="143967"/>
                  <a:pt x="771661" y="56412"/>
                </a:cubicBezTo>
                <a:cubicBezTo>
                  <a:pt x="735122" y="38052"/>
                  <a:pt x="696166" y="23757"/>
                  <a:pt x="655427" y="14182"/>
                </a:cubicBezTo>
                <a:cubicBezTo>
                  <a:pt x="616087" y="4901"/>
                  <a:pt x="575031" y="0"/>
                  <a:pt x="532869" y="0"/>
                </a:cubicBezTo>
                <a:cubicBezTo>
                  <a:pt x="238567" y="0"/>
                  <a:pt x="0" y="238567"/>
                  <a:pt x="0" y="532846"/>
                </a:cubicBezTo>
                <a:close/>
              </a:path>
            </a:pathLst>
          </a:custGeom>
          <a:solidFill>
            <a:schemeClr val="bg1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33" name="Freeform: Shape 132">
            <a:extLst>
              <a:ext uri="{FF2B5EF4-FFF2-40B4-BE49-F238E27FC236}">
                <a16:creationId xmlns:a16="http://schemas.microsoft.com/office/drawing/2014/main" id="{FA62F304-53A5-40CC-9D21-B071EB2D49D5}"/>
              </a:ext>
            </a:extLst>
          </p:cNvPr>
          <p:cNvSpPr/>
          <p:nvPr/>
        </p:nvSpPr>
        <p:spPr>
          <a:xfrm>
            <a:off x="4199520" y="8143872"/>
            <a:ext cx="591765" cy="589630"/>
          </a:xfrm>
          <a:custGeom>
            <a:avLst/>
            <a:gdLst>
              <a:gd name="connsiteX0" fmla="*/ 1000133 w 1001578"/>
              <a:gd name="connsiteY0" fmla="*/ 0 h 997965"/>
              <a:gd name="connsiteX1" fmla="*/ 1001579 w 1001578"/>
              <a:gd name="connsiteY1" fmla="*/ 996520 h 997965"/>
              <a:gd name="connsiteX2" fmla="*/ 1445 w 1001578"/>
              <a:gd name="connsiteY2" fmla="*/ 997965 h 997965"/>
              <a:gd name="connsiteX3" fmla="*/ 0 w 1001578"/>
              <a:gd name="connsiteY3" fmla="*/ 1445 h 997965"/>
              <a:gd name="connsiteX4" fmla="*/ 1000133 w 1001578"/>
              <a:gd name="connsiteY4" fmla="*/ 0 h 997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78" h="997965">
                <a:moveTo>
                  <a:pt x="1000133" y="0"/>
                </a:moveTo>
                <a:cubicBezTo>
                  <a:pt x="648313" y="352837"/>
                  <a:pt x="648742" y="644722"/>
                  <a:pt x="1001579" y="996520"/>
                </a:cubicBezTo>
                <a:lnTo>
                  <a:pt x="1445" y="997965"/>
                </a:lnTo>
                <a:cubicBezTo>
                  <a:pt x="353266" y="645129"/>
                  <a:pt x="352837" y="353243"/>
                  <a:pt x="0" y="1445"/>
                </a:cubicBezTo>
                <a:lnTo>
                  <a:pt x="1000133" y="0"/>
                </a:lnTo>
                <a:close/>
              </a:path>
            </a:pathLst>
          </a:custGeom>
          <a:solidFill>
            <a:srgbClr val="0F1890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59C4ECE3-7A92-4C69-96E6-93F18484BB1E}"/>
              </a:ext>
            </a:extLst>
          </p:cNvPr>
          <p:cNvSpPr/>
          <p:nvPr/>
        </p:nvSpPr>
        <p:spPr>
          <a:xfrm>
            <a:off x="4076700" y="8609068"/>
            <a:ext cx="835671" cy="835670"/>
          </a:xfrm>
          <a:custGeom>
            <a:avLst/>
            <a:gdLst>
              <a:gd name="connsiteX0" fmla="*/ 0 w 1414396"/>
              <a:gd name="connsiteY0" fmla="*/ 707187 h 1414395"/>
              <a:gd name="connsiteX1" fmla="*/ 707209 w 1414396"/>
              <a:gd name="connsiteY1" fmla="*/ 1414396 h 1414395"/>
              <a:gd name="connsiteX2" fmla="*/ 1414396 w 1414396"/>
              <a:gd name="connsiteY2" fmla="*/ 707187 h 1414395"/>
              <a:gd name="connsiteX3" fmla="*/ 1024162 w 1414396"/>
              <a:gd name="connsiteY3" fmla="*/ 74840 h 1414395"/>
              <a:gd name="connsiteX4" fmla="*/ 869875 w 1414396"/>
              <a:gd name="connsiteY4" fmla="*/ 18812 h 1414395"/>
              <a:gd name="connsiteX5" fmla="*/ 707209 w 1414396"/>
              <a:gd name="connsiteY5" fmla="*/ 0 h 1414395"/>
              <a:gd name="connsiteX6" fmla="*/ 0 w 1414396"/>
              <a:gd name="connsiteY6" fmla="*/ 707187 h 1414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396" h="1414395">
                <a:moveTo>
                  <a:pt x="0" y="707187"/>
                </a:moveTo>
                <a:cubicBezTo>
                  <a:pt x="0" y="1097782"/>
                  <a:pt x="316614" y="1414396"/>
                  <a:pt x="707209" y="1414396"/>
                </a:cubicBezTo>
                <a:cubicBezTo>
                  <a:pt x="1097782" y="1414396"/>
                  <a:pt x="1414396" y="1097782"/>
                  <a:pt x="1414396" y="707187"/>
                </a:cubicBezTo>
                <a:cubicBezTo>
                  <a:pt x="1414396" y="430568"/>
                  <a:pt x="1255570" y="191052"/>
                  <a:pt x="1024162" y="74840"/>
                </a:cubicBezTo>
                <a:cubicBezTo>
                  <a:pt x="975654" y="50473"/>
                  <a:pt x="923961" y="31503"/>
                  <a:pt x="869875" y="18812"/>
                </a:cubicBezTo>
                <a:cubicBezTo>
                  <a:pt x="817685" y="6504"/>
                  <a:pt x="763193" y="0"/>
                  <a:pt x="707209" y="0"/>
                </a:cubicBezTo>
                <a:cubicBezTo>
                  <a:pt x="316614" y="0"/>
                  <a:pt x="0" y="316614"/>
                  <a:pt x="0" y="707187"/>
                </a:cubicBezTo>
                <a:close/>
              </a:path>
            </a:pathLst>
          </a:custGeom>
          <a:solidFill>
            <a:srgbClr val="5DB0EE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B30CB8FE-DBAC-46BE-B5A8-C11FA8F2CBED}"/>
              </a:ext>
            </a:extLst>
          </p:cNvPr>
          <p:cNvSpPr/>
          <p:nvPr/>
        </p:nvSpPr>
        <p:spPr>
          <a:xfrm>
            <a:off x="4179720" y="8697356"/>
            <a:ext cx="629632" cy="629645"/>
          </a:xfrm>
          <a:custGeom>
            <a:avLst/>
            <a:gdLst>
              <a:gd name="connsiteX0" fmla="*/ 0 w 1065669"/>
              <a:gd name="connsiteY0" fmla="*/ 532846 h 1065691"/>
              <a:gd name="connsiteX1" fmla="*/ 532846 w 1065669"/>
              <a:gd name="connsiteY1" fmla="*/ 1065692 h 1065691"/>
              <a:gd name="connsiteX2" fmla="*/ 1065669 w 1065669"/>
              <a:gd name="connsiteY2" fmla="*/ 532846 h 1065691"/>
              <a:gd name="connsiteX3" fmla="*/ 771661 w 1065669"/>
              <a:gd name="connsiteY3" fmla="*/ 56412 h 1065691"/>
              <a:gd name="connsiteX4" fmla="*/ 655427 w 1065669"/>
              <a:gd name="connsiteY4" fmla="*/ 14182 h 1065691"/>
              <a:gd name="connsiteX5" fmla="*/ 532869 w 1065669"/>
              <a:gd name="connsiteY5" fmla="*/ 0 h 1065691"/>
              <a:gd name="connsiteX6" fmla="*/ 0 w 1065669"/>
              <a:gd name="connsiteY6" fmla="*/ 532846 h 10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5669" h="1065691">
                <a:moveTo>
                  <a:pt x="0" y="532846"/>
                </a:moveTo>
                <a:cubicBezTo>
                  <a:pt x="0" y="827125"/>
                  <a:pt x="238544" y="1065692"/>
                  <a:pt x="532846" y="1065692"/>
                </a:cubicBezTo>
                <a:cubicBezTo>
                  <a:pt x="827125" y="1065692"/>
                  <a:pt x="1065669" y="827148"/>
                  <a:pt x="1065669" y="532846"/>
                </a:cubicBezTo>
                <a:cubicBezTo>
                  <a:pt x="1065669" y="324427"/>
                  <a:pt x="946002" y="143967"/>
                  <a:pt x="771661" y="56412"/>
                </a:cubicBezTo>
                <a:cubicBezTo>
                  <a:pt x="735122" y="38052"/>
                  <a:pt x="696166" y="23757"/>
                  <a:pt x="655427" y="14182"/>
                </a:cubicBezTo>
                <a:cubicBezTo>
                  <a:pt x="616087" y="4901"/>
                  <a:pt x="575031" y="0"/>
                  <a:pt x="532869" y="0"/>
                </a:cubicBezTo>
                <a:cubicBezTo>
                  <a:pt x="238567" y="0"/>
                  <a:pt x="0" y="238567"/>
                  <a:pt x="0" y="532846"/>
                </a:cubicBezTo>
                <a:close/>
              </a:path>
            </a:pathLst>
          </a:custGeom>
          <a:solidFill>
            <a:schemeClr val="bg1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32" name="Freeform: Shape 131">
            <a:extLst>
              <a:ext uri="{FF2B5EF4-FFF2-40B4-BE49-F238E27FC236}">
                <a16:creationId xmlns:a16="http://schemas.microsoft.com/office/drawing/2014/main" id="{9410004B-9767-4A7F-BA31-DEF07DF9D102}"/>
              </a:ext>
            </a:extLst>
          </p:cNvPr>
          <p:cNvSpPr/>
          <p:nvPr/>
        </p:nvSpPr>
        <p:spPr>
          <a:xfrm>
            <a:off x="4179720" y="7583507"/>
            <a:ext cx="629632" cy="629645"/>
          </a:xfrm>
          <a:custGeom>
            <a:avLst/>
            <a:gdLst>
              <a:gd name="connsiteX0" fmla="*/ 0 w 1065669"/>
              <a:gd name="connsiteY0" fmla="*/ 532846 h 1065691"/>
              <a:gd name="connsiteX1" fmla="*/ 532846 w 1065669"/>
              <a:gd name="connsiteY1" fmla="*/ 1065692 h 1065691"/>
              <a:gd name="connsiteX2" fmla="*/ 1065669 w 1065669"/>
              <a:gd name="connsiteY2" fmla="*/ 532846 h 1065691"/>
              <a:gd name="connsiteX3" fmla="*/ 771661 w 1065669"/>
              <a:gd name="connsiteY3" fmla="*/ 56412 h 1065691"/>
              <a:gd name="connsiteX4" fmla="*/ 655427 w 1065669"/>
              <a:gd name="connsiteY4" fmla="*/ 14182 h 1065691"/>
              <a:gd name="connsiteX5" fmla="*/ 532869 w 1065669"/>
              <a:gd name="connsiteY5" fmla="*/ 0 h 1065691"/>
              <a:gd name="connsiteX6" fmla="*/ 0 w 1065669"/>
              <a:gd name="connsiteY6" fmla="*/ 532846 h 10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5669" h="1065691">
                <a:moveTo>
                  <a:pt x="0" y="532846"/>
                </a:moveTo>
                <a:cubicBezTo>
                  <a:pt x="0" y="827125"/>
                  <a:pt x="238544" y="1065692"/>
                  <a:pt x="532846" y="1065692"/>
                </a:cubicBezTo>
                <a:cubicBezTo>
                  <a:pt x="827125" y="1065692"/>
                  <a:pt x="1065669" y="827148"/>
                  <a:pt x="1065669" y="532846"/>
                </a:cubicBezTo>
                <a:cubicBezTo>
                  <a:pt x="1065669" y="324427"/>
                  <a:pt x="946002" y="143967"/>
                  <a:pt x="771661" y="56412"/>
                </a:cubicBezTo>
                <a:cubicBezTo>
                  <a:pt x="735122" y="38052"/>
                  <a:pt x="696166" y="23757"/>
                  <a:pt x="655427" y="14182"/>
                </a:cubicBezTo>
                <a:cubicBezTo>
                  <a:pt x="616087" y="4901"/>
                  <a:pt x="575031" y="0"/>
                  <a:pt x="532869" y="0"/>
                </a:cubicBezTo>
                <a:cubicBezTo>
                  <a:pt x="238567" y="0"/>
                  <a:pt x="0" y="238567"/>
                  <a:pt x="0" y="532846"/>
                </a:cubicBezTo>
                <a:close/>
              </a:path>
            </a:pathLst>
          </a:custGeom>
          <a:solidFill>
            <a:schemeClr val="bg1"/>
          </a:solidFill>
          <a:ln w="225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A04AEAB-218A-4725-9E66-FBF901A484E6}"/>
              </a:ext>
            </a:extLst>
          </p:cNvPr>
          <p:cNvSpPr txBox="1"/>
          <p:nvPr/>
        </p:nvSpPr>
        <p:spPr>
          <a:xfrm>
            <a:off x="5090203" y="640050"/>
            <a:ext cx="1416316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sz="1600" dirty="0">
                <a:latin typeface="Roboto" panose="02000000000000000000" pitchFamily="2" charset="0"/>
                <a:ea typeface="Roboto" panose="02000000000000000000" pitchFamily="2" charset="0"/>
              </a:rPr>
              <a:t>Business owners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EEAD2EBF-AE5C-4C48-9DE6-4B45A95E7D04}"/>
              </a:ext>
            </a:extLst>
          </p:cNvPr>
          <p:cNvSpPr txBox="1"/>
          <p:nvPr/>
        </p:nvSpPr>
        <p:spPr>
          <a:xfrm>
            <a:off x="5090203" y="1934054"/>
            <a:ext cx="141631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sz="1600" dirty="0">
                <a:latin typeface="Roboto" panose="02000000000000000000" pitchFamily="2" charset="0"/>
                <a:ea typeface="Roboto" panose="02000000000000000000" pitchFamily="2" charset="0"/>
              </a:rPr>
              <a:t>Investors 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5AF4E956-1152-491E-BAED-B379D0E1AC98}"/>
              </a:ext>
            </a:extLst>
          </p:cNvPr>
          <p:cNvSpPr txBox="1"/>
          <p:nvPr/>
        </p:nvSpPr>
        <p:spPr>
          <a:xfrm>
            <a:off x="5090203" y="2981493"/>
            <a:ext cx="1416316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sz="1600" dirty="0">
                <a:latin typeface="Roboto" panose="02000000000000000000" pitchFamily="2" charset="0"/>
                <a:ea typeface="Roboto" panose="02000000000000000000" pitchFamily="2" charset="0"/>
              </a:rPr>
              <a:t>Startup Companies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22F1259-6CBD-463F-918C-5748118217B7}"/>
              </a:ext>
            </a:extLst>
          </p:cNvPr>
          <p:cNvSpPr txBox="1"/>
          <p:nvPr/>
        </p:nvSpPr>
        <p:spPr>
          <a:xfrm>
            <a:off x="5090203" y="4140431"/>
            <a:ext cx="1416316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sz="1600" dirty="0">
                <a:latin typeface="Roboto" panose="02000000000000000000" pitchFamily="2" charset="0"/>
                <a:ea typeface="Roboto" panose="02000000000000000000" pitchFamily="2" charset="0"/>
              </a:rPr>
              <a:t>Business founders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55503F2B-3C48-4B9A-8580-95713B24814F}"/>
              </a:ext>
            </a:extLst>
          </p:cNvPr>
          <p:cNvSpPr txBox="1"/>
          <p:nvPr/>
        </p:nvSpPr>
        <p:spPr>
          <a:xfrm>
            <a:off x="5090203" y="5168306"/>
            <a:ext cx="1416316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sz="1600" dirty="0">
                <a:latin typeface="Roboto" panose="02000000000000000000" pitchFamily="2" charset="0"/>
                <a:ea typeface="Roboto" panose="02000000000000000000" pitchFamily="2" charset="0"/>
              </a:rPr>
              <a:t>Mergers &amp; Acquisitions managers 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6F7898A-572B-4B5D-B9C5-FB06C84B425B}"/>
              </a:ext>
            </a:extLst>
          </p:cNvPr>
          <p:cNvSpPr txBox="1"/>
          <p:nvPr/>
        </p:nvSpPr>
        <p:spPr>
          <a:xfrm>
            <a:off x="5090203" y="6481544"/>
            <a:ext cx="1416316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sz="1600">
                <a:latin typeface="Roboto" panose="02000000000000000000" pitchFamily="2" charset="0"/>
                <a:ea typeface="Roboto" panose="02000000000000000000" pitchFamily="2" charset="0"/>
              </a:rPr>
              <a:t>Hospital Owners 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E6AC7CA5-A54F-4C61-B46C-AA9B20B2ACD0}"/>
              </a:ext>
            </a:extLst>
          </p:cNvPr>
          <p:cNvSpPr txBox="1"/>
          <p:nvPr/>
        </p:nvSpPr>
        <p:spPr>
          <a:xfrm>
            <a:off x="5090203" y="7775213"/>
            <a:ext cx="141631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sz="1600">
                <a:latin typeface="Roboto" panose="02000000000000000000" pitchFamily="2" charset="0"/>
                <a:ea typeface="Roboto" panose="02000000000000000000" pitchFamily="2" charset="0"/>
              </a:rPr>
              <a:t>Industrialists 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F8FB4A5D-19A8-4827-A4C8-730CE513098E}"/>
              </a:ext>
            </a:extLst>
          </p:cNvPr>
          <p:cNvSpPr txBox="1"/>
          <p:nvPr/>
        </p:nvSpPr>
        <p:spPr>
          <a:xfrm>
            <a:off x="5090203" y="8780682"/>
            <a:ext cx="1416316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sz="1600">
                <a:latin typeface="Roboto" panose="02000000000000000000" pitchFamily="2" charset="0"/>
                <a:ea typeface="Roboto" panose="02000000000000000000" pitchFamily="2" charset="0"/>
              </a:rPr>
              <a:t>Venture Capitalists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149B766A-640A-4F04-8B58-BE100056290E}"/>
              </a:ext>
            </a:extLst>
          </p:cNvPr>
          <p:cNvSpPr/>
          <p:nvPr/>
        </p:nvSpPr>
        <p:spPr>
          <a:xfrm>
            <a:off x="4317599" y="713829"/>
            <a:ext cx="387113" cy="325644"/>
          </a:xfrm>
          <a:custGeom>
            <a:avLst/>
            <a:gdLst>
              <a:gd name="connsiteX0" fmla="*/ 3147359 w 5432855"/>
              <a:gd name="connsiteY0" fmla="*/ 4387945 h 4570190"/>
              <a:gd name="connsiteX1" fmla="*/ 3292513 w 5432855"/>
              <a:gd name="connsiteY1" fmla="*/ 3752276 h 4570190"/>
              <a:gd name="connsiteX2" fmla="*/ 3536560 w 5432855"/>
              <a:gd name="connsiteY2" fmla="*/ 3446233 h 4570190"/>
              <a:gd name="connsiteX3" fmla="*/ 3821598 w 5432855"/>
              <a:gd name="connsiteY3" fmla="*/ 3308956 h 4570190"/>
              <a:gd name="connsiteX4" fmla="*/ 4187423 w 5432855"/>
              <a:gd name="connsiteY4" fmla="*/ 3416528 h 4570190"/>
              <a:gd name="connsiteX5" fmla="*/ 4553249 w 5432855"/>
              <a:gd name="connsiteY5" fmla="*/ 3308956 h 4570190"/>
              <a:gd name="connsiteX6" fmla="*/ 4838091 w 5432855"/>
              <a:gd name="connsiteY6" fmla="*/ 3446233 h 4570190"/>
              <a:gd name="connsiteX7" fmla="*/ 5082255 w 5432855"/>
              <a:gd name="connsiteY7" fmla="*/ 3752276 h 4570190"/>
              <a:gd name="connsiteX8" fmla="*/ 5227302 w 5432855"/>
              <a:gd name="connsiteY8" fmla="*/ 4387945 h 4570190"/>
              <a:gd name="connsiteX9" fmla="*/ 182057 w 5432855"/>
              <a:gd name="connsiteY9" fmla="*/ 1355141 h 4570190"/>
              <a:gd name="connsiteX10" fmla="*/ 1696304 w 5432855"/>
              <a:gd name="connsiteY10" fmla="*/ 1939756 h 4570190"/>
              <a:gd name="connsiteX11" fmla="*/ 1696304 w 5432855"/>
              <a:gd name="connsiteY11" fmla="*/ 2125677 h 4570190"/>
              <a:gd name="connsiteX12" fmla="*/ 1738285 w 5432855"/>
              <a:gd name="connsiteY12" fmla="*/ 2202368 h 4570190"/>
              <a:gd name="connsiteX13" fmla="*/ 2090139 w 5432855"/>
              <a:gd name="connsiteY13" fmla="*/ 2427438 h 4570190"/>
              <a:gd name="connsiteX14" fmla="*/ 2139243 w 5432855"/>
              <a:gd name="connsiteY14" fmla="*/ 2441830 h 4570190"/>
              <a:gd name="connsiteX15" fmla="*/ 2188307 w 5432855"/>
              <a:gd name="connsiteY15" fmla="*/ 2427438 h 4570190"/>
              <a:gd name="connsiteX16" fmla="*/ 2540200 w 5432855"/>
              <a:gd name="connsiteY16" fmla="*/ 2202368 h 4570190"/>
              <a:gd name="connsiteX17" fmla="*/ 2582299 w 5432855"/>
              <a:gd name="connsiteY17" fmla="*/ 2125677 h 4570190"/>
              <a:gd name="connsiteX18" fmla="*/ 2582299 w 5432855"/>
              <a:gd name="connsiteY18" fmla="*/ 1939756 h 4570190"/>
              <a:gd name="connsiteX19" fmla="*/ 4096545 w 5432855"/>
              <a:gd name="connsiteY19" fmla="*/ 1355141 h 4570190"/>
              <a:gd name="connsiteX20" fmla="*/ 4096545 w 5432855"/>
              <a:gd name="connsiteY20" fmla="*/ 2065894 h 4570190"/>
              <a:gd name="connsiteX21" fmla="*/ 3509060 w 5432855"/>
              <a:gd name="connsiteY21" fmla="*/ 2738066 h 4570190"/>
              <a:gd name="connsiteX22" fmla="*/ 3672397 w 5432855"/>
              <a:gd name="connsiteY22" fmla="*/ 3178781 h 4570190"/>
              <a:gd name="connsiteX23" fmla="*/ 3457820 w 5432855"/>
              <a:gd name="connsiteY23" fmla="*/ 3282072 h 4570190"/>
              <a:gd name="connsiteX24" fmla="*/ 3454489 w 5432855"/>
              <a:gd name="connsiteY24" fmla="*/ 3283758 h 4570190"/>
              <a:gd name="connsiteX25" fmla="*/ 182046 w 5432855"/>
              <a:gd name="connsiteY25" fmla="*/ 3283836 h 4570190"/>
              <a:gd name="connsiteX26" fmla="*/ 2399935 w 5432855"/>
              <a:gd name="connsiteY26" fmla="*/ 1766846 h 4570190"/>
              <a:gd name="connsiteX27" fmla="*/ 1878394 w 5432855"/>
              <a:gd name="connsiteY27" fmla="*/ 1766846 h 4570190"/>
              <a:gd name="connsiteX28" fmla="*/ 1878394 w 5432855"/>
              <a:gd name="connsiteY28" fmla="*/ 2075878 h 4570190"/>
              <a:gd name="connsiteX29" fmla="*/ 2139086 w 5432855"/>
              <a:gd name="connsiteY29" fmla="*/ 2242625 h 4570190"/>
              <a:gd name="connsiteX30" fmla="*/ 2399895 w 5432855"/>
              <a:gd name="connsiteY30" fmla="*/ 2075878 h 4570190"/>
              <a:gd name="connsiteX31" fmla="*/ 4096310 w 5432855"/>
              <a:gd name="connsiteY31" fmla="*/ 934432 h 4570190"/>
              <a:gd name="connsiteX32" fmla="*/ 182057 w 5432855"/>
              <a:gd name="connsiteY32" fmla="*/ 934432 h 4570190"/>
              <a:gd name="connsiteX33" fmla="*/ 182057 w 5432855"/>
              <a:gd name="connsiteY33" fmla="*/ 1159766 h 4570190"/>
              <a:gd name="connsiteX34" fmla="*/ 1696304 w 5432855"/>
              <a:gd name="connsiteY34" fmla="*/ 1744499 h 4570190"/>
              <a:gd name="connsiteX35" fmla="*/ 1696304 w 5432855"/>
              <a:gd name="connsiteY35" fmla="*/ 1675694 h 4570190"/>
              <a:gd name="connsiteX36" fmla="*/ 1787388 w 5432855"/>
              <a:gd name="connsiteY36" fmla="*/ 1584609 h 4570190"/>
              <a:gd name="connsiteX37" fmla="*/ 2491058 w 5432855"/>
              <a:gd name="connsiteY37" fmla="*/ 1584609 h 4570190"/>
              <a:gd name="connsiteX38" fmla="*/ 2582142 w 5432855"/>
              <a:gd name="connsiteY38" fmla="*/ 1675694 h 4570190"/>
              <a:gd name="connsiteX39" fmla="*/ 2582142 w 5432855"/>
              <a:gd name="connsiteY39" fmla="*/ 1744499 h 4570190"/>
              <a:gd name="connsiteX40" fmla="*/ 4096388 w 5432855"/>
              <a:gd name="connsiteY40" fmla="*/ 1159766 h 4570190"/>
              <a:gd name="connsiteX41" fmla="*/ 4096388 w 5432855"/>
              <a:gd name="connsiteY41" fmla="*/ 934432 h 4570190"/>
              <a:gd name="connsiteX42" fmla="*/ 2624975 w 5432855"/>
              <a:gd name="connsiteY42" fmla="*/ 752303 h 4570190"/>
              <a:gd name="connsiteX43" fmla="*/ 1653412 w 5432855"/>
              <a:gd name="connsiteY43" fmla="*/ 752303 h 4570190"/>
              <a:gd name="connsiteX44" fmla="*/ 1653412 w 5432855"/>
              <a:gd name="connsiteY44" fmla="*/ 516564 h 4570190"/>
              <a:gd name="connsiteX45" fmla="*/ 2625014 w 5432855"/>
              <a:gd name="connsiteY45" fmla="*/ 516564 h 4570190"/>
              <a:gd name="connsiteX46" fmla="*/ 1319016 w 5432855"/>
              <a:gd name="connsiteY46" fmla="*/ 467647 h 4570190"/>
              <a:gd name="connsiteX47" fmla="*/ 1319016 w 5432855"/>
              <a:gd name="connsiteY47" fmla="*/ 752303 h 4570190"/>
              <a:gd name="connsiteX48" fmla="*/ 1471214 w 5432855"/>
              <a:gd name="connsiteY48" fmla="*/ 752303 h 4570190"/>
              <a:gd name="connsiteX49" fmla="*/ 1471214 w 5432855"/>
              <a:gd name="connsiteY49" fmla="*/ 467647 h 4570190"/>
              <a:gd name="connsiteX50" fmla="*/ 1604700 w 5432855"/>
              <a:gd name="connsiteY50" fmla="*/ 334318 h 4570190"/>
              <a:gd name="connsiteX51" fmla="*/ 2673765 w 5432855"/>
              <a:gd name="connsiteY51" fmla="*/ 334318 h 4570190"/>
              <a:gd name="connsiteX52" fmla="*/ 2807212 w 5432855"/>
              <a:gd name="connsiteY52" fmla="*/ 467647 h 4570190"/>
              <a:gd name="connsiteX53" fmla="*/ 2807212 w 5432855"/>
              <a:gd name="connsiteY53" fmla="*/ 752303 h 4570190"/>
              <a:gd name="connsiteX54" fmla="*/ 2959293 w 5432855"/>
              <a:gd name="connsiteY54" fmla="*/ 752303 h 4570190"/>
              <a:gd name="connsiteX55" fmla="*/ 2959293 w 5432855"/>
              <a:gd name="connsiteY55" fmla="*/ 467647 h 4570190"/>
              <a:gd name="connsiteX56" fmla="*/ 2673794 w 5432855"/>
              <a:gd name="connsiteY56" fmla="*/ 182080 h 4570190"/>
              <a:gd name="connsiteX57" fmla="*/ 1604632 w 5432855"/>
              <a:gd name="connsiteY57" fmla="*/ 182080 h 4570190"/>
              <a:gd name="connsiteX58" fmla="*/ 1318986 w 5432855"/>
              <a:gd name="connsiteY58" fmla="*/ 467647 h 4570190"/>
              <a:gd name="connsiteX59" fmla="*/ 4683845 w 5432855"/>
              <a:gd name="connsiteY59" fmla="*/ 2738135 h 4570190"/>
              <a:gd name="connsiteX60" fmla="*/ 4187482 w 5432855"/>
              <a:gd name="connsiteY60" fmla="*/ 2241772 h 4570190"/>
              <a:gd name="connsiteX61" fmla="*/ 3691120 w 5432855"/>
              <a:gd name="connsiteY61" fmla="*/ 2738135 h 4570190"/>
              <a:gd name="connsiteX62" fmla="*/ 4187482 w 5432855"/>
              <a:gd name="connsiteY62" fmla="*/ 3234497 h 4570190"/>
              <a:gd name="connsiteX63" fmla="*/ 4683845 w 5432855"/>
              <a:gd name="connsiteY63" fmla="*/ 2738135 h 4570190"/>
              <a:gd name="connsiteX64" fmla="*/ 5430573 w 5432855"/>
              <a:gd name="connsiteY64" fmla="*/ 4458807 h 4570190"/>
              <a:gd name="connsiteX65" fmla="*/ 5260123 w 5432855"/>
              <a:gd name="connsiteY65" fmla="*/ 3711853 h 4570190"/>
              <a:gd name="connsiteX66" fmla="*/ 4917448 w 5432855"/>
              <a:gd name="connsiteY66" fmla="*/ 3282161 h 4570190"/>
              <a:gd name="connsiteX67" fmla="*/ 4702832 w 5432855"/>
              <a:gd name="connsiteY67" fmla="*/ 3178869 h 4570190"/>
              <a:gd name="connsiteX68" fmla="*/ 4866170 w 5432855"/>
              <a:gd name="connsiteY68" fmla="*/ 2738155 h 4570190"/>
              <a:gd name="connsiteX69" fmla="*/ 4278723 w 5432855"/>
              <a:gd name="connsiteY69" fmla="*/ 2065982 h 4570190"/>
              <a:gd name="connsiteX70" fmla="*/ 4278684 w 5432855"/>
              <a:gd name="connsiteY70" fmla="*/ 843397 h 4570190"/>
              <a:gd name="connsiteX71" fmla="*/ 4187600 w 5432855"/>
              <a:gd name="connsiteY71" fmla="*/ 752313 h 4570190"/>
              <a:gd name="connsiteX72" fmla="*/ 3141559 w 5432855"/>
              <a:gd name="connsiteY72" fmla="*/ 752352 h 4570190"/>
              <a:gd name="connsiteX73" fmla="*/ 3141559 w 5432855"/>
              <a:gd name="connsiteY73" fmla="*/ 467696 h 4570190"/>
              <a:gd name="connsiteX74" fmla="*/ 2673902 w 5432855"/>
              <a:gd name="connsiteY74" fmla="*/ 0 h 4570190"/>
              <a:gd name="connsiteX75" fmla="*/ 1604740 w 5432855"/>
              <a:gd name="connsiteY75" fmla="*/ 0 h 4570190"/>
              <a:gd name="connsiteX76" fmla="*/ 1136926 w 5432855"/>
              <a:gd name="connsiteY76" fmla="*/ 467696 h 4570190"/>
              <a:gd name="connsiteX77" fmla="*/ 1136926 w 5432855"/>
              <a:gd name="connsiteY77" fmla="*/ 752352 h 4570190"/>
              <a:gd name="connsiteX78" fmla="*/ 91083 w 5432855"/>
              <a:gd name="connsiteY78" fmla="*/ 752352 h 4570190"/>
              <a:gd name="connsiteX79" fmla="*/ 0 w 5432855"/>
              <a:gd name="connsiteY79" fmla="*/ 843436 h 4570190"/>
              <a:gd name="connsiteX80" fmla="*/ 0 w 5432855"/>
              <a:gd name="connsiteY80" fmla="*/ 3375018 h 4570190"/>
              <a:gd name="connsiteX81" fmla="*/ 91083 w 5432855"/>
              <a:gd name="connsiteY81" fmla="*/ 3466102 h 4570190"/>
              <a:gd name="connsiteX82" fmla="*/ 3228518 w 5432855"/>
              <a:gd name="connsiteY82" fmla="*/ 3466102 h 4570190"/>
              <a:gd name="connsiteX83" fmla="*/ 3115048 w 5432855"/>
              <a:gd name="connsiteY83" fmla="*/ 3711912 h 4570190"/>
              <a:gd name="connsiteX84" fmla="*/ 2944519 w 5432855"/>
              <a:gd name="connsiteY84" fmla="*/ 4458866 h 4570190"/>
              <a:gd name="connsiteX85" fmla="*/ 2962085 w 5432855"/>
              <a:gd name="connsiteY85" fmla="*/ 4535901 h 4570190"/>
              <a:gd name="connsiteX86" fmla="*/ 3033349 w 5432855"/>
              <a:gd name="connsiteY86" fmla="*/ 4570191 h 4570190"/>
              <a:gd name="connsiteX87" fmla="*/ 5341752 w 5432855"/>
              <a:gd name="connsiteY87" fmla="*/ 4570191 h 4570190"/>
              <a:gd name="connsiteX88" fmla="*/ 5413007 w 5432855"/>
              <a:gd name="connsiteY88" fmla="*/ 4535901 h 4570190"/>
              <a:gd name="connsiteX89" fmla="*/ 5430612 w 5432855"/>
              <a:gd name="connsiteY89" fmla="*/ 4458827 h 4570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5432855" h="4570190">
                <a:moveTo>
                  <a:pt x="3147359" y="4387945"/>
                </a:moveTo>
                <a:lnTo>
                  <a:pt x="3292513" y="3752276"/>
                </a:lnTo>
                <a:cubicBezTo>
                  <a:pt x="3324168" y="3613735"/>
                  <a:pt x="3408511" y="3507955"/>
                  <a:pt x="3536560" y="3446233"/>
                </a:cubicBezTo>
                <a:lnTo>
                  <a:pt x="3821598" y="3308956"/>
                </a:lnTo>
                <a:cubicBezTo>
                  <a:pt x="3927260" y="3376889"/>
                  <a:pt x="4052752" y="3416528"/>
                  <a:pt x="4187423" y="3416528"/>
                </a:cubicBezTo>
                <a:cubicBezTo>
                  <a:pt x="4322056" y="3416528"/>
                  <a:pt x="4447547" y="3376879"/>
                  <a:pt x="4553249" y="3308956"/>
                </a:cubicBezTo>
                <a:lnTo>
                  <a:pt x="4838091" y="3446233"/>
                </a:lnTo>
                <a:cubicBezTo>
                  <a:pt x="4966139" y="3507965"/>
                  <a:pt x="5050572" y="3613745"/>
                  <a:pt x="5082255" y="3752276"/>
                </a:cubicBezTo>
                <a:lnTo>
                  <a:pt x="5227302" y="4387945"/>
                </a:lnTo>
                <a:close/>
                <a:moveTo>
                  <a:pt x="182057" y="1355141"/>
                </a:moveTo>
                <a:lnTo>
                  <a:pt x="1696304" y="1939756"/>
                </a:lnTo>
                <a:lnTo>
                  <a:pt x="1696304" y="2125677"/>
                </a:lnTo>
                <a:cubicBezTo>
                  <a:pt x="1696304" y="2156714"/>
                  <a:pt x="1712146" y="2185684"/>
                  <a:pt x="1738285" y="2202368"/>
                </a:cubicBezTo>
                <a:lnTo>
                  <a:pt x="2090139" y="2427438"/>
                </a:lnTo>
                <a:cubicBezTo>
                  <a:pt x="2105070" y="2436971"/>
                  <a:pt x="2122176" y="2441830"/>
                  <a:pt x="2139243" y="2441830"/>
                </a:cubicBezTo>
                <a:cubicBezTo>
                  <a:pt x="2156348" y="2441830"/>
                  <a:pt x="2173415" y="2437010"/>
                  <a:pt x="2188307" y="2427438"/>
                </a:cubicBezTo>
                <a:lnTo>
                  <a:pt x="2540200" y="2202368"/>
                </a:lnTo>
                <a:cubicBezTo>
                  <a:pt x="2566418" y="2185645"/>
                  <a:pt x="2582299" y="2156714"/>
                  <a:pt x="2582299" y="2125677"/>
                </a:cubicBezTo>
                <a:lnTo>
                  <a:pt x="2582299" y="1939756"/>
                </a:lnTo>
                <a:lnTo>
                  <a:pt x="4096545" y="1355141"/>
                </a:lnTo>
                <a:lnTo>
                  <a:pt x="4096545" y="2065894"/>
                </a:lnTo>
                <a:cubicBezTo>
                  <a:pt x="3765314" y="2110520"/>
                  <a:pt x="3509060" y="2394863"/>
                  <a:pt x="3509060" y="2738066"/>
                </a:cubicBezTo>
                <a:cubicBezTo>
                  <a:pt x="3509060" y="2906185"/>
                  <a:pt x="3570713" y="3060069"/>
                  <a:pt x="3672397" y="3178781"/>
                </a:cubicBezTo>
                <a:lnTo>
                  <a:pt x="3457820" y="3282072"/>
                </a:lnTo>
                <a:cubicBezTo>
                  <a:pt x="3456596" y="3282611"/>
                  <a:pt x="3455636" y="3283219"/>
                  <a:pt x="3454489" y="3283758"/>
                </a:cubicBezTo>
                <a:lnTo>
                  <a:pt x="182046" y="3283836"/>
                </a:lnTo>
                <a:close/>
                <a:moveTo>
                  <a:pt x="2399935" y="1766846"/>
                </a:moveTo>
                <a:lnTo>
                  <a:pt x="1878394" y="1766846"/>
                </a:lnTo>
                <a:lnTo>
                  <a:pt x="1878394" y="2075878"/>
                </a:lnTo>
                <a:lnTo>
                  <a:pt x="2139086" y="2242625"/>
                </a:lnTo>
                <a:lnTo>
                  <a:pt x="2399895" y="2075878"/>
                </a:lnTo>
                <a:close/>
                <a:moveTo>
                  <a:pt x="4096310" y="934432"/>
                </a:moveTo>
                <a:lnTo>
                  <a:pt x="182057" y="934432"/>
                </a:lnTo>
                <a:lnTo>
                  <a:pt x="182057" y="1159766"/>
                </a:lnTo>
                <a:lnTo>
                  <a:pt x="1696304" y="1744499"/>
                </a:lnTo>
                <a:lnTo>
                  <a:pt x="1696304" y="1675694"/>
                </a:lnTo>
                <a:cubicBezTo>
                  <a:pt x="1696304" y="1625326"/>
                  <a:pt x="1737138" y="1584609"/>
                  <a:pt x="1787388" y="1584609"/>
                </a:cubicBezTo>
                <a:lnTo>
                  <a:pt x="2491058" y="1584609"/>
                </a:lnTo>
                <a:cubicBezTo>
                  <a:pt x="2541268" y="1584609"/>
                  <a:pt x="2582142" y="1625326"/>
                  <a:pt x="2582142" y="1675694"/>
                </a:cubicBezTo>
                <a:lnTo>
                  <a:pt x="2582142" y="1744499"/>
                </a:lnTo>
                <a:lnTo>
                  <a:pt x="4096388" y="1159766"/>
                </a:lnTo>
                <a:lnTo>
                  <a:pt x="4096388" y="934432"/>
                </a:lnTo>
                <a:close/>
                <a:moveTo>
                  <a:pt x="2624975" y="752303"/>
                </a:moveTo>
                <a:lnTo>
                  <a:pt x="1653412" y="752303"/>
                </a:lnTo>
                <a:lnTo>
                  <a:pt x="1653412" y="516564"/>
                </a:lnTo>
                <a:lnTo>
                  <a:pt x="2625014" y="516564"/>
                </a:lnTo>
                <a:close/>
                <a:moveTo>
                  <a:pt x="1319016" y="467647"/>
                </a:moveTo>
                <a:lnTo>
                  <a:pt x="1319016" y="752303"/>
                </a:lnTo>
                <a:lnTo>
                  <a:pt x="1471214" y="752303"/>
                </a:lnTo>
                <a:lnTo>
                  <a:pt x="1471214" y="467647"/>
                </a:lnTo>
                <a:cubicBezTo>
                  <a:pt x="1471214" y="394130"/>
                  <a:pt x="1531065" y="334318"/>
                  <a:pt x="1604700" y="334318"/>
                </a:cubicBezTo>
                <a:lnTo>
                  <a:pt x="2673765" y="334318"/>
                </a:lnTo>
                <a:cubicBezTo>
                  <a:pt x="2747283" y="334318"/>
                  <a:pt x="2807212" y="394134"/>
                  <a:pt x="2807212" y="467647"/>
                </a:cubicBezTo>
                <a:lnTo>
                  <a:pt x="2807212" y="752303"/>
                </a:lnTo>
                <a:lnTo>
                  <a:pt x="2959293" y="752303"/>
                </a:lnTo>
                <a:lnTo>
                  <a:pt x="2959293" y="467647"/>
                </a:lnTo>
                <a:cubicBezTo>
                  <a:pt x="2959293" y="310129"/>
                  <a:pt x="2831283" y="182080"/>
                  <a:pt x="2673794" y="182080"/>
                </a:cubicBezTo>
                <a:lnTo>
                  <a:pt x="1604632" y="182080"/>
                </a:lnTo>
                <a:cubicBezTo>
                  <a:pt x="1447153" y="182080"/>
                  <a:pt x="1318986" y="310129"/>
                  <a:pt x="1318986" y="467647"/>
                </a:cubicBezTo>
                <a:close/>
                <a:moveTo>
                  <a:pt x="4683845" y="2738135"/>
                </a:moveTo>
                <a:cubicBezTo>
                  <a:pt x="4683845" y="2464462"/>
                  <a:pt x="4461155" y="2241772"/>
                  <a:pt x="4187482" y="2241772"/>
                </a:cubicBezTo>
                <a:cubicBezTo>
                  <a:pt x="3913809" y="2241772"/>
                  <a:pt x="3691120" y="2464462"/>
                  <a:pt x="3691120" y="2738135"/>
                </a:cubicBezTo>
                <a:cubicBezTo>
                  <a:pt x="3691120" y="3011809"/>
                  <a:pt x="3913809" y="3234497"/>
                  <a:pt x="4187482" y="3234497"/>
                </a:cubicBezTo>
                <a:cubicBezTo>
                  <a:pt x="4461155" y="3234458"/>
                  <a:pt x="4683845" y="3011769"/>
                  <a:pt x="4683845" y="2738135"/>
                </a:cubicBezTo>
                <a:close/>
                <a:moveTo>
                  <a:pt x="5430573" y="4458807"/>
                </a:moveTo>
                <a:lnTo>
                  <a:pt x="5260123" y="3711853"/>
                </a:lnTo>
                <a:cubicBezTo>
                  <a:pt x="5215575" y="3517361"/>
                  <a:pt x="5097245" y="3368728"/>
                  <a:pt x="4917448" y="3282161"/>
                </a:cubicBezTo>
                <a:lnTo>
                  <a:pt x="4702832" y="3178869"/>
                </a:lnTo>
                <a:cubicBezTo>
                  <a:pt x="4804477" y="3060157"/>
                  <a:pt x="4866170" y="2906234"/>
                  <a:pt x="4866170" y="2738155"/>
                </a:cubicBezTo>
                <a:cubicBezTo>
                  <a:pt x="4866170" y="2394912"/>
                  <a:pt x="4609955" y="2110560"/>
                  <a:pt x="4278723" y="2065982"/>
                </a:cubicBezTo>
                <a:lnTo>
                  <a:pt x="4278684" y="843397"/>
                </a:lnTo>
                <a:cubicBezTo>
                  <a:pt x="4278684" y="793147"/>
                  <a:pt x="4237810" y="752313"/>
                  <a:pt x="4187600" y="752313"/>
                </a:cubicBezTo>
                <a:lnTo>
                  <a:pt x="3141559" y="752352"/>
                </a:lnTo>
                <a:lnTo>
                  <a:pt x="3141559" y="467696"/>
                </a:lnTo>
                <a:cubicBezTo>
                  <a:pt x="3141559" y="209796"/>
                  <a:pt x="2931763" y="0"/>
                  <a:pt x="2673902" y="0"/>
                </a:cubicBezTo>
                <a:lnTo>
                  <a:pt x="1604740" y="0"/>
                </a:lnTo>
                <a:cubicBezTo>
                  <a:pt x="1346761" y="0"/>
                  <a:pt x="1136926" y="209796"/>
                  <a:pt x="1136926" y="467696"/>
                </a:cubicBezTo>
                <a:lnTo>
                  <a:pt x="1136926" y="752352"/>
                </a:lnTo>
                <a:lnTo>
                  <a:pt x="91083" y="752352"/>
                </a:lnTo>
                <a:cubicBezTo>
                  <a:pt x="40834" y="752352"/>
                  <a:pt x="0" y="793187"/>
                  <a:pt x="0" y="843436"/>
                </a:cubicBezTo>
                <a:lnTo>
                  <a:pt x="0" y="3375018"/>
                </a:lnTo>
                <a:cubicBezTo>
                  <a:pt x="0" y="3425267"/>
                  <a:pt x="40834" y="3466102"/>
                  <a:pt x="91083" y="3466102"/>
                </a:cubicBezTo>
                <a:lnTo>
                  <a:pt x="3228518" y="3466102"/>
                </a:lnTo>
                <a:cubicBezTo>
                  <a:pt x="3174712" y="3536367"/>
                  <a:pt x="3136249" y="3618800"/>
                  <a:pt x="3115048" y="3711912"/>
                </a:cubicBezTo>
                <a:lnTo>
                  <a:pt x="2944519" y="4458866"/>
                </a:lnTo>
                <a:cubicBezTo>
                  <a:pt x="2938356" y="4485847"/>
                  <a:pt x="2944901" y="4514279"/>
                  <a:pt x="2962085" y="4535901"/>
                </a:cubicBezTo>
                <a:cubicBezTo>
                  <a:pt x="2979387" y="4557641"/>
                  <a:pt x="3005604" y="4570191"/>
                  <a:pt x="3033349" y="4570191"/>
                </a:cubicBezTo>
                <a:lnTo>
                  <a:pt x="5341752" y="4570191"/>
                </a:lnTo>
                <a:cubicBezTo>
                  <a:pt x="5369498" y="4570191"/>
                  <a:pt x="5395636" y="4557641"/>
                  <a:pt x="5413007" y="4535901"/>
                </a:cubicBezTo>
                <a:cubicBezTo>
                  <a:pt x="5430270" y="4514239"/>
                  <a:pt x="5436697" y="4485808"/>
                  <a:pt x="5430612" y="4458827"/>
                </a:cubicBezTo>
                <a:close/>
              </a:path>
            </a:pathLst>
          </a:custGeom>
          <a:solidFill>
            <a:srgbClr val="191925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3691C514-C572-4832-BFAE-90730E824FFA}"/>
              </a:ext>
            </a:extLst>
          </p:cNvPr>
          <p:cNvGrpSpPr/>
          <p:nvPr/>
        </p:nvGrpSpPr>
        <p:grpSpPr>
          <a:xfrm>
            <a:off x="4324211" y="1905728"/>
            <a:ext cx="361231" cy="356678"/>
            <a:chOff x="-6349248" y="2056783"/>
            <a:chExt cx="5320680" cy="5253637"/>
          </a:xfrm>
          <a:solidFill>
            <a:srgbClr val="5DB0EE"/>
          </a:solidFill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DAF1EE9D-0D7B-417B-A87A-1684FD6BED9A}"/>
                </a:ext>
              </a:extLst>
            </p:cNvPr>
            <p:cNvSpPr/>
            <p:nvPr/>
          </p:nvSpPr>
          <p:spPr>
            <a:xfrm>
              <a:off x="-3872004" y="2755041"/>
              <a:ext cx="432259" cy="656674"/>
            </a:xfrm>
            <a:custGeom>
              <a:avLst/>
              <a:gdLst>
                <a:gd name="connsiteX0" fmla="*/ 249377 w 432259"/>
                <a:gd name="connsiteY0" fmla="*/ 282620 h 656674"/>
                <a:gd name="connsiteX1" fmla="*/ 249377 w 432259"/>
                <a:gd name="connsiteY1" fmla="*/ 132988 h 656674"/>
                <a:gd name="connsiteX2" fmla="*/ 365757 w 432259"/>
                <a:gd name="connsiteY2" fmla="*/ 182856 h 656674"/>
                <a:gd name="connsiteX3" fmla="*/ 415624 w 432259"/>
                <a:gd name="connsiteY3" fmla="*/ 108036 h 656674"/>
                <a:gd name="connsiteX4" fmla="*/ 249377 w 432259"/>
                <a:gd name="connsiteY4" fmla="*/ 49865 h 656674"/>
                <a:gd name="connsiteX5" fmla="*/ 249377 w 432259"/>
                <a:gd name="connsiteY5" fmla="*/ 0 h 656674"/>
                <a:gd name="connsiteX6" fmla="*/ 199509 w 432259"/>
                <a:gd name="connsiteY6" fmla="*/ 0 h 656674"/>
                <a:gd name="connsiteX7" fmla="*/ 199509 w 432259"/>
                <a:gd name="connsiteY7" fmla="*/ 41561 h 656674"/>
                <a:gd name="connsiteX8" fmla="*/ 24963 w 432259"/>
                <a:gd name="connsiteY8" fmla="*/ 199501 h 656674"/>
                <a:gd name="connsiteX9" fmla="*/ 199509 w 432259"/>
                <a:gd name="connsiteY9" fmla="*/ 357441 h 656674"/>
                <a:gd name="connsiteX10" fmla="*/ 199509 w 432259"/>
                <a:gd name="connsiteY10" fmla="*/ 515381 h 656674"/>
                <a:gd name="connsiteX11" fmla="*/ 58175 w 432259"/>
                <a:gd name="connsiteY11" fmla="*/ 448868 h 656674"/>
                <a:gd name="connsiteX12" fmla="*/ 0 w 432259"/>
                <a:gd name="connsiteY12" fmla="*/ 515381 h 656674"/>
                <a:gd name="connsiteX13" fmla="*/ 199499 w 432259"/>
                <a:gd name="connsiteY13" fmla="*/ 598500 h 656674"/>
                <a:gd name="connsiteX14" fmla="*/ 199499 w 432259"/>
                <a:gd name="connsiteY14" fmla="*/ 656675 h 656674"/>
                <a:gd name="connsiteX15" fmla="*/ 249367 w 432259"/>
                <a:gd name="connsiteY15" fmla="*/ 656675 h 656674"/>
                <a:gd name="connsiteX16" fmla="*/ 249367 w 432259"/>
                <a:gd name="connsiteY16" fmla="*/ 598500 h 656674"/>
                <a:gd name="connsiteX17" fmla="*/ 432260 w 432259"/>
                <a:gd name="connsiteY17" fmla="*/ 440560 h 656674"/>
                <a:gd name="connsiteX18" fmla="*/ 249367 w 432259"/>
                <a:gd name="connsiteY18" fmla="*/ 282620 h 656674"/>
                <a:gd name="connsiteX19" fmla="*/ 199470 w 432259"/>
                <a:gd name="connsiteY19" fmla="*/ 266014 h 656674"/>
                <a:gd name="connsiteX20" fmla="*/ 124659 w 432259"/>
                <a:gd name="connsiteY20" fmla="*/ 191193 h 656674"/>
                <a:gd name="connsiteX21" fmla="*/ 199470 w 432259"/>
                <a:gd name="connsiteY21" fmla="*/ 124679 h 656674"/>
                <a:gd name="connsiteX22" fmla="*/ 249377 w 432259"/>
                <a:gd name="connsiteY22" fmla="*/ 523689 h 656674"/>
                <a:gd name="connsiteX23" fmla="*/ 249377 w 432259"/>
                <a:gd name="connsiteY23" fmla="*/ 382355 h 656674"/>
                <a:gd name="connsiteX24" fmla="*/ 332495 w 432259"/>
                <a:gd name="connsiteY24" fmla="*/ 457166 h 656674"/>
                <a:gd name="connsiteX25" fmla="*/ 249377 w 432259"/>
                <a:gd name="connsiteY25" fmla="*/ 523679 h 65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2259" h="656674">
                  <a:moveTo>
                    <a:pt x="249377" y="282620"/>
                  </a:moveTo>
                  <a:lnTo>
                    <a:pt x="249377" y="132988"/>
                  </a:lnTo>
                  <a:cubicBezTo>
                    <a:pt x="290936" y="141293"/>
                    <a:pt x="332495" y="157941"/>
                    <a:pt x="365757" y="182856"/>
                  </a:cubicBezTo>
                  <a:lnTo>
                    <a:pt x="415624" y="108036"/>
                  </a:lnTo>
                  <a:cubicBezTo>
                    <a:pt x="365757" y="74780"/>
                    <a:pt x="307552" y="49865"/>
                    <a:pt x="249377" y="49865"/>
                  </a:cubicBezTo>
                  <a:lnTo>
                    <a:pt x="249377" y="0"/>
                  </a:lnTo>
                  <a:lnTo>
                    <a:pt x="199509" y="0"/>
                  </a:lnTo>
                  <a:lnTo>
                    <a:pt x="199509" y="41561"/>
                  </a:lnTo>
                  <a:cubicBezTo>
                    <a:pt x="99735" y="49866"/>
                    <a:pt x="24963" y="108075"/>
                    <a:pt x="24963" y="199501"/>
                  </a:cubicBezTo>
                  <a:cubicBezTo>
                    <a:pt x="24963" y="299275"/>
                    <a:pt x="91476" y="332488"/>
                    <a:pt x="199509" y="357441"/>
                  </a:cubicBezTo>
                  <a:lnTo>
                    <a:pt x="199509" y="515381"/>
                  </a:lnTo>
                  <a:cubicBezTo>
                    <a:pt x="149641" y="507073"/>
                    <a:pt x="108082" y="482119"/>
                    <a:pt x="58175" y="448868"/>
                  </a:cubicBezTo>
                  <a:lnTo>
                    <a:pt x="0" y="515381"/>
                  </a:lnTo>
                  <a:cubicBezTo>
                    <a:pt x="58175" y="565248"/>
                    <a:pt x="124698" y="598500"/>
                    <a:pt x="199499" y="598500"/>
                  </a:cubicBezTo>
                  <a:lnTo>
                    <a:pt x="199499" y="656675"/>
                  </a:lnTo>
                  <a:lnTo>
                    <a:pt x="249367" y="656675"/>
                  </a:lnTo>
                  <a:lnTo>
                    <a:pt x="249367" y="598500"/>
                  </a:lnTo>
                  <a:cubicBezTo>
                    <a:pt x="349141" y="590201"/>
                    <a:pt x="432260" y="540334"/>
                    <a:pt x="432260" y="440560"/>
                  </a:cubicBezTo>
                  <a:cubicBezTo>
                    <a:pt x="432221" y="340786"/>
                    <a:pt x="357409" y="307573"/>
                    <a:pt x="249367" y="282620"/>
                  </a:cubicBezTo>
                  <a:close/>
                  <a:moveTo>
                    <a:pt x="199470" y="266014"/>
                  </a:moveTo>
                  <a:cubicBezTo>
                    <a:pt x="157910" y="249398"/>
                    <a:pt x="124659" y="241061"/>
                    <a:pt x="124659" y="191193"/>
                  </a:cubicBezTo>
                  <a:cubicBezTo>
                    <a:pt x="124659" y="149632"/>
                    <a:pt x="157910" y="124679"/>
                    <a:pt x="199470" y="124679"/>
                  </a:cubicBezTo>
                  <a:close/>
                  <a:moveTo>
                    <a:pt x="249377" y="523689"/>
                  </a:moveTo>
                  <a:lnTo>
                    <a:pt x="249377" y="382355"/>
                  </a:lnTo>
                  <a:cubicBezTo>
                    <a:pt x="299244" y="398961"/>
                    <a:pt x="332495" y="407308"/>
                    <a:pt x="332495" y="457166"/>
                  </a:cubicBezTo>
                  <a:cubicBezTo>
                    <a:pt x="332495" y="498765"/>
                    <a:pt x="290936" y="515381"/>
                    <a:pt x="249377" y="523679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DA989022-11BE-4889-817C-4ECEC599E666}"/>
                </a:ext>
              </a:extLst>
            </p:cNvPr>
            <p:cNvSpPr/>
            <p:nvPr/>
          </p:nvSpPr>
          <p:spPr>
            <a:xfrm>
              <a:off x="-4345912" y="2397595"/>
              <a:ext cx="1379947" cy="1379947"/>
            </a:xfrm>
            <a:custGeom>
              <a:avLst/>
              <a:gdLst>
                <a:gd name="connsiteX0" fmla="*/ 689974 w 1379947"/>
                <a:gd name="connsiteY0" fmla="*/ 0 h 1379947"/>
                <a:gd name="connsiteX1" fmla="*/ 0 w 1379947"/>
                <a:gd name="connsiteY1" fmla="*/ 689974 h 1379947"/>
                <a:gd name="connsiteX2" fmla="*/ 689974 w 1379947"/>
                <a:gd name="connsiteY2" fmla="*/ 1379947 h 1379947"/>
                <a:gd name="connsiteX3" fmla="*/ 1379947 w 1379947"/>
                <a:gd name="connsiteY3" fmla="*/ 689974 h 1379947"/>
                <a:gd name="connsiteX4" fmla="*/ 689974 w 1379947"/>
                <a:gd name="connsiteY4" fmla="*/ 0 h 1379947"/>
                <a:gd name="connsiteX5" fmla="*/ 689974 w 1379947"/>
                <a:gd name="connsiteY5" fmla="*/ 1213670 h 1379947"/>
                <a:gd name="connsiteX6" fmla="*/ 166287 w 1379947"/>
                <a:gd name="connsiteY6" fmla="*/ 689983 h 1379947"/>
                <a:gd name="connsiteX7" fmla="*/ 689974 w 1379947"/>
                <a:gd name="connsiteY7" fmla="*/ 166297 h 1379947"/>
                <a:gd name="connsiteX8" fmla="*/ 1213660 w 1379947"/>
                <a:gd name="connsiteY8" fmla="*/ 689983 h 1379947"/>
                <a:gd name="connsiteX9" fmla="*/ 689974 w 1379947"/>
                <a:gd name="connsiteY9" fmla="*/ 1213670 h 137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79947" h="1379947">
                  <a:moveTo>
                    <a:pt x="689974" y="0"/>
                  </a:moveTo>
                  <a:cubicBezTo>
                    <a:pt x="307582" y="0"/>
                    <a:pt x="0" y="307581"/>
                    <a:pt x="0" y="689974"/>
                  </a:cubicBezTo>
                  <a:cubicBezTo>
                    <a:pt x="0" y="1072366"/>
                    <a:pt x="307582" y="1379947"/>
                    <a:pt x="689974" y="1379947"/>
                  </a:cubicBezTo>
                  <a:cubicBezTo>
                    <a:pt x="1072366" y="1379947"/>
                    <a:pt x="1379947" y="1072366"/>
                    <a:pt x="1379947" y="689974"/>
                  </a:cubicBezTo>
                  <a:cubicBezTo>
                    <a:pt x="1379908" y="315880"/>
                    <a:pt x="1072366" y="0"/>
                    <a:pt x="689974" y="0"/>
                  </a:cubicBezTo>
                  <a:close/>
                  <a:moveTo>
                    <a:pt x="689974" y="1213670"/>
                  </a:moveTo>
                  <a:cubicBezTo>
                    <a:pt x="399048" y="1213670"/>
                    <a:pt x="166287" y="980910"/>
                    <a:pt x="166287" y="689983"/>
                  </a:cubicBezTo>
                  <a:cubicBezTo>
                    <a:pt x="166287" y="399057"/>
                    <a:pt x="399048" y="166297"/>
                    <a:pt x="689974" y="166297"/>
                  </a:cubicBezTo>
                  <a:cubicBezTo>
                    <a:pt x="980900" y="166297"/>
                    <a:pt x="1213660" y="399057"/>
                    <a:pt x="1213660" y="689983"/>
                  </a:cubicBezTo>
                  <a:cubicBezTo>
                    <a:pt x="1213660" y="980910"/>
                    <a:pt x="980900" y="1213670"/>
                    <a:pt x="689974" y="121367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6F2B5DB0-31D6-4906-A80F-251738544FDA}"/>
                </a:ext>
              </a:extLst>
            </p:cNvPr>
            <p:cNvSpPr/>
            <p:nvPr/>
          </p:nvSpPr>
          <p:spPr>
            <a:xfrm>
              <a:off x="-2808035" y="2788256"/>
              <a:ext cx="598546" cy="598546"/>
            </a:xfrm>
            <a:custGeom>
              <a:avLst/>
              <a:gdLst>
                <a:gd name="connsiteX0" fmla="*/ 598547 w 598546"/>
                <a:gd name="connsiteY0" fmla="*/ 299273 h 598546"/>
                <a:gd name="connsiteX1" fmla="*/ 299273 w 598546"/>
                <a:gd name="connsiteY1" fmla="*/ 0 h 598546"/>
                <a:gd name="connsiteX2" fmla="*/ 0 w 598546"/>
                <a:gd name="connsiteY2" fmla="*/ 299273 h 598546"/>
                <a:gd name="connsiteX3" fmla="*/ 299273 w 598546"/>
                <a:gd name="connsiteY3" fmla="*/ 598547 h 598546"/>
                <a:gd name="connsiteX4" fmla="*/ 598547 w 598546"/>
                <a:gd name="connsiteY4" fmla="*/ 299273 h 598546"/>
                <a:gd name="connsiteX5" fmla="*/ 299273 w 598546"/>
                <a:gd name="connsiteY5" fmla="*/ 432299 h 598546"/>
                <a:gd name="connsiteX6" fmla="*/ 166287 w 598546"/>
                <a:gd name="connsiteY6" fmla="*/ 299313 h 598546"/>
                <a:gd name="connsiteX7" fmla="*/ 299273 w 598546"/>
                <a:gd name="connsiteY7" fmla="*/ 166326 h 598546"/>
                <a:gd name="connsiteX8" fmla="*/ 432260 w 598546"/>
                <a:gd name="connsiteY8" fmla="*/ 299313 h 598546"/>
                <a:gd name="connsiteX9" fmla="*/ 299273 w 598546"/>
                <a:gd name="connsiteY9" fmla="*/ 432299 h 598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8546" h="598546">
                  <a:moveTo>
                    <a:pt x="598547" y="299273"/>
                  </a:moveTo>
                  <a:cubicBezTo>
                    <a:pt x="598547" y="133026"/>
                    <a:pt x="465560" y="0"/>
                    <a:pt x="299273" y="0"/>
                  </a:cubicBezTo>
                  <a:cubicBezTo>
                    <a:pt x="133026" y="0"/>
                    <a:pt x="0" y="132986"/>
                    <a:pt x="0" y="299273"/>
                  </a:cubicBezTo>
                  <a:cubicBezTo>
                    <a:pt x="0" y="465521"/>
                    <a:pt x="132986" y="598547"/>
                    <a:pt x="299273" y="598547"/>
                  </a:cubicBezTo>
                  <a:cubicBezTo>
                    <a:pt x="465521" y="598547"/>
                    <a:pt x="598547" y="465560"/>
                    <a:pt x="598547" y="299273"/>
                  </a:cubicBezTo>
                  <a:close/>
                  <a:moveTo>
                    <a:pt x="299273" y="432299"/>
                  </a:moveTo>
                  <a:cubicBezTo>
                    <a:pt x="224453" y="432299"/>
                    <a:pt x="166287" y="374124"/>
                    <a:pt x="166287" y="299313"/>
                  </a:cubicBezTo>
                  <a:cubicBezTo>
                    <a:pt x="166287" y="224492"/>
                    <a:pt x="224453" y="166326"/>
                    <a:pt x="299273" y="166326"/>
                  </a:cubicBezTo>
                  <a:cubicBezTo>
                    <a:pt x="374094" y="166326"/>
                    <a:pt x="432260" y="224492"/>
                    <a:pt x="432260" y="299313"/>
                  </a:cubicBezTo>
                  <a:cubicBezTo>
                    <a:pt x="432299" y="374094"/>
                    <a:pt x="374094" y="432299"/>
                    <a:pt x="299273" y="432299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1BB7DD90-C4B5-451E-B9B7-466127C8AE3B}"/>
                </a:ext>
              </a:extLst>
            </p:cNvPr>
            <p:cNvSpPr/>
            <p:nvPr/>
          </p:nvSpPr>
          <p:spPr>
            <a:xfrm>
              <a:off x="-5102359" y="2788295"/>
              <a:ext cx="598546" cy="598546"/>
            </a:xfrm>
            <a:custGeom>
              <a:avLst/>
              <a:gdLst>
                <a:gd name="connsiteX0" fmla="*/ 299273 w 598546"/>
                <a:gd name="connsiteY0" fmla="*/ 0 h 598546"/>
                <a:gd name="connsiteX1" fmla="*/ 0 w 598546"/>
                <a:gd name="connsiteY1" fmla="*/ 299273 h 598546"/>
                <a:gd name="connsiteX2" fmla="*/ 299273 w 598546"/>
                <a:gd name="connsiteY2" fmla="*/ 598547 h 598546"/>
                <a:gd name="connsiteX3" fmla="*/ 598546 w 598546"/>
                <a:gd name="connsiteY3" fmla="*/ 299273 h 598546"/>
                <a:gd name="connsiteX4" fmla="*/ 299273 w 598546"/>
                <a:gd name="connsiteY4" fmla="*/ 0 h 598546"/>
                <a:gd name="connsiteX5" fmla="*/ 299273 w 598546"/>
                <a:gd name="connsiteY5" fmla="*/ 432260 h 598546"/>
                <a:gd name="connsiteX6" fmla="*/ 166287 w 598546"/>
                <a:gd name="connsiteY6" fmla="*/ 299273 h 598546"/>
                <a:gd name="connsiteX7" fmla="*/ 299273 w 598546"/>
                <a:gd name="connsiteY7" fmla="*/ 166287 h 598546"/>
                <a:gd name="connsiteX8" fmla="*/ 432260 w 598546"/>
                <a:gd name="connsiteY8" fmla="*/ 299273 h 598546"/>
                <a:gd name="connsiteX9" fmla="*/ 299273 w 598546"/>
                <a:gd name="connsiteY9" fmla="*/ 432260 h 598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8546" h="598546">
                  <a:moveTo>
                    <a:pt x="299273" y="0"/>
                  </a:moveTo>
                  <a:cubicBezTo>
                    <a:pt x="133025" y="0"/>
                    <a:pt x="0" y="132986"/>
                    <a:pt x="0" y="299273"/>
                  </a:cubicBezTo>
                  <a:cubicBezTo>
                    <a:pt x="0" y="465521"/>
                    <a:pt x="132986" y="598547"/>
                    <a:pt x="299273" y="598547"/>
                  </a:cubicBezTo>
                  <a:cubicBezTo>
                    <a:pt x="465521" y="598547"/>
                    <a:pt x="598546" y="465560"/>
                    <a:pt x="598546" y="299273"/>
                  </a:cubicBezTo>
                  <a:cubicBezTo>
                    <a:pt x="598507" y="132986"/>
                    <a:pt x="465521" y="0"/>
                    <a:pt x="299273" y="0"/>
                  </a:cubicBezTo>
                  <a:close/>
                  <a:moveTo>
                    <a:pt x="299273" y="432260"/>
                  </a:moveTo>
                  <a:cubicBezTo>
                    <a:pt x="224452" y="432260"/>
                    <a:pt x="166287" y="374084"/>
                    <a:pt x="166287" y="299273"/>
                  </a:cubicBezTo>
                  <a:cubicBezTo>
                    <a:pt x="166287" y="224453"/>
                    <a:pt x="224452" y="166287"/>
                    <a:pt x="299273" y="166287"/>
                  </a:cubicBezTo>
                  <a:cubicBezTo>
                    <a:pt x="374094" y="166287"/>
                    <a:pt x="432260" y="224453"/>
                    <a:pt x="432260" y="299273"/>
                  </a:cubicBezTo>
                  <a:cubicBezTo>
                    <a:pt x="432260" y="374055"/>
                    <a:pt x="374055" y="432260"/>
                    <a:pt x="299273" y="43226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69A4F65A-F88E-44F8-8B75-B860A57F1550}"/>
                </a:ext>
              </a:extLst>
            </p:cNvPr>
            <p:cNvSpPr/>
            <p:nvPr/>
          </p:nvSpPr>
          <p:spPr>
            <a:xfrm>
              <a:off x="-5742377" y="2056783"/>
              <a:ext cx="4098125" cy="2061503"/>
            </a:xfrm>
            <a:custGeom>
              <a:avLst/>
              <a:gdLst>
                <a:gd name="connsiteX0" fmla="*/ 4015006 w 4098125"/>
                <a:gd name="connsiteY0" fmla="*/ 2061503 h 2061503"/>
                <a:gd name="connsiteX1" fmla="*/ 4098125 w 4098125"/>
                <a:gd name="connsiteY1" fmla="*/ 1978384 h 2061503"/>
                <a:gd name="connsiteX2" fmla="*/ 4098125 w 4098125"/>
                <a:gd name="connsiteY2" fmla="*/ 83123 h 2061503"/>
                <a:gd name="connsiteX3" fmla="*/ 4015006 w 4098125"/>
                <a:gd name="connsiteY3" fmla="*/ 0 h 2061503"/>
                <a:gd name="connsiteX4" fmla="*/ 83119 w 4098125"/>
                <a:gd name="connsiteY4" fmla="*/ 0 h 2061503"/>
                <a:gd name="connsiteX5" fmla="*/ 0 w 4098125"/>
                <a:gd name="connsiteY5" fmla="*/ 83123 h 2061503"/>
                <a:gd name="connsiteX6" fmla="*/ 0 w 4098125"/>
                <a:gd name="connsiteY6" fmla="*/ 1978384 h 2061503"/>
                <a:gd name="connsiteX7" fmla="*/ 83119 w 4098125"/>
                <a:gd name="connsiteY7" fmla="*/ 2061503 h 2061503"/>
                <a:gd name="connsiteX8" fmla="*/ 4015006 w 4098125"/>
                <a:gd name="connsiteY8" fmla="*/ 2061503 h 2061503"/>
                <a:gd name="connsiteX9" fmla="*/ 174526 w 4098125"/>
                <a:gd name="connsiteY9" fmla="*/ 1471304 h 2061503"/>
                <a:gd name="connsiteX10" fmla="*/ 174526 w 4098125"/>
                <a:gd name="connsiteY10" fmla="*/ 590139 h 2061503"/>
                <a:gd name="connsiteX11" fmla="*/ 598478 w 4098125"/>
                <a:gd name="connsiteY11" fmla="*/ 166187 h 2061503"/>
                <a:gd name="connsiteX12" fmla="*/ 3516263 w 4098125"/>
                <a:gd name="connsiteY12" fmla="*/ 166187 h 2061503"/>
                <a:gd name="connsiteX13" fmla="*/ 3931917 w 4098125"/>
                <a:gd name="connsiteY13" fmla="*/ 590139 h 2061503"/>
                <a:gd name="connsiteX14" fmla="*/ 3931917 w 4098125"/>
                <a:gd name="connsiteY14" fmla="*/ 1471274 h 2061503"/>
                <a:gd name="connsiteX15" fmla="*/ 3507965 w 4098125"/>
                <a:gd name="connsiteY15" fmla="*/ 1895226 h 2061503"/>
                <a:gd name="connsiteX16" fmla="*/ 598508 w 4098125"/>
                <a:gd name="connsiteY16" fmla="*/ 1895226 h 2061503"/>
                <a:gd name="connsiteX17" fmla="*/ 174556 w 4098125"/>
                <a:gd name="connsiteY17" fmla="*/ 1471304 h 2061503"/>
                <a:gd name="connsiteX18" fmla="*/ 3931927 w 4098125"/>
                <a:gd name="connsiteY18" fmla="*/ 1895226 h 2061503"/>
                <a:gd name="connsiteX19" fmla="*/ 3674213 w 4098125"/>
                <a:gd name="connsiteY19" fmla="*/ 1895226 h 2061503"/>
                <a:gd name="connsiteX20" fmla="*/ 3931927 w 4098125"/>
                <a:gd name="connsiteY20" fmla="*/ 1637512 h 2061503"/>
                <a:gd name="connsiteX21" fmla="*/ 3931927 w 4098125"/>
                <a:gd name="connsiteY21" fmla="*/ 166226 h 2061503"/>
                <a:gd name="connsiteX22" fmla="*/ 3931927 w 4098125"/>
                <a:gd name="connsiteY22" fmla="*/ 423940 h 2061503"/>
                <a:gd name="connsiteX23" fmla="*/ 3674213 w 4098125"/>
                <a:gd name="connsiteY23" fmla="*/ 166226 h 2061503"/>
                <a:gd name="connsiteX24" fmla="*/ 174526 w 4098125"/>
                <a:gd name="connsiteY24" fmla="*/ 166226 h 2061503"/>
                <a:gd name="connsiteX25" fmla="*/ 432240 w 4098125"/>
                <a:gd name="connsiteY25" fmla="*/ 166226 h 2061503"/>
                <a:gd name="connsiteX26" fmla="*/ 174526 w 4098125"/>
                <a:gd name="connsiteY26" fmla="*/ 423940 h 2061503"/>
                <a:gd name="connsiteX27" fmla="*/ 174526 w 4098125"/>
                <a:gd name="connsiteY27" fmla="*/ 1895226 h 2061503"/>
                <a:gd name="connsiteX28" fmla="*/ 174526 w 4098125"/>
                <a:gd name="connsiteY28" fmla="*/ 1637512 h 2061503"/>
                <a:gd name="connsiteX29" fmla="*/ 340774 w 4098125"/>
                <a:gd name="connsiteY29" fmla="*/ 1728939 h 2061503"/>
                <a:gd name="connsiteX30" fmla="*/ 432201 w 4098125"/>
                <a:gd name="connsiteY30" fmla="*/ 1895187 h 20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098125" h="2061503">
                  <a:moveTo>
                    <a:pt x="4015006" y="2061503"/>
                  </a:moveTo>
                  <a:cubicBezTo>
                    <a:pt x="4064874" y="2061503"/>
                    <a:pt x="4098125" y="2028252"/>
                    <a:pt x="4098125" y="1978384"/>
                  </a:cubicBezTo>
                  <a:lnTo>
                    <a:pt x="4098125" y="83123"/>
                  </a:lnTo>
                  <a:cubicBezTo>
                    <a:pt x="4098125" y="33257"/>
                    <a:pt x="4064874" y="0"/>
                    <a:pt x="4015006" y="0"/>
                  </a:cubicBezTo>
                  <a:lnTo>
                    <a:pt x="83119" y="0"/>
                  </a:lnTo>
                  <a:cubicBezTo>
                    <a:pt x="33252" y="0"/>
                    <a:pt x="0" y="33256"/>
                    <a:pt x="0" y="83123"/>
                  </a:cubicBezTo>
                  <a:lnTo>
                    <a:pt x="0" y="1978384"/>
                  </a:lnTo>
                  <a:cubicBezTo>
                    <a:pt x="0" y="2028242"/>
                    <a:pt x="33252" y="2061503"/>
                    <a:pt x="83119" y="2061503"/>
                  </a:cubicBezTo>
                  <a:lnTo>
                    <a:pt x="4015006" y="2061503"/>
                  </a:lnTo>
                  <a:close/>
                  <a:moveTo>
                    <a:pt x="174526" y="1471304"/>
                  </a:moveTo>
                  <a:lnTo>
                    <a:pt x="174526" y="590139"/>
                  </a:lnTo>
                  <a:cubicBezTo>
                    <a:pt x="390671" y="556882"/>
                    <a:pt x="556919" y="390640"/>
                    <a:pt x="598478" y="166187"/>
                  </a:cubicBezTo>
                  <a:lnTo>
                    <a:pt x="3516263" y="166187"/>
                  </a:lnTo>
                  <a:cubicBezTo>
                    <a:pt x="3549525" y="390640"/>
                    <a:pt x="3715762" y="556887"/>
                    <a:pt x="3931917" y="590139"/>
                  </a:cubicBezTo>
                  <a:lnTo>
                    <a:pt x="3931917" y="1471274"/>
                  </a:lnTo>
                  <a:cubicBezTo>
                    <a:pt x="3715773" y="1504526"/>
                    <a:pt x="3541217" y="1679081"/>
                    <a:pt x="3507965" y="1895226"/>
                  </a:cubicBezTo>
                  <a:lnTo>
                    <a:pt x="598508" y="1895226"/>
                  </a:lnTo>
                  <a:cubicBezTo>
                    <a:pt x="556948" y="1679111"/>
                    <a:pt x="390700" y="1504526"/>
                    <a:pt x="174556" y="1471304"/>
                  </a:cubicBezTo>
                  <a:close/>
                  <a:moveTo>
                    <a:pt x="3931927" y="1895226"/>
                  </a:moveTo>
                  <a:lnTo>
                    <a:pt x="3674213" y="1895226"/>
                  </a:lnTo>
                  <a:cubicBezTo>
                    <a:pt x="3707464" y="1770538"/>
                    <a:pt x="3807199" y="1670773"/>
                    <a:pt x="3931927" y="1637512"/>
                  </a:cubicBezTo>
                  <a:close/>
                  <a:moveTo>
                    <a:pt x="3931927" y="166226"/>
                  </a:moveTo>
                  <a:lnTo>
                    <a:pt x="3931927" y="423940"/>
                  </a:lnTo>
                  <a:cubicBezTo>
                    <a:pt x="3807239" y="390684"/>
                    <a:pt x="3707474" y="290954"/>
                    <a:pt x="3674213" y="166226"/>
                  </a:cubicBezTo>
                  <a:close/>
                  <a:moveTo>
                    <a:pt x="174526" y="166226"/>
                  </a:moveTo>
                  <a:lnTo>
                    <a:pt x="432240" y="166226"/>
                  </a:lnTo>
                  <a:cubicBezTo>
                    <a:pt x="398979" y="290914"/>
                    <a:pt x="299254" y="390679"/>
                    <a:pt x="174526" y="423940"/>
                  </a:cubicBezTo>
                  <a:close/>
                  <a:moveTo>
                    <a:pt x="174526" y="1895226"/>
                  </a:moveTo>
                  <a:lnTo>
                    <a:pt x="174526" y="1637512"/>
                  </a:lnTo>
                  <a:cubicBezTo>
                    <a:pt x="232702" y="1654118"/>
                    <a:pt x="290907" y="1687380"/>
                    <a:pt x="340774" y="1728939"/>
                  </a:cubicBezTo>
                  <a:cubicBezTo>
                    <a:pt x="382334" y="1770499"/>
                    <a:pt x="415595" y="1828713"/>
                    <a:pt x="432201" y="1895187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5BFDC54B-CAA2-432B-9114-67B65869D48E}"/>
                </a:ext>
              </a:extLst>
            </p:cNvPr>
            <p:cNvSpPr/>
            <p:nvPr/>
          </p:nvSpPr>
          <p:spPr>
            <a:xfrm>
              <a:off x="-2259322" y="4267926"/>
              <a:ext cx="664998" cy="1221960"/>
            </a:xfrm>
            <a:custGeom>
              <a:avLst/>
              <a:gdLst>
                <a:gd name="connsiteX0" fmla="*/ 332481 w 664998"/>
                <a:gd name="connsiteY0" fmla="*/ 1221961 h 1221960"/>
                <a:gd name="connsiteX1" fmla="*/ 415600 w 664998"/>
                <a:gd name="connsiteY1" fmla="*/ 1138842 h 1221960"/>
                <a:gd name="connsiteX2" fmla="*/ 415600 w 664998"/>
                <a:gd name="connsiteY2" fmla="*/ 282621 h 1221960"/>
                <a:gd name="connsiteX3" fmla="*/ 523672 w 664998"/>
                <a:gd name="connsiteY3" fmla="*/ 390693 h 1221960"/>
                <a:gd name="connsiteX4" fmla="*/ 640052 w 664998"/>
                <a:gd name="connsiteY4" fmla="*/ 390693 h 1221960"/>
                <a:gd name="connsiteX5" fmla="*/ 640052 w 664998"/>
                <a:gd name="connsiteY5" fmla="*/ 274313 h 1221960"/>
                <a:gd name="connsiteX6" fmla="*/ 390685 w 664998"/>
                <a:gd name="connsiteY6" fmla="*/ 24946 h 1221960"/>
                <a:gd name="connsiteX7" fmla="*/ 274305 w 664998"/>
                <a:gd name="connsiteY7" fmla="*/ 24946 h 1221960"/>
                <a:gd name="connsiteX8" fmla="*/ 24939 w 664998"/>
                <a:gd name="connsiteY8" fmla="*/ 274313 h 1221960"/>
                <a:gd name="connsiteX9" fmla="*/ 24939 w 664998"/>
                <a:gd name="connsiteY9" fmla="*/ 390693 h 1221960"/>
                <a:gd name="connsiteX10" fmla="*/ 141319 w 664998"/>
                <a:gd name="connsiteY10" fmla="*/ 390693 h 1221960"/>
                <a:gd name="connsiteX11" fmla="*/ 249391 w 664998"/>
                <a:gd name="connsiteY11" fmla="*/ 282621 h 1221960"/>
                <a:gd name="connsiteX12" fmla="*/ 249391 w 664998"/>
                <a:gd name="connsiteY12" fmla="*/ 1138842 h 1221960"/>
                <a:gd name="connsiteX13" fmla="*/ 332481 w 664998"/>
                <a:gd name="connsiteY13" fmla="*/ 1221961 h 122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4998" h="1221960">
                  <a:moveTo>
                    <a:pt x="332481" y="1221961"/>
                  </a:moveTo>
                  <a:cubicBezTo>
                    <a:pt x="382348" y="1221961"/>
                    <a:pt x="415600" y="1188700"/>
                    <a:pt x="415600" y="1138842"/>
                  </a:cubicBezTo>
                  <a:lnTo>
                    <a:pt x="415600" y="282621"/>
                  </a:lnTo>
                  <a:lnTo>
                    <a:pt x="523672" y="390693"/>
                  </a:lnTo>
                  <a:cubicBezTo>
                    <a:pt x="556933" y="423944"/>
                    <a:pt x="606801" y="423944"/>
                    <a:pt x="640052" y="390693"/>
                  </a:cubicBezTo>
                  <a:cubicBezTo>
                    <a:pt x="673314" y="357432"/>
                    <a:pt x="673314" y="307564"/>
                    <a:pt x="640052" y="274313"/>
                  </a:cubicBezTo>
                  <a:lnTo>
                    <a:pt x="390685" y="24946"/>
                  </a:lnTo>
                  <a:cubicBezTo>
                    <a:pt x="357434" y="-8315"/>
                    <a:pt x="307566" y="-8315"/>
                    <a:pt x="274305" y="24946"/>
                  </a:cubicBezTo>
                  <a:lnTo>
                    <a:pt x="24939" y="274313"/>
                  </a:lnTo>
                  <a:cubicBezTo>
                    <a:pt x="-8313" y="307564"/>
                    <a:pt x="-8313" y="357432"/>
                    <a:pt x="24939" y="390693"/>
                  </a:cubicBezTo>
                  <a:cubicBezTo>
                    <a:pt x="58200" y="423944"/>
                    <a:pt x="108067" y="423944"/>
                    <a:pt x="141319" y="390693"/>
                  </a:cubicBezTo>
                  <a:lnTo>
                    <a:pt x="249391" y="282621"/>
                  </a:lnTo>
                  <a:lnTo>
                    <a:pt x="249391" y="1138842"/>
                  </a:lnTo>
                  <a:cubicBezTo>
                    <a:pt x="249362" y="1180402"/>
                    <a:pt x="282613" y="1221961"/>
                    <a:pt x="332481" y="1221961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18428B10-6E61-4872-9193-B8A5E8953B64}"/>
                </a:ext>
              </a:extLst>
            </p:cNvPr>
            <p:cNvSpPr/>
            <p:nvPr/>
          </p:nvSpPr>
          <p:spPr>
            <a:xfrm>
              <a:off x="-5783941" y="4267926"/>
              <a:ext cx="664998" cy="1221960"/>
            </a:xfrm>
            <a:custGeom>
              <a:avLst/>
              <a:gdLst>
                <a:gd name="connsiteX0" fmla="*/ 332481 w 664998"/>
                <a:gd name="connsiteY0" fmla="*/ 1221961 h 1221960"/>
                <a:gd name="connsiteX1" fmla="*/ 415600 w 664998"/>
                <a:gd name="connsiteY1" fmla="*/ 1138842 h 1221960"/>
                <a:gd name="connsiteX2" fmla="*/ 415600 w 664998"/>
                <a:gd name="connsiteY2" fmla="*/ 282621 h 1221960"/>
                <a:gd name="connsiteX3" fmla="*/ 523672 w 664998"/>
                <a:gd name="connsiteY3" fmla="*/ 390693 h 1221960"/>
                <a:gd name="connsiteX4" fmla="*/ 640052 w 664998"/>
                <a:gd name="connsiteY4" fmla="*/ 390693 h 1221960"/>
                <a:gd name="connsiteX5" fmla="*/ 640052 w 664998"/>
                <a:gd name="connsiteY5" fmla="*/ 274313 h 1221960"/>
                <a:gd name="connsiteX6" fmla="*/ 390686 w 664998"/>
                <a:gd name="connsiteY6" fmla="*/ 24946 h 1221960"/>
                <a:gd name="connsiteX7" fmla="*/ 274305 w 664998"/>
                <a:gd name="connsiteY7" fmla="*/ 24946 h 1221960"/>
                <a:gd name="connsiteX8" fmla="*/ 24939 w 664998"/>
                <a:gd name="connsiteY8" fmla="*/ 274313 h 1221960"/>
                <a:gd name="connsiteX9" fmla="*/ 24939 w 664998"/>
                <a:gd name="connsiteY9" fmla="*/ 390693 h 1221960"/>
                <a:gd name="connsiteX10" fmla="*/ 141319 w 664998"/>
                <a:gd name="connsiteY10" fmla="*/ 390693 h 1221960"/>
                <a:gd name="connsiteX11" fmla="*/ 249391 w 664998"/>
                <a:gd name="connsiteY11" fmla="*/ 282621 h 1221960"/>
                <a:gd name="connsiteX12" fmla="*/ 249391 w 664998"/>
                <a:gd name="connsiteY12" fmla="*/ 1138842 h 1221960"/>
                <a:gd name="connsiteX13" fmla="*/ 332481 w 664998"/>
                <a:gd name="connsiteY13" fmla="*/ 1221961 h 122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4998" h="1221960">
                  <a:moveTo>
                    <a:pt x="332481" y="1221961"/>
                  </a:moveTo>
                  <a:cubicBezTo>
                    <a:pt x="382348" y="1221961"/>
                    <a:pt x="415600" y="1188700"/>
                    <a:pt x="415600" y="1138842"/>
                  </a:cubicBezTo>
                  <a:lnTo>
                    <a:pt x="415600" y="282621"/>
                  </a:lnTo>
                  <a:lnTo>
                    <a:pt x="523672" y="390693"/>
                  </a:lnTo>
                  <a:cubicBezTo>
                    <a:pt x="556933" y="423944"/>
                    <a:pt x="606801" y="423944"/>
                    <a:pt x="640052" y="390693"/>
                  </a:cubicBezTo>
                  <a:cubicBezTo>
                    <a:pt x="673313" y="357432"/>
                    <a:pt x="673313" y="307564"/>
                    <a:pt x="640052" y="274313"/>
                  </a:cubicBezTo>
                  <a:lnTo>
                    <a:pt x="390686" y="24946"/>
                  </a:lnTo>
                  <a:cubicBezTo>
                    <a:pt x="357434" y="-8315"/>
                    <a:pt x="307567" y="-8315"/>
                    <a:pt x="274305" y="24946"/>
                  </a:cubicBezTo>
                  <a:lnTo>
                    <a:pt x="24939" y="274313"/>
                  </a:lnTo>
                  <a:cubicBezTo>
                    <a:pt x="-8313" y="307564"/>
                    <a:pt x="-8313" y="357432"/>
                    <a:pt x="24939" y="390693"/>
                  </a:cubicBezTo>
                  <a:cubicBezTo>
                    <a:pt x="58200" y="423944"/>
                    <a:pt x="108067" y="423944"/>
                    <a:pt x="141319" y="390693"/>
                  </a:cubicBezTo>
                  <a:lnTo>
                    <a:pt x="249391" y="282621"/>
                  </a:lnTo>
                  <a:lnTo>
                    <a:pt x="249391" y="1138842"/>
                  </a:lnTo>
                  <a:cubicBezTo>
                    <a:pt x="249352" y="1180402"/>
                    <a:pt x="290921" y="1221961"/>
                    <a:pt x="332481" y="1221961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DC727CC-3645-4270-BF49-76BFAFC0D68A}"/>
                </a:ext>
              </a:extLst>
            </p:cNvPr>
            <p:cNvSpPr/>
            <p:nvPr/>
          </p:nvSpPr>
          <p:spPr>
            <a:xfrm>
              <a:off x="-4977671" y="4417491"/>
              <a:ext cx="2577040" cy="2577040"/>
            </a:xfrm>
            <a:custGeom>
              <a:avLst/>
              <a:gdLst>
                <a:gd name="connsiteX0" fmla="*/ 1288520 w 2577040"/>
                <a:gd name="connsiteY0" fmla="*/ 2577041 h 2577040"/>
                <a:gd name="connsiteX1" fmla="*/ 2577041 w 2577040"/>
                <a:gd name="connsiteY1" fmla="*/ 1288520 h 2577040"/>
                <a:gd name="connsiteX2" fmla="*/ 1288520 w 2577040"/>
                <a:gd name="connsiteY2" fmla="*/ 0 h 2577040"/>
                <a:gd name="connsiteX3" fmla="*/ 0 w 2577040"/>
                <a:gd name="connsiteY3" fmla="*/ 1288520 h 2577040"/>
                <a:gd name="connsiteX4" fmla="*/ 1288520 w 2577040"/>
                <a:gd name="connsiteY4" fmla="*/ 2577041 h 2577040"/>
                <a:gd name="connsiteX5" fmla="*/ 631808 w 2577040"/>
                <a:gd name="connsiteY5" fmla="*/ 2194648 h 2577040"/>
                <a:gd name="connsiteX6" fmla="*/ 1288520 w 2577040"/>
                <a:gd name="connsiteY6" fmla="*/ 1604449 h 2577040"/>
                <a:gd name="connsiteX7" fmla="*/ 1945233 w 2577040"/>
                <a:gd name="connsiteY7" fmla="*/ 2194648 h 2577040"/>
                <a:gd name="connsiteX8" fmla="*/ 1288520 w 2577040"/>
                <a:gd name="connsiteY8" fmla="*/ 2410793 h 2577040"/>
                <a:gd name="connsiteX9" fmla="*/ 631808 w 2577040"/>
                <a:gd name="connsiteY9" fmla="*/ 2194648 h 2577040"/>
                <a:gd name="connsiteX10" fmla="*/ 1288520 w 2577040"/>
                <a:gd name="connsiteY10" fmla="*/ 1438201 h 2577040"/>
                <a:gd name="connsiteX11" fmla="*/ 1014200 w 2577040"/>
                <a:gd name="connsiteY11" fmla="*/ 1163881 h 2577040"/>
                <a:gd name="connsiteX12" fmla="*/ 1288520 w 2577040"/>
                <a:gd name="connsiteY12" fmla="*/ 889561 h 2577040"/>
                <a:gd name="connsiteX13" fmla="*/ 1562840 w 2577040"/>
                <a:gd name="connsiteY13" fmla="*/ 1163881 h 2577040"/>
                <a:gd name="connsiteX14" fmla="*/ 1288520 w 2577040"/>
                <a:gd name="connsiteY14" fmla="*/ 1438201 h 2577040"/>
                <a:gd name="connsiteX15" fmla="*/ 1288520 w 2577040"/>
                <a:gd name="connsiteY15" fmla="*/ 174663 h 2577040"/>
                <a:gd name="connsiteX16" fmla="*/ 2410783 w 2577040"/>
                <a:gd name="connsiteY16" fmla="*/ 1296926 h 2577040"/>
                <a:gd name="connsiteX17" fmla="*/ 2094904 w 2577040"/>
                <a:gd name="connsiteY17" fmla="*/ 2078327 h 2577040"/>
                <a:gd name="connsiteX18" fmla="*/ 1579525 w 2577040"/>
                <a:gd name="connsiteY18" fmla="*/ 1504733 h 2577040"/>
                <a:gd name="connsiteX19" fmla="*/ 1729157 w 2577040"/>
                <a:gd name="connsiteY19" fmla="*/ 1180546 h 2577040"/>
                <a:gd name="connsiteX20" fmla="*/ 1288589 w 2577040"/>
                <a:gd name="connsiteY20" fmla="*/ 739978 h 2577040"/>
                <a:gd name="connsiteX21" fmla="*/ 848021 w 2577040"/>
                <a:gd name="connsiteY21" fmla="*/ 1180546 h 2577040"/>
                <a:gd name="connsiteX22" fmla="*/ 997653 w 2577040"/>
                <a:gd name="connsiteY22" fmla="*/ 1504733 h 2577040"/>
                <a:gd name="connsiteX23" fmla="*/ 482274 w 2577040"/>
                <a:gd name="connsiteY23" fmla="*/ 2078327 h 2577040"/>
                <a:gd name="connsiteX24" fmla="*/ 166395 w 2577040"/>
                <a:gd name="connsiteY24" fmla="*/ 1296926 h 2577040"/>
                <a:gd name="connsiteX25" fmla="*/ 1288559 w 2577040"/>
                <a:gd name="connsiteY25" fmla="*/ 174663 h 257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577040" h="2577040">
                  <a:moveTo>
                    <a:pt x="1288520" y="2577041"/>
                  </a:moveTo>
                  <a:cubicBezTo>
                    <a:pt x="1986792" y="2577041"/>
                    <a:pt x="2577041" y="2011794"/>
                    <a:pt x="2577041" y="1288520"/>
                  </a:cubicBezTo>
                  <a:cubicBezTo>
                    <a:pt x="2577041" y="581941"/>
                    <a:pt x="2003447" y="0"/>
                    <a:pt x="1288520" y="0"/>
                  </a:cubicBezTo>
                  <a:cubicBezTo>
                    <a:pt x="581941" y="0"/>
                    <a:pt x="0" y="573593"/>
                    <a:pt x="0" y="1288520"/>
                  </a:cubicBezTo>
                  <a:cubicBezTo>
                    <a:pt x="0" y="2020054"/>
                    <a:pt x="590199" y="2577041"/>
                    <a:pt x="1288520" y="2577041"/>
                  </a:cubicBezTo>
                  <a:close/>
                  <a:moveTo>
                    <a:pt x="631808" y="2194648"/>
                  </a:moveTo>
                  <a:cubicBezTo>
                    <a:pt x="665060" y="1862153"/>
                    <a:pt x="947687" y="1604449"/>
                    <a:pt x="1288520" y="1604449"/>
                  </a:cubicBezTo>
                  <a:cubicBezTo>
                    <a:pt x="1629353" y="1604449"/>
                    <a:pt x="1911981" y="1862163"/>
                    <a:pt x="1945233" y="2194648"/>
                  </a:cubicBezTo>
                  <a:cubicBezTo>
                    <a:pt x="1745733" y="2335982"/>
                    <a:pt x="1512973" y="2410793"/>
                    <a:pt x="1288520" y="2410793"/>
                  </a:cubicBezTo>
                  <a:cubicBezTo>
                    <a:pt x="1064068" y="2410793"/>
                    <a:pt x="822999" y="2344280"/>
                    <a:pt x="631808" y="2194648"/>
                  </a:cubicBezTo>
                  <a:close/>
                  <a:moveTo>
                    <a:pt x="1288520" y="1438201"/>
                  </a:moveTo>
                  <a:cubicBezTo>
                    <a:pt x="1138888" y="1438201"/>
                    <a:pt x="1014200" y="1313513"/>
                    <a:pt x="1014200" y="1163881"/>
                  </a:cubicBezTo>
                  <a:cubicBezTo>
                    <a:pt x="1014200" y="1014249"/>
                    <a:pt x="1138888" y="889561"/>
                    <a:pt x="1288520" y="889561"/>
                  </a:cubicBezTo>
                  <a:cubicBezTo>
                    <a:pt x="1438152" y="889561"/>
                    <a:pt x="1562840" y="1014249"/>
                    <a:pt x="1562840" y="1163881"/>
                  </a:cubicBezTo>
                  <a:cubicBezTo>
                    <a:pt x="1562840" y="1321821"/>
                    <a:pt x="1438152" y="1438201"/>
                    <a:pt x="1288520" y="1438201"/>
                  </a:cubicBezTo>
                  <a:close/>
                  <a:moveTo>
                    <a:pt x="1288520" y="174663"/>
                  </a:moveTo>
                  <a:cubicBezTo>
                    <a:pt x="1903673" y="174663"/>
                    <a:pt x="2410783" y="673436"/>
                    <a:pt x="2410783" y="1296926"/>
                  </a:cubicBezTo>
                  <a:cubicBezTo>
                    <a:pt x="2410783" y="1587852"/>
                    <a:pt x="2294403" y="1870520"/>
                    <a:pt x="2094904" y="2078327"/>
                  </a:cubicBezTo>
                  <a:cubicBezTo>
                    <a:pt x="2028391" y="1812315"/>
                    <a:pt x="1837190" y="1596200"/>
                    <a:pt x="1579525" y="1504733"/>
                  </a:cubicBezTo>
                  <a:cubicBezTo>
                    <a:pt x="1670952" y="1421615"/>
                    <a:pt x="1729157" y="1305234"/>
                    <a:pt x="1729157" y="1180546"/>
                  </a:cubicBezTo>
                  <a:cubicBezTo>
                    <a:pt x="1729157" y="939487"/>
                    <a:pt x="1529657" y="739978"/>
                    <a:pt x="1288589" y="739978"/>
                  </a:cubicBezTo>
                  <a:cubicBezTo>
                    <a:pt x="1047530" y="739978"/>
                    <a:pt x="848021" y="939478"/>
                    <a:pt x="848021" y="1180546"/>
                  </a:cubicBezTo>
                  <a:cubicBezTo>
                    <a:pt x="848021" y="1313532"/>
                    <a:pt x="906187" y="1429913"/>
                    <a:pt x="997653" y="1504733"/>
                  </a:cubicBezTo>
                  <a:cubicBezTo>
                    <a:pt x="748286" y="1596160"/>
                    <a:pt x="548787" y="1812315"/>
                    <a:pt x="482274" y="2078327"/>
                  </a:cubicBezTo>
                  <a:cubicBezTo>
                    <a:pt x="282775" y="1870520"/>
                    <a:pt x="166395" y="1596200"/>
                    <a:pt x="166395" y="1296926"/>
                  </a:cubicBezTo>
                  <a:cubicBezTo>
                    <a:pt x="166316" y="673426"/>
                    <a:pt x="673397" y="174663"/>
                    <a:pt x="1288559" y="174663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0CD4D71C-69AF-4570-A1DF-179C62B739FE}"/>
                </a:ext>
              </a:extLst>
            </p:cNvPr>
            <p:cNvSpPr/>
            <p:nvPr/>
          </p:nvSpPr>
          <p:spPr>
            <a:xfrm>
              <a:off x="-2525359" y="5739351"/>
              <a:ext cx="1496791" cy="1571069"/>
            </a:xfrm>
            <a:custGeom>
              <a:avLst/>
              <a:gdLst>
                <a:gd name="connsiteX0" fmla="*/ 1039095 w 1496791"/>
                <a:gd name="connsiteY0" fmla="*/ 773063 h 1571069"/>
                <a:gd name="connsiteX1" fmla="*/ 1188726 w 1496791"/>
                <a:gd name="connsiteY1" fmla="*/ 440568 h 1571069"/>
                <a:gd name="connsiteX2" fmla="*/ 748159 w 1496791"/>
                <a:gd name="connsiteY2" fmla="*/ 0 h 1571069"/>
                <a:gd name="connsiteX3" fmla="*/ 307591 w 1496791"/>
                <a:gd name="connsiteY3" fmla="*/ 440568 h 1571069"/>
                <a:gd name="connsiteX4" fmla="*/ 457223 w 1496791"/>
                <a:gd name="connsiteY4" fmla="*/ 773063 h 1571069"/>
                <a:gd name="connsiteX5" fmla="*/ 10 w 1496791"/>
                <a:gd name="connsiteY5" fmla="*/ 1487951 h 1571069"/>
                <a:gd name="connsiteX6" fmla="*/ 83129 w 1496791"/>
                <a:gd name="connsiteY6" fmla="*/ 1571070 h 1571069"/>
                <a:gd name="connsiteX7" fmla="*/ 1413189 w 1496791"/>
                <a:gd name="connsiteY7" fmla="*/ 1571070 h 1571069"/>
                <a:gd name="connsiteX8" fmla="*/ 1496318 w 1496791"/>
                <a:gd name="connsiteY8" fmla="*/ 1487951 h 1571069"/>
                <a:gd name="connsiteX9" fmla="*/ 1039105 w 1496791"/>
                <a:gd name="connsiteY9" fmla="*/ 773063 h 1571069"/>
                <a:gd name="connsiteX10" fmla="*/ 482147 w 1496791"/>
                <a:gd name="connsiteY10" fmla="*/ 440538 h 1571069"/>
                <a:gd name="connsiteX11" fmla="*/ 756467 w 1496791"/>
                <a:gd name="connsiteY11" fmla="*/ 166218 h 1571069"/>
                <a:gd name="connsiteX12" fmla="*/ 1030787 w 1496791"/>
                <a:gd name="connsiteY12" fmla="*/ 440538 h 1571069"/>
                <a:gd name="connsiteX13" fmla="*/ 756467 w 1496791"/>
                <a:gd name="connsiteY13" fmla="*/ 714858 h 1571069"/>
                <a:gd name="connsiteX14" fmla="*/ 482147 w 1496791"/>
                <a:gd name="connsiteY14" fmla="*/ 440538 h 1571069"/>
                <a:gd name="connsiteX15" fmla="*/ 174565 w 1496791"/>
                <a:gd name="connsiteY15" fmla="*/ 1404832 h 1571069"/>
                <a:gd name="connsiteX16" fmla="*/ 748159 w 1496791"/>
                <a:gd name="connsiteY16" fmla="*/ 881145 h 1571069"/>
                <a:gd name="connsiteX17" fmla="*/ 1321752 w 1496791"/>
                <a:gd name="connsiteY17" fmla="*/ 1404832 h 1571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96791" h="1571069">
                  <a:moveTo>
                    <a:pt x="1039095" y="773063"/>
                  </a:moveTo>
                  <a:cubicBezTo>
                    <a:pt x="1130522" y="689944"/>
                    <a:pt x="1188726" y="573564"/>
                    <a:pt x="1188726" y="440568"/>
                  </a:cubicBezTo>
                  <a:cubicBezTo>
                    <a:pt x="1188726" y="199509"/>
                    <a:pt x="989227" y="0"/>
                    <a:pt x="748159" y="0"/>
                  </a:cubicBezTo>
                  <a:cubicBezTo>
                    <a:pt x="507100" y="0"/>
                    <a:pt x="307591" y="199499"/>
                    <a:pt x="307591" y="440568"/>
                  </a:cubicBezTo>
                  <a:cubicBezTo>
                    <a:pt x="307591" y="573554"/>
                    <a:pt x="365757" y="689934"/>
                    <a:pt x="457223" y="773063"/>
                  </a:cubicBezTo>
                  <a:cubicBezTo>
                    <a:pt x="-8298" y="972562"/>
                    <a:pt x="10" y="1479643"/>
                    <a:pt x="10" y="1487951"/>
                  </a:cubicBezTo>
                  <a:cubicBezTo>
                    <a:pt x="10" y="1537818"/>
                    <a:pt x="33271" y="1571070"/>
                    <a:pt x="83129" y="1571070"/>
                  </a:cubicBezTo>
                  <a:lnTo>
                    <a:pt x="1413189" y="1571070"/>
                  </a:lnTo>
                  <a:cubicBezTo>
                    <a:pt x="1463057" y="1571070"/>
                    <a:pt x="1496318" y="1537818"/>
                    <a:pt x="1496318" y="1487951"/>
                  </a:cubicBezTo>
                  <a:cubicBezTo>
                    <a:pt x="1496318" y="1479643"/>
                    <a:pt x="1529569" y="972572"/>
                    <a:pt x="1039105" y="773063"/>
                  </a:cubicBezTo>
                  <a:close/>
                  <a:moveTo>
                    <a:pt x="482147" y="440538"/>
                  </a:moveTo>
                  <a:cubicBezTo>
                    <a:pt x="482147" y="290907"/>
                    <a:pt x="606835" y="166218"/>
                    <a:pt x="756467" y="166218"/>
                  </a:cubicBezTo>
                  <a:cubicBezTo>
                    <a:pt x="906099" y="166218"/>
                    <a:pt x="1030787" y="290907"/>
                    <a:pt x="1030787" y="440538"/>
                  </a:cubicBezTo>
                  <a:cubicBezTo>
                    <a:pt x="1030787" y="590170"/>
                    <a:pt x="906099" y="714858"/>
                    <a:pt x="756467" y="714858"/>
                  </a:cubicBezTo>
                  <a:cubicBezTo>
                    <a:pt x="598527" y="714858"/>
                    <a:pt x="482147" y="590170"/>
                    <a:pt x="482147" y="440538"/>
                  </a:cubicBezTo>
                  <a:close/>
                  <a:moveTo>
                    <a:pt x="174565" y="1404832"/>
                  </a:moveTo>
                  <a:cubicBezTo>
                    <a:pt x="199519" y="1113906"/>
                    <a:pt x="448885" y="881145"/>
                    <a:pt x="748159" y="881145"/>
                  </a:cubicBezTo>
                  <a:cubicBezTo>
                    <a:pt x="1047432" y="881145"/>
                    <a:pt x="1296799" y="1113906"/>
                    <a:pt x="1321752" y="1404832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110755C0-5BF7-48AF-A239-A9672BE672BC}"/>
                </a:ext>
              </a:extLst>
            </p:cNvPr>
            <p:cNvSpPr/>
            <p:nvPr/>
          </p:nvSpPr>
          <p:spPr>
            <a:xfrm>
              <a:off x="-6349248" y="5739322"/>
              <a:ext cx="1488470" cy="1571069"/>
            </a:xfrm>
            <a:custGeom>
              <a:avLst/>
              <a:gdLst>
                <a:gd name="connsiteX0" fmla="*/ 83145 w 1488470"/>
                <a:gd name="connsiteY0" fmla="*/ 1571070 h 1571069"/>
                <a:gd name="connsiteX1" fmla="*/ 1404877 w 1488470"/>
                <a:gd name="connsiteY1" fmla="*/ 1571070 h 1571069"/>
                <a:gd name="connsiteX2" fmla="*/ 1487996 w 1488470"/>
                <a:gd name="connsiteY2" fmla="*/ 1487951 h 1571069"/>
                <a:gd name="connsiteX3" fmla="*/ 1030783 w 1488470"/>
                <a:gd name="connsiteY3" fmla="*/ 773063 h 1571069"/>
                <a:gd name="connsiteX4" fmla="*/ 1180415 w 1488470"/>
                <a:gd name="connsiteY4" fmla="*/ 440568 h 1571069"/>
                <a:gd name="connsiteX5" fmla="*/ 739847 w 1488470"/>
                <a:gd name="connsiteY5" fmla="*/ 0 h 1571069"/>
                <a:gd name="connsiteX6" fmla="*/ 299280 w 1488470"/>
                <a:gd name="connsiteY6" fmla="*/ 440568 h 1571069"/>
                <a:gd name="connsiteX7" fmla="*/ 448911 w 1488470"/>
                <a:gd name="connsiteY7" fmla="*/ 773063 h 1571069"/>
                <a:gd name="connsiteX8" fmla="*/ 10 w 1488470"/>
                <a:gd name="connsiteY8" fmla="*/ 1487951 h 1571069"/>
                <a:gd name="connsiteX9" fmla="*/ 83133 w 1488470"/>
                <a:gd name="connsiteY9" fmla="*/ 1571070 h 1571069"/>
                <a:gd name="connsiteX10" fmla="*/ 473845 w 1488470"/>
                <a:gd name="connsiteY10" fmla="*/ 440578 h 1571069"/>
                <a:gd name="connsiteX11" fmla="*/ 748165 w 1488470"/>
                <a:gd name="connsiteY11" fmla="*/ 166258 h 1571069"/>
                <a:gd name="connsiteX12" fmla="*/ 1022485 w 1488470"/>
                <a:gd name="connsiteY12" fmla="*/ 440578 h 1571069"/>
                <a:gd name="connsiteX13" fmla="*/ 748165 w 1488470"/>
                <a:gd name="connsiteY13" fmla="*/ 714898 h 1571069"/>
                <a:gd name="connsiteX14" fmla="*/ 473845 w 1488470"/>
                <a:gd name="connsiteY14" fmla="*/ 440578 h 1571069"/>
                <a:gd name="connsiteX15" fmla="*/ 739857 w 1488470"/>
                <a:gd name="connsiteY15" fmla="*/ 881145 h 1571069"/>
                <a:gd name="connsiteX16" fmla="*/ 1313451 w 1488470"/>
                <a:gd name="connsiteY16" fmla="*/ 1404832 h 1571069"/>
                <a:gd name="connsiteX17" fmla="*/ 166303 w 1488470"/>
                <a:gd name="connsiteY17" fmla="*/ 1404871 h 1571069"/>
                <a:gd name="connsiteX18" fmla="*/ 739896 w 1488470"/>
                <a:gd name="connsiteY18" fmla="*/ 881145 h 1571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88470" h="1571069">
                  <a:moveTo>
                    <a:pt x="83145" y="1571070"/>
                  </a:moveTo>
                  <a:lnTo>
                    <a:pt x="1404877" y="1571070"/>
                  </a:lnTo>
                  <a:cubicBezTo>
                    <a:pt x="1454745" y="1571070"/>
                    <a:pt x="1487996" y="1537818"/>
                    <a:pt x="1487996" y="1487951"/>
                  </a:cubicBezTo>
                  <a:cubicBezTo>
                    <a:pt x="1487996" y="1479643"/>
                    <a:pt x="1521258" y="980870"/>
                    <a:pt x="1030783" y="773063"/>
                  </a:cubicBezTo>
                  <a:cubicBezTo>
                    <a:pt x="1122210" y="689934"/>
                    <a:pt x="1180415" y="573564"/>
                    <a:pt x="1180415" y="440568"/>
                  </a:cubicBezTo>
                  <a:cubicBezTo>
                    <a:pt x="1180415" y="199509"/>
                    <a:pt x="980916" y="0"/>
                    <a:pt x="739847" y="0"/>
                  </a:cubicBezTo>
                  <a:cubicBezTo>
                    <a:pt x="498779" y="0"/>
                    <a:pt x="299280" y="199499"/>
                    <a:pt x="299280" y="440568"/>
                  </a:cubicBezTo>
                  <a:cubicBezTo>
                    <a:pt x="299280" y="573554"/>
                    <a:pt x="357455" y="689934"/>
                    <a:pt x="448911" y="773063"/>
                  </a:cubicBezTo>
                  <a:cubicBezTo>
                    <a:pt x="-8298" y="964264"/>
                    <a:pt x="10" y="1479643"/>
                    <a:pt x="10" y="1487951"/>
                  </a:cubicBezTo>
                  <a:cubicBezTo>
                    <a:pt x="10" y="1529510"/>
                    <a:pt x="33267" y="1571070"/>
                    <a:pt x="83133" y="1571070"/>
                  </a:cubicBezTo>
                  <a:close/>
                  <a:moveTo>
                    <a:pt x="473845" y="440578"/>
                  </a:moveTo>
                  <a:cubicBezTo>
                    <a:pt x="473845" y="290946"/>
                    <a:pt x="598533" y="166258"/>
                    <a:pt x="748165" y="166258"/>
                  </a:cubicBezTo>
                  <a:cubicBezTo>
                    <a:pt x="897797" y="166258"/>
                    <a:pt x="1022485" y="290946"/>
                    <a:pt x="1022485" y="440578"/>
                  </a:cubicBezTo>
                  <a:cubicBezTo>
                    <a:pt x="1022485" y="590209"/>
                    <a:pt x="897797" y="714898"/>
                    <a:pt x="748165" y="714898"/>
                  </a:cubicBezTo>
                  <a:cubicBezTo>
                    <a:pt x="590225" y="714898"/>
                    <a:pt x="473845" y="590209"/>
                    <a:pt x="473845" y="440578"/>
                  </a:cubicBezTo>
                  <a:close/>
                  <a:moveTo>
                    <a:pt x="739857" y="881145"/>
                  </a:moveTo>
                  <a:cubicBezTo>
                    <a:pt x="1039130" y="881145"/>
                    <a:pt x="1288497" y="1113906"/>
                    <a:pt x="1313451" y="1404832"/>
                  </a:cubicBezTo>
                  <a:lnTo>
                    <a:pt x="166303" y="1404871"/>
                  </a:lnTo>
                  <a:cubicBezTo>
                    <a:pt x="199559" y="1105598"/>
                    <a:pt x="440623" y="881145"/>
                    <a:pt x="739896" y="88114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65" name="Freeform: Shape 164">
            <a:extLst>
              <a:ext uri="{FF2B5EF4-FFF2-40B4-BE49-F238E27FC236}">
                <a16:creationId xmlns:a16="http://schemas.microsoft.com/office/drawing/2014/main" id="{6E4B0BCD-3805-45B0-A721-D072E8D6CC98}"/>
              </a:ext>
            </a:extLst>
          </p:cNvPr>
          <p:cNvSpPr/>
          <p:nvPr/>
        </p:nvSpPr>
        <p:spPr>
          <a:xfrm>
            <a:off x="4287988" y="3103592"/>
            <a:ext cx="408813" cy="262050"/>
          </a:xfrm>
          <a:custGeom>
            <a:avLst/>
            <a:gdLst>
              <a:gd name="connsiteX0" fmla="*/ 5218127 w 5370864"/>
              <a:gd name="connsiteY0" fmla="*/ 0 h 3442764"/>
              <a:gd name="connsiteX1" fmla="*/ 152808 w 5370864"/>
              <a:gd name="connsiteY1" fmla="*/ 0 h 3442764"/>
              <a:gd name="connsiteX2" fmla="*/ 44814 w 5370864"/>
              <a:gd name="connsiteY2" fmla="*/ 44812 h 3442764"/>
              <a:gd name="connsiteX3" fmla="*/ 0 w 5370864"/>
              <a:gd name="connsiteY3" fmla="*/ 152806 h 3442764"/>
              <a:gd name="connsiteX4" fmla="*/ 0 w 5370864"/>
              <a:gd name="connsiteY4" fmla="*/ 376151 h 3442764"/>
              <a:gd name="connsiteX5" fmla="*/ 0 w 5370864"/>
              <a:gd name="connsiteY5" fmla="*/ 376112 h 3442764"/>
              <a:gd name="connsiteX6" fmla="*/ 44814 w 5370864"/>
              <a:gd name="connsiteY6" fmla="*/ 484106 h 3442764"/>
              <a:gd name="connsiteX7" fmla="*/ 152808 w 5370864"/>
              <a:gd name="connsiteY7" fmla="*/ 528918 h 3442764"/>
              <a:gd name="connsiteX8" fmla="*/ 220278 w 5370864"/>
              <a:gd name="connsiteY8" fmla="*/ 528918 h 3442764"/>
              <a:gd name="connsiteX9" fmla="*/ 220278 w 5370864"/>
              <a:gd name="connsiteY9" fmla="*/ 3369012 h 3442764"/>
              <a:gd name="connsiteX10" fmla="*/ 241825 w 5370864"/>
              <a:gd name="connsiteY10" fmla="*/ 3421182 h 3442764"/>
              <a:gd name="connsiteX11" fmla="*/ 293946 w 5370864"/>
              <a:gd name="connsiteY11" fmla="*/ 3442765 h 3442764"/>
              <a:gd name="connsiteX12" fmla="*/ 5076911 w 5370864"/>
              <a:gd name="connsiteY12" fmla="*/ 3442765 h 3442764"/>
              <a:gd name="connsiteX13" fmla="*/ 5129042 w 5370864"/>
              <a:gd name="connsiteY13" fmla="*/ 3421182 h 3442764"/>
              <a:gd name="connsiteX14" fmla="*/ 5150586 w 5370864"/>
              <a:gd name="connsiteY14" fmla="*/ 3369012 h 3442764"/>
              <a:gd name="connsiteX15" fmla="*/ 5150586 w 5370864"/>
              <a:gd name="connsiteY15" fmla="*/ 528918 h 3442764"/>
              <a:gd name="connsiteX16" fmla="*/ 5218049 w 5370864"/>
              <a:gd name="connsiteY16" fmla="*/ 528918 h 3442764"/>
              <a:gd name="connsiteX17" fmla="*/ 5326043 w 5370864"/>
              <a:gd name="connsiteY17" fmla="*/ 484106 h 3442764"/>
              <a:gd name="connsiteX18" fmla="*/ 5370864 w 5370864"/>
              <a:gd name="connsiteY18" fmla="*/ 376112 h 3442764"/>
              <a:gd name="connsiteX19" fmla="*/ 5370864 w 5370864"/>
              <a:gd name="connsiteY19" fmla="*/ 152806 h 3442764"/>
              <a:gd name="connsiteX20" fmla="*/ 5326043 w 5370864"/>
              <a:gd name="connsiteY20" fmla="*/ 44812 h 3442764"/>
              <a:gd name="connsiteX21" fmla="*/ 5218049 w 5370864"/>
              <a:gd name="connsiteY21" fmla="*/ 0 h 3442764"/>
              <a:gd name="connsiteX22" fmla="*/ 5003236 w 5370864"/>
              <a:gd name="connsiteY22" fmla="*/ 3295367 h 3442764"/>
              <a:gd name="connsiteX23" fmla="*/ 367718 w 5370864"/>
              <a:gd name="connsiteY23" fmla="*/ 3295367 h 3442764"/>
              <a:gd name="connsiteX24" fmla="*/ 367718 w 5370864"/>
              <a:gd name="connsiteY24" fmla="*/ 529046 h 3442764"/>
              <a:gd name="connsiteX25" fmla="*/ 5003236 w 5370864"/>
              <a:gd name="connsiteY25" fmla="*/ 529046 h 3442764"/>
              <a:gd name="connsiteX26" fmla="*/ 5223515 w 5370864"/>
              <a:gd name="connsiteY26" fmla="*/ 376112 h 3442764"/>
              <a:gd name="connsiteX27" fmla="*/ 5223477 w 5370864"/>
              <a:gd name="connsiteY27" fmla="*/ 376112 h 3442764"/>
              <a:gd name="connsiteX28" fmla="*/ 5218117 w 5370864"/>
              <a:gd name="connsiteY28" fmla="*/ 381471 h 3442764"/>
              <a:gd name="connsiteX29" fmla="*/ 152800 w 5370864"/>
              <a:gd name="connsiteY29" fmla="*/ 381471 h 3442764"/>
              <a:gd name="connsiteX30" fmla="*/ 147442 w 5370864"/>
              <a:gd name="connsiteY30" fmla="*/ 376112 h 3442764"/>
              <a:gd name="connsiteX31" fmla="*/ 147442 w 5370864"/>
              <a:gd name="connsiteY31" fmla="*/ 152806 h 3442764"/>
              <a:gd name="connsiteX32" fmla="*/ 152800 w 5370864"/>
              <a:gd name="connsiteY32" fmla="*/ 147408 h 3442764"/>
              <a:gd name="connsiteX33" fmla="*/ 5218117 w 5370864"/>
              <a:gd name="connsiteY33" fmla="*/ 147408 h 3442764"/>
              <a:gd name="connsiteX34" fmla="*/ 5223477 w 5370864"/>
              <a:gd name="connsiteY34" fmla="*/ 152806 h 3442764"/>
              <a:gd name="connsiteX35" fmla="*/ 1368732 w 5370864"/>
              <a:gd name="connsiteY35" fmla="*/ 1963935 h 3442764"/>
              <a:gd name="connsiteX36" fmla="*/ 1595751 w 5370864"/>
              <a:gd name="connsiteY36" fmla="*/ 1869941 h 3442764"/>
              <a:gd name="connsiteX37" fmla="*/ 1689823 w 5370864"/>
              <a:gd name="connsiteY37" fmla="*/ 1642922 h 3442764"/>
              <a:gd name="connsiteX38" fmla="*/ 1595790 w 5370864"/>
              <a:gd name="connsiteY38" fmla="*/ 1415903 h 3442764"/>
              <a:gd name="connsiteX39" fmla="*/ 1368810 w 5370864"/>
              <a:gd name="connsiteY39" fmla="*/ 1321840 h 3442764"/>
              <a:gd name="connsiteX40" fmla="*/ 1141751 w 5370864"/>
              <a:gd name="connsiteY40" fmla="*/ 1415863 h 3442764"/>
              <a:gd name="connsiteX41" fmla="*/ 1047718 w 5370864"/>
              <a:gd name="connsiteY41" fmla="*/ 1642883 h 3442764"/>
              <a:gd name="connsiteX42" fmla="*/ 1141830 w 5370864"/>
              <a:gd name="connsiteY42" fmla="*/ 1869785 h 3442764"/>
              <a:gd name="connsiteX43" fmla="*/ 1368732 w 5370864"/>
              <a:gd name="connsiteY43" fmla="*/ 1963935 h 3442764"/>
              <a:gd name="connsiteX44" fmla="*/ 1368732 w 5370864"/>
              <a:gd name="connsiteY44" fmla="*/ 1469336 h 3442764"/>
              <a:gd name="connsiteX45" fmla="*/ 1491617 w 5370864"/>
              <a:gd name="connsiteY45" fmla="*/ 1520007 h 3442764"/>
              <a:gd name="connsiteX46" fmla="*/ 1542670 w 5370864"/>
              <a:gd name="connsiteY46" fmla="*/ 1642736 h 3442764"/>
              <a:gd name="connsiteX47" fmla="*/ 1491921 w 5370864"/>
              <a:gd name="connsiteY47" fmla="*/ 1765622 h 3442764"/>
              <a:gd name="connsiteX48" fmla="*/ 1369153 w 5370864"/>
              <a:gd name="connsiteY48" fmla="*/ 1816557 h 3442764"/>
              <a:gd name="connsiteX49" fmla="*/ 1246306 w 5370864"/>
              <a:gd name="connsiteY49" fmla="*/ 1765700 h 3442764"/>
              <a:gd name="connsiteX50" fmla="*/ 1195449 w 5370864"/>
              <a:gd name="connsiteY50" fmla="*/ 1642893 h 3442764"/>
              <a:gd name="connsiteX51" fmla="*/ 1246306 w 5370864"/>
              <a:gd name="connsiteY51" fmla="*/ 1520428 h 3442764"/>
              <a:gd name="connsiteX52" fmla="*/ 1368732 w 5370864"/>
              <a:gd name="connsiteY52" fmla="*/ 1469493 h 3442764"/>
              <a:gd name="connsiteX53" fmla="*/ 625873 w 5370864"/>
              <a:gd name="connsiteY53" fmla="*/ 2352265 h 3442764"/>
              <a:gd name="connsiteX54" fmla="*/ 693042 w 5370864"/>
              <a:gd name="connsiteY54" fmla="*/ 2768986 h 3442764"/>
              <a:gd name="connsiteX55" fmla="*/ 756028 w 5370864"/>
              <a:gd name="connsiteY55" fmla="*/ 2830218 h 3442764"/>
              <a:gd name="connsiteX56" fmla="*/ 765786 w 5370864"/>
              <a:gd name="connsiteY56" fmla="*/ 2830835 h 3442764"/>
              <a:gd name="connsiteX57" fmla="*/ 832955 w 5370864"/>
              <a:gd name="connsiteY57" fmla="*/ 2787552 h 3442764"/>
              <a:gd name="connsiteX58" fmla="*/ 956644 w 5370864"/>
              <a:gd name="connsiteY58" fmla="*/ 2514378 h 3442764"/>
              <a:gd name="connsiteX59" fmla="*/ 1030926 w 5370864"/>
              <a:gd name="connsiteY59" fmla="*/ 2498458 h 3442764"/>
              <a:gd name="connsiteX60" fmla="*/ 1054723 w 5370864"/>
              <a:gd name="connsiteY60" fmla="*/ 2535804 h 3442764"/>
              <a:gd name="connsiteX61" fmla="*/ 1116230 w 5370864"/>
              <a:gd name="connsiteY61" fmla="*/ 2568870 h 3442764"/>
              <a:gd name="connsiteX62" fmla="*/ 1138881 w 5370864"/>
              <a:gd name="connsiteY62" fmla="*/ 2568870 h 3442764"/>
              <a:gd name="connsiteX63" fmla="*/ 1320628 w 5370864"/>
              <a:gd name="connsiteY63" fmla="*/ 2922596 h 3442764"/>
              <a:gd name="connsiteX64" fmla="*/ 1416875 w 5370864"/>
              <a:gd name="connsiteY64" fmla="*/ 2922596 h 3442764"/>
              <a:gd name="connsiteX65" fmla="*/ 1598621 w 5370864"/>
              <a:gd name="connsiteY65" fmla="*/ 2569291 h 3442764"/>
              <a:gd name="connsiteX66" fmla="*/ 1621282 w 5370864"/>
              <a:gd name="connsiteY66" fmla="*/ 2569291 h 3442764"/>
              <a:gd name="connsiteX67" fmla="*/ 1682779 w 5370864"/>
              <a:gd name="connsiteY67" fmla="*/ 2536187 h 3442764"/>
              <a:gd name="connsiteX68" fmla="*/ 1706586 w 5370864"/>
              <a:gd name="connsiteY68" fmla="*/ 2498840 h 3442764"/>
              <a:gd name="connsiteX69" fmla="*/ 1780868 w 5370864"/>
              <a:gd name="connsiteY69" fmla="*/ 2514760 h 3442764"/>
              <a:gd name="connsiteX70" fmla="*/ 1904557 w 5370864"/>
              <a:gd name="connsiteY70" fmla="*/ 2787934 h 3442764"/>
              <a:gd name="connsiteX71" fmla="*/ 1971716 w 5370864"/>
              <a:gd name="connsiteY71" fmla="*/ 2831257 h 3442764"/>
              <a:gd name="connsiteX72" fmla="*/ 1981484 w 5370864"/>
              <a:gd name="connsiteY72" fmla="*/ 2830600 h 3442764"/>
              <a:gd name="connsiteX73" fmla="*/ 2044431 w 5370864"/>
              <a:gd name="connsiteY73" fmla="*/ 2768986 h 3442764"/>
              <a:gd name="connsiteX74" fmla="*/ 2111600 w 5370864"/>
              <a:gd name="connsiteY74" fmla="*/ 2352265 h 3442764"/>
              <a:gd name="connsiteX75" fmla="*/ 2091702 w 5370864"/>
              <a:gd name="connsiteY75" fmla="*/ 2289200 h 3442764"/>
              <a:gd name="connsiteX76" fmla="*/ 1878996 w 5370864"/>
              <a:gd name="connsiteY76" fmla="*/ 2069754 h 3442764"/>
              <a:gd name="connsiteX77" fmla="*/ 1419873 w 5370864"/>
              <a:gd name="connsiteY77" fmla="*/ 831297 h 3442764"/>
              <a:gd name="connsiteX78" fmla="*/ 1419912 w 5370864"/>
              <a:gd name="connsiteY78" fmla="*/ 831268 h 3442764"/>
              <a:gd name="connsiteX79" fmla="*/ 1317502 w 5370864"/>
              <a:gd name="connsiteY79" fmla="*/ 831268 h 3442764"/>
              <a:gd name="connsiteX80" fmla="*/ 858379 w 5370864"/>
              <a:gd name="connsiteY80" fmla="*/ 2069725 h 3442764"/>
              <a:gd name="connsiteX81" fmla="*/ 645673 w 5370864"/>
              <a:gd name="connsiteY81" fmla="*/ 2289161 h 3442764"/>
              <a:gd name="connsiteX82" fmla="*/ 645673 w 5370864"/>
              <a:gd name="connsiteY82" fmla="*/ 2289200 h 3442764"/>
              <a:gd name="connsiteX83" fmla="*/ 625883 w 5370864"/>
              <a:gd name="connsiteY83" fmla="*/ 2352265 h 3442764"/>
              <a:gd name="connsiteX84" fmla="*/ 1368732 w 5370864"/>
              <a:gd name="connsiteY84" fmla="*/ 2763323 h 3442764"/>
              <a:gd name="connsiteX85" fmla="*/ 1286181 w 5370864"/>
              <a:gd name="connsiteY85" fmla="*/ 2568987 h 3442764"/>
              <a:gd name="connsiteX86" fmla="*/ 1451312 w 5370864"/>
              <a:gd name="connsiteY86" fmla="*/ 2568987 h 3442764"/>
              <a:gd name="connsiteX87" fmla="*/ 1368732 w 5370864"/>
              <a:gd name="connsiteY87" fmla="*/ 2763323 h 3442764"/>
              <a:gd name="connsiteX88" fmla="*/ 1580898 w 5370864"/>
              <a:gd name="connsiteY88" fmla="*/ 2421531 h 3442764"/>
              <a:gd name="connsiteX89" fmla="*/ 1156594 w 5370864"/>
              <a:gd name="connsiteY89" fmla="*/ 2421570 h 3442764"/>
              <a:gd name="connsiteX90" fmla="*/ 1113467 w 5370864"/>
              <a:gd name="connsiteY90" fmla="*/ 2346484 h 3442764"/>
              <a:gd name="connsiteX91" fmla="*/ 1624065 w 5370864"/>
              <a:gd name="connsiteY91" fmla="*/ 2346484 h 3442764"/>
              <a:gd name="connsiteX92" fmla="*/ 1580889 w 5370864"/>
              <a:gd name="connsiteY92" fmla="*/ 2421570 h 3442764"/>
              <a:gd name="connsiteX93" fmla="*/ 1960195 w 5370864"/>
              <a:gd name="connsiteY93" fmla="*/ 2365275 h 3442764"/>
              <a:gd name="connsiteX94" fmla="*/ 1937848 w 5370864"/>
              <a:gd name="connsiteY94" fmla="*/ 2503885 h 3442764"/>
              <a:gd name="connsiteX95" fmla="*/ 1900030 w 5370864"/>
              <a:gd name="connsiteY95" fmla="*/ 2419806 h 3442764"/>
              <a:gd name="connsiteX96" fmla="*/ 1848066 w 5370864"/>
              <a:gd name="connsiteY96" fmla="*/ 2378168 h 3442764"/>
              <a:gd name="connsiteX97" fmla="*/ 1780329 w 5370864"/>
              <a:gd name="connsiteY97" fmla="*/ 2363620 h 3442764"/>
              <a:gd name="connsiteX98" fmla="*/ 1833557 w 5370864"/>
              <a:gd name="connsiteY98" fmla="*/ 2234875 h 3442764"/>
              <a:gd name="connsiteX99" fmla="*/ 1368732 w 5370864"/>
              <a:gd name="connsiteY99" fmla="*/ 988875 h 3442764"/>
              <a:gd name="connsiteX100" fmla="*/ 1690587 w 5370864"/>
              <a:gd name="connsiteY100" fmla="*/ 2198920 h 3442764"/>
              <a:gd name="connsiteX101" fmla="*/ 1046925 w 5370864"/>
              <a:gd name="connsiteY101" fmla="*/ 2198920 h 3442764"/>
              <a:gd name="connsiteX102" fmla="*/ 1368741 w 5370864"/>
              <a:gd name="connsiteY102" fmla="*/ 988875 h 3442764"/>
              <a:gd name="connsiteX103" fmla="*/ 903749 w 5370864"/>
              <a:gd name="connsiteY103" fmla="*/ 2234973 h 3442764"/>
              <a:gd name="connsiteX104" fmla="*/ 957056 w 5370864"/>
              <a:gd name="connsiteY104" fmla="*/ 2363639 h 3442764"/>
              <a:gd name="connsiteX105" fmla="*/ 889318 w 5370864"/>
              <a:gd name="connsiteY105" fmla="*/ 2378178 h 3442764"/>
              <a:gd name="connsiteX106" fmla="*/ 837354 w 5370864"/>
              <a:gd name="connsiteY106" fmla="*/ 2419816 h 3442764"/>
              <a:gd name="connsiteX107" fmla="*/ 799351 w 5370864"/>
              <a:gd name="connsiteY107" fmla="*/ 2503778 h 3442764"/>
              <a:gd name="connsiteX108" fmla="*/ 777004 w 5370864"/>
              <a:gd name="connsiteY108" fmla="*/ 2365177 h 3442764"/>
              <a:gd name="connsiteX109" fmla="*/ 2436316 w 5370864"/>
              <a:gd name="connsiteY109" fmla="*/ 1216560 h 3442764"/>
              <a:gd name="connsiteX110" fmla="*/ 2457900 w 5370864"/>
              <a:gd name="connsiteY110" fmla="*/ 1164430 h 3442764"/>
              <a:gd name="connsiteX111" fmla="*/ 2510020 w 5370864"/>
              <a:gd name="connsiteY111" fmla="*/ 1142807 h 3442764"/>
              <a:gd name="connsiteX112" fmla="*/ 3319352 w 5370864"/>
              <a:gd name="connsiteY112" fmla="*/ 1142807 h 3442764"/>
              <a:gd name="connsiteX113" fmla="*/ 3372815 w 5370864"/>
              <a:gd name="connsiteY113" fmla="*/ 1163666 h 3442764"/>
              <a:gd name="connsiteX114" fmla="*/ 3395173 w 5370864"/>
              <a:gd name="connsiteY114" fmla="*/ 1216560 h 3442764"/>
              <a:gd name="connsiteX115" fmla="*/ 3372815 w 5370864"/>
              <a:gd name="connsiteY115" fmla="*/ 1269406 h 3442764"/>
              <a:gd name="connsiteX116" fmla="*/ 3319352 w 5370864"/>
              <a:gd name="connsiteY116" fmla="*/ 1290264 h 3442764"/>
              <a:gd name="connsiteX117" fmla="*/ 2510020 w 5370864"/>
              <a:gd name="connsiteY117" fmla="*/ 1290264 h 3442764"/>
              <a:gd name="connsiteX118" fmla="*/ 2436316 w 5370864"/>
              <a:gd name="connsiteY118" fmla="*/ 1216560 h 3442764"/>
              <a:gd name="connsiteX119" fmla="*/ 2436316 w 5370864"/>
              <a:gd name="connsiteY119" fmla="*/ 1490577 h 3442764"/>
              <a:gd name="connsiteX120" fmla="*/ 2436316 w 5370864"/>
              <a:gd name="connsiteY120" fmla="*/ 1490616 h 3442764"/>
              <a:gd name="connsiteX121" fmla="*/ 2510020 w 5370864"/>
              <a:gd name="connsiteY121" fmla="*/ 1416902 h 3442764"/>
              <a:gd name="connsiteX122" fmla="*/ 4091867 w 5370864"/>
              <a:gd name="connsiteY122" fmla="*/ 1416902 h 3442764"/>
              <a:gd name="connsiteX123" fmla="*/ 4145369 w 5370864"/>
              <a:gd name="connsiteY123" fmla="*/ 1437760 h 3442764"/>
              <a:gd name="connsiteX124" fmla="*/ 4167687 w 5370864"/>
              <a:gd name="connsiteY124" fmla="*/ 1490655 h 3442764"/>
              <a:gd name="connsiteX125" fmla="*/ 4145369 w 5370864"/>
              <a:gd name="connsiteY125" fmla="*/ 1543501 h 3442764"/>
              <a:gd name="connsiteX126" fmla="*/ 4091867 w 5370864"/>
              <a:gd name="connsiteY126" fmla="*/ 1564359 h 3442764"/>
              <a:gd name="connsiteX127" fmla="*/ 2510020 w 5370864"/>
              <a:gd name="connsiteY127" fmla="*/ 1564359 h 3442764"/>
              <a:gd name="connsiteX128" fmla="*/ 2457821 w 5370864"/>
              <a:gd name="connsiteY128" fmla="*/ 1542658 h 3442764"/>
              <a:gd name="connsiteX129" fmla="*/ 2436316 w 5370864"/>
              <a:gd name="connsiteY129" fmla="*/ 1490381 h 3442764"/>
              <a:gd name="connsiteX130" fmla="*/ 2436316 w 5370864"/>
              <a:gd name="connsiteY130" fmla="*/ 1764593 h 3442764"/>
              <a:gd name="connsiteX131" fmla="*/ 2436316 w 5370864"/>
              <a:gd name="connsiteY131" fmla="*/ 1764632 h 3442764"/>
              <a:gd name="connsiteX132" fmla="*/ 2510020 w 5370864"/>
              <a:gd name="connsiteY132" fmla="*/ 1690958 h 3442764"/>
              <a:gd name="connsiteX133" fmla="*/ 2688172 w 5370864"/>
              <a:gd name="connsiteY133" fmla="*/ 1690958 h 3442764"/>
              <a:gd name="connsiteX134" fmla="*/ 2759896 w 5370864"/>
              <a:gd name="connsiteY134" fmla="*/ 1764671 h 3442764"/>
              <a:gd name="connsiteX135" fmla="*/ 2688172 w 5370864"/>
              <a:gd name="connsiteY135" fmla="*/ 1838375 h 3442764"/>
              <a:gd name="connsiteX136" fmla="*/ 2510020 w 5370864"/>
              <a:gd name="connsiteY136" fmla="*/ 1838375 h 3442764"/>
              <a:gd name="connsiteX137" fmla="*/ 2457900 w 5370864"/>
              <a:gd name="connsiteY137" fmla="*/ 1816792 h 3442764"/>
              <a:gd name="connsiteX138" fmla="*/ 2436316 w 5370864"/>
              <a:gd name="connsiteY138" fmla="*/ 1764632 h 3442764"/>
              <a:gd name="connsiteX139" fmla="*/ 2957858 w 5370864"/>
              <a:gd name="connsiteY139" fmla="*/ 1690879 h 3442764"/>
              <a:gd name="connsiteX140" fmla="*/ 4542056 w 5370864"/>
              <a:gd name="connsiteY140" fmla="*/ 1690958 h 3442764"/>
              <a:gd name="connsiteX141" fmla="*/ 4613731 w 5370864"/>
              <a:gd name="connsiteY141" fmla="*/ 1764671 h 3442764"/>
              <a:gd name="connsiteX142" fmla="*/ 4542056 w 5370864"/>
              <a:gd name="connsiteY142" fmla="*/ 1838375 h 3442764"/>
              <a:gd name="connsiteX143" fmla="*/ 2957858 w 5370864"/>
              <a:gd name="connsiteY143" fmla="*/ 1838375 h 3442764"/>
              <a:gd name="connsiteX144" fmla="*/ 2904355 w 5370864"/>
              <a:gd name="connsiteY144" fmla="*/ 1817556 h 3442764"/>
              <a:gd name="connsiteX145" fmla="*/ 2882047 w 5370864"/>
              <a:gd name="connsiteY145" fmla="*/ 1764671 h 3442764"/>
              <a:gd name="connsiteX146" fmla="*/ 2904355 w 5370864"/>
              <a:gd name="connsiteY146" fmla="*/ 1711776 h 3442764"/>
              <a:gd name="connsiteX147" fmla="*/ 2957858 w 5370864"/>
              <a:gd name="connsiteY147" fmla="*/ 1690958 h 3442764"/>
              <a:gd name="connsiteX148" fmla="*/ 4615730 w 5370864"/>
              <a:gd name="connsiteY148" fmla="*/ 2039021 h 3442764"/>
              <a:gd name="connsiteX149" fmla="*/ 4542056 w 5370864"/>
              <a:gd name="connsiteY149" fmla="*/ 2112695 h 3442764"/>
              <a:gd name="connsiteX150" fmla="*/ 2957858 w 5370864"/>
              <a:gd name="connsiteY150" fmla="*/ 2112695 h 3442764"/>
              <a:gd name="connsiteX151" fmla="*/ 2904365 w 5370864"/>
              <a:gd name="connsiteY151" fmla="*/ 2091876 h 3442764"/>
              <a:gd name="connsiteX152" fmla="*/ 2882047 w 5370864"/>
              <a:gd name="connsiteY152" fmla="*/ 2038991 h 3442764"/>
              <a:gd name="connsiteX153" fmla="*/ 2904365 w 5370864"/>
              <a:gd name="connsiteY153" fmla="*/ 1986096 h 3442764"/>
              <a:gd name="connsiteX154" fmla="*/ 2957858 w 5370864"/>
              <a:gd name="connsiteY154" fmla="*/ 1965278 h 3442764"/>
              <a:gd name="connsiteX155" fmla="*/ 4542056 w 5370864"/>
              <a:gd name="connsiteY155" fmla="*/ 1965278 h 3442764"/>
              <a:gd name="connsiteX156" fmla="*/ 4594186 w 5370864"/>
              <a:gd name="connsiteY156" fmla="*/ 1986861 h 3442764"/>
              <a:gd name="connsiteX157" fmla="*/ 4615730 w 5370864"/>
              <a:gd name="connsiteY157" fmla="*/ 2039021 h 3442764"/>
              <a:gd name="connsiteX158" fmla="*/ 2436257 w 5370864"/>
              <a:gd name="connsiteY158" fmla="*/ 2039021 h 3442764"/>
              <a:gd name="connsiteX159" fmla="*/ 2457841 w 5370864"/>
              <a:gd name="connsiteY159" fmla="*/ 1986861 h 3442764"/>
              <a:gd name="connsiteX160" fmla="*/ 2509961 w 5370864"/>
              <a:gd name="connsiteY160" fmla="*/ 1965278 h 3442764"/>
              <a:gd name="connsiteX161" fmla="*/ 2688113 w 5370864"/>
              <a:gd name="connsiteY161" fmla="*/ 1965278 h 3442764"/>
              <a:gd name="connsiteX162" fmla="*/ 2759838 w 5370864"/>
              <a:gd name="connsiteY162" fmla="*/ 2038991 h 3442764"/>
              <a:gd name="connsiteX163" fmla="*/ 2688113 w 5370864"/>
              <a:gd name="connsiteY163" fmla="*/ 2112695 h 3442764"/>
              <a:gd name="connsiteX164" fmla="*/ 2509961 w 5370864"/>
              <a:gd name="connsiteY164" fmla="*/ 2112695 h 3442764"/>
              <a:gd name="connsiteX165" fmla="*/ 2436257 w 5370864"/>
              <a:gd name="connsiteY165" fmla="*/ 2039021 h 3442764"/>
              <a:gd name="connsiteX166" fmla="*/ 2436257 w 5370864"/>
              <a:gd name="connsiteY166" fmla="*/ 2313037 h 3442764"/>
              <a:gd name="connsiteX167" fmla="*/ 2457841 w 5370864"/>
              <a:gd name="connsiteY167" fmla="*/ 2260916 h 3442764"/>
              <a:gd name="connsiteX168" fmla="*/ 2509961 w 5370864"/>
              <a:gd name="connsiteY168" fmla="*/ 2239294 h 3442764"/>
              <a:gd name="connsiteX169" fmla="*/ 2688113 w 5370864"/>
              <a:gd name="connsiteY169" fmla="*/ 2239294 h 3442764"/>
              <a:gd name="connsiteX170" fmla="*/ 2759838 w 5370864"/>
              <a:gd name="connsiteY170" fmla="*/ 2312998 h 3442764"/>
              <a:gd name="connsiteX171" fmla="*/ 2688113 w 5370864"/>
              <a:gd name="connsiteY171" fmla="*/ 2386751 h 3442764"/>
              <a:gd name="connsiteX172" fmla="*/ 2509961 w 5370864"/>
              <a:gd name="connsiteY172" fmla="*/ 2386751 h 3442764"/>
              <a:gd name="connsiteX173" fmla="*/ 2457762 w 5370864"/>
              <a:gd name="connsiteY173" fmla="*/ 2365050 h 3442764"/>
              <a:gd name="connsiteX174" fmla="*/ 2436257 w 5370864"/>
              <a:gd name="connsiteY174" fmla="*/ 2312772 h 3442764"/>
              <a:gd name="connsiteX175" fmla="*/ 4615730 w 5370864"/>
              <a:gd name="connsiteY175" fmla="*/ 2313037 h 3442764"/>
              <a:gd name="connsiteX176" fmla="*/ 4542056 w 5370864"/>
              <a:gd name="connsiteY176" fmla="*/ 2386751 h 3442764"/>
              <a:gd name="connsiteX177" fmla="*/ 2957858 w 5370864"/>
              <a:gd name="connsiteY177" fmla="*/ 2386751 h 3442764"/>
              <a:gd name="connsiteX178" fmla="*/ 2904365 w 5370864"/>
              <a:gd name="connsiteY178" fmla="*/ 2365892 h 3442764"/>
              <a:gd name="connsiteX179" fmla="*/ 2882047 w 5370864"/>
              <a:gd name="connsiteY179" fmla="*/ 2312998 h 3442764"/>
              <a:gd name="connsiteX180" fmla="*/ 2904365 w 5370864"/>
              <a:gd name="connsiteY180" fmla="*/ 2260152 h 3442764"/>
              <a:gd name="connsiteX181" fmla="*/ 2957858 w 5370864"/>
              <a:gd name="connsiteY181" fmla="*/ 2239294 h 3442764"/>
              <a:gd name="connsiteX182" fmla="*/ 4542056 w 5370864"/>
              <a:gd name="connsiteY182" fmla="*/ 2239294 h 3442764"/>
              <a:gd name="connsiteX183" fmla="*/ 4615730 w 5370864"/>
              <a:gd name="connsiteY183" fmla="*/ 2312772 h 3442764"/>
              <a:gd name="connsiteX184" fmla="*/ 2436257 w 5370864"/>
              <a:gd name="connsiteY184" fmla="*/ 2586779 h 3442764"/>
              <a:gd name="connsiteX185" fmla="*/ 2509961 w 5370864"/>
              <a:gd name="connsiteY185" fmla="*/ 2513114 h 3442764"/>
              <a:gd name="connsiteX186" fmla="*/ 2688113 w 5370864"/>
              <a:gd name="connsiteY186" fmla="*/ 2513114 h 3442764"/>
              <a:gd name="connsiteX187" fmla="*/ 2759838 w 5370864"/>
              <a:gd name="connsiteY187" fmla="*/ 2586818 h 3442764"/>
              <a:gd name="connsiteX188" fmla="*/ 2688113 w 5370864"/>
              <a:gd name="connsiteY188" fmla="*/ 2660532 h 3442764"/>
              <a:gd name="connsiteX189" fmla="*/ 2509961 w 5370864"/>
              <a:gd name="connsiteY189" fmla="*/ 2660532 h 3442764"/>
              <a:gd name="connsiteX190" fmla="*/ 2457841 w 5370864"/>
              <a:gd name="connsiteY190" fmla="*/ 2638949 h 3442764"/>
              <a:gd name="connsiteX191" fmla="*/ 2436257 w 5370864"/>
              <a:gd name="connsiteY191" fmla="*/ 2586779 h 3442764"/>
              <a:gd name="connsiteX192" fmla="*/ 4615730 w 5370864"/>
              <a:gd name="connsiteY192" fmla="*/ 2586779 h 3442764"/>
              <a:gd name="connsiteX193" fmla="*/ 4594186 w 5370864"/>
              <a:gd name="connsiteY193" fmla="*/ 2638949 h 3442764"/>
              <a:gd name="connsiteX194" fmla="*/ 4542056 w 5370864"/>
              <a:gd name="connsiteY194" fmla="*/ 2660532 h 3442764"/>
              <a:gd name="connsiteX195" fmla="*/ 2957858 w 5370864"/>
              <a:gd name="connsiteY195" fmla="*/ 2660532 h 3442764"/>
              <a:gd name="connsiteX196" fmla="*/ 2904365 w 5370864"/>
              <a:gd name="connsiteY196" fmla="*/ 2639674 h 3442764"/>
              <a:gd name="connsiteX197" fmla="*/ 2882047 w 5370864"/>
              <a:gd name="connsiteY197" fmla="*/ 2586818 h 3442764"/>
              <a:gd name="connsiteX198" fmla="*/ 2904365 w 5370864"/>
              <a:gd name="connsiteY198" fmla="*/ 2533933 h 3442764"/>
              <a:gd name="connsiteX199" fmla="*/ 2957858 w 5370864"/>
              <a:gd name="connsiteY199" fmla="*/ 2513114 h 3442764"/>
              <a:gd name="connsiteX200" fmla="*/ 4542056 w 5370864"/>
              <a:gd name="connsiteY200" fmla="*/ 2513114 h 3442764"/>
              <a:gd name="connsiteX201" fmla="*/ 4615730 w 5370864"/>
              <a:gd name="connsiteY201" fmla="*/ 2586779 h 3442764"/>
              <a:gd name="connsiteX202" fmla="*/ 2436257 w 5370864"/>
              <a:gd name="connsiteY202" fmla="*/ 2860834 h 3442764"/>
              <a:gd name="connsiteX203" fmla="*/ 2509961 w 5370864"/>
              <a:gd name="connsiteY203" fmla="*/ 2787130 h 3442764"/>
              <a:gd name="connsiteX204" fmla="*/ 2688113 w 5370864"/>
              <a:gd name="connsiteY204" fmla="*/ 2787130 h 3442764"/>
              <a:gd name="connsiteX205" fmla="*/ 2759838 w 5370864"/>
              <a:gd name="connsiteY205" fmla="*/ 2860834 h 3442764"/>
              <a:gd name="connsiteX206" fmla="*/ 2688113 w 5370864"/>
              <a:gd name="connsiteY206" fmla="*/ 2934587 h 3442764"/>
              <a:gd name="connsiteX207" fmla="*/ 2509961 w 5370864"/>
              <a:gd name="connsiteY207" fmla="*/ 2934587 h 3442764"/>
              <a:gd name="connsiteX208" fmla="*/ 2457841 w 5370864"/>
              <a:gd name="connsiteY208" fmla="*/ 2912965 h 3442764"/>
              <a:gd name="connsiteX209" fmla="*/ 2436257 w 5370864"/>
              <a:gd name="connsiteY209" fmla="*/ 2860834 h 3442764"/>
              <a:gd name="connsiteX210" fmla="*/ 4615730 w 5370864"/>
              <a:gd name="connsiteY210" fmla="*/ 2860834 h 3442764"/>
              <a:gd name="connsiteX211" fmla="*/ 4594186 w 5370864"/>
              <a:gd name="connsiteY211" fmla="*/ 2912965 h 3442764"/>
              <a:gd name="connsiteX212" fmla="*/ 4542056 w 5370864"/>
              <a:gd name="connsiteY212" fmla="*/ 2934587 h 3442764"/>
              <a:gd name="connsiteX213" fmla="*/ 2957858 w 5370864"/>
              <a:gd name="connsiteY213" fmla="*/ 2934587 h 3442764"/>
              <a:gd name="connsiteX214" fmla="*/ 2904365 w 5370864"/>
              <a:gd name="connsiteY214" fmla="*/ 2913729 h 3442764"/>
              <a:gd name="connsiteX215" fmla="*/ 2882047 w 5370864"/>
              <a:gd name="connsiteY215" fmla="*/ 2860834 h 3442764"/>
              <a:gd name="connsiteX216" fmla="*/ 2904365 w 5370864"/>
              <a:gd name="connsiteY216" fmla="*/ 2807989 h 3442764"/>
              <a:gd name="connsiteX217" fmla="*/ 2957858 w 5370864"/>
              <a:gd name="connsiteY217" fmla="*/ 2787130 h 3442764"/>
              <a:gd name="connsiteX218" fmla="*/ 4542056 w 5370864"/>
              <a:gd name="connsiteY218" fmla="*/ 2787130 h 3442764"/>
              <a:gd name="connsiteX219" fmla="*/ 4615730 w 5370864"/>
              <a:gd name="connsiteY219" fmla="*/ 2860834 h 3442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</a:cxnLst>
            <a:rect l="l" t="t" r="r" b="b"/>
            <a:pathLst>
              <a:path w="5370864" h="3442764">
                <a:moveTo>
                  <a:pt x="5218127" y="0"/>
                </a:moveTo>
                <a:lnTo>
                  <a:pt x="152808" y="0"/>
                </a:lnTo>
                <a:cubicBezTo>
                  <a:pt x="112280" y="39"/>
                  <a:pt x="73435" y="16146"/>
                  <a:pt x="44814" y="44812"/>
                </a:cubicBezTo>
                <a:cubicBezTo>
                  <a:pt x="16150" y="73439"/>
                  <a:pt x="38" y="112285"/>
                  <a:pt x="0" y="152806"/>
                </a:cubicBezTo>
                <a:lnTo>
                  <a:pt x="0" y="376151"/>
                </a:lnTo>
                <a:lnTo>
                  <a:pt x="0" y="376112"/>
                </a:lnTo>
                <a:cubicBezTo>
                  <a:pt x="38" y="416643"/>
                  <a:pt x="16150" y="455489"/>
                  <a:pt x="44814" y="484106"/>
                </a:cubicBezTo>
                <a:cubicBezTo>
                  <a:pt x="73440" y="512773"/>
                  <a:pt x="112284" y="528889"/>
                  <a:pt x="152808" y="528918"/>
                </a:cubicBezTo>
                <a:lnTo>
                  <a:pt x="220278" y="528918"/>
                </a:lnTo>
                <a:lnTo>
                  <a:pt x="220278" y="3369012"/>
                </a:lnTo>
                <a:cubicBezTo>
                  <a:pt x="220240" y="3388577"/>
                  <a:pt x="228009" y="3407329"/>
                  <a:pt x="241825" y="3421182"/>
                </a:cubicBezTo>
                <a:cubicBezTo>
                  <a:pt x="255639" y="3434996"/>
                  <a:pt x="274391" y="3442765"/>
                  <a:pt x="293946" y="3442765"/>
                </a:cubicBezTo>
                <a:lnTo>
                  <a:pt x="5076911" y="3442765"/>
                </a:lnTo>
                <a:cubicBezTo>
                  <a:pt x="5096466" y="3442765"/>
                  <a:pt x="5115218" y="3434996"/>
                  <a:pt x="5129042" y="3421182"/>
                </a:cubicBezTo>
                <a:cubicBezTo>
                  <a:pt x="5142856" y="3407329"/>
                  <a:pt x="5150625" y="3388577"/>
                  <a:pt x="5150586" y="3369012"/>
                </a:cubicBezTo>
                <a:lnTo>
                  <a:pt x="5150586" y="528918"/>
                </a:lnTo>
                <a:lnTo>
                  <a:pt x="5218049" y="528918"/>
                </a:lnTo>
                <a:cubicBezTo>
                  <a:pt x="5258579" y="528889"/>
                  <a:pt x="5297425" y="512773"/>
                  <a:pt x="5326043" y="484106"/>
                </a:cubicBezTo>
                <a:cubicBezTo>
                  <a:pt x="5354709" y="455479"/>
                  <a:pt x="5370825" y="416643"/>
                  <a:pt x="5370864" y="376112"/>
                </a:cubicBezTo>
                <a:lnTo>
                  <a:pt x="5370864" y="152806"/>
                </a:lnTo>
                <a:cubicBezTo>
                  <a:pt x="5370825" y="112285"/>
                  <a:pt x="5354709" y="73439"/>
                  <a:pt x="5326043" y="44812"/>
                </a:cubicBezTo>
                <a:cubicBezTo>
                  <a:pt x="5297425" y="16146"/>
                  <a:pt x="5258579" y="39"/>
                  <a:pt x="5218049" y="0"/>
                </a:cubicBezTo>
                <a:close/>
                <a:moveTo>
                  <a:pt x="5003236" y="3295367"/>
                </a:moveTo>
                <a:lnTo>
                  <a:pt x="367718" y="3295367"/>
                </a:lnTo>
                <a:lnTo>
                  <a:pt x="367718" y="529046"/>
                </a:lnTo>
                <a:lnTo>
                  <a:pt x="5003236" y="529046"/>
                </a:lnTo>
                <a:close/>
                <a:moveTo>
                  <a:pt x="5223515" y="376112"/>
                </a:moveTo>
                <a:lnTo>
                  <a:pt x="5223477" y="376112"/>
                </a:lnTo>
                <a:cubicBezTo>
                  <a:pt x="5223290" y="378983"/>
                  <a:pt x="5220988" y="381275"/>
                  <a:pt x="5218117" y="381471"/>
                </a:cubicBezTo>
                <a:lnTo>
                  <a:pt x="152800" y="381471"/>
                </a:lnTo>
                <a:cubicBezTo>
                  <a:pt x="149930" y="381275"/>
                  <a:pt x="147634" y="378983"/>
                  <a:pt x="147442" y="376112"/>
                </a:cubicBezTo>
                <a:lnTo>
                  <a:pt x="147442" y="152806"/>
                </a:lnTo>
                <a:cubicBezTo>
                  <a:pt x="147634" y="149896"/>
                  <a:pt x="149930" y="147604"/>
                  <a:pt x="152800" y="147408"/>
                </a:cubicBezTo>
                <a:lnTo>
                  <a:pt x="5218117" y="147408"/>
                </a:lnTo>
                <a:cubicBezTo>
                  <a:pt x="5220988" y="147604"/>
                  <a:pt x="5223290" y="149896"/>
                  <a:pt x="5223477" y="152806"/>
                </a:cubicBezTo>
                <a:close/>
                <a:moveTo>
                  <a:pt x="1368732" y="1963935"/>
                </a:moveTo>
                <a:cubicBezTo>
                  <a:pt x="1453878" y="1963935"/>
                  <a:pt x="1535547" y="1930145"/>
                  <a:pt x="1595751" y="1869941"/>
                </a:cubicBezTo>
                <a:cubicBezTo>
                  <a:pt x="1655984" y="1809748"/>
                  <a:pt x="1689823" y="1728079"/>
                  <a:pt x="1689823" y="1642922"/>
                </a:cubicBezTo>
                <a:cubicBezTo>
                  <a:pt x="1689823" y="1557775"/>
                  <a:pt x="1656023" y="1476106"/>
                  <a:pt x="1595790" y="1415903"/>
                </a:cubicBezTo>
                <a:cubicBezTo>
                  <a:pt x="1535587" y="1355709"/>
                  <a:pt x="1453957" y="1321880"/>
                  <a:pt x="1368810" y="1321840"/>
                </a:cubicBezTo>
                <a:cubicBezTo>
                  <a:pt x="1283663" y="1321840"/>
                  <a:pt x="1201994" y="1355670"/>
                  <a:pt x="1141751" y="1415863"/>
                </a:cubicBezTo>
                <a:cubicBezTo>
                  <a:pt x="1081548" y="1476067"/>
                  <a:pt x="1047718" y="1557726"/>
                  <a:pt x="1047718" y="1642883"/>
                </a:cubicBezTo>
                <a:cubicBezTo>
                  <a:pt x="1047836" y="1728001"/>
                  <a:pt x="1081665" y="1809591"/>
                  <a:pt x="1141830" y="1869785"/>
                </a:cubicBezTo>
                <a:cubicBezTo>
                  <a:pt x="1202023" y="1929949"/>
                  <a:pt x="1283624" y="1963818"/>
                  <a:pt x="1368732" y="1963935"/>
                </a:cubicBezTo>
                <a:close/>
                <a:moveTo>
                  <a:pt x="1368732" y="1469336"/>
                </a:moveTo>
                <a:cubicBezTo>
                  <a:pt x="1414768" y="1469258"/>
                  <a:pt x="1459012" y="1487481"/>
                  <a:pt x="1491617" y="1520007"/>
                </a:cubicBezTo>
                <a:cubicBezTo>
                  <a:pt x="1524261" y="1552534"/>
                  <a:pt x="1542591" y="1596660"/>
                  <a:pt x="1542670" y="1642736"/>
                </a:cubicBezTo>
                <a:cubicBezTo>
                  <a:pt x="1542709" y="1688812"/>
                  <a:pt x="1524457" y="1733017"/>
                  <a:pt x="1491921" y="1765622"/>
                </a:cubicBezTo>
                <a:cubicBezTo>
                  <a:pt x="1459355" y="1798187"/>
                  <a:pt x="1415189" y="1816518"/>
                  <a:pt x="1369153" y="1816557"/>
                </a:cubicBezTo>
                <a:cubicBezTo>
                  <a:pt x="1323077" y="1816557"/>
                  <a:pt x="1278872" y="1798305"/>
                  <a:pt x="1246306" y="1765700"/>
                </a:cubicBezTo>
                <a:cubicBezTo>
                  <a:pt x="1213741" y="1733134"/>
                  <a:pt x="1195449" y="1688969"/>
                  <a:pt x="1195449" y="1642893"/>
                </a:cubicBezTo>
                <a:cubicBezTo>
                  <a:pt x="1195567" y="1596964"/>
                  <a:pt x="1213819" y="1552916"/>
                  <a:pt x="1246306" y="1520428"/>
                </a:cubicBezTo>
                <a:cubicBezTo>
                  <a:pt x="1278764" y="1487931"/>
                  <a:pt x="1322773" y="1469601"/>
                  <a:pt x="1368732" y="1469493"/>
                </a:cubicBezTo>
                <a:close/>
                <a:moveTo>
                  <a:pt x="625873" y="2352265"/>
                </a:moveTo>
                <a:lnTo>
                  <a:pt x="693042" y="2768986"/>
                </a:lnTo>
                <a:cubicBezTo>
                  <a:pt x="698244" y="2801052"/>
                  <a:pt x="723844" y="2825937"/>
                  <a:pt x="756028" y="2830218"/>
                </a:cubicBezTo>
                <a:cubicBezTo>
                  <a:pt x="759281" y="2830640"/>
                  <a:pt x="762533" y="2830835"/>
                  <a:pt x="765786" y="2830835"/>
                </a:cubicBezTo>
                <a:cubicBezTo>
                  <a:pt x="794756" y="2830835"/>
                  <a:pt x="821012" y="2813916"/>
                  <a:pt x="832955" y="2787552"/>
                </a:cubicBezTo>
                <a:lnTo>
                  <a:pt x="956644" y="2514378"/>
                </a:lnTo>
                <a:lnTo>
                  <a:pt x="1030926" y="2498458"/>
                </a:lnTo>
                <a:cubicBezTo>
                  <a:pt x="1038656" y="2510930"/>
                  <a:pt x="1046503" y="2523401"/>
                  <a:pt x="1054723" y="2535804"/>
                </a:cubicBezTo>
                <a:cubicBezTo>
                  <a:pt x="1068390" y="2556437"/>
                  <a:pt x="1091462" y="2568870"/>
                  <a:pt x="1116230" y="2568870"/>
                </a:cubicBezTo>
                <a:lnTo>
                  <a:pt x="1138881" y="2568870"/>
                </a:lnTo>
                <a:cubicBezTo>
                  <a:pt x="1143672" y="2707979"/>
                  <a:pt x="1210292" y="2837713"/>
                  <a:pt x="1320628" y="2922596"/>
                </a:cubicBezTo>
                <a:cubicBezTo>
                  <a:pt x="1348265" y="2946471"/>
                  <a:pt x="1389208" y="2946471"/>
                  <a:pt x="1416875" y="2922596"/>
                </a:cubicBezTo>
                <a:cubicBezTo>
                  <a:pt x="1527093" y="2837791"/>
                  <a:pt x="1593723" y="2708244"/>
                  <a:pt x="1598621" y="2569291"/>
                </a:cubicBezTo>
                <a:lnTo>
                  <a:pt x="1621282" y="2569291"/>
                </a:lnTo>
                <a:cubicBezTo>
                  <a:pt x="1646040" y="2569252"/>
                  <a:pt x="1669122" y="2556858"/>
                  <a:pt x="1682779" y="2536187"/>
                </a:cubicBezTo>
                <a:cubicBezTo>
                  <a:pt x="1690969" y="2523793"/>
                  <a:pt x="1698856" y="2511312"/>
                  <a:pt x="1706586" y="2498840"/>
                </a:cubicBezTo>
                <a:lnTo>
                  <a:pt x="1780868" y="2514760"/>
                </a:lnTo>
                <a:lnTo>
                  <a:pt x="1904557" y="2787934"/>
                </a:lnTo>
                <a:cubicBezTo>
                  <a:pt x="1916499" y="2814298"/>
                  <a:pt x="1942746" y="2831257"/>
                  <a:pt x="1971716" y="2831257"/>
                </a:cubicBezTo>
                <a:cubicBezTo>
                  <a:pt x="1974979" y="2831257"/>
                  <a:pt x="1978231" y="2831022"/>
                  <a:pt x="1981484" y="2830600"/>
                </a:cubicBezTo>
                <a:cubicBezTo>
                  <a:pt x="2013775" y="2826241"/>
                  <a:pt x="2039385" y="2801209"/>
                  <a:pt x="2044431" y="2768986"/>
                </a:cubicBezTo>
                <a:lnTo>
                  <a:pt x="2111600" y="2352265"/>
                </a:lnTo>
                <a:cubicBezTo>
                  <a:pt x="2115274" y="2329261"/>
                  <a:pt x="2107887" y="2305924"/>
                  <a:pt x="2091702" y="2289200"/>
                </a:cubicBezTo>
                <a:lnTo>
                  <a:pt x="1878996" y="2069754"/>
                </a:lnTo>
                <a:cubicBezTo>
                  <a:pt x="1963839" y="1644117"/>
                  <a:pt x="1806703" y="1204627"/>
                  <a:pt x="1419873" y="831297"/>
                </a:cubicBezTo>
                <a:lnTo>
                  <a:pt x="1419912" y="831268"/>
                </a:lnTo>
                <a:cubicBezTo>
                  <a:pt x="1391324" y="803709"/>
                  <a:pt x="1346080" y="803709"/>
                  <a:pt x="1317502" y="831268"/>
                </a:cubicBezTo>
                <a:cubicBezTo>
                  <a:pt x="930554" y="1204588"/>
                  <a:pt x="773535" y="1644049"/>
                  <a:pt x="858379" y="2069725"/>
                </a:cubicBezTo>
                <a:lnTo>
                  <a:pt x="645673" y="2289161"/>
                </a:lnTo>
                <a:lnTo>
                  <a:pt x="645673" y="2289200"/>
                </a:lnTo>
                <a:cubicBezTo>
                  <a:pt x="629517" y="2305924"/>
                  <a:pt x="622170" y="2329300"/>
                  <a:pt x="625883" y="2352265"/>
                </a:cubicBezTo>
                <a:close/>
                <a:moveTo>
                  <a:pt x="1368732" y="2763323"/>
                </a:moveTo>
                <a:cubicBezTo>
                  <a:pt x="1317835" y="2711203"/>
                  <a:pt x="1288366" y="2641819"/>
                  <a:pt x="1286181" y="2568987"/>
                </a:cubicBezTo>
                <a:lnTo>
                  <a:pt x="1451312" y="2568987"/>
                </a:lnTo>
                <a:cubicBezTo>
                  <a:pt x="1449137" y="2641858"/>
                  <a:pt x="1419667" y="2711203"/>
                  <a:pt x="1368732" y="2763323"/>
                </a:cubicBezTo>
                <a:close/>
                <a:moveTo>
                  <a:pt x="1580898" y="2421531"/>
                </a:moveTo>
                <a:lnTo>
                  <a:pt x="1156594" y="2421570"/>
                </a:lnTo>
                <a:cubicBezTo>
                  <a:pt x="1141056" y="2396616"/>
                  <a:pt x="1126860" y="2371545"/>
                  <a:pt x="1113467" y="2346484"/>
                </a:cubicBezTo>
                <a:lnTo>
                  <a:pt x="1624065" y="2346484"/>
                </a:lnTo>
                <a:cubicBezTo>
                  <a:pt x="1610633" y="2371545"/>
                  <a:pt x="1596427" y="2396616"/>
                  <a:pt x="1580889" y="2421570"/>
                </a:cubicBezTo>
                <a:close/>
                <a:moveTo>
                  <a:pt x="1960195" y="2365275"/>
                </a:moveTo>
                <a:lnTo>
                  <a:pt x="1937848" y="2503885"/>
                </a:lnTo>
                <a:lnTo>
                  <a:pt x="1900030" y="2419806"/>
                </a:lnTo>
                <a:cubicBezTo>
                  <a:pt x="1890351" y="2398448"/>
                  <a:pt x="1871031" y="2382949"/>
                  <a:pt x="1848066" y="2378168"/>
                </a:cubicBezTo>
                <a:lnTo>
                  <a:pt x="1780329" y="2363620"/>
                </a:lnTo>
                <a:cubicBezTo>
                  <a:pt x="1800384" y="2321717"/>
                  <a:pt x="1818136" y="2278737"/>
                  <a:pt x="1833557" y="2234875"/>
                </a:cubicBezTo>
                <a:close/>
                <a:moveTo>
                  <a:pt x="1368732" y="988875"/>
                </a:moveTo>
                <a:cubicBezTo>
                  <a:pt x="1729844" y="1364262"/>
                  <a:pt x="1840905" y="1791633"/>
                  <a:pt x="1690587" y="2198920"/>
                </a:cubicBezTo>
                <a:lnTo>
                  <a:pt x="1046925" y="2198920"/>
                </a:lnTo>
                <a:cubicBezTo>
                  <a:pt x="896597" y="1791417"/>
                  <a:pt x="1007658" y="1364291"/>
                  <a:pt x="1368741" y="988875"/>
                </a:cubicBezTo>
                <a:close/>
                <a:moveTo>
                  <a:pt x="903749" y="2234973"/>
                </a:moveTo>
                <a:cubicBezTo>
                  <a:pt x="919209" y="2278786"/>
                  <a:pt x="937001" y="2321727"/>
                  <a:pt x="957056" y="2363639"/>
                </a:cubicBezTo>
                <a:lnTo>
                  <a:pt x="889318" y="2378178"/>
                </a:lnTo>
                <a:cubicBezTo>
                  <a:pt x="866354" y="2383037"/>
                  <a:pt x="847073" y="2398497"/>
                  <a:pt x="837354" y="2419816"/>
                </a:cubicBezTo>
                <a:lnTo>
                  <a:pt x="799351" y="2503778"/>
                </a:lnTo>
                <a:lnTo>
                  <a:pt x="777004" y="2365177"/>
                </a:lnTo>
                <a:close/>
                <a:moveTo>
                  <a:pt x="2436316" y="1216560"/>
                </a:moveTo>
                <a:cubicBezTo>
                  <a:pt x="2436316" y="1197005"/>
                  <a:pt x="2444086" y="1178253"/>
                  <a:pt x="2457900" y="1164430"/>
                </a:cubicBezTo>
                <a:cubicBezTo>
                  <a:pt x="2471714" y="1150577"/>
                  <a:pt x="2490465" y="1142807"/>
                  <a:pt x="2510020" y="1142807"/>
                </a:cubicBezTo>
                <a:lnTo>
                  <a:pt x="3319352" y="1142807"/>
                </a:lnTo>
                <a:cubicBezTo>
                  <a:pt x="3339260" y="1142278"/>
                  <a:pt x="3358541" y="1149773"/>
                  <a:pt x="3372815" y="1163666"/>
                </a:cubicBezTo>
                <a:cubicBezTo>
                  <a:pt x="3387090" y="1177558"/>
                  <a:pt x="3395173" y="1196623"/>
                  <a:pt x="3395173" y="1216560"/>
                </a:cubicBezTo>
                <a:cubicBezTo>
                  <a:pt x="3395173" y="1236458"/>
                  <a:pt x="3387090" y="1255514"/>
                  <a:pt x="3372815" y="1269406"/>
                </a:cubicBezTo>
                <a:cubicBezTo>
                  <a:pt x="3358541" y="1283298"/>
                  <a:pt x="3339260" y="1290803"/>
                  <a:pt x="3319352" y="1290264"/>
                </a:cubicBezTo>
                <a:lnTo>
                  <a:pt x="2510020" y="1290264"/>
                </a:lnTo>
                <a:cubicBezTo>
                  <a:pt x="2469343" y="1290264"/>
                  <a:pt x="2436316" y="1257277"/>
                  <a:pt x="2436316" y="1216560"/>
                </a:cubicBezTo>
                <a:close/>
                <a:moveTo>
                  <a:pt x="2436316" y="1490577"/>
                </a:moveTo>
                <a:lnTo>
                  <a:pt x="2436316" y="1490616"/>
                </a:lnTo>
                <a:cubicBezTo>
                  <a:pt x="2436316" y="1449899"/>
                  <a:pt x="2469343" y="1416902"/>
                  <a:pt x="2510020" y="1416902"/>
                </a:cubicBezTo>
                <a:lnTo>
                  <a:pt x="4091867" y="1416902"/>
                </a:lnTo>
                <a:cubicBezTo>
                  <a:pt x="4111814" y="1416373"/>
                  <a:pt x="4131095" y="1423868"/>
                  <a:pt x="4145369" y="1437760"/>
                </a:cubicBezTo>
                <a:cubicBezTo>
                  <a:pt x="4159644" y="1451652"/>
                  <a:pt x="4167687" y="1470718"/>
                  <a:pt x="4167687" y="1490655"/>
                </a:cubicBezTo>
                <a:cubicBezTo>
                  <a:pt x="4167687" y="1510553"/>
                  <a:pt x="4159644" y="1529608"/>
                  <a:pt x="4145369" y="1543501"/>
                </a:cubicBezTo>
                <a:cubicBezTo>
                  <a:pt x="4131095" y="1557393"/>
                  <a:pt x="4111804" y="1564898"/>
                  <a:pt x="4091867" y="1564359"/>
                </a:cubicBezTo>
                <a:lnTo>
                  <a:pt x="2510020" y="1564359"/>
                </a:lnTo>
                <a:cubicBezTo>
                  <a:pt x="2490426" y="1564359"/>
                  <a:pt x="2471635" y="1556551"/>
                  <a:pt x="2457821" y="1542658"/>
                </a:cubicBezTo>
                <a:cubicBezTo>
                  <a:pt x="2443968" y="1528766"/>
                  <a:pt x="2436238" y="1509975"/>
                  <a:pt x="2436316" y="1490381"/>
                </a:cubicBezTo>
                <a:close/>
                <a:moveTo>
                  <a:pt x="2436316" y="1764593"/>
                </a:moveTo>
                <a:lnTo>
                  <a:pt x="2436316" y="1764632"/>
                </a:lnTo>
                <a:cubicBezTo>
                  <a:pt x="2436316" y="1723945"/>
                  <a:pt x="2469343" y="1690958"/>
                  <a:pt x="2510020" y="1690958"/>
                </a:cubicBezTo>
                <a:lnTo>
                  <a:pt x="2688172" y="1690958"/>
                </a:lnTo>
                <a:cubicBezTo>
                  <a:pt x="2728095" y="1692065"/>
                  <a:pt x="2759896" y="1724748"/>
                  <a:pt x="2759896" y="1764671"/>
                </a:cubicBezTo>
                <a:cubicBezTo>
                  <a:pt x="2759896" y="1804585"/>
                  <a:pt x="2728095" y="1837268"/>
                  <a:pt x="2688172" y="1838375"/>
                </a:cubicBezTo>
                <a:lnTo>
                  <a:pt x="2510020" y="1838375"/>
                </a:lnTo>
                <a:cubicBezTo>
                  <a:pt x="2490465" y="1838375"/>
                  <a:pt x="2471714" y="1830606"/>
                  <a:pt x="2457900" y="1816792"/>
                </a:cubicBezTo>
                <a:cubicBezTo>
                  <a:pt x="2444086" y="1802939"/>
                  <a:pt x="2436316" y="1784187"/>
                  <a:pt x="2436316" y="1764632"/>
                </a:cubicBezTo>
                <a:close/>
                <a:moveTo>
                  <a:pt x="2957858" y="1690879"/>
                </a:moveTo>
                <a:lnTo>
                  <a:pt x="4542056" y="1690958"/>
                </a:lnTo>
                <a:cubicBezTo>
                  <a:pt x="4581930" y="1692065"/>
                  <a:pt x="4613731" y="1724748"/>
                  <a:pt x="4613731" y="1764671"/>
                </a:cubicBezTo>
                <a:cubicBezTo>
                  <a:pt x="4613731" y="1804585"/>
                  <a:pt x="4581930" y="1837268"/>
                  <a:pt x="4542056" y="1838375"/>
                </a:cubicBezTo>
                <a:lnTo>
                  <a:pt x="2957858" y="1838375"/>
                </a:lnTo>
                <a:cubicBezTo>
                  <a:pt x="2937920" y="1838953"/>
                  <a:pt x="2918630" y="1831409"/>
                  <a:pt x="2904355" y="1817556"/>
                </a:cubicBezTo>
                <a:cubicBezTo>
                  <a:pt x="2890081" y="1803664"/>
                  <a:pt x="2882047" y="1784569"/>
                  <a:pt x="2882047" y="1764671"/>
                </a:cubicBezTo>
                <a:cubicBezTo>
                  <a:pt x="2882047" y="1744763"/>
                  <a:pt x="2890081" y="1725669"/>
                  <a:pt x="2904355" y="1711776"/>
                </a:cubicBezTo>
                <a:cubicBezTo>
                  <a:pt x="2918630" y="1697923"/>
                  <a:pt x="2937920" y="1690389"/>
                  <a:pt x="2957858" y="1690958"/>
                </a:cubicBezTo>
                <a:close/>
                <a:moveTo>
                  <a:pt x="4615730" y="2039021"/>
                </a:moveTo>
                <a:cubicBezTo>
                  <a:pt x="4615730" y="2079708"/>
                  <a:pt x="4582743" y="2112695"/>
                  <a:pt x="4542056" y="2112695"/>
                </a:cubicBezTo>
                <a:lnTo>
                  <a:pt x="2957858" y="2112695"/>
                </a:lnTo>
                <a:cubicBezTo>
                  <a:pt x="2937920" y="2113273"/>
                  <a:pt x="2918639" y="2105729"/>
                  <a:pt x="2904365" y="2091876"/>
                </a:cubicBezTo>
                <a:cubicBezTo>
                  <a:pt x="2890091" y="2077984"/>
                  <a:pt x="2882047" y="2058889"/>
                  <a:pt x="2882047" y="2038991"/>
                </a:cubicBezTo>
                <a:cubicBezTo>
                  <a:pt x="2882047" y="2019083"/>
                  <a:pt x="2890091" y="1999989"/>
                  <a:pt x="2904365" y="1986096"/>
                </a:cubicBezTo>
                <a:cubicBezTo>
                  <a:pt x="2918639" y="1972243"/>
                  <a:pt x="2937920" y="1964709"/>
                  <a:pt x="2957858" y="1965278"/>
                </a:cubicBezTo>
                <a:lnTo>
                  <a:pt x="4542056" y="1965278"/>
                </a:lnTo>
                <a:cubicBezTo>
                  <a:pt x="4561581" y="1965278"/>
                  <a:pt x="4580333" y="1973047"/>
                  <a:pt x="4594186" y="1986861"/>
                </a:cubicBezTo>
                <a:cubicBezTo>
                  <a:pt x="4608000" y="2000714"/>
                  <a:pt x="4615730" y="2019466"/>
                  <a:pt x="4615730" y="2039021"/>
                </a:cubicBezTo>
                <a:close/>
                <a:moveTo>
                  <a:pt x="2436257" y="2039021"/>
                </a:moveTo>
                <a:cubicBezTo>
                  <a:pt x="2436257" y="2019466"/>
                  <a:pt x="2444027" y="2000714"/>
                  <a:pt x="2457841" y="1986861"/>
                </a:cubicBezTo>
                <a:cubicBezTo>
                  <a:pt x="2471655" y="1973047"/>
                  <a:pt x="2490406" y="1965278"/>
                  <a:pt x="2509961" y="1965278"/>
                </a:cubicBezTo>
                <a:lnTo>
                  <a:pt x="2688113" y="1965278"/>
                </a:lnTo>
                <a:cubicBezTo>
                  <a:pt x="2728036" y="1966385"/>
                  <a:pt x="2759838" y="1999068"/>
                  <a:pt x="2759838" y="2038991"/>
                </a:cubicBezTo>
                <a:cubicBezTo>
                  <a:pt x="2759838" y="2078905"/>
                  <a:pt x="2728036" y="2111588"/>
                  <a:pt x="2688113" y="2112695"/>
                </a:cubicBezTo>
                <a:lnTo>
                  <a:pt x="2509961" y="2112695"/>
                </a:lnTo>
                <a:cubicBezTo>
                  <a:pt x="2469284" y="2112695"/>
                  <a:pt x="2436257" y="2079708"/>
                  <a:pt x="2436257" y="2039021"/>
                </a:cubicBezTo>
                <a:close/>
                <a:moveTo>
                  <a:pt x="2436257" y="2313037"/>
                </a:moveTo>
                <a:cubicBezTo>
                  <a:pt x="2436257" y="2293482"/>
                  <a:pt x="2444027" y="2274730"/>
                  <a:pt x="2457841" y="2260916"/>
                </a:cubicBezTo>
                <a:cubicBezTo>
                  <a:pt x="2471655" y="2247063"/>
                  <a:pt x="2490406" y="2239294"/>
                  <a:pt x="2509961" y="2239294"/>
                </a:cubicBezTo>
                <a:lnTo>
                  <a:pt x="2688113" y="2239294"/>
                </a:lnTo>
                <a:cubicBezTo>
                  <a:pt x="2728036" y="2240401"/>
                  <a:pt x="2759838" y="2273084"/>
                  <a:pt x="2759838" y="2312998"/>
                </a:cubicBezTo>
                <a:cubicBezTo>
                  <a:pt x="2759838" y="2352960"/>
                  <a:pt x="2728036" y="2385643"/>
                  <a:pt x="2688113" y="2386751"/>
                </a:cubicBezTo>
                <a:lnTo>
                  <a:pt x="2509961" y="2386751"/>
                </a:lnTo>
                <a:cubicBezTo>
                  <a:pt x="2490367" y="2386751"/>
                  <a:pt x="2471576" y="2378942"/>
                  <a:pt x="2457762" y="2365050"/>
                </a:cubicBezTo>
                <a:cubicBezTo>
                  <a:pt x="2443909" y="2351158"/>
                  <a:pt x="2436179" y="2332367"/>
                  <a:pt x="2436257" y="2312772"/>
                </a:cubicBezTo>
                <a:close/>
                <a:moveTo>
                  <a:pt x="4615730" y="2313037"/>
                </a:moveTo>
                <a:cubicBezTo>
                  <a:pt x="4615730" y="2353764"/>
                  <a:pt x="4582743" y="2386751"/>
                  <a:pt x="4542056" y="2386751"/>
                </a:cubicBezTo>
                <a:lnTo>
                  <a:pt x="2957858" y="2386751"/>
                </a:lnTo>
                <a:cubicBezTo>
                  <a:pt x="2937920" y="2387280"/>
                  <a:pt x="2918639" y="2379785"/>
                  <a:pt x="2904365" y="2365892"/>
                </a:cubicBezTo>
                <a:cubicBezTo>
                  <a:pt x="2890091" y="2352000"/>
                  <a:pt x="2882047" y="2332945"/>
                  <a:pt x="2882047" y="2312998"/>
                </a:cubicBezTo>
                <a:cubicBezTo>
                  <a:pt x="2882047" y="2293100"/>
                  <a:pt x="2890091" y="2274044"/>
                  <a:pt x="2904365" y="2260152"/>
                </a:cubicBezTo>
                <a:cubicBezTo>
                  <a:pt x="2918639" y="2246260"/>
                  <a:pt x="2937920" y="2238755"/>
                  <a:pt x="2957858" y="2239294"/>
                </a:cubicBezTo>
                <a:lnTo>
                  <a:pt x="4542056" y="2239294"/>
                </a:lnTo>
                <a:cubicBezTo>
                  <a:pt x="4582665" y="2239294"/>
                  <a:pt x="4615612" y="2272173"/>
                  <a:pt x="4615730" y="2312772"/>
                </a:cubicBezTo>
                <a:close/>
                <a:moveTo>
                  <a:pt x="2436257" y="2586779"/>
                </a:moveTo>
                <a:cubicBezTo>
                  <a:pt x="2436257" y="2546101"/>
                  <a:pt x="2469284" y="2513114"/>
                  <a:pt x="2509961" y="2513114"/>
                </a:cubicBezTo>
                <a:lnTo>
                  <a:pt x="2688113" y="2513114"/>
                </a:lnTo>
                <a:cubicBezTo>
                  <a:pt x="2728036" y="2514221"/>
                  <a:pt x="2759838" y="2546905"/>
                  <a:pt x="2759838" y="2586818"/>
                </a:cubicBezTo>
                <a:cubicBezTo>
                  <a:pt x="2759838" y="2626741"/>
                  <a:pt x="2728036" y="2659425"/>
                  <a:pt x="2688113" y="2660532"/>
                </a:cubicBezTo>
                <a:lnTo>
                  <a:pt x="2509961" y="2660532"/>
                </a:lnTo>
                <a:cubicBezTo>
                  <a:pt x="2490406" y="2660532"/>
                  <a:pt x="2471655" y="2652763"/>
                  <a:pt x="2457841" y="2638949"/>
                </a:cubicBezTo>
                <a:cubicBezTo>
                  <a:pt x="2444027" y="2625095"/>
                  <a:pt x="2436257" y="2606344"/>
                  <a:pt x="2436257" y="2586779"/>
                </a:cubicBezTo>
                <a:close/>
                <a:moveTo>
                  <a:pt x="4615730" y="2586779"/>
                </a:moveTo>
                <a:cubicBezTo>
                  <a:pt x="4615730" y="2606344"/>
                  <a:pt x="4608000" y="2625095"/>
                  <a:pt x="4594186" y="2638949"/>
                </a:cubicBezTo>
                <a:cubicBezTo>
                  <a:pt x="4580333" y="2652763"/>
                  <a:pt x="4561581" y="2660532"/>
                  <a:pt x="4542056" y="2660532"/>
                </a:cubicBezTo>
                <a:lnTo>
                  <a:pt x="2957858" y="2660532"/>
                </a:lnTo>
                <a:cubicBezTo>
                  <a:pt x="2937920" y="2661100"/>
                  <a:pt x="2918639" y="2653566"/>
                  <a:pt x="2904365" y="2639674"/>
                </a:cubicBezTo>
                <a:cubicBezTo>
                  <a:pt x="2890091" y="2625821"/>
                  <a:pt x="2882047" y="2606726"/>
                  <a:pt x="2882047" y="2586818"/>
                </a:cubicBezTo>
                <a:cubicBezTo>
                  <a:pt x="2882047" y="2566881"/>
                  <a:pt x="2890091" y="2547825"/>
                  <a:pt x="2904365" y="2533933"/>
                </a:cubicBezTo>
                <a:cubicBezTo>
                  <a:pt x="2918639" y="2520080"/>
                  <a:pt x="2937920" y="2512536"/>
                  <a:pt x="2957858" y="2513114"/>
                </a:cubicBezTo>
                <a:lnTo>
                  <a:pt x="4542056" y="2513114"/>
                </a:lnTo>
                <a:cubicBezTo>
                  <a:pt x="4582743" y="2513114"/>
                  <a:pt x="4615730" y="2546101"/>
                  <a:pt x="4615730" y="2586779"/>
                </a:cubicBezTo>
                <a:close/>
                <a:moveTo>
                  <a:pt x="2436257" y="2860834"/>
                </a:moveTo>
                <a:cubicBezTo>
                  <a:pt x="2436257" y="2820117"/>
                  <a:pt x="2469284" y="2787130"/>
                  <a:pt x="2509961" y="2787130"/>
                </a:cubicBezTo>
                <a:lnTo>
                  <a:pt x="2688113" y="2787130"/>
                </a:lnTo>
                <a:cubicBezTo>
                  <a:pt x="2728036" y="2788238"/>
                  <a:pt x="2759838" y="2820921"/>
                  <a:pt x="2759838" y="2860834"/>
                </a:cubicBezTo>
                <a:cubicBezTo>
                  <a:pt x="2759838" y="2900787"/>
                  <a:pt x="2728036" y="2933441"/>
                  <a:pt x="2688113" y="2934587"/>
                </a:cubicBezTo>
                <a:lnTo>
                  <a:pt x="2509961" y="2934587"/>
                </a:lnTo>
                <a:cubicBezTo>
                  <a:pt x="2490406" y="2934587"/>
                  <a:pt x="2471655" y="2926818"/>
                  <a:pt x="2457841" y="2912965"/>
                </a:cubicBezTo>
                <a:cubicBezTo>
                  <a:pt x="2444027" y="2899141"/>
                  <a:pt x="2436257" y="2880390"/>
                  <a:pt x="2436257" y="2860834"/>
                </a:cubicBezTo>
                <a:close/>
                <a:moveTo>
                  <a:pt x="4615730" y="2860834"/>
                </a:moveTo>
                <a:cubicBezTo>
                  <a:pt x="4615730" y="2880390"/>
                  <a:pt x="4608000" y="2899151"/>
                  <a:pt x="4594186" y="2912965"/>
                </a:cubicBezTo>
                <a:cubicBezTo>
                  <a:pt x="4580333" y="2926818"/>
                  <a:pt x="4561581" y="2934587"/>
                  <a:pt x="4542056" y="2934587"/>
                </a:cubicBezTo>
                <a:lnTo>
                  <a:pt x="2957858" y="2934587"/>
                </a:lnTo>
                <a:cubicBezTo>
                  <a:pt x="2937920" y="2935116"/>
                  <a:pt x="2918639" y="2927621"/>
                  <a:pt x="2904365" y="2913729"/>
                </a:cubicBezTo>
                <a:cubicBezTo>
                  <a:pt x="2890091" y="2899837"/>
                  <a:pt x="2882047" y="2880772"/>
                  <a:pt x="2882047" y="2860834"/>
                </a:cubicBezTo>
                <a:cubicBezTo>
                  <a:pt x="2882047" y="2840936"/>
                  <a:pt x="2890091" y="2821881"/>
                  <a:pt x="2904365" y="2807989"/>
                </a:cubicBezTo>
                <a:cubicBezTo>
                  <a:pt x="2918639" y="2794096"/>
                  <a:pt x="2937920" y="2786553"/>
                  <a:pt x="2957858" y="2787130"/>
                </a:cubicBezTo>
                <a:lnTo>
                  <a:pt x="4542056" y="2787130"/>
                </a:lnTo>
                <a:cubicBezTo>
                  <a:pt x="4582743" y="2787130"/>
                  <a:pt x="4615730" y="2820117"/>
                  <a:pt x="4615730" y="2860834"/>
                </a:cubicBezTo>
                <a:close/>
              </a:path>
            </a:pathLst>
          </a:custGeom>
          <a:solidFill>
            <a:srgbClr val="191925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6" name="Freeform: Shape 165">
            <a:extLst>
              <a:ext uri="{FF2B5EF4-FFF2-40B4-BE49-F238E27FC236}">
                <a16:creationId xmlns:a16="http://schemas.microsoft.com/office/drawing/2014/main" id="{5BEC3F0B-4335-4823-B6E7-C12727DD3F48}"/>
              </a:ext>
            </a:extLst>
          </p:cNvPr>
          <p:cNvSpPr/>
          <p:nvPr/>
        </p:nvSpPr>
        <p:spPr>
          <a:xfrm>
            <a:off x="4320215" y="4202254"/>
            <a:ext cx="344360" cy="367814"/>
          </a:xfrm>
          <a:custGeom>
            <a:avLst/>
            <a:gdLst>
              <a:gd name="connsiteX0" fmla="*/ 2413987 w 4827943"/>
              <a:gd name="connsiteY0" fmla="*/ 2321344 h 5156754"/>
              <a:gd name="connsiteX1" fmla="*/ 2409588 w 4827943"/>
              <a:gd name="connsiteY1" fmla="*/ 2321344 h 5156754"/>
              <a:gd name="connsiteX2" fmla="*/ 1955020 w 4827943"/>
              <a:gd name="connsiteY2" fmla="*/ 2509253 h 5156754"/>
              <a:gd name="connsiteX3" fmla="*/ 1765318 w 4827943"/>
              <a:gd name="connsiteY3" fmla="*/ 2963096 h 5156754"/>
              <a:gd name="connsiteX4" fmla="*/ 1950925 w 4827943"/>
              <a:gd name="connsiteY4" fmla="*/ 3418624 h 5156754"/>
              <a:gd name="connsiteX5" fmla="*/ 2405767 w 4827943"/>
              <a:gd name="connsiteY5" fmla="*/ 3610628 h 5156754"/>
              <a:gd name="connsiteX6" fmla="*/ 2410166 w 4827943"/>
              <a:gd name="connsiteY6" fmla="*/ 3610628 h 5156754"/>
              <a:gd name="connsiteX7" fmla="*/ 2947745 w 4827943"/>
              <a:gd name="connsiteY7" fmla="*/ 3282502 h 5156754"/>
              <a:gd name="connsiteX8" fmla="*/ 2949616 w 4827943"/>
              <a:gd name="connsiteY8" fmla="*/ 2652693 h 5156754"/>
              <a:gd name="connsiteX9" fmla="*/ 2413987 w 4827943"/>
              <a:gd name="connsiteY9" fmla="*/ 2321354 h 5156754"/>
              <a:gd name="connsiteX10" fmla="*/ 2786504 w 4827943"/>
              <a:gd name="connsiteY10" fmla="*/ 3346223 h 5156754"/>
              <a:gd name="connsiteX11" fmla="*/ 2303308 w 4827943"/>
              <a:gd name="connsiteY11" fmla="*/ 3490231 h 5156754"/>
              <a:gd name="connsiteX12" fmla="*/ 1914715 w 4827943"/>
              <a:gd name="connsiteY12" fmla="*/ 3168953 h 5156754"/>
              <a:gd name="connsiteX13" fmla="*/ 1965268 w 4827943"/>
              <a:gd name="connsiteY13" fmla="*/ 2667271 h 5156754"/>
              <a:gd name="connsiteX14" fmla="*/ 2410156 w 4827943"/>
              <a:gd name="connsiteY14" fmla="*/ 2429994 h 5156754"/>
              <a:gd name="connsiteX15" fmla="*/ 2413987 w 4827943"/>
              <a:gd name="connsiteY15" fmla="*/ 2429994 h 5156754"/>
              <a:gd name="connsiteX16" fmla="*/ 2791863 w 4827943"/>
              <a:gd name="connsiteY16" fmla="*/ 2588933 h 5156754"/>
              <a:gd name="connsiteX17" fmla="*/ 2946246 w 4827943"/>
              <a:gd name="connsiteY17" fmla="*/ 2968690 h 5156754"/>
              <a:gd name="connsiteX18" fmla="*/ 2786504 w 4827943"/>
              <a:gd name="connsiteY18" fmla="*/ 3346223 h 5156754"/>
              <a:gd name="connsiteX19" fmla="*/ 3291821 w 4827943"/>
              <a:gd name="connsiteY19" fmla="*/ 4224067 h 5156754"/>
              <a:gd name="connsiteX20" fmla="*/ 3648417 w 4827943"/>
              <a:gd name="connsiteY20" fmla="*/ 5101910 h 5156754"/>
              <a:gd name="connsiteX21" fmla="*/ 3632340 w 4827943"/>
              <a:gd name="connsiteY21" fmla="*/ 5140677 h 5156754"/>
              <a:gd name="connsiteX22" fmla="*/ 3593533 w 4827943"/>
              <a:gd name="connsiteY22" fmla="*/ 5156755 h 5156754"/>
              <a:gd name="connsiteX23" fmla="*/ 3538699 w 4827943"/>
              <a:gd name="connsiteY23" fmla="*/ 5101910 h 5156754"/>
              <a:gd name="connsiteX24" fmla="*/ 3214012 w 4827943"/>
              <a:gd name="connsiteY24" fmla="*/ 4300994 h 5156754"/>
              <a:gd name="connsiteX25" fmla="*/ 2417269 w 4827943"/>
              <a:gd name="connsiteY25" fmla="*/ 3966206 h 5156754"/>
              <a:gd name="connsiteX26" fmla="*/ 2410146 w 4827943"/>
              <a:gd name="connsiteY26" fmla="*/ 3966206 h 5156754"/>
              <a:gd name="connsiteX27" fmla="*/ 1616578 w 4827943"/>
              <a:gd name="connsiteY27" fmla="*/ 4293411 h 5156754"/>
              <a:gd name="connsiteX28" fmla="*/ 1284317 w 4827943"/>
              <a:gd name="connsiteY28" fmla="*/ 5084873 h 5156754"/>
              <a:gd name="connsiteX29" fmla="*/ 1268250 w 4827943"/>
              <a:gd name="connsiteY29" fmla="*/ 5123679 h 5156754"/>
              <a:gd name="connsiteX30" fmla="*/ 1229483 w 4827943"/>
              <a:gd name="connsiteY30" fmla="*/ 5139747 h 5156754"/>
              <a:gd name="connsiteX31" fmla="*/ 1174599 w 4827943"/>
              <a:gd name="connsiteY31" fmla="*/ 5084873 h 5156754"/>
              <a:gd name="connsiteX32" fmla="*/ 1539004 w 4827943"/>
              <a:gd name="connsiteY32" fmla="*/ 4215837 h 5156754"/>
              <a:gd name="connsiteX33" fmla="*/ 2410146 w 4827943"/>
              <a:gd name="connsiteY33" fmla="*/ 3856478 h 5156754"/>
              <a:gd name="connsiteX34" fmla="*/ 2417837 w 4827943"/>
              <a:gd name="connsiteY34" fmla="*/ 3856478 h 5156754"/>
              <a:gd name="connsiteX35" fmla="*/ 2417798 w 4827943"/>
              <a:gd name="connsiteY35" fmla="*/ 3856478 h 5156754"/>
              <a:gd name="connsiteX36" fmla="*/ 3291811 w 4827943"/>
              <a:gd name="connsiteY36" fmla="*/ 4224067 h 5156754"/>
              <a:gd name="connsiteX37" fmla="*/ 990276 w 4827943"/>
              <a:gd name="connsiteY37" fmla="*/ 3316606 h 5156754"/>
              <a:gd name="connsiteX38" fmla="*/ 993567 w 4827943"/>
              <a:gd name="connsiteY38" fmla="*/ 3316606 h 5156754"/>
              <a:gd name="connsiteX39" fmla="*/ 1450859 w 4827943"/>
              <a:gd name="connsiteY39" fmla="*/ 3054190 h 5156754"/>
              <a:gd name="connsiteX40" fmla="*/ 1452240 w 4827943"/>
              <a:gd name="connsiteY40" fmla="*/ 2526947 h 5156754"/>
              <a:gd name="connsiteX41" fmla="*/ 996330 w 4827943"/>
              <a:gd name="connsiteY41" fmla="*/ 2262120 h 5156754"/>
              <a:gd name="connsiteX42" fmla="*/ 993038 w 4827943"/>
              <a:gd name="connsiteY42" fmla="*/ 2262120 h 5156754"/>
              <a:gd name="connsiteX43" fmla="*/ 535747 w 4827943"/>
              <a:gd name="connsiteY43" fmla="*/ 2524576 h 5156754"/>
              <a:gd name="connsiteX44" fmla="*/ 534366 w 4827943"/>
              <a:gd name="connsiteY44" fmla="*/ 3051819 h 5156754"/>
              <a:gd name="connsiteX45" fmla="*/ 990276 w 4827943"/>
              <a:gd name="connsiteY45" fmla="*/ 3316606 h 5156754"/>
              <a:gd name="connsiteX46" fmla="*/ 700035 w 4827943"/>
              <a:gd name="connsiteY46" fmla="*/ 2493646 h 5156754"/>
              <a:gd name="connsiteX47" fmla="*/ 993029 w 4827943"/>
              <a:gd name="connsiteY47" fmla="*/ 2372945 h 5156754"/>
              <a:gd name="connsiteX48" fmla="*/ 1354602 w 4827943"/>
              <a:gd name="connsiteY48" fmla="*/ 2581713 h 5156754"/>
              <a:gd name="connsiteX49" fmla="*/ 1354602 w 4827943"/>
              <a:gd name="connsiteY49" fmla="*/ 2999237 h 5156754"/>
              <a:gd name="connsiteX50" fmla="*/ 993029 w 4827943"/>
              <a:gd name="connsiteY50" fmla="*/ 3208005 h 5156754"/>
              <a:gd name="connsiteX51" fmla="*/ 990276 w 4827943"/>
              <a:gd name="connsiteY51" fmla="*/ 3208005 h 5156754"/>
              <a:gd name="connsiteX52" fmla="*/ 695636 w 4827943"/>
              <a:gd name="connsiteY52" fmla="*/ 3083356 h 5156754"/>
              <a:gd name="connsiteX53" fmla="*/ 576043 w 4827943"/>
              <a:gd name="connsiteY53" fmla="*/ 2786649 h 5156754"/>
              <a:gd name="connsiteX54" fmla="*/ 700035 w 4827943"/>
              <a:gd name="connsiteY54" fmla="*/ 2492578 h 5156754"/>
              <a:gd name="connsiteX55" fmla="*/ 1607496 w 4827943"/>
              <a:gd name="connsiteY55" fmla="*/ 3821355 h 5156754"/>
              <a:gd name="connsiteX56" fmla="*/ 1000151 w 4827943"/>
              <a:gd name="connsiteY56" fmla="*/ 3575584 h 5156754"/>
              <a:gd name="connsiteX57" fmla="*/ 994675 w 4827943"/>
              <a:gd name="connsiteY57" fmla="*/ 3575584 h 5156754"/>
              <a:gd name="connsiteX58" fmla="*/ 371067 w 4827943"/>
              <a:gd name="connsiteY58" fmla="*/ 3834209 h 5156754"/>
              <a:gd name="connsiteX59" fmla="*/ 109718 w 4827943"/>
              <a:gd name="connsiteY59" fmla="*/ 4456670 h 5156754"/>
              <a:gd name="connsiteX60" fmla="*/ 93651 w 4827943"/>
              <a:gd name="connsiteY60" fmla="*/ 4495477 h 5156754"/>
              <a:gd name="connsiteX61" fmla="*/ 54844 w 4827943"/>
              <a:gd name="connsiteY61" fmla="*/ 4511544 h 5156754"/>
              <a:gd name="connsiteX62" fmla="*/ 0 w 4827943"/>
              <a:gd name="connsiteY62" fmla="*/ 4456670 h 5156754"/>
              <a:gd name="connsiteX63" fmla="*/ 289819 w 4827943"/>
              <a:gd name="connsiteY63" fmla="*/ 3761533 h 5156754"/>
              <a:gd name="connsiteX64" fmla="*/ 983388 w 4827943"/>
              <a:gd name="connsiteY64" fmla="*/ 3467845 h 5156754"/>
              <a:gd name="connsiteX65" fmla="*/ 1684305 w 4827943"/>
              <a:gd name="connsiteY65" fmla="*/ 3743468 h 5156754"/>
              <a:gd name="connsiteX66" fmla="*/ 1700529 w 4827943"/>
              <a:gd name="connsiteY66" fmla="*/ 3782421 h 5156754"/>
              <a:gd name="connsiteX67" fmla="*/ 1684305 w 4827943"/>
              <a:gd name="connsiteY67" fmla="*/ 3821345 h 5156754"/>
              <a:gd name="connsiteX68" fmla="*/ 1607496 w 4827943"/>
              <a:gd name="connsiteY68" fmla="*/ 3821345 h 5156754"/>
              <a:gd name="connsiteX69" fmla="*/ 3834386 w 4827943"/>
              <a:gd name="connsiteY69" fmla="*/ 3316606 h 5156754"/>
              <a:gd name="connsiteX70" fmla="*/ 3840431 w 4827943"/>
              <a:gd name="connsiteY70" fmla="*/ 3316606 h 5156754"/>
              <a:gd name="connsiteX71" fmla="*/ 4297027 w 4827943"/>
              <a:gd name="connsiteY71" fmla="*/ 3053004 h 5156754"/>
              <a:gd name="connsiteX72" fmla="*/ 4297027 w 4827943"/>
              <a:gd name="connsiteY72" fmla="*/ 2525761 h 5156754"/>
              <a:gd name="connsiteX73" fmla="*/ 3840431 w 4827943"/>
              <a:gd name="connsiteY73" fmla="*/ 2262120 h 5156754"/>
              <a:gd name="connsiteX74" fmla="*/ 3837139 w 4827943"/>
              <a:gd name="connsiteY74" fmla="*/ 2262120 h 5156754"/>
              <a:gd name="connsiteX75" fmla="*/ 3380504 w 4827943"/>
              <a:gd name="connsiteY75" fmla="*/ 2525761 h 5156754"/>
              <a:gd name="connsiteX76" fmla="*/ 3380504 w 4827943"/>
              <a:gd name="connsiteY76" fmla="*/ 3053004 h 5156754"/>
              <a:gd name="connsiteX77" fmla="*/ 3837139 w 4827943"/>
              <a:gd name="connsiteY77" fmla="*/ 3316606 h 5156754"/>
              <a:gd name="connsiteX78" fmla="*/ 3537562 w 4827943"/>
              <a:gd name="connsiteY78" fmla="*/ 2493646 h 5156754"/>
              <a:gd name="connsiteX79" fmla="*/ 3832202 w 4827943"/>
              <a:gd name="connsiteY79" fmla="*/ 2369654 h 5156754"/>
              <a:gd name="connsiteX80" fmla="*/ 3834955 w 4827943"/>
              <a:gd name="connsiteY80" fmla="*/ 2369654 h 5156754"/>
              <a:gd name="connsiteX81" fmla="*/ 3834915 w 4827943"/>
              <a:gd name="connsiteY81" fmla="*/ 2369654 h 5156754"/>
              <a:gd name="connsiteX82" fmla="*/ 4165148 w 4827943"/>
              <a:gd name="connsiteY82" fmla="*/ 2532874 h 5156754"/>
              <a:gd name="connsiteX83" fmla="*/ 4237137 w 4827943"/>
              <a:gd name="connsiteY83" fmla="*/ 2894144 h 5156754"/>
              <a:gd name="connsiteX84" fmla="*/ 3994736 w 4827943"/>
              <a:gd name="connsiteY84" fmla="*/ 3171491 h 5156754"/>
              <a:gd name="connsiteX85" fmla="*/ 3627118 w 4827943"/>
              <a:gd name="connsiteY85" fmla="*/ 3148487 h 5156754"/>
              <a:gd name="connsiteX86" fmla="*/ 3421153 w 4827943"/>
              <a:gd name="connsiteY86" fmla="*/ 2843130 h 5156754"/>
              <a:gd name="connsiteX87" fmla="*/ 3537572 w 4827943"/>
              <a:gd name="connsiteY87" fmla="*/ 2493646 h 5156754"/>
              <a:gd name="connsiteX88" fmla="*/ 4827944 w 4827943"/>
              <a:gd name="connsiteY88" fmla="*/ 4456112 h 5156754"/>
              <a:gd name="connsiteX89" fmla="*/ 4811906 w 4827943"/>
              <a:gd name="connsiteY89" fmla="*/ 4494918 h 5156754"/>
              <a:gd name="connsiteX90" fmla="*/ 4773100 w 4827943"/>
              <a:gd name="connsiteY90" fmla="*/ 4510996 h 5156754"/>
              <a:gd name="connsiteX91" fmla="*/ 4718226 w 4827943"/>
              <a:gd name="connsiteY91" fmla="*/ 4456112 h 5156754"/>
              <a:gd name="connsiteX92" fmla="*/ 4456691 w 4827943"/>
              <a:gd name="connsiteY92" fmla="*/ 3833993 h 5156754"/>
              <a:gd name="connsiteX93" fmla="*/ 3833270 w 4827943"/>
              <a:gd name="connsiteY93" fmla="*/ 3575555 h 5156754"/>
              <a:gd name="connsiteX94" fmla="*/ 3827793 w 4827943"/>
              <a:gd name="connsiteY94" fmla="*/ 3575555 h 5156754"/>
              <a:gd name="connsiteX95" fmla="*/ 3220448 w 4827943"/>
              <a:gd name="connsiteY95" fmla="*/ 3821326 h 5156754"/>
              <a:gd name="connsiteX96" fmla="*/ 3143110 w 4827943"/>
              <a:gd name="connsiteY96" fmla="*/ 3821326 h 5156754"/>
              <a:gd name="connsiteX97" fmla="*/ 3126846 w 4827943"/>
              <a:gd name="connsiteY97" fmla="*/ 3782401 h 5156754"/>
              <a:gd name="connsiteX98" fmla="*/ 3143110 w 4827943"/>
              <a:gd name="connsiteY98" fmla="*/ 3743448 h 5156754"/>
              <a:gd name="connsiteX99" fmla="*/ 3825040 w 4827943"/>
              <a:gd name="connsiteY99" fmla="*/ 3469128 h 5156754"/>
              <a:gd name="connsiteX100" fmla="*/ 3831624 w 4827943"/>
              <a:gd name="connsiteY100" fmla="*/ 3469128 h 5156754"/>
              <a:gd name="connsiteX101" fmla="*/ 4532541 w 4827943"/>
              <a:gd name="connsiteY101" fmla="*/ 3757948 h 5156754"/>
              <a:gd name="connsiteX102" fmla="*/ 4827944 w 4827943"/>
              <a:gd name="connsiteY102" fmla="*/ 4456112 h 5156754"/>
              <a:gd name="connsiteX103" fmla="*/ 1920152 w 4827943"/>
              <a:gd name="connsiteY103" fmla="*/ 1538425 h 5156754"/>
              <a:gd name="connsiteX104" fmla="*/ 1920152 w 4827943"/>
              <a:gd name="connsiteY104" fmla="*/ 1735935 h 5156754"/>
              <a:gd name="connsiteX105" fmla="*/ 1920191 w 4827943"/>
              <a:gd name="connsiteY105" fmla="*/ 1735935 h 5156754"/>
              <a:gd name="connsiteX106" fmla="*/ 2028920 w 4827943"/>
              <a:gd name="connsiteY106" fmla="*/ 1998773 h 5156754"/>
              <a:gd name="connsiteX107" fmla="*/ 2291601 w 4827943"/>
              <a:gd name="connsiteY107" fmla="*/ 2107923 h 5156754"/>
              <a:gd name="connsiteX108" fmla="*/ 2529720 w 4827943"/>
              <a:gd name="connsiteY108" fmla="*/ 2107923 h 5156754"/>
              <a:gd name="connsiteX109" fmla="*/ 2792401 w 4827943"/>
              <a:gd name="connsiteY109" fmla="*/ 1998773 h 5156754"/>
              <a:gd name="connsiteX110" fmla="*/ 2901130 w 4827943"/>
              <a:gd name="connsiteY110" fmla="*/ 1735935 h 5156754"/>
              <a:gd name="connsiteX111" fmla="*/ 2901130 w 4827943"/>
              <a:gd name="connsiteY111" fmla="*/ 1538425 h 5156754"/>
              <a:gd name="connsiteX112" fmla="*/ 3002658 w 4827943"/>
              <a:gd name="connsiteY112" fmla="*/ 1273441 h 5156754"/>
              <a:gd name="connsiteX113" fmla="*/ 3182034 w 4827943"/>
              <a:gd name="connsiteY113" fmla="*/ 785690 h 5156754"/>
              <a:gd name="connsiteX114" fmla="*/ 2949430 w 4827943"/>
              <a:gd name="connsiteY114" fmla="*/ 237050 h 5156754"/>
              <a:gd name="connsiteX115" fmla="*/ 2392022 w 4827943"/>
              <a:gd name="connsiteY115" fmla="*/ 18721 h 5156754"/>
              <a:gd name="connsiteX116" fmla="*/ 1879660 w 4827943"/>
              <a:gd name="connsiteY116" fmla="*/ 248729 h 5156754"/>
              <a:gd name="connsiteX117" fmla="*/ 1645871 w 4827943"/>
              <a:gd name="connsiteY117" fmla="*/ 759366 h 5156754"/>
              <a:gd name="connsiteX118" fmla="*/ 1822523 w 4827943"/>
              <a:gd name="connsiteY118" fmla="*/ 1275626 h 5156754"/>
              <a:gd name="connsiteX119" fmla="*/ 1923483 w 4827943"/>
              <a:gd name="connsiteY119" fmla="*/ 1538425 h 5156754"/>
              <a:gd name="connsiteX120" fmla="*/ 2529681 w 4827943"/>
              <a:gd name="connsiteY120" fmla="*/ 1998205 h 5156754"/>
              <a:gd name="connsiteX121" fmla="*/ 2294893 w 4827943"/>
              <a:gd name="connsiteY121" fmla="*/ 1998205 h 5156754"/>
              <a:gd name="connsiteX122" fmla="*/ 2109815 w 4827943"/>
              <a:gd name="connsiteY122" fmla="*/ 1921209 h 5156754"/>
              <a:gd name="connsiteX123" fmla="*/ 2033201 w 4827943"/>
              <a:gd name="connsiteY123" fmla="*/ 1735945 h 5156754"/>
              <a:gd name="connsiteX124" fmla="*/ 2033201 w 4827943"/>
              <a:gd name="connsiteY124" fmla="*/ 1660781 h 5156754"/>
              <a:gd name="connsiteX125" fmla="*/ 2794704 w 4827943"/>
              <a:gd name="connsiteY125" fmla="*/ 1660781 h 5156754"/>
              <a:gd name="connsiteX126" fmla="*/ 2794704 w 4827943"/>
              <a:gd name="connsiteY126" fmla="*/ 1735945 h 5156754"/>
              <a:gd name="connsiteX127" fmla="*/ 2718080 w 4827943"/>
              <a:gd name="connsiteY127" fmla="*/ 1921209 h 5156754"/>
              <a:gd name="connsiteX128" fmla="*/ 2533003 w 4827943"/>
              <a:gd name="connsiteY128" fmla="*/ 1998205 h 5156754"/>
              <a:gd name="connsiteX129" fmla="*/ 2395313 w 4827943"/>
              <a:gd name="connsiteY129" fmla="*/ 128420 h 5156754"/>
              <a:gd name="connsiteX130" fmla="*/ 2413948 w 4827943"/>
              <a:gd name="connsiteY130" fmla="*/ 128420 h 5156754"/>
              <a:gd name="connsiteX131" fmla="*/ 2864773 w 4827943"/>
              <a:gd name="connsiteY131" fmla="*/ 306757 h 5156754"/>
              <a:gd name="connsiteX132" fmla="*/ 3071277 w 4827943"/>
              <a:gd name="connsiteY132" fmla="*/ 745405 h 5156754"/>
              <a:gd name="connsiteX133" fmla="*/ 2921449 w 4827943"/>
              <a:gd name="connsiteY133" fmla="*/ 1206478 h 5156754"/>
              <a:gd name="connsiteX134" fmla="*/ 2794694 w 4827943"/>
              <a:gd name="connsiteY134" fmla="*/ 1541148 h 5156754"/>
              <a:gd name="connsiteX135" fmla="*/ 2794694 w 4827943"/>
              <a:gd name="connsiteY135" fmla="*/ 1553777 h 5156754"/>
              <a:gd name="connsiteX136" fmla="*/ 2468821 w 4827943"/>
              <a:gd name="connsiteY136" fmla="*/ 1553777 h 5156754"/>
              <a:gd name="connsiteX137" fmla="*/ 2468821 w 4827943"/>
              <a:gd name="connsiteY137" fmla="*/ 1125269 h 5156754"/>
              <a:gd name="connsiteX138" fmla="*/ 2688258 w 4827943"/>
              <a:gd name="connsiteY138" fmla="*/ 905833 h 5156754"/>
              <a:gd name="connsiteX139" fmla="*/ 2688258 w 4827943"/>
              <a:gd name="connsiteY139" fmla="*/ 828455 h 5156754"/>
              <a:gd name="connsiteX140" fmla="*/ 2649304 w 4827943"/>
              <a:gd name="connsiteY140" fmla="*/ 812226 h 5156754"/>
              <a:gd name="connsiteX141" fmla="*/ 2610341 w 4827943"/>
              <a:gd name="connsiteY141" fmla="*/ 828455 h 5156754"/>
              <a:gd name="connsiteX142" fmla="*/ 2413938 w 4827943"/>
              <a:gd name="connsiteY142" fmla="*/ 1024898 h 5156754"/>
              <a:gd name="connsiteX143" fmla="*/ 2215320 w 4827943"/>
              <a:gd name="connsiteY143" fmla="*/ 826280 h 5156754"/>
              <a:gd name="connsiteX144" fmla="*/ 2176396 w 4827943"/>
              <a:gd name="connsiteY144" fmla="*/ 810051 h 5156754"/>
              <a:gd name="connsiteX145" fmla="*/ 2137443 w 4827943"/>
              <a:gd name="connsiteY145" fmla="*/ 826280 h 5156754"/>
              <a:gd name="connsiteX146" fmla="*/ 2137443 w 4827943"/>
              <a:gd name="connsiteY146" fmla="*/ 903658 h 5156754"/>
              <a:gd name="connsiteX147" fmla="*/ 2356879 w 4827943"/>
              <a:gd name="connsiteY147" fmla="*/ 1123094 h 5156754"/>
              <a:gd name="connsiteX148" fmla="*/ 2356879 w 4827943"/>
              <a:gd name="connsiteY148" fmla="*/ 1548849 h 5156754"/>
              <a:gd name="connsiteX149" fmla="*/ 2033191 w 4827943"/>
              <a:gd name="connsiteY149" fmla="*/ 1548849 h 5156754"/>
              <a:gd name="connsiteX150" fmla="*/ 2033191 w 4827943"/>
              <a:gd name="connsiteY150" fmla="*/ 1536220 h 5156754"/>
              <a:gd name="connsiteX151" fmla="*/ 1908082 w 4827943"/>
              <a:gd name="connsiteY151" fmla="*/ 1206488 h 5156754"/>
              <a:gd name="connsiteX152" fmla="*/ 1755579 w 4827943"/>
              <a:gd name="connsiteY152" fmla="*/ 763206 h 5156754"/>
              <a:gd name="connsiteX153" fmla="*/ 2395303 w 4827943"/>
              <a:gd name="connsiteY153" fmla="*/ 128420 h 5156754"/>
              <a:gd name="connsiteX154" fmla="*/ 475073 w 4827943"/>
              <a:gd name="connsiteY154" fmla="*/ 685828 h 5156754"/>
              <a:gd name="connsiteX155" fmla="*/ 529918 w 4827943"/>
              <a:gd name="connsiteY155" fmla="*/ 630987 h 5156754"/>
              <a:gd name="connsiteX156" fmla="*/ 968839 w 4827943"/>
              <a:gd name="connsiteY156" fmla="*/ 630987 h 5156754"/>
              <a:gd name="connsiteX157" fmla="*/ 1023713 w 4827943"/>
              <a:gd name="connsiteY157" fmla="*/ 685828 h 5156754"/>
              <a:gd name="connsiteX158" fmla="*/ 968839 w 4827943"/>
              <a:gd name="connsiteY158" fmla="*/ 740708 h 5156754"/>
              <a:gd name="connsiteX159" fmla="*/ 529918 w 4827943"/>
              <a:gd name="connsiteY159" fmla="*/ 740708 h 5156754"/>
              <a:gd name="connsiteX160" fmla="*/ 489348 w 4827943"/>
              <a:gd name="connsiteY160" fmla="*/ 725629 h 5156754"/>
              <a:gd name="connsiteX161" fmla="*/ 472320 w 4827943"/>
              <a:gd name="connsiteY161" fmla="*/ 685828 h 5156754"/>
              <a:gd name="connsiteX162" fmla="*/ 734051 w 4827943"/>
              <a:gd name="connsiteY162" fmla="*/ 27470 h 5156754"/>
              <a:gd name="connsiteX163" fmla="*/ 734012 w 4827943"/>
              <a:gd name="connsiteY163" fmla="*/ 27470 h 5156754"/>
              <a:gd name="connsiteX164" fmla="*/ 808637 w 4827943"/>
              <a:gd name="connsiteY164" fmla="*/ 7187 h 5156754"/>
              <a:gd name="connsiteX165" fmla="*/ 1247558 w 4827943"/>
              <a:gd name="connsiteY165" fmla="*/ 258464 h 5156754"/>
              <a:gd name="connsiteX166" fmla="*/ 1247558 w 4827943"/>
              <a:gd name="connsiteY166" fmla="*/ 258426 h 5156754"/>
              <a:gd name="connsiteX167" fmla="*/ 1273354 w 4827943"/>
              <a:gd name="connsiteY167" fmla="*/ 291797 h 5156754"/>
              <a:gd name="connsiteX168" fmla="*/ 1267848 w 4827943"/>
              <a:gd name="connsiteY168" fmla="*/ 333588 h 5156754"/>
              <a:gd name="connsiteX169" fmla="*/ 1220117 w 4827943"/>
              <a:gd name="connsiteY169" fmla="*/ 361027 h 5156754"/>
              <a:gd name="connsiteX170" fmla="*/ 1193214 w 4827943"/>
              <a:gd name="connsiteY170" fmla="*/ 353909 h 5156754"/>
              <a:gd name="connsiteX171" fmla="*/ 754292 w 4827943"/>
              <a:gd name="connsiteY171" fmla="*/ 102632 h 5156754"/>
              <a:gd name="connsiteX172" fmla="*/ 754331 w 4827943"/>
              <a:gd name="connsiteY172" fmla="*/ 102632 h 5156754"/>
              <a:gd name="connsiteX173" fmla="*/ 731259 w 4827943"/>
              <a:gd name="connsiteY173" fmla="*/ 29651 h 5156754"/>
              <a:gd name="connsiteX174" fmla="*/ 1269524 w 4827943"/>
              <a:gd name="connsiteY174" fmla="*/ 1033637 h 5156754"/>
              <a:gd name="connsiteX175" fmla="*/ 1269484 w 4827943"/>
              <a:gd name="connsiteY175" fmla="*/ 1033637 h 5156754"/>
              <a:gd name="connsiteX176" fmla="*/ 1249204 w 4827943"/>
              <a:gd name="connsiteY176" fmla="*/ 1108261 h 5156754"/>
              <a:gd name="connsiteX177" fmla="*/ 810283 w 4827943"/>
              <a:gd name="connsiteY177" fmla="*/ 1360077 h 5156754"/>
              <a:gd name="connsiteX178" fmla="*/ 783380 w 4827943"/>
              <a:gd name="connsiteY178" fmla="*/ 1367200 h 5156754"/>
              <a:gd name="connsiteX179" fmla="*/ 729985 w 4827943"/>
              <a:gd name="connsiteY179" fmla="*/ 1326512 h 5156754"/>
              <a:gd name="connsiteX180" fmla="*/ 755977 w 4827943"/>
              <a:gd name="connsiteY180" fmla="*/ 1264634 h 5156754"/>
              <a:gd name="connsiteX181" fmla="*/ 1194899 w 4827943"/>
              <a:gd name="connsiteY181" fmla="*/ 1013356 h 5156754"/>
              <a:gd name="connsiteX182" fmla="*/ 1194860 w 4827943"/>
              <a:gd name="connsiteY182" fmla="*/ 1013356 h 5156754"/>
              <a:gd name="connsiteX183" fmla="*/ 1266731 w 4827943"/>
              <a:gd name="connsiteY183" fmla="*/ 1035861 h 5156754"/>
              <a:gd name="connsiteX184" fmla="*/ 3862926 w 4827943"/>
              <a:gd name="connsiteY184" fmla="*/ 628740 h 5156754"/>
              <a:gd name="connsiteX185" fmla="*/ 4301847 w 4827943"/>
              <a:gd name="connsiteY185" fmla="*/ 628740 h 5156754"/>
              <a:gd name="connsiteX186" fmla="*/ 4301808 w 4827943"/>
              <a:gd name="connsiteY186" fmla="*/ 628740 h 5156754"/>
              <a:gd name="connsiteX187" fmla="*/ 4356692 w 4827943"/>
              <a:gd name="connsiteY187" fmla="*/ 683620 h 5156754"/>
              <a:gd name="connsiteX188" fmla="*/ 4301808 w 4827943"/>
              <a:gd name="connsiteY188" fmla="*/ 738461 h 5156754"/>
              <a:gd name="connsiteX189" fmla="*/ 3862886 w 4827943"/>
              <a:gd name="connsiteY189" fmla="*/ 738461 h 5156754"/>
              <a:gd name="connsiteX190" fmla="*/ 3808042 w 4827943"/>
              <a:gd name="connsiteY190" fmla="*/ 683620 h 5156754"/>
              <a:gd name="connsiteX191" fmla="*/ 3862886 w 4827943"/>
              <a:gd name="connsiteY191" fmla="*/ 628740 h 5156754"/>
              <a:gd name="connsiteX192" fmla="*/ 3561163 w 4827943"/>
              <a:gd name="connsiteY192" fmla="*/ 335786 h 5156754"/>
              <a:gd name="connsiteX193" fmla="*/ 3555648 w 4827943"/>
              <a:gd name="connsiteY193" fmla="*/ 293957 h 5156754"/>
              <a:gd name="connsiteX194" fmla="*/ 3581444 w 4827943"/>
              <a:gd name="connsiteY194" fmla="*/ 260624 h 5156754"/>
              <a:gd name="connsiteX195" fmla="*/ 4020365 w 4827943"/>
              <a:gd name="connsiteY195" fmla="*/ 9347 h 5156754"/>
              <a:gd name="connsiteX196" fmla="*/ 4094990 w 4827943"/>
              <a:gd name="connsiteY196" fmla="*/ 29630 h 5156754"/>
              <a:gd name="connsiteX197" fmla="*/ 4100467 w 4827943"/>
              <a:gd name="connsiteY197" fmla="*/ 71459 h 5156754"/>
              <a:gd name="connsiteX198" fmla="*/ 4074671 w 4827943"/>
              <a:gd name="connsiteY198" fmla="*/ 104792 h 5156754"/>
              <a:gd name="connsiteX199" fmla="*/ 3635749 w 4827943"/>
              <a:gd name="connsiteY199" fmla="*/ 356069 h 5156754"/>
              <a:gd name="connsiteX200" fmla="*/ 3608885 w 4827943"/>
              <a:gd name="connsiteY200" fmla="*/ 363226 h 5156754"/>
              <a:gd name="connsiteX201" fmla="*/ 3561163 w 4827943"/>
              <a:gd name="connsiteY201" fmla="*/ 335786 h 5156754"/>
              <a:gd name="connsiteX202" fmla="*/ 3561163 w 4827943"/>
              <a:gd name="connsiteY202" fmla="*/ 1035861 h 5156754"/>
              <a:gd name="connsiteX203" fmla="*/ 3635749 w 4827943"/>
              <a:gd name="connsiteY203" fmla="*/ 1015541 h 5156754"/>
              <a:gd name="connsiteX204" fmla="*/ 4074671 w 4827943"/>
              <a:gd name="connsiteY204" fmla="*/ 1266818 h 5156754"/>
              <a:gd name="connsiteX205" fmla="*/ 4104102 w 4827943"/>
              <a:gd name="connsiteY205" fmla="*/ 1329383 h 5156754"/>
              <a:gd name="connsiteX206" fmla="*/ 4048885 w 4827943"/>
              <a:gd name="connsiteY206" fmla="*/ 1371060 h 5156754"/>
              <a:gd name="connsiteX207" fmla="*/ 4022012 w 4827943"/>
              <a:gd name="connsiteY207" fmla="*/ 1363908 h 5156754"/>
              <a:gd name="connsiteX208" fmla="*/ 3583090 w 4827943"/>
              <a:gd name="connsiteY208" fmla="*/ 1112092 h 5156754"/>
              <a:gd name="connsiteX209" fmla="*/ 3555804 w 4827943"/>
              <a:gd name="connsiteY209" fmla="*/ 1078684 h 5156754"/>
              <a:gd name="connsiteX210" fmla="*/ 3561163 w 4827943"/>
              <a:gd name="connsiteY210" fmla="*/ 1035861 h 5156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4827943" h="5156754">
                <a:moveTo>
                  <a:pt x="2413987" y="2321344"/>
                </a:moveTo>
                <a:lnTo>
                  <a:pt x="2409588" y="2321344"/>
                </a:lnTo>
                <a:cubicBezTo>
                  <a:pt x="2239206" y="2321422"/>
                  <a:pt x="2075760" y="2389003"/>
                  <a:pt x="1955020" y="2509253"/>
                </a:cubicBezTo>
                <a:cubicBezTo>
                  <a:pt x="1834280" y="2629493"/>
                  <a:pt x="1766082" y="2792684"/>
                  <a:pt x="1765318" y="2963096"/>
                </a:cubicBezTo>
                <a:cubicBezTo>
                  <a:pt x="1764554" y="3133517"/>
                  <a:pt x="1831292" y="3297267"/>
                  <a:pt x="1950925" y="3418624"/>
                </a:cubicBezTo>
                <a:cubicBezTo>
                  <a:pt x="2070714" y="3540931"/>
                  <a:pt x="2234542" y="3610129"/>
                  <a:pt x="2405767" y="3610628"/>
                </a:cubicBezTo>
                <a:lnTo>
                  <a:pt x="2410166" y="3610628"/>
                </a:lnTo>
                <a:cubicBezTo>
                  <a:pt x="2634197" y="3602095"/>
                  <a:pt x="2837723" y="3477828"/>
                  <a:pt x="2947745" y="3282502"/>
                </a:cubicBezTo>
                <a:cubicBezTo>
                  <a:pt x="3057738" y="3087137"/>
                  <a:pt x="3058463" y="2848675"/>
                  <a:pt x="2949616" y="2652693"/>
                </a:cubicBezTo>
                <a:cubicBezTo>
                  <a:pt x="2840780" y="2456672"/>
                  <a:pt x="2637979" y="2331229"/>
                  <a:pt x="2413987" y="2321354"/>
                </a:cubicBezTo>
                <a:close/>
                <a:moveTo>
                  <a:pt x="2786504" y="3346223"/>
                </a:moveTo>
                <a:cubicBezTo>
                  <a:pt x="2659523" y="3471783"/>
                  <a:pt x="2478315" y="3525785"/>
                  <a:pt x="2303308" y="3490231"/>
                </a:cubicBezTo>
                <a:cubicBezTo>
                  <a:pt x="2128302" y="3454638"/>
                  <a:pt x="1982569" y="3334123"/>
                  <a:pt x="1914715" y="3168953"/>
                </a:cubicBezTo>
                <a:cubicBezTo>
                  <a:pt x="1846820" y="3003744"/>
                  <a:pt x="1865807" y="2815609"/>
                  <a:pt x="1965268" y="2667271"/>
                </a:cubicBezTo>
                <a:cubicBezTo>
                  <a:pt x="2064689" y="2518933"/>
                  <a:pt x="2231554" y="2429955"/>
                  <a:pt x="2410156" y="2429994"/>
                </a:cubicBezTo>
                <a:lnTo>
                  <a:pt x="2413987" y="2429994"/>
                </a:lnTo>
                <a:cubicBezTo>
                  <a:pt x="2556045" y="2430719"/>
                  <a:pt x="2692020" y="2487895"/>
                  <a:pt x="2791863" y="2588933"/>
                </a:cubicBezTo>
                <a:cubicBezTo>
                  <a:pt x="2891705" y="2690000"/>
                  <a:pt x="2947275" y="2826631"/>
                  <a:pt x="2946246" y="2968690"/>
                </a:cubicBezTo>
                <a:cubicBezTo>
                  <a:pt x="2945247" y="3110788"/>
                  <a:pt x="2887767" y="3246605"/>
                  <a:pt x="2786504" y="3346223"/>
                </a:cubicBezTo>
                <a:close/>
                <a:moveTo>
                  <a:pt x="3291821" y="4224067"/>
                </a:moveTo>
                <a:cubicBezTo>
                  <a:pt x="3523239" y="4457248"/>
                  <a:pt x="3651670" y="4773392"/>
                  <a:pt x="3648417" y="5101910"/>
                </a:cubicBezTo>
                <a:cubicBezTo>
                  <a:pt x="3648417" y="5116449"/>
                  <a:pt x="3642637" y="5130381"/>
                  <a:pt x="3632340" y="5140677"/>
                </a:cubicBezTo>
                <a:cubicBezTo>
                  <a:pt x="3622053" y="5150974"/>
                  <a:pt x="3608121" y="5156755"/>
                  <a:pt x="3593533" y="5156755"/>
                </a:cubicBezTo>
                <a:cubicBezTo>
                  <a:pt x="3563270" y="5156755"/>
                  <a:pt x="3538699" y="5132183"/>
                  <a:pt x="3538699" y="5101910"/>
                </a:cubicBezTo>
                <a:cubicBezTo>
                  <a:pt x="3541334" y="4802372"/>
                  <a:pt x="3424464" y="4514121"/>
                  <a:pt x="3214012" y="4300994"/>
                </a:cubicBezTo>
                <a:cubicBezTo>
                  <a:pt x="3003530" y="4087827"/>
                  <a:pt x="2716807" y="3967352"/>
                  <a:pt x="2417269" y="3966206"/>
                </a:cubicBezTo>
                <a:lnTo>
                  <a:pt x="2410146" y="3966206"/>
                </a:lnTo>
                <a:cubicBezTo>
                  <a:pt x="2112784" y="3966206"/>
                  <a:pt x="1827481" y="4083850"/>
                  <a:pt x="1616578" y="4293411"/>
                </a:cubicBezTo>
                <a:cubicBezTo>
                  <a:pt x="1405635" y="4503021"/>
                  <a:pt x="1286189" y="4787559"/>
                  <a:pt x="1284317" y="5084873"/>
                </a:cubicBezTo>
                <a:cubicBezTo>
                  <a:pt x="1284317" y="5099412"/>
                  <a:pt x="1278537" y="5113383"/>
                  <a:pt x="1268250" y="5123679"/>
                </a:cubicBezTo>
                <a:cubicBezTo>
                  <a:pt x="1257953" y="5133976"/>
                  <a:pt x="1244022" y="5139747"/>
                  <a:pt x="1229483" y="5139747"/>
                </a:cubicBezTo>
                <a:cubicBezTo>
                  <a:pt x="1199170" y="5139747"/>
                  <a:pt x="1174599" y="5115185"/>
                  <a:pt x="1174599" y="5084873"/>
                </a:cubicBezTo>
                <a:cubicBezTo>
                  <a:pt x="1176470" y="4758432"/>
                  <a:pt x="1307468" y="4445991"/>
                  <a:pt x="1539004" y="4215837"/>
                </a:cubicBezTo>
                <a:cubicBezTo>
                  <a:pt x="1770501" y="3985682"/>
                  <a:pt x="2083666" y="3856478"/>
                  <a:pt x="2410146" y="3856478"/>
                </a:cubicBezTo>
                <a:lnTo>
                  <a:pt x="2417837" y="3856478"/>
                </a:lnTo>
                <a:lnTo>
                  <a:pt x="2417798" y="3856478"/>
                </a:lnTo>
                <a:cubicBezTo>
                  <a:pt x="2746649" y="3856860"/>
                  <a:pt x="3061539" y="3989317"/>
                  <a:pt x="3291811" y="4224067"/>
                </a:cubicBezTo>
                <a:close/>
                <a:moveTo>
                  <a:pt x="990276" y="3316606"/>
                </a:moveTo>
                <a:lnTo>
                  <a:pt x="993567" y="3316606"/>
                </a:lnTo>
                <a:cubicBezTo>
                  <a:pt x="1181937" y="3317106"/>
                  <a:pt x="1356258" y="3217067"/>
                  <a:pt x="1450859" y="3054190"/>
                </a:cubicBezTo>
                <a:cubicBezTo>
                  <a:pt x="1545460" y="2891312"/>
                  <a:pt x="1545999" y="2690314"/>
                  <a:pt x="1452240" y="2526947"/>
                </a:cubicBezTo>
                <a:cubicBezTo>
                  <a:pt x="1358472" y="2363569"/>
                  <a:pt x="1184690" y="2262620"/>
                  <a:pt x="996330" y="2262120"/>
                </a:cubicBezTo>
                <a:lnTo>
                  <a:pt x="993038" y="2262120"/>
                </a:lnTo>
                <a:cubicBezTo>
                  <a:pt x="804669" y="2261660"/>
                  <a:pt x="630348" y="2361698"/>
                  <a:pt x="535747" y="2524576"/>
                </a:cubicBezTo>
                <a:cubicBezTo>
                  <a:pt x="441146" y="2687453"/>
                  <a:pt x="440607" y="2888451"/>
                  <a:pt x="534366" y="3051819"/>
                </a:cubicBezTo>
                <a:cubicBezTo>
                  <a:pt x="628124" y="3215196"/>
                  <a:pt x="801916" y="3316116"/>
                  <a:pt x="990276" y="3316606"/>
                </a:cubicBezTo>
                <a:close/>
                <a:moveTo>
                  <a:pt x="700035" y="2493646"/>
                </a:moveTo>
                <a:cubicBezTo>
                  <a:pt x="777795" y="2416151"/>
                  <a:pt x="883193" y="2372710"/>
                  <a:pt x="993029" y="2372945"/>
                </a:cubicBezTo>
                <a:cubicBezTo>
                  <a:pt x="1142171" y="2372945"/>
                  <a:pt x="1280016" y="2452547"/>
                  <a:pt x="1354602" y="2581713"/>
                </a:cubicBezTo>
                <a:cubicBezTo>
                  <a:pt x="1429188" y="2710917"/>
                  <a:pt x="1429188" y="2870042"/>
                  <a:pt x="1354602" y="2999237"/>
                </a:cubicBezTo>
                <a:cubicBezTo>
                  <a:pt x="1280016" y="3128403"/>
                  <a:pt x="1142161" y="3208005"/>
                  <a:pt x="993029" y="3208005"/>
                </a:cubicBezTo>
                <a:lnTo>
                  <a:pt x="990276" y="3208005"/>
                </a:lnTo>
                <a:cubicBezTo>
                  <a:pt x="879411" y="3207280"/>
                  <a:pt x="773396" y="3162429"/>
                  <a:pt x="695636" y="3083356"/>
                </a:cubicBezTo>
                <a:cubicBezTo>
                  <a:pt x="617906" y="3004293"/>
                  <a:pt x="574896" y="2897514"/>
                  <a:pt x="576043" y="2786649"/>
                </a:cubicBezTo>
                <a:cubicBezTo>
                  <a:pt x="576190" y="2675932"/>
                  <a:pt x="620894" y="2569966"/>
                  <a:pt x="700035" y="2492578"/>
                </a:cubicBezTo>
                <a:close/>
                <a:moveTo>
                  <a:pt x="1607496" y="3821355"/>
                </a:moveTo>
                <a:cubicBezTo>
                  <a:pt x="1443972" y="3664757"/>
                  <a:pt x="1226593" y="3576769"/>
                  <a:pt x="1000151" y="3575584"/>
                </a:cubicBezTo>
                <a:lnTo>
                  <a:pt x="994675" y="3575584"/>
                </a:lnTo>
                <a:cubicBezTo>
                  <a:pt x="760846" y="3576309"/>
                  <a:pt x="536737" y="3669235"/>
                  <a:pt x="371067" y="3834209"/>
                </a:cubicBezTo>
                <a:cubicBezTo>
                  <a:pt x="205358" y="3999193"/>
                  <a:pt x="111443" y="4222881"/>
                  <a:pt x="109718" y="4456670"/>
                </a:cubicBezTo>
                <a:cubicBezTo>
                  <a:pt x="109718" y="4471248"/>
                  <a:pt x="103948" y="4485180"/>
                  <a:pt x="93651" y="4495477"/>
                </a:cubicBezTo>
                <a:cubicBezTo>
                  <a:pt x="83354" y="4505774"/>
                  <a:pt x="69383" y="4511544"/>
                  <a:pt x="54844" y="4511544"/>
                </a:cubicBezTo>
                <a:cubicBezTo>
                  <a:pt x="24532" y="4511544"/>
                  <a:pt x="0" y="4486983"/>
                  <a:pt x="0" y="4456670"/>
                </a:cubicBezTo>
                <a:cubicBezTo>
                  <a:pt x="1920" y="4195978"/>
                  <a:pt x="105966" y="3946376"/>
                  <a:pt x="289819" y="3761533"/>
                </a:cubicBezTo>
                <a:cubicBezTo>
                  <a:pt x="473672" y="3576652"/>
                  <a:pt x="722696" y="3471215"/>
                  <a:pt x="983388" y="3467845"/>
                </a:cubicBezTo>
                <a:cubicBezTo>
                  <a:pt x="1244081" y="3464435"/>
                  <a:pt x="1495749" y="3563406"/>
                  <a:pt x="1684305" y="3743468"/>
                </a:cubicBezTo>
                <a:cubicBezTo>
                  <a:pt x="1694720" y="3753764"/>
                  <a:pt x="1700529" y="3767765"/>
                  <a:pt x="1700529" y="3782421"/>
                </a:cubicBezTo>
                <a:cubicBezTo>
                  <a:pt x="1700529" y="3797048"/>
                  <a:pt x="1694720" y="3811048"/>
                  <a:pt x="1684305" y="3821345"/>
                </a:cubicBezTo>
                <a:cubicBezTo>
                  <a:pt x="1662987" y="3842281"/>
                  <a:pt x="1628853" y="3842281"/>
                  <a:pt x="1607496" y="3821345"/>
                </a:cubicBezTo>
                <a:close/>
                <a:moveTo>
                  <a:pt x="3834386" y="3316606"/>
                </a:moveTo>
                <a:lnTo>
                  <a:pt x="3840431" y="3316606"/>
                </a:lnTo>
                <a:cubicBezTo>
                  <a:pt x="4028801" y="3316606"/>
                  <a:pt x="4202847" y="3216107"/>
                  <a:pt x="4297027" y="3053004"/>
                </a:cubicBezTo>
                <a:cubicBezTo>
                  <a:pt x="4391207" y="2889862"/>
                  <a:pt x="4391207" y="2688864"/>
                  <a:pt x="4297027" y="2525761"/>
                </a:cubicBezTo>
                <a:cubicBezTo>
                  <a:pt x="4202847" y="2362619"/>
                  <a:pt x="4028791" y="2262120"/>
                  <a:pt x="3840431" y="2262120"/>
                </a:cubicBezTo>
                <a:lnTo>
                  <a:pt x="3837139" y="2262120"/>
                </a:lnTo>
                <a:cubicBezTo>
                  <a:pt x="3648770" y="2262120"/>
                  <a:pt x="3474684" y="2362619"/>
                  <a:pt x="3380504" y="2525761"/>
                </a:cubicBezTo>
                <a:cubicBezTo>
                  <a:pt x="3286324" y="2688864"/>
                  <a:pt x="3286324" y="2889862"/>
                  <a:pt x="3380504" y="3053004"/>
                </a:cubicBezTo>
                <a:cubicBezTo>
                  <a:pt x="3474694" y="3216107"/>
                  <a:pt x="3648780" y="3316606"/>
                  <a:pt x="3837139" y="3316606"/>
                </a:cubicBezTo>
                <a:close/>
                <a:moveTo>
                  <a:pt x="3537562" y="2493646"/>
                </a:moveTo>
                <a:cubicBezTo>
                  <a:pt x="3615361" y="2414769"/>
                  <a:pt x="3721416" y="2370153"/>
                  <a:pt x="3832202" y="2369654"/>
                </a:cubicBezTo>
                <a:lnTo>
                  <a:pt x="3834955" y="2369654"/>
                </a:lnTo>
                <a:lnTo>
                  <a:pt x="3834915" y="2369654"/>
                </a:lnTo>
                <a:cubicBezTo>
                  <a:pt x="3964345" y="2369879"/>
                  <a:pt x="4086349" y="2430200"/>
                  <a:pt x="4165148" y="2532874"/>
                </a:cubicBezTo>
                <a:cubicBezTo>
                  <a:pt x="4243907" y="2635587"/>
                  <a:pt x="4270506" y="2769073"/>
                  <a:pt x="4237137" y="2894144"/>
                </a:cubicBezTo>
                <a:cubicBezTo>
                  <a:pt x="4203768" y="3019214"/>
                  <a:pt x="4114213" y="3121663"/>
                  <a:pt x="3994736" y="3171491"/>
                </a:cubicBezTo>
                <a:cubicBezTo>
                  <a:pt x="3875260" y="3221280"/>
                  <a:pt x="3739432" y="3212825"/>
                  <a:pt x="3627118" y="3148487"/>
                </a:cubicBezTo>
                <a:cubicBezTo>
                  <a:pt x="3514794" y="3084198"/>
                  <a:pt x="3438680" y="2971374"/>
                  <a:pt x="3421153" y="2843130"/>
                </a:cubicBezTo>
                <a:cubicBezTo>
                  <a:pt x="3403626" y="2714885"/>
                  <a:pt x="3446645" y="2585759"/>
                  <a:pt x="3537572" y="2493646"/>
                </a:cubicBezTo>
                <a:close/>
                <a:moveTo>
                  <a:pt x="4827944" y="4456112"/>
                </a:moveTo>
                <a:cubicBezTo>
                  <a:pt x="4827944" y="4470651"/>
                  <a:pt x="4822164" y="4484621"/>
                  <a:pt x="4811906" y="4494918"/>
                </a:cubicBezTo>
                <a:cubicBezTo>
                  <a:pt x="4801609" y="4505215"/>
                  <a:pt x="4787649" y="4510996"/>
                  <a:pt x="4773100" y="4510996"/>
                </a:cubicBezTo>
                <a:cubicBezTo>
                  <a:pt x="4742797" y="4510996"/>
                  <a:pt x="4718226" y="4486424"/>
                  <a:pt x="4718226" y="4456112"/>
                </a:cubicBezTo>
                <a:cubicBezTo>
                  <a:pt x="4716345" y="4222401"/>
                  <a:pt x="4622400" y="3998860"/>
                  <a:pt x="4456691" y="3833993"/>
                </a:cubicBezTo>
                <a:cubicBezTo>
                  <a:pt x="4291022" y="3669127"/>
                  <a:pt x="4067029" y="3576279"/>
                  <a:pt x="3833270" y="3575555"/>
                </a:cubicBezTo>
                <a:lnTo>
                  <a:pt x="3827793" y="3575555"/>
                </a:lnTo>
                <a:cubicBezTo>
                  <a:pt x="3601352" y="3576740"/>
                  <a:pt x="3383972" y="3664718"/>
                  <a:pt x="3220448" y="3821326"/>
                </a:cubicBezTo>
                <a:cubicBezTo>
                  <a:pt x="3199061" y="3842605"/>
                  <a:pt x="3164497" y="3842605"/>
                  <a:pt x="3143110" y="3821326"/>
                </a:cubicBezTo>
                <a:cubicBezTo>
                  <a:pt x="3132695" y="3811029"/>
                  <a:pt x="3126846" y="3797019"/>
                  <a:pt x="3126846" y="3782401"/>
                </a:cubicBezTo>
                <a:cubicBezTo>
                  <a:pt x="3126846" y="3767745"/>
                  <a:pt x="3132695" y="3753735"/>
                  <a:pt x="3143110" y="3743448"/>
                </a:cubicBezTo>
                <a:cubicBezTo>
                  <a:pt x="3327002" y="3568167"/>
                  <a:pt x="3571010" y="3470010"/>
                  <a:pt x="3825040" y="3469128"/>
                </a:cubicBezTo>
                <a:lnTo>
                  <a:pt x="3831624" y="3469128"/>
                </a:lnTo>
                <a:cubicBezTo>
                  <a:pt x="4094197" y="3469392"/>
                  <a:pt x="4346052" y="3573184"/>
                  <a:pt x="4532541" y="3757948"/>
                </a:cubicBezTo>
                <a:cubicBezTo>
                  <a:pt x="4719069" y="3942712"/>
                  <a:pt x="4825230" y="4193578"/>
                  <a:pt x="4827944" y="4456112"/>
                </a:cubicBezTo>
                <a:close/>
                <a:moveTo>
                  <a:pt x="1920152" y="1538425"/>
                </a:moveTo>
                <a:lnTo>
                  <a:pt x="1920152" y="1735935"/>
                </a:lnTo>
                <a:lnTo>
                  <a:pt x="1920191" y="1735935"/>
                </a:lnTo>
                <a:cubicBezTo>
                  <a:pt x="1920191" y="1834514"/>
                  <a:pt x="1959301" y="1929046"/>
                  <a:pt x="2028920" y="1998773"/>
                </a:cubicBezTo>
                <a:cubicBezTo>
                  <a:pt x="2098568" y="2068538"/>
                  <a:pt x="2193061" y="2107766"/>
                  <a:pt x="2291601" y="2107923"/>
                </a:cubicBezTo>
                <a:lnTo>
                  <a:pt x="2529720" y="2107923"/>
                </a:lnTo>
                <a:cubicBezTo>
                  <a:pt x="2628270" y="2107766"/>
                  <a:pt x="2722753" y="2068538"/>
                  <a:pt x="2792401" y="1998773"/>
                </a:cubicBezTo>
                <a:cubicBezTo>
                  <a:pt x="2862010" y="1929046"/>
                  <a:pt x="2901130" y="1834514"/>
                  <a:pt x="2901130" y="1735935"/>
                </a:cubicBezTo>
                <a:lnTo>
                  <a:pt x="2901130" y="1538425"/>
                </a:lnTo>
                <a:cubicBezTo>
                  <a:pt x="2902962" y="1440953"/>
                  <a:pt x="2938859" y="1347184"/>
                  <a:pt x="3002658" y="1273441"/>
                </a:cubicBezTo>
                <a:cubicBezTo>
                  <a:pt x="3117314" y="1136624"/>
                  <a:pt x="3180731" y="964185"/>
                  <a:pt x="3182034" y="785690"/>
                </a:cubicBezTo>
                <a:cubicBezTo>
                  <a:pt x="3182377" y="578804"/>
                  <a:pt x="3098376" y="380677"/>
                  <a:pt x="2949430" y="237050"/>
                </a:cubicBezTo>
                <a:cubicBezTo>
                  <a:pt x="2800788" y="91896"/>
                  <a:pt x="2599721" y="13098"/>
                  <a:pt x="2392022" y="18721"/>
                </a:cubicBezTo>
                <a:cubicBezTo>
                  <a:pt x="2198988" y="30738"/>
                  <a:pt x="2016899" y="112483"/>
                  <a:pt x="1879660" y="248729"/>
                </a:cubicBezTo>
                <a:cubicBezTo>
                  <a:pt x="1742383" y="384968"/>
                  <a:pt x="1659303" y="566450"/>
                  <a:pt x="1645871" y="759366"/>
                </a:cubicBezTo>
                <a:cubicBezTo>
                  <a:pt x="1639209" y="947353"/>
                  <a:pt x="1702126" y="1131157"/>
                  <a:pt x="1822523" y="1275626"/>
                </a:cubicBezTo>
                <a:cubicBezTo>
                  <a:pt x="1885940" y="1348683"/>
                  <a:pt x="1921680" y="1441717"/>
                  <a:pt x="1923483" y="1538425"/>
                </a:cubicBezTo>
                <a:close/>
                <a:moveTo>
                  <a:pt x="2529681" y="1998205"/>
                </a:moveTo>
                <a:lnTo>
                  <a:pt x="2294893" y="1998205"/>
                </a:lnTo>
                <a:cubicBezTo>
                  <a:pt x="2225431" y="1998048"/>
                  <a:pt x="2158879" y="1970341"/>
                  <a:pt x="2109815" y="1921209"/>
                </a:cubicBezTo>
                <a:cubicBezTo>
                  <a:pt x="2060751" y="1872027"/>
                  <a:pt x="2033201" y="1805407"/>
                  <a:pt x="2033201" y="1735945"/>
                </a:cubicBezTo>
                <a:lnTo>
                  <a:pt x="2033201" y="1660781"/>
                </a:lnTo>
                <a:lnTo>
                  <a:pt x="2794704" y="1660781"/>
                </a:lnTo>
                <a:lnTo>
                  <a:pt x="2794704" y="1735945"/>
                </a:lnTo>
                <a:cubicBezTo>
                  <a:pt x="2794704" y="1805397"/>
                  <a:pt x="2767144" y="1872037"/>
                  <a:pt x="2718080" y="1921209"/>
                </a:cubicBezTo>
                <a:cubicBezTo>
                  <a:pt x="2669026" y="1970341"/>
                  <a:pt x="2602464" y="1998048"/>
                  <a:pt x="2533003" y="1998205"/>
                </a:cubicBezTo>
                <a:close/>
                <a:moveTo>
                  <a:pt x="2395313" y="128420"/>
                </a:moveTo>
                <a:lnTo>
                  <a:pt x="2413948" y="128420"/>
                </a:lnTo>
                <a:cubicBezTo>
                  <a:pt x="2581459" y="128343"/>
                  <a:pt x="2742651" y="192139"/>
                  <a:pt x="2864773" y="306757"/>
                </a:cubicBezTo>
                <a:cubicBezTo>
                  <a:pt x="2986894" y="421374"/>
                  <a:pt x="3060755" y="578246"/>
                  <a:pt x="3071277" y="745405"/>
                </a:cubicBezTo>
                <a:cubicBezTo>
                  <a:pt x="3081799" y="912564"/>
                  <a:pt x="3028229" y="1077440"/>
                  <a:pt x="2921449" y="1206478"/>
                </a:cubicBezTo>
                <a:cubicBezTo>
                  <a:pt x="2841279" y="1299737"/>
                  <a:pt x="2796418" y="1418184"/>
                  <a:pt x="2794694" y="1541148"/>
                </a:cubicBezTo>
                <a:lnTo>
                  <a:pt x="2794694" y="1553777"/>
                </a:lnTo>
                <a:lnTo>
                  <a:pt x="2468821" y="1553777"/>
                </a:lnTo>
                <a:lnTo>
                  <a:pt x="2468821" y="1125269"/>
                </a:lnTo>
                <a:lnTo>
                  <a:pt x="2688258" y="905833"/>
                </a:lnTo>
                <a:cubicBezTo>
                  <a:pt x="2709537" y="884436"/>
                  <a:pt x="2709537" y="849881"/>
                  <a:pt x="2688258" y="828455"/>
                </a:cubicBezTo>
                <a:cubicBezTo>
                  <a:pt x="2677961" y="818080"/>
                  <a:pt x="2663922" y="812226"/>
                  <a:pt x="2649304" y="812226"/>
                </a:cubicBezTo>
                <a:cubicBezTo>
                  <a:pt x="2634677" y="812226"/>
                  <a:pt x="2620638" y="818080"/>
                  <a:pt x="2610341" y="828455"/>
                </a:cubicBezTo>
                <a:lnTo>
                  <a:pt x="2413938" y="1024898"/>
                </a:lnTo>
                <a:lnTo>
                  <a:pt x="2215320" y="826280"/>
                </a:lnTo>
                <a:cubicBezTo>
                  <a:pt x="2205023" y="815905"/>
                  <a:pt x="2191023" y="810051"/>
                  <a:pt x="2176396" y="810051"/>
                </a:cubicBezTo>
                <a:cubicBezTo>
                  <a:pt x="2161740" y="810051"/>
                  <a:pt x="2147740" y="815905"/>
                  <a:pt x="2137443" y="826280"/>
                </a:cubicBezTo>
                <a:cubicBezTo>
                  <a:pt x="2116164" y="847667"/>
                  <a:pt x="2116164" y="882232"/>
                  <a:pt x="2137443" y="903658"/>
                </a:cubicBezTo>
                <a:lnTo>
                  <a:pt x="2356879" y="1123094"/>
                </a:lnTo>
                <a:lnTo>
                  <a:pt x="2356879" y="1548849"/>
                </a:lnTo>
                <a:lnTo>
                  <a:pt x="2033191" y="1548849"/>
                </a:lnTo>
                <a:lnTo>
                  <a:pt x="2033191" y="1536220"/>
                </a:lnTo>
                <a:cubicBezTo>
                  <a:pt x="2030781" y="1415177"/>
                  <a:pt x="1986616" y="1298679"/>
                  <a:pt x="1908082" y="1206488"/>
                </a:cubicBezTo>
                <a:cubicBezTo>
                  <a:pt x="1804565" y="1082456"/>
                  <a:pt x="1750299" y="924663"/>
                  <a:pt x="1755579" y="763206"/>
                </a:cubicBezTo>
                <a:cubicBezTo>
                  <a:pt x="1767101" y="438411"/>
                  <a:pt x="2071576" y="137188"/>
                  <a:pt x="2395303" y="128420"/>
                </a:cubicBezTo>
                <a:close/>
                <a:moveTo>
                  <a:pt x="475073" y="685828"/>
                </a:moveTo>
                <a:cubicBezTo>
                  <a:pt x="475073" y="655518"/>
                  <a:pt x="499605" y="630987"/>
                  <a:pt x="529918" y="630987"/>
                </a:cubicBezTo>
                <a:lnTo>
                  <a:pt x="968839" y="630987"/>
                </a:lnTo>
                <a:cubicBezTo>
                  <a:pt x="999152" y="630987"/>
                  <a:pt x="1023713" y="655518"/>
                  <a:pt x="1023713" y="685828"/>
                </a:cubicBezTo>
                <a:cubicBezTo>
                  <a:pt x="1023713" y="716139"/>
                  <a:pt x="999152" y="740708"/>
                  <a:pt x="968839" y="740708"/>
                </a:cubicBezTo>
                <a:lnTo>
                  <a:pt x="529918" y="740708"/>
                </a:lnTo>
                <a:cubicBezTo>
                  <a:pt x="514918" y="741435"/>
                  <a:pt x="500223" y="736000"/>
                  <a:pt x="489348" y="725629"/>
                </a:cubicBezTo>
                <a:cubicBezTo>
                  <a:pt x="478444" y="715258"/>
                  <a:pt x="472281" y="700869"/>
                  <a:pt x="472320" y="685828"/>
                </a:cubicBezTo>
                <a:close/>
                <a:moveTo>
                  <a:pt x="734051" y="27470"/>
                </a:moveTo>
                <a:lnTo>
                  <a:pt x="734012" y="27470"/>
                </a:lnTo>
                <a:cubicBezTo>
                  <a:pt x="749090" y="1331"/>
                  <a:pt x="782419" y="-7739"/>
                  <a:pt x="808637" y="7187"/>
                </a:cubicBezTo>
                <a:lnTo>
                  <a:pt x="1247558" y="258464"/>
                </a:lnTo>
                <a:lnTo>
                  <a:pt x="1247558" y="258426"/>
                </a:lnTo>
                <a:cubicBezTo>
                  <a:pt x="1260226" y="265697"/>
                  <a:pt x="1269524" y="277675"/>
                  <a:pt x="1273354" y="291797"/>
                </a:cubicBezTo>
                <a:cubicBezTo>
                  <a:pt x="1277146" y="305919"/>
                  <a:pt x="1275196" y="320959"/>
                  <a:pt x="1267848" y="333588"/>
                </a:cubicBezTo>
                <a:cubicBezTo>
                  <a:pt x="1258012" y="350656"/>
                  <a:pt x="1239789" y="361104"/>
                  <a:pt x="1220117" y="361027"/>
                </a:cubicBezTo>
                <a:cubicBezTo>
                  <a:pt x="1210711" y="360989"/>
                  <a:pt x="1201443" y="358540"/>
                  <a:pt x="1193214" y="353909"/>
                </a:cubicBezTo>
                <a:lnTo>
                  <a:pt x="754292" y="102632"/>
                </a:lnTo>
                <a:lnTo>
                  <a:pt x="754331" y="102632"/>
                </a:lnTo>
                <a:cubicBezTo>
                  <a:pt x="728153" y="88548"/>
                  <a:pt x="717935" y="56210"/>
                  <a:pt x="731259" y="29651"/>
                </a:cubicBezTo>
                <a:close/>
                <a:moveTo>
                  <a:pt x="1269524" y="1033637"/>
                </a:moveTo>
                <a:lnTo>
                  <a:pt x="1269484" y="1033637"/>
                </a:lnTo>
                <a:cubicBezTo>
                  <a:pt x="1284376" y="1059854"/>
                  <a:pt x="1275304" y="1093184"/>
                  <a:pt x="1249204" y="1108261"/>
                </a:cubicBezTo>
                <a:lnTo>
                  <a:pt x="810283" y="1360077"/>
                </a:lnTo>
                <a:cubicBezTo>
                  <a:pt x="802092" y="1364751"/>
                  <a:pt x="792834" y="1367200"/>
                  <a:pt x="783380" y="1367200"/>
                </a:cubicBezTo>
                <a:cubicBezTo>
                  <a:pt x="758426" y="1367386"/>
                  <a:pt x="736461" y="1350662"/>
                  <a:pt x="729985" y="1326512"/>
                </a:cubicBezTo>
                <a:cubicBezTo>
                  <a:pt x="723558" y="1302372"/>
                  <a:pt x="734237" y="1276919"/>
                  <a:pt x="755977" y="1264634"/>
                </a:cubicBezTo>
                <a:lnTo>
                  <a:pt x="1194899" y="1013356"/>
                </a:lnTo>
                <a:lnTo>
                  <a:pt x="1194860" y="1013356"/>
                </a:lnTo>
                <a:cubicBezTo>
                  <a:pt x="1220998" y="1000610"/>
                  <a:pt x="1252535" y="1010486"/>
                  <a:pt x="1266731" y="1035861"/>
                </a:cubicBezTo>
                <a:close/>
                <a:moveTo>
                  <a:pt x="3862926" y="628740"/>
                </a:moveTo>
                <a:lnTo>
                  <a:pt x="4301847" y="628740"/>
                </a:lnTo>
                <a:lnTo>
                  <a:pt x="4301808" y="628740"/>
                </a:lnTo>
                <a:cubicBezTo>
                  <a:pt x="4332120" y="628740"/>
                  <a:pt x="4356692" y="653310"/>
                  <a:pt x="4356692" y="683620"/>
                </a:cubicBezTo>
                <a:cubicBezTo>
                  <a:pt x="4356692" y="713930"/>
                  <a:pt x="4332120" y="738461"/>
                  <a:pt x="4301808" y="738461"/>
                </a:cubicBezTo>
                <a:lnTo>
                  <a:pt x="3862886" y="738461"/>
                </a:lnTo>
                <a:cubicBezTo>
                  <a:pt x="3832613" y="738461"/>
                  <a:pt x="3808042" y="713930"/>
                  <a:pt x="3808042" y="683620"/>
                </a:cubicBezTo>
                <a:cubicBezTo>
                  <a:pt x="3808042" y="653310"/>
                  <a:pt x="3832613" y="628740"/>
                  <a:pt x="3862886" y="628740"/>
                </a:cubicBezTo>
                <a:close/>
                <a:moveTo>
                  <a:pt x="3561163" y="335786"/>
                </a:moveTo>
                <a:cubicBezTo>
                  <a:pt x="3553816" y="323118"/>
                  <a:pt x="3551827" y="308079"/>
                  <a:pt x="3555648" y="293957"/>
                </a:cubicBezTo>
                <a:cubicBezTo>
                  <a:pt x="3559478" y="279874"/>
                  <a:pt x="3568737" y="267857"/>
                  <a:pt x="3581444" y="260624"/>
                </a:cubicBezTo>
                <a:lnTo>
                  <a:pt x="4020365" y="9347"/>
                </a:lnTo>
                <a:cubicBezTo>
                  <a:pt x="4046583" y="-5540"/>
                  <a:pt x="4079912" y="3530"/>
                  <a:pt x="4094990" y="29630"/>
                </a:cubicBezTo>
                <a:cubicBezTo>
                  <a:pt x="4102309" y="42298"/>
                  <a:pt x="4104298" y="57338"/>
                  <a:pt x="4100467" y="71459"/>
                </a:cubicBezTo>
                <a:cubicBezTo>
                  <a:pt x="4096636" y="85543"/>
                  <a:pt x="4087378" y="97560"/>
                  <a:pt x="4074671" y="104792"/>
                </a:cubicBezTo>
                <a:lnTo>
                  <a:pt x="3635749" y="356069"/>
                </a:lnTo>
                <a:cubicBezTo>
                  <a:pt x="3627559" y="360738"/>
                  <a:pt x="3618300" y="363188"/>
                  <a:pt x="3608885" y="363226"/>
                </a:cubicBezTo>
                <a:cubicBezTo>
                  <a:pt x="3589213" y="363302"/>
                  <a:pt x="3571000" y="352816"/>
                  <a:pt x="3561163" y="335786"/>
                </a:cubicBezTo>
                <a:close/>
                <a:moveTo>
                  <a:pt x="3561163" y="1035861"/>
                </a:moveTo>
                <a:cubicBezTo>
                  <a:pt x="3576202" y="1009722"/>
                  <a:pt x="3609532" y="1000650"/>
                  <a:pt x="3635749" y="1015541"/>
                </a:cubicBezTo>
                <a:lnTo>
                  <a:pt x="4074671" y="1266818"/>
                </a:lnTo>
                <a:cubicBezTo>
                  <a:pt x="4098057" y="1278105"/>
                  <a:pt x="4110343" y="1304204"/>
                  <a:pt x="4104102" y="1329383"/>
                </a:cubicBezTo>
                <a:cubicBezTo>
                  <a:pt x="4097861" y="1354611"/>
                  <a:pt x="4074828" y="1371981"/>
                  <a:pt x="4048885" y="1371060"/>
                </a:cubicBezTo>
                <a:cubicBezTo>
                  <a:pt x="4039470" y="1371021"/>
                  <a:pt x="4030202" y="1368571"/>
                  <a:pt x="4022012" y="1363908"/>
                </a:cubicBezTo>
                <a:lnTo>
                  <a:pt x="3583090" y="1112092"/>
                </a:lnTo>
                <a:cubicBezTo>
                  <a:pt x="3569815" y="1105166"/>
                  <a:pt x="3559939" y="1093076"/>
                  <a:pt x="3555804" y="1078684"/>
                </a:cubicBezTo>
                <a:cubicBezTo>
                  <a:pt x="3551670" y="1064253"/>
                  <a:pt x="3553590" y="1048793"/>
                  <a:pt x="3561163" y="1035861"/>
                </a:cubicBezTo>
                <a:close/>
              </a:path>
            </a:pathLst>
          </a:custGeom>
          <a:solidFill>
            <a:srgbClr val="5DB0EE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7" name="Freeform: Shape 166">
            <a:extLst>
              <a:ext uri="{FF2B5EF4-FFF2-40B4-BE49-F238E27FC236}">
                <a16:creationId xmlns:a16="http://schemas.microsoft.com/office/drawing/2014/main" id="{4FE76BC1-8945-460F-A7D8-8A4F9ADF272F}"/>
              </a:ext>
            </a:extLst>
          </p:cNvPr>
          <p:cNvSpPr/>
          <p:nvPr/>
        </p:nvSpPr>
        <p:spPr>
          <a:xfrm>
            <a:off x="4294352" y="5336933"/>
            <a:ext cx="429040" cy="332782"/>
          </a:xfrm>
          <a:custGeom>
            <a:avLst/>
            <a:gdLst>
              <a:gd name="connsiteX0" fmla="*/ 4512846 w 5229330"/>
              <a:gd name="connsiteY0" fmla="*/ 2102481 h 4056099"/>
              <a:gd name="connsiteX1" fmla="*/ 4512846 w 5229330"/>
              <a:gd name="connsiteY1" fmla="*/ 2188548 h 4056099"/>
              <a:gd name="connsiteX2" fmla="*/ 4340710 w 5229330"/>
              <a:gd name="connsiteY2" fmla="*/ 2188548 h 4056099"/>
              <a:gd name="connsiteX3" fmla="*/ 4340710 w 5229330"/>
              <a:gd name="connsiteY3" fmla="*/ 1845384 h 4056099"/>
              <a:gd name="connsiteX4" fmla="*/ 4211624 w 5229330"/>
              <a:gd name="connsiteY4" fmla="*/ 1716297 h 4056099"/>
              <a:gd name="connsiteX5" fmla="*/ 3543576 w 5229330"/>
              <a:gd name="connsiteY5" fmla="*/ 1716297 h 4056099"/>
              <a:gd name="connsiteX6" fmla="*/ 3543576 w 5229330"/>
              <a:gd name="connsiteY6" fmla="*/ 1544161 h 4056099"/>
              <a:gd name="connsiteX7" fmla="*/ 4211624 w 5229330"/>
              <a:gd name="connsiteY7" fmla="*/ 1544161 h 4056099"/>
              <a:gd name="connsiteX8" fmla="*/ 4511778 w 5229330"/>
              <a:gd name="connsiteY8" fmla="*/ 1845384 h 4056099"/>
              <a:gd name="connsiteX9" fmla="*/ 4511778 w 5229330"/>
              <a:gd name="connsiteY9" fmla="*/ 2102481 h 4056099"/>
              <a:gd name="connsiteX10" fmla="*/ 2481800 w 5229330"/>
              <a:gd name="connsiteY10" fmla="*/ 1913122 h 4056099"/>
              <a:gd name="connsiteX11" fmla="*/ 2826043 w 5229330"/>
              <a:gd name="connsiteY11" fmla="*/ 1913122 h 4056099"/>
              <a:gd name="connsiteX12" fmla="*/ 2840014 w 5229330"/>
              <a:gd name="connsiteY12" fmla="*/ 2119665 h 4056099"/>
              <a:gd name="connsiteX13" fmla="*/ 3072392 w 5229330"/>
              <a:gd name="connsiteY13" fmla="*/ 2253072 h 4056099"/>
              <a:gd name="connsiteX14" fmla="*/ 3257431 w 5229330"/>
              <a:gd name="connsiteY14" fmla="*/ 2161646 h 4056099"/>
              <a:gd name="connsiteX15" fmla="*/ 3469372 w 5229330"/>
              <a:gd name="connsiteY15" fmla="*/ 2529577 h 4056099"/>
              <a:gd name="connsiteX16" fmla="*/ 3297236 w 5229330"/>
              <a:gd name="connsiteY16" fmla="*/ 2644694 h 4056099"/>
              <a:gd name="connsiteX17" fmla="*/ 3297236 w 5229330"/>
              <a:gd name="connsiteY17" fmla="*/ 2912548 h 4056099"/>
              <a:gd name="connsiteX18" fmla="*/ 3469372 w 5229330"/>
              <a:gd name="connsiteY18" fmla="*/ 3027664 h 4056099"/>
              <a:gd name="connsiteX19" fmla="*/ 3257431 w 5229330"/>
              <a:gd name="connsiteY19" fmla="*/ 3395596 h 4056099"/>
              <a:gd name="connsiteX20" fmla="*/ 3072392 w 5229330"/>
              <a:gd name="connsiteY20" fmla="*/ 3304169 h 4056099"/>
              <a:gd name="connsiteX21" fmla="*/ 2840014 w 5229330"/>
              <a:gd name="connsiteY21" fmla="*/ 3438654 h 4056099"/>
              <a:gd name="connsiteX22" fmla="*/ 2827111 w 5229330"/>
              <a:gd name="connsiteY22" fmla="*/ 3645197 h 4056099"/>
              <a:gd name="connsiteX23" fmla="*/ 2402199 w 5229330"/>
              <a:gd name="connsiteY23" fmla="*/ 3645197 h 4056099"/>
              <a:gd name="connsiteX24" fmla="*/ 2388238 w 5229330"/>
              <a:gd name="connsiteY24" fmla="*/ 3438654 h 4056099"/>
              <a:gd name="connsiteX25" fmla="*/ 2156937 w 5229330"/>
              <a:gd name="connsiteY25" fmla="*/ 3304169 h 4056099"/>
              <a:gd name="connsiteX26" fmla="*/ 1970830 w 5229330"/>
              <a:gd name="connsiteY26" fmla="*/ 3395596 h 4056099"/>
              <a:gd name="connsiteX27" fmla="*/ 1757860 w 5229330"/>
              <a:gd name="connsiteY27" fmla="*/ 3028703 h 4056099"/>
              <a:gd name="connsiteX28" fmla="*/ 1929996 w 5229330"/>
              <a:gd name="connsiteY28" fmla="*/ 2913586 h 4056099"/>
              <a:gd name="connsiteX29" fmla="*/ 1929996 w 5229330"/>
              <a:gd name="connsiteY29" fmla="*/ 2645732 h 4056099"/>
              <a:gd name="connsiteX30" fmla="*/ 1757860 w 5229330"/>
              <a:gd name="connsiteY30" fmla="*/ 2530616 h 4056099"/>
              <a:gd name="connsiteX31" fmla="*/ 1970870 w 5229330"/>
              <a:gd name="connsiteY31" fmla="*/ 2162684 h 4056099"/>
              <a:gd name="connsiteX32" fmla="*/ 2155909 w 5229330"/>
              <a:gd name="connsiteY32" fmla="*/ 2254111 h 4056099"/>
              <a:gd name="connsiteX33" fmla="*/ 2387209 w 5229330"/>
              <a:gd name="connsiteY33" fmla="*/ 2120703 h 4056099"/>
              <a:gd name="connsiteX34" fmla="*/ 2401170 w 5229330"/>
              <a:gd name="connsiteY34" fmla="*/ 1914160 h 4056099"/>
              <a:gd name="connsiteX35" fmla="*/ 2481810 w 5229330"/>
              <a:gd name="connsiteY35" fmla="*/ 1914199 h 4056099"/>
              <a:gd name="connsiteX36" fmla="*/ 2665761 w 5229330"/>
              <a:gd name="connsiteY36" fmla="*/ 2086335 h 4056099"/>
              <a:gd name="connsiteX37" fmla="*/ 2562470 w 5229330"/>
              <a:gd name="connsiteY37" fmla="*/ 2086335 h 4056099"/>
              <a:gd name="connsiteX38" fmla="*/ 2551713 w 5229330"/>
              <a:gd name="connsiteY38" fmla="*/ 2254150 h 4056099"/>
              <a:gd name="connsiteX39" fmla="*/ 2352713 w 5229330"/>
              <a:gd name="connsiteY39" fmla="*/ 2324072 h 4056099"/>
              <a:gd name="connsiteX40" fmla="*/ 2191364 w 5229330"/>
              <a:gd name="connsiteY40" fmla="*/ 2461771 h 4056099"/>
              <a:gd name="connsiteX41" fmla="*/ 2039704 w 5229330"/>
              <a:gd name="connsiteY41" fmla="*/ 2387528 h 4056099"/>
              <a:gd name="connsiteX42" fmla="*/ 1988083 w 5229330"/>
              <a:gd name="connsiteY42" fmla="*/ 2476810 h 4056099"/>
              <a:gd name="connsiteX43" fmla="*/ 2128996 w 5229330"/>
              <a:gd name="connsiteY43" fmla="*/ 2570421 h 4056099"/>
              <a:gd name="connsiteX44" fmla="*/ 2090267 w 5229330"/>
              <a:gd name="connsiteY44" fmla="*/ 2779111 h 4056099"/>
              <a:gd name="connsiteX45" fmla="*/ 2128996 w 5229330"/>
              <a:gd name="connsiteY45" fmla="*/ 2987800 h 4056099"/>
              <a:gd name="connsiteX46" fmla="*/ 1989161 w 5229330"/>
              <a:gd name="connsiteY46" fmla="*/ 3081401 h 4056099"/>
              <a:gd name="connsiteX47" fmla="*/ 2040782 w 5229330"/>
              <a:gd name="connsiteY47" fmla="*/ 3170693 h 4056099"/>
              <a:gd name="connsiteX48" fmla="*/ 2192442 w 5229330"/>
              <a:gd name="connsiteY48" fmla="*/ 3096440 h 4056099"/>
              <a:gd name="connsiteX49" fmla="*/ 2353791 w 5229330"/>
              <a:gd name="connsiteY49" fmla="*/ 3234149 h 4056099"/>
              <a:gd name="connsiteX50" fmla="*/ 2553868 w 5229330"/>
              <a:gd name="connsiteY50" fmla="*/ 3304061 h 4056099"/>
              <a:gd name="connsiteX51" fmla="*/ 2564626 w 5229330"/>
              <a:gd name="connsiteY51" fmla="*/ 3472944 h 4056099"/>
              <a:gd name="connsiteX52" fmla="*/ 2667917 w 5229330"/>
              <a:gd name="connsiteY52" fmla="*/ 3472944 h 4056099"/>
              <a:gd name="connsiteX53" fmla="*/ 2678674 w 5229330"/>
              <a:gd name="connsiteY53" fmla="*/ 3304061 h 4056099"/>
              <a:gd name="connsiteX54" fmla="*/ 2877674 w 5229330"/>
              <a:gd name="connsiteY54" fmla="*/ 3234149 h 4056099"/>
              <a:gd name="connsiteX55" fmla="*/ 3039023 w 5229330"/>
              <a:gd name="connsiteY55" fmla="*/ 3096440 h 4056099"/>
              <a:gd name="connsiteX56" fmla="*/ 3190683 w 5229330"/>
              <a:gd name="connsiteY56" fmla="*/ 3170693 h 4056099"/>
              <a:gd name="connsiteX57" fmla="*/ 3242304 w 5229330"/>
              <a:gd name="connsiteY57" fmla="*/ 3081401 h 4056099"/>
              <a:gd name="connsiteX58" fmla="*/ 3101391 w 5229330"/>
              <a:gd name="connsiteY58" fmla="*/ 2986722 h 4056099"/>
              <a:gd name="connsiteX59" fmla="*/ 3140120 w 5229330"/>
              <a:gd name="connsiteY59" fmla="*/ 2778033 h 4056099"/>
              <a:gd name="connsiteX60" fmla="*/ 3101391 w 5229330"/>
              <a:gd name="connsiteY60" fmla="*/ 2569344 h 4056099"/>
              <a:gd name="connsiteX61" fmla="*/ 3242304 w 5229330"/>
              <a:gd name="connsiteY61" fmla="*/ 2475732 h 4056099"/>
              <a:gd name="connsiteX62" fmla="*/ 3190683 w 5229330"/>
              <a:gd name="connsiteY62" fmla="*/ 2386451 h 4056099"/>
              <a:gd name="connsiteX63" fmla="*/ 3039023 w 5229330"/>
              <a:gd name="connsiteY63" fmla="*/ 2460694 h 4056099"/>
              <a:gd name="connsiteX64" fmla="*/ 2877674 w 5229330"/>
              <a:gd name="connsiteY64" fmla="*/ 2322995 h 4056099"/>
              <a:gd name="connsiteX65" fmla="*/ 2678674 w 5229330"/>
              <a:gd name="connsiteY65" fmla="*/ 2253082 h 4056099"/>
              <a:gd name="connsiteX66" fmla="*/ 2614131 w 5229330"/>
              <a:gd name="connsiteY66" fmla="*/ 2349898 h 4056099"/>
              <a:gd name="connsiteX67" fmla="*/ 3044441 w 5229330"/>
              <a:gd name="connsiteY67" fmla="*/ 2780208 h 4056099"/>
              <a:gd name="connsiteX68" fmla="*/ 2614131 w 5229330"/>
              <a:gd name="connsiteY68" fmla="*/ 3210518 h 4056099"/>
              <a:gd name="connsiteX69" fmla="*/ 2183830 w 5229330"/>
              <a:gd name="connsiteY69" fmla="*/ 2780208 h 4056099"/>
              <a:gd name="connsiteX70" fmla="*/ 2614131 w 5229330"/>
              <a:gd name="connsiteY70" fmla="*/ 2349898 h 4056099"/>
              <a:gd name="connsiteX71" fmla="*/ 2797024 w 5229330"/>
              <a:gd name="connsiteY71" fmla="*/ 2597315 h 4056099"/>
              <a:gd name="connsiteX72" fmla="*/ 2357034 w 5229330"/>
              <a:gd name="connsiteY72" fmla="*/ 2780208 h 4056099"/>
              <a:gd name="connsiteX73" fmla="*/ 2797024 w 5229330"/>
              <a:gd name="connsiteY73" fmla="*/ 2963101 h 4056099"/>
              <a:gd name="connsiteX74" fmla="*/ 2797024 w 5229330"/>
              <a:gd name="connsiteY74" fmla="*/ 2597315 h 4056099"/>
              <a:gd name="connsiteX75" fmla="*/ 3644712 w 5229330"/>
              <a:gd name="connsiteY75" fmla="*/ 3566585 h 4056099"/>
              <a:gd name="connsiteX76" fmla="*/ 4068556 w 5229330"/>
              <a:gd name="connsiteY76" fmla="*/ 3317023 h 4056099"/>
              <a:gd name="connsiteX77" fmla="*/ 4035216 w 5229330"/>
              <a:gd name="connsiteY77" fmla="*/ 2501606 h 4056099"/>
              <a:gd name="connsiteX78" fmla="*/ 4819448 w 5229330"/>
              <a:gd name="connsiteY78" fmla="*/ 2501606 h 4056099"/>
              <a:gd name="connsiteX79" fmla="*/ 4786118 w 5229330"/>
              <a:gd name="connsiteY79" fmla="*/ 3317023 h 4056099"/>
              <a:gd name="connsiteX80" fmla="*/ 5209962 w 5229330"/>
              <a:gd name="connsiteY80" fmla="*/ 3566585 h 4056099"/>
              <a:gd name="connsiteX81" fmla="*/ 5229331 w 5229330"/>
              <a:gd name="connsiteY81" fmla="*/ 3590236 h 4056099"/>
              <a:gd name="connsiteX82" fmla="*/ 5229331 w 5229330"/>
              <a:gd name="connsiteY82" fmla="*/ 4056060 h 4056099"/>
              <a:gd name="connsiteX83" fmla="*/ 3625333 w 5229330"/>
              <a:gd name="connsiteY83" fmla="*/ 4056060 h 4056099"/>
              <a:gd name="connsiteX84" fmla="*/ 3625333 w 5229330"/>
              <a:gd name="connsiteY84" fmla="*/ 3590236 h 4056099"/>
              <a:gd name="connsiteX85" fmla="*/ 3962080 w 5229330"/>
              <a:gd name="connsiteY85" fmla="*/ 3530003 h 4056099"/>
              <a:gd name="connsiteX86" fmla="*/ 3797488 w 5229330"/>
              <a:gd name="connsiteY86" fmla="*/ 3652663 h 4056099"/>
              <a:gd name="connsiteX87" fmla="*/ 3797488 w 5229330"/>
              <a:gd name="connsiteY87" fmla="*/ 3885042 h 4056099"/>
              <a:gd name="connsiteX88" fmla="*/ 5056127 w 5229330"/>
              <a:gd name="connsiteY88" fmla="*/ 3885042 h 4056099"/>
              <a:gd name="connsiteX89" fmla="*/ 5056127 w 5229330"/>
              <a:gd name="connsiteY89" fmla="*/ 3652663 h 4056099"/>
              <a:gd name="connsiteX90" fmla="*/ 4891516 w 5229330"/>
              <a:gd name="connsiteY90" fmla="*/ 3530003 h 4056099"/>
              <a:gd name="connsiteX91" fmla="*/ 4665613 w 5229330"/>
              <a:gd name="connsiteY91" fmla="*/ 3479440 h 4056099"/>
              <a:gd name="connsiteX92" fmla="*/ 4187953 w 5229330"/>
              <a:gd name="connsiteY92" fmla="*/ 3479440 h 4056099"/>
              <a:gd name="connsiteX93" fmla="*/ 3962080 w 5229330"/>
              <a:gd name="connsiteY93" fmla="*/ 3530003 h 4056099"/>
              <a:gd name="connsiteX94" fmla="*/ 4426808 w 5229330"/>
              <a:gd name="connsiteY94" fmla="*/ 2511296 h 4056099"/>
              <a:gd name="connsiteX95" fmla="*/ 4044915 w 5229330"/>
              <a:gd name="connsiteY95" fmla="*/ 2894266 h 4056099"/>
              <a:gd name="connsiteX96" fmla="*/ 4426808 w 5229330"/>
              <a:gd name="connsiteY96" fmla="*/ 3276159 h 4056099"/>
              <a:gd name="connsiteX97" fmla="*/ 4809768 w 5229330"/>
              <a:gd name="connsiteY97" fmla="*/ 2894266 h 4056099"/>
              <a:gd name="connsiteX98" fmla="*/ 4426808 w 5229330"/>
              <a:gd name="connsiteY98" fmla="*/ 2511296 h 4056099"/>
              <a:gd name="connsiteX99" fmla="*/ 3243411 w 5229330"/>
              <a:gd name="connsiteY99" fmla="*/ 1313987 h 4056099"/>
              <a:gd name="connsiteX100" fmla="*/ 2852897 w 5229330"/>
              <a:gd name="connsiteY100" fmla="*/ 1140773 h 4056099"/>
              <a:gd name="connsiteX101" fmla="*/ 2375257 w 5229330"/>
              <a:gd name="connsiteY101" fmla="*/ 1140773 h 4056099"/>
              <a:gd name="connsiteX102" fmla="*/ 2149344 w 5229330"/>
              <a:gd name="connsiteY102" fmla="*/ 1191327 h 4056099"/>
              <a:gd name="connsiteX103" fmla="*/ 1984733 w 5229330"/>
              <a:gd name="connsiteY103" fmla="*/ 1313987 h 4056099"/>
              <a:gd name="connsiteX104" fmla="*/ 1984733 w 5229330"/>
              <a:gd name="connsiteY104" fmla="*/ 1545288 h 4056099"/>
              <a:gd name="connsiteX105" fmla="*/ 3243372 w 5229330"/>
              <a:gd name="connsiteY105" fmla="*/ 1545288 h 4056099"/>
              <a:gd name="connsiteX106" fmla="*/ 3153052 w 5229330"/>
              <a:gd name="connsiteY106" fmla="*/ 1036454 h 4056099"/>
              <a:gd name="connsiteX107" fmla="*/ 3396178 w 5229330"/>
              <a:gd name="connsiteY107" fmla="*/ 1227958 h 4056099"/>
              <a:gd name="connsiteX108" fmla="*/ 3415537 w 5229330"/>
              <a:gd name="connsiteY108" fmla="*/ 1251609 h 4056099"/>
              <a:gd name="connsiteX109" fmla="*/ 3415537 w 5229330"/>
              <a:gd name="connsiteY109" fmla="*/ 1717433 h 4056099"/>
              <a:gd name="connsiteX110" fmla="*/ 1812626 w 5229330"/>
              <a:gd name="connsiteY110" fmla="*/ 1717433 h 4056099"/>
              <a:gd name="connsiteX111" fmla="*/ 1812626 w 5229330"/>
              <a:gd name="connsiteY111" fmla="*/ 1251609 h 4056099"/>
              <a:gd name="connsiteX112" fmla="*/ 1831995 w 5229330"/>
              <a:gd name="connsiteY112" fmla="*/ 1227958 h 4056099"/>
              <a:gd name="connsiteX113" fmla="*/ 2255839 w 5229330"/>
              <a:gd name="connsiteY113" fmla="*/ 978396 h 4056099"/>
              <a:gd name="connsiteX114" fmla="*/ 2222509 w 5229330"/>
              <a:gd name="connsiteY114" fmla="*/ 162975 h 4056099"/>
              <a:gd name="connsiteX115" fmla="*/ 3006741 w 5229330"/>
              <a:gd name="connsiteY115" fmla="*/ 162975 h 4056099"/>
              <a:gd name="connsiteX116" fmla="*/ 2973402 w 5229330"/>
              <a:gd name="connsiteY116" fmla="*/ 978396 h 4056099"/>
              <a:gd name="connsiteX117" fmla="*/ 3153042 w 5229330"/>
              <a:gd name="connsiteY117" fmla="*/ 1036444 h 4056099"/>
              <a:gd name="connsiteX118" fmla="*/ 2885198 w 5229330"/>
              <a:gd name="connsiteY118" fmla="*/ 284484 h 4056099"/>
              <a:gd name="connsiteX119" fmla="*/ 2344102 w 5229330"/>
              <a:gd name="connsiteY119" fmla="*/ 284484 h 4056099"/>
              <a:gd name="connsiteX120" fmla="*/ 2344102 w 5229330"/>
              <a:gd name="connsiteY120" fmla="*/ 825580 h 4056099"/>
              <a:gd name="connsiteX121" fmla="*/ 2885198 w 5229330"/>
              <a:gd name="connsiteY121" fmla="*/ 825580 h 4056099"/>
              <a:gd name="connsiteX122" fmla="*/ 2885198 w 5229330"/>
              <a:gd name="connsiteY122" fmla="*/ 284484 h 4056099"/>
              <a:gd name="connsiteX123" fmla="*/ 19336 w 5229330"/>
              <a:gd name="connsiteY123" fmla="*/ 3566625 h 4056099"/>
              <a:gd name="connsiteX124" fmla="*/ 443182 w 5229330"/>
              <a:gd name="connsiteY124" fmla="*/ 3317062 h 4056099"/>
              <a:gd name="connsiteX125" fmla="*/ 408735 w 5229330"/>
              <a:gd name="connsiteY125" fmla="*/ 2501646 h 4056099"/>
              <a:gd name="connsiteX126" fmla="*/ 1192967 w 5229330"/>
              <a:gd name="connsiteY126" fmla="*/ 2501646 h 4056099"/>
              <a:gd name="connsiteX127" fmla="*/ 1158530 w 5229330"/>
              <a:gd name="connsiteY127" fmla="*/ 3317062 h 4056099"/>
              <a:gd name="connsiteX128" fmla="*/ 1582374 w 5229330"/>
              <a:gd name="connsiteY128" fmla="*/ 3566625 h 4056099"/>
              <a:gd name="connsiteX129" fmla="*/ 1601733 w 5229330"/>
              <a:gd name="connsiteY129" fmla="*/ 3590275 h 4056099"/>
              <a:gd name="connsiteX130" fmla="*/ 1601733 w 5229330"/>
              <a:gd name="connsiteY130" fmla="*/ 4056100 h 4056099"/>
              <a:gd name="connsiteX131" fmla="*/ 0 w 5229330"/>
              <a:gd name="connsiteY131" fmla="*/ 4056100 h 4056099"/>
              <a:gd name="connsiteX132" fmla="*/ 0 w 5229330"/>
              <a:gd name="connsiteY132" fmla="*/ 3590275 h 4056099"/>
              <a:gd name="connsiteX133" fmla="*/ 336716 w 5229330"/>
              <a:gd name="connsiteY133" fmla="*/ 3530032 h 4056099"/>
              <a:gd name="connsiteX134" fmla="*/ 172114 w 5229330"/>
              <a:gd name="connsiteY134" fmla="*/ 3652692 h 4056099"/>
              <a:gd name="connsiteX135" fmla="*/ 172114 w 5229330"/>
              <a:gd name="connsiteY135" fmla="*/ 3885071 h 4056099"/>
              <a:gd name="connsiteX136" fmla="*/ 1430753 w 5229330"/>
              <a:gd name="connsiteY136" fmla="*/ 3885071 h 4056099"/>
              <a:gd name="connsiteX137" fmla="*/ 1430753 w 5229330"/>
              <a:gd name="connsiteY137" fmla="*/ 3652692 h 4056099"/>
              <a:gd name="connsiteX138" fmla="*/ 1266151 w 5229330"/>
              <a:gd name="connsiteY138" fmla="*/ 3530032 h 4056099"/>
              <a:gd name="connsiteX139" fmla="*/ 1040239 w 5229330"/>
              <a:gd name="connsiteY139" fmla="*/ 3479479 h 4056099"/>
              <a:gd name="connsiteX140" fmla="*/ 562628 w 5229330"/>
              <a:gd name="connsiteY140" fmla="*/ 3479479 h 4056099"/>
              <a:gd name="connsiteX141" fmla="*/ 336716 w 5229330"/>
              <a:gd name="connsiteY141" fmla="*/ 3530032 h 4056099"/>
              <a:gd name="connsiteX142" fmla="*/ 801434 w 5229330"/>
              <a:gd name="connsiteY142" fmla="*/ 2511325 h 4056099"/>
              <a:gd name="connsiteX143" fmla="*/ 419541 w 5229330"/>
              <a:gd name="connsiteY143" fmla="*/ 2894296 h 4056099"/>
              <a:gd name="connsiteX144" fmla="*/ 801434 w 5229330"/>
              <a:gd name="connsiteY144" fmla="*/ 3276188 h 4056099"/>
              <a:gd name="connsiteX145" fmla="*/ 1184404 w 5229330"/>
              <a:gd name="connsiteY145" fmla="*/ 2894296 h 4056099"/>
              <a:gd name="connsiteX146" fmla="*/ 801434 w 5229330"/>
              <a:gd name="connsiteY146" fmla="*/ 2511325 h 4056099"/>
              <a:gd name="connsiteX147" fmla="*/ 1598559 w 5229330"/>
              <a:gd name="connsiteY147" fmla="*/ 1545307 h 4056099"/>
              <a:gd name="connsiteX148" fmla="*/ 1684627 w 5229330"/>
              <a:gd name="connsiteY148" fmla="*/ 1545307 h 4056099"/>
              <a:gd name="connsiteX149" fmla="*/ 1684627 w 5229330"/>
              <a:gd name="connsiteY149" fmla="*/ 1717443 h 4056099"/>
              <a:gd name="connsiteX150" fmla="*/ 1016579 w 5229330"/>
              <a:gd name="connsiteY150" fmla="*/ 1717443 h 4056099"/>
              <a:gd name="connsiteX151" fmla="*/ 887492 w 5229330"/>
              <a:gd name="connsiteY151" fmla="*/ 1846530 h 4056099"/>
              <a:gd name="connsiteX152" fmla="*/ 887492 w 5229330"/>
              <a:gd name="connsiteY152" fmla="*/ 2189695 h 4056099"/>
              <a:gd name="connsiteX153" fmla="*/ 715356 w 5229330"/>
              <a:gd name="connsiteY153" fmla="*/ 2189695 h 4056099"/>
              <a:gd name="connsiteX154" fmla="*/ 715356 w 5229330"/>
              <a:gd name="connsiteY154" fmla="*/ 1846530 h 4056099"/>
              <a:gd name="connsiteX155" fmla="*/ 1016579 w 5229330"/>
              <a:gd name="connsiteY155" fmla="*/ 1545307 h 4056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5229330" h="4056099">
                <a:moveTo>
                  <a:pt x="4512846" y="2102481"/>
                </a:moveTo>
                <a:lnTo>
                  <a:pt x="4512846" y="2188548"/>
                </a:lnTo>
                <a:lnTo>
                  <a:pt x="4340710" y="2188548"/>
                </a:lnTo>
                <a:lnTo>
                  <a:pt x="4340710" y="1845384"/>
                </a:lnTo>
                <a:cubicBezTo>
                  <a:pt x="4340710" y="1774394"/>
                  <a:pt x="4282613" y="1716297"/>
                  <a:pt x="4211624" y="1716297"/>
                </a:cubicBezTo>
                <a:lnTo>
                  <a:pt x="3543576" y="1716297"/>
                </a:lnTo>
                <a:lnTo>
                  <a:pt x="3543576" y="1544161"/>
                </a:lnTo>
                <a:lnTo>
                  <a:pt x="4211624" y="1544161"/>
                </a:lnTo>
                <a:cubicBezTo>
                  <a:pt x="4377293" y="1544161"/>
                  <a:pt x="4511778" y="1679714"/>
                  <a:pt x="4511778" y="1845384"/>
                </a:cubicBezTo>
                <a:lnTo>
                  <a:pt x="4511778" y="2102481"/>
                </a:lnTo>
                <a:close/>
                <a:moveTo>
                  <a:pt x="2481800" y="1913122"/>
                </a:moveTo>
                <a:lnTo>
                  <a:pt x="2826043" y="1913122"/>
                </a:lnTo>
                <a:lnTo>
                  <a:pt x="2840014" y="2119665"/>
                </a:lnTo>
                <a:cubicBezTo>
                  <a:pt x="2926082" y="2148714"/>
                  <a:pt x="3004615" y="2193907"/>
                  <a:pt x="3072392" y="2253072"/>
                </a:cubicBezTo>
                <a:lnTo>
                  <a:pt x="3257431" y="2161646"/>
                </a:lnTo>
                <a:lnTo>
                  <a:pt x="3469372" y="2529577"/>
                </a:lnTo>
                <a:lnTo>
                  <a:pt x="3297236" y="2644694"/>
                </a:lnTo>
                <a:cubicBezTo>
                  <a:pt x="3314460" y="2732907"/>
                  <a:pt x="3314460" y="2823266"/>
                  <a:pt x="3297236" y="2912548"/>
                </a:cubicBezTo>
                <a:lnTo>
                  <a:pt x="3469372" y="3027664"/>
                </a:lnTo>
                <a:lnTo>
                  <a:pt x="3257431" y="3395596"/>
                </a:lnTo>
                <a:lnTo>
                  <a:pt x="3072392" y="3304169"/>
                </a:lnTo>
                <a:cubicBezTo>
                  <a:pt x="3004615" y="3363334"/>
                  <a:pt x="2926082" y="3409606"/>
                  <a:pt x="2840014" y="3438654"/>
                </a:cubicBezTo>
                <a:lnTo>
                  <a:pt x="2827111" y="3645197"/>
                </a:lnTo>
                <a:lnTo>
                  <a:pt x="2402199" y="3645197"/>
                </a:lnTo>
                <a:lnTo>
                  <a:pt x="2388238" y="3438654"/>
                </a:lnTo>
                <a:cubicBezTo>
                  <a:pt x="2303238" y="3409606"/>
                  <a:pt x="2223636" y="3363334"/>
                  <a:pt x="2156937" y="3304169"/>
                </a:cubicBezTo>
                <a:lnTo>
                  <a:pt x="1970830" y="3395596"/>
                </a:lnTo>
                <a:lnTo>
                  <a:pt x="1757860" y="3028703"/>
                </a:lnTo>
                <a:lnTo>
                  <a:pt x="1929996" y="2913586"/>
                </a:lnTo>
                <a:cubicBezTo>
                  <a:pt x="1912773" y="2824305"/>
                  <a:pt x="1912773" y="2733946"/>
                  <a:pt x="1929996" y="2645732"/>
                </a:cubicBezTo>
                <a:lnTo>
                  <a:pt x="1757860" y="2530616"/>
                </a:lnTo>
                <a:lnTo>
                  <a:pt x="1970870" y="2162684"/>
                </a:lnTo>
                <a:lnTo>
                  <a:pt x="2155909" y="2254111"/>
                </a:lnTo>
                <a:cubicBezTo>
                  <a:pt x="2223685" y="2194946"/>
                  <a:pt x="2302219" y="2149752"/>
                  <a:pt x="2387209" y="2120703"/>
                </a:cubicBezTo>
                <a:lnTo>
                  <a:pt x="2401170" y="1914160"/>
                </a:lnTo>
                <a:lnTo>
                  <a:pt x="2481810" y="1914199"/>
                </a:lnTo>
                <a:close/>
                <a:moveTo>
                  <a:pt x="2665761" y="2086335"/>
                </a:moveTo>
                <a:lnTo>
                  <a:pt x="2562470" y="2086335"/>
                </a:lnTo>
                <a:lnTo>
                  <a:pt x="2551713" y="2254150"/>
                </a:lnTo>
                <a:cubicBezTo>
                  <a:pt x="2474257" y="2272442"/>
                  <a:pt x="2424771" y="2282131"/>
                  <a:pt x="2352713" y="2324072"/>
                </a:cubicBezTo>
                <a:cubicBezTo>
                  <a:pt x="2279578" y="2366014"/>
                  <a:pt x="2246209" y="2404742"/>
                  <a:pt x="2191364" y="2461771"/>
                </a:cubicBezTo>
                <a:lnTo>
                  <a:pt x="2039704" y="2387528"/>
                </a:lnTo>
                <a:lnTo>
                  <a:pt x="1988083" y="2476810"/>
                </a:lnTo>
                <a:lnTo>
                  <a:pt x="2128996" y="2570421"/>
                </a:lnTo>
                <a:cubicBezTo>
                  <a:pt x="2106413" y="2646800"/>
                  <a:pt x="2090267" y="2694150"/>
                  <a:pt x="2090267" y="2779111"/>
                </a:cubicBezTo>
                <a:cubicBezTo>
                  <a:pt x="2090267" y="2864101"/>
                  <a:pt x="2106413" y="2911450"/>
                  <a:pt x="2128996" y="2987800"/>
                </a:cubicBezTo>
                <a:lnTo>
                  <a:pt x="1989161" y="3081401"/>
                </a:lnTo>
                <a:lnTo>
                  <a:pt x="2040782" y="3170693"/>
                </a:lnTo>
                <a:lnTo>
                  <a:pt x="2192442" y="3096440"/>
                </a:lnTo>
                <a:cubicBezTo>
                  <a:pt x="2247326" y="3153469"/>
                  <a:pt x="2280656" y="3192197"/>
                  <a:pt x="2353791" y="3234149"/>
                </a:cubicBezTo>
                <a:cubicBezTo>
                  <a:pt x="2426927" y="3276090"/>
                  <a:pt x="2476451" y="3285770"/>
                  <a:pt x="2553868" y="3304061"/>
                </a:cubicBezTo>
                <a:lnTo>
                  <a:pt x="2564626" y="3472944"/>
                </a:lnTo>
                <a:lnTo>
                  <a:pt x="2667917" y="3472944"/>
                </a:lnTo>
                <a:lnTo>
                  <a:pt x="2678674" y="3304061"/>
                </a:lnTo>
                <a:cubicBezTo>
                  <a:pt x="2756130" y="3285770"/>
                  <a:pt x="2805616" y="3276090"/>
                  <a:pt x="2877674" y="3234149"/>
                </a:cubicBezTo>
                <a:cubicBezTo>
                  <a:pt x="2950809" y="3192197"/>
                  <a:pt x="2984179" y="3153469"/>
                  <a:pt x="3039023" y="3096440"/>
                </a:cubicBezTo>
                <a:lnTo>
                  <a:pt x="3190683" y="3170693"/>
                </a:lnTo>
                <a:lnTo>
                  <a:pt x="3242304" y="3081401"/>
                </a:lnTo>
                <a:lnTo>
                  <a:pt x="3101391" y="2986722"/>
                </a:lnTo>
                <a:cubicBezTo>
                  <a:pt x="3123974" y="2910333"/>
                  <a:pt x="3140120" y="2862994"/>
                  <a:pt x="3140120" y="2778033"/>
                </a:cubicBezTo>
                <a:cubicBezTo>
                  <a:pt x="3140120" y="2693033"/>
                  <a:pt x="3123974" y="2645693"/>
                  <a:pt x="3101391" y="2569344"/>
                </a:cubicBezTo>
                <a:lnTo>
                  <a:pt x="3242304" y="2475732"/>
                </a:lnTo>
                <a:lnTo>
                  <a:pt x="3190683" y="2386451"/>
                </a:lnTo>
                <a:lnTo>
                  <a:pt x="3039023" y="2460694"/>
                </a:lnTo>
                <a:cubicBezTo>
                  <a:pt x="2984139" y="2403674"/>
                  <a:pt x="2950809" y="2364946"/>
                  <a:pt x="2877674" y="2322995"/>
                </a:cubicBezTo>
                <a:cubicBezTo>
                  <a:pt x="2805606" y="2281053"/>
                  <a:pt x="2755014" y="2271374"/>
                  <a:pt x="2678674" y="2253082"/>
                </a:cubicBezTo>
                <a:close/>
                <a:moveTo>
                  <a:pt x="2614131" y="2349898"/>
                </a:moveTo>
                <a:cubicBezTo>
                  <a:pt x="2851868" y="2349898"/>
                  <a:pt x="3044441" y="2542470"/>
                  <a:pt x="3044441" y="2780208"/>
                </a:cubicBezTo>
                <a:cubicBezTo>
                  <a:pt x="3044441" y="3017945"/>
                  <a:pt x="2851868" y="3210518"/>
                  <a:pt x="2614131" y="3210518"/>
                </a:cubicBezTo>
                <a:cubicBezTo>
                  <a:pt x="2376403" y="3210518"/>
                  <a:pt x="2183830" y="3017945"/>
                  <a:pt x="2183830" y="2780208"/>
                </a:cubicBezTo>
                <a:cubicBezTo>
                  <a:pt x="2183830" y="2542431"/>
                  <a:pt x="2376403" y="2349898"/>
                  <a:pt x="2614131" y="2349898"/>
                </a:cubicBezTo>
                <a:close/>
                <a:moveTo>
                  <a:pt x="2797024" y="2597315"/>
                </a:moveTo>
                <a:cubicBezTo>
                  <a:pt x="2634567" y="2434859"/>
                  <a:pt x="2357034" y="2551043"/>
                  <a:pt x="2357034" y="2780208"/>
                </a:cubicBezTo>
                <a:cubicBezTo>
                  <a:pt x="2357034" y="3009334"/>
                  <a:pt x="2635655" y="3124450"/>
                  <a:pt x="2797024" y="2963101"/>
                </a:cubicBezTo>
                <a:cubicBezTo>
                  <a:pt x="2897062" y="2860877"/>
                  <a:pt x="2897062" y="2698421"/>
                  <a:pt x="2797024" y="2597315"/>
                </a:cubicBezTo>
                <a:close/>
                <a:moveTo>
                  <a:pt x="3644712" y="3566585"/>
                </a:moveTo>
                <a:cubicBezTo>
                  <a:pt x="3751216" y="3435353"/>
                  <a:pt x="3901808" y="3346032"/>
                  <a:pt x="4068556" y="3317023"/>
                </a:cubicBezTo>
                <a:cubicBezTo>
                  <a:pt x="3821138" y="3107266"/>
                  <a:pt x="3804983" y="2730722"/>
                  <a:pt x="4035216" y="2501606"/>
                </a:cubicBezTo>
                <a:cubicBezTo>
                  <a:pt x="4251439" y="2284306"/>
                  <a:pt x="4603225" y="2284306"/>
                  <a:pt x="4819448" y="2501606"/>
                </a:cubicBezTo>
                <a:cubicBezTo>
                  <a:pt x="5048574" y="2730732"/>
                  <a:pt x="5033535" y="3107266"/>
                  <a:pt x="4786118" y="3317023"/>
                </a:cubicBezTo>
                <a:cubicBezTo>
                  <a:pt x="4952866" y="3346071"/>
                  <a:pt x="5103457" y="3435353"/>
                  <a:pt x="5209962" y="3566585"/>
                </a:cubicBezTo>
                <a:lnTo>
                  <a:pt x="5229331" y="3590236"/>
                </a:lnTo>
                <a:lnTo>
                  <a:pt x="5229331" y="4056060"/>
                </a:lnTo>
                <a:lnTo>
                  <a:pt x="3625333" y="4056060"/>
                </a:lnTo>
                <a:lnTo>
                  <a:pt x="3625333" y="3590236"/>
                </a:lnTo>
                <a:close/>
                <a:moveTo>
                  <a:pt x="3962080" y="3530003"/>
                </a:moveTo>
                <a:cubicBezTo>
                  <a:pt x="3899702" y="3560119"/>
                  <a:pt x="3843750" y="3602061"/>
                  <a:pt x="3797488" y="3652663"/>
                </a:cubicBezTo>
                <a:lnTo>
                  <a:pt x="3797488" y="3885042"/>
                </a:lnTo>
                <a:lnTo>
                  <a:pt x="5056127" y="3885042"/>
                </a:lnTo>
                <a:lnTo>
                  <a:pt x="5056127" y="3652663"/>
                </a:lnTo>
                <a:cubicBezTo>
                  <a:pt x="5009856" y="3602100"/>
                  <a:pt x="4953943" y="3560158"/>
                  <a:pt x="4891516" y="3530003"/>
                </a:cubicBezTo>
                <a:cubicBezTo>
                  <a:pt x="4823749" y="3497741"/>
                  <a:pt x="4747361" y="3479440"/>
                  <a:pt x="4665613" y="3479440"/>
                </a:cubicBezTo>
                <a:lnTo>
                  <a:pt x="4187953" y="3479440"/>
                </a:lnTo>
                <a:cubicBezTo>
                  <a:pt x="4106216" y="3478372"/>
                  <a:pt x="4029857" y="3496663"/>
                  <a:pt x="3962080" y="3530003"/>
                </a:cubicBezTo>
                <a:close/>
                <a:moveTo>
                  <a:pt x="4426808" y="2511296"/>
                </a:moveTo>
                <a:cubicBezTo>
                  <a:pt x="4215944" y="2511296"/>
                  <a:pt x="4044915" y="2682325"/>
                  <a:pt x="4044915" y="2894266"/>
                </a:cubicBezTo>
                <a:cubicBezTo>
                  <a:pt x="4044915" y="3105130"/>
                  <a:pt x="4215944" y="3276159"/>
                  <a:pt x="4426808" y="3276159"/>
                </a:cubicBezTo>
                <a:cubicBezTo>
                  <a:pt x="4637672" y="3276159"/>
                  <a:pt x="4809768" y="3105130"/>
                  <a:pt x="4809768" y="2894266"/>
                </a:cubicBezTo>
                <a:cubicBezTo>
                  <a:pt x="4809768" y="2682364"/>
                  <a:pt x="4637681" y="2511296"/>
                  <a:pt x="4426808" y="2511296"/>
                </a:cubicBezTo>
                <a:close/>
                <a:moveTo>
                  <a:pt x="3243411" y="1313987"/>
                </a:moveTo>
                <a:cubicBezTo>
                  <a:pt x="3143372" y="1204269"/>
                  <a:pt x="3004605" y="1140773"/>
                  <a:pt x="2852897" y="1140773"/>
                </a:cubicBezTo>
                <a:lnTo>
                  <a:pt x="2375257" y="1140773"/>
                </a:lnTo>
                <a:cubicBezTo>
                  <a:pt x="2293509" y="1140773"/>
                  <a:pt x="2217121" y="1159065"/>
                  <a:pt x="2149344" y="1191327"/>
                </a:cubicBezTo>
                <a:cubicBezTo>
                  <a:pt x="2086956" y="1220375"/>
                  <a:pt x="2031014" y="1262317"/>
                  <a:pt x="1984733" y="1313987"/>
                </a:cubicBezTo>
                <a:lnTo>
                  <a:pt x="1984733" y="1545288"/>
                </a:lnTo>
                <a:lnTo>
                  <a:pt x="3243372" y="1545288"/>
                </a:lnTo>
                <a:close/>
                <a:moveTo>
                  <a:pt x="3153052" y="1036454"/>
                </a:moveTo>
                <a:cubicBezTo>
                  <a:pt x="3247731" y="1081648"/>
                  <a:pt x="3330547" y="1147249"/>
                  <a:pt x="3396178" y="1227958"/>
                </a:cubicBezTo>
                <a:lnTo>
                  <a:pt x="3415537" y="1251609"/>
                </a:lnTo>
                <a:lnTo>
                  <a:pt x="3415537" y="1717433"/>
                </a:lnTo>
                <a:lnTo>
                  <a:pt x="1812626" y="1717433"/>
                </a:lnTo>
                <a:lnTo>
                  <a:pt x="1812626" y="1251609"/>
                </a:lnTo>
                <a:lnTo>
                  <a:pt x="1831995" y="1227958"/>
                </a:lnTo>
                <a:cubicBezTo>
                  <a:pt x="1938500" y="1097803"/>
                  <a:pt x="2089092" y="1007405"/>
                  <a:pt x="2255839" y="978396"/>
                </a:cubicBezTo>
                <a:cubicBezTo>
                  <a:pt x="2008422" y="768639"/>
                  <a:pt x="1992276" y="392095"/>
                  <a:pt x="2222509" y="162975"/>
                </a:cubicBezTo>
                <a:cubicBezTo>
                  <a:pt x="2438732" y="-54325"/>
                  <a:pt x="2790518" y="-54325"/>
                  <a:pt x="3006741" y="162975"/>
                </a:cubicBezTo>
                <a:cubicBezTo>
                  <a:pt x="3235867" y="392105"/>
                  <a:pt x="3219751" y="768639"/>
                  <a:pt x="2973402" y="978396"/>
                </a:cubicBezTo>
                <a:cubicBezTo>
                  <a:pt x="3035790" y="990182"/>
                  <a:pt x="3096023" y="1009541"/>
                  <a:pt x="3153042" y="1036444"/>
                </a:cubicBezTo>
                <a:close/>
                <a:moveTo>
                  <a:pt x="2885198" y="284484"/>
                </a:moveTo>
                <a:cubicBezTo>
                  <a:pt x="2735674" y="134956"/>
                  <a:pt x="2493616" y="134956"/>
                  <a:pt x="2344102" y="284484"/>
                </a:cubicBezTo>
                <a:cubicBezTo>
                  <a:pt x="2194578" y="434008"/>
                  <a:pt x="2194578" y="676066"/>
                  <a:pt x="2344102" y="825580"/>
                </a:cubicBezTo>
                <a:cubicBezTo>
                  <a:pt x="2493626" y="975104"/>
                  <a:pt x="2735684" y="975104"/>
                  <a:pt x="2885198" y="825580"/>
                </a:cubicBezTo>
                <a:cubicBezTo>
                  <a:pt x="3033644" y="676056"/>
                  <a:pt x="3033644" y="433998"/>
                  <a:pt x="2885198" y="284484"/>
                </a:cubicBezTo>
                <a:close/>
                <a:moveTo>
                  <a:pt x="19336" y="3566625"/>
                </a:moveTo>
                <a:cubicBezTo>
                  <a:pt x="125840" y="3435392"/>
                  <a:pt x="276434" y="3346071"/>
                  <a:pt x="443182" y="3317062"/>
                </a:cubicBezTo>
                <a:cubicBezTo>
                  <a:pt x="195765" y="3107305"/>
                  <a:pt x="179619" y="2730762"/>
                  <a:pt x="408735" y="2501646"/>
                </a:cubicBezTo>
                <a:cubicBezTo>
                  <a:pt x="626035" y="2284345"/>
                  <a:pt x="976744" y="2284345"/>
                  <a:pt x="1192967" y="2501646"/>
                </a:cubicBezTo>
                <a:cubicBezTo>
                  <a:pt x="1422093" y="2730771"/>
                  <a:pt x="1405976" y="3107305"/>
                  <a:pt x="1158530" y="3317062"/>
                </a:cubicBezTo>
                <a:cubicBezTo>
                  <a:pt x="1325277" y="3346101"/>
                  <a:pt x="1475869" y="3435392"/>
                  <a:pt x="1582374" y="3566625"/>
                </a:cubicBezTo>
                <a:lnTo>
                  <a:pt x="1601733" y="3590275"/>
                </a:lnTo>
                <a:lnTo>
                  <a:pt x="1601733" y="4056100"/>
                </a:lnTo>
                <a:lnTo>
                  <a:pt x="0" y="4056100"/>
                </a:lnTo>
                <a:lnTo>
                  <a:pt x="0" y="3590275"/>
                </a:lnTo>
                <a:close/>
                <a:moveTo>
                  <a:pt x="336716" y="3530032"/>
                </a:moveTo>
                <a:cubicBezTo>
                  <a:pt x="274338" y="3560148"/>
                  <a:pt x="218386" y="3602100"/>
                  <a:pt x="172114" y="3652692"/>
                </a:cubicBezTo>
                <a:lnTo>
                  <a:pt x="172114" y="3885071"/>
                </a:lnTo>
                <a:lnTo>
                  <a:pt x="1430753" y="3885071"/>
                </a:lnTo>
                <a:lnTo>
                  <a:pt x="1430753" y="3652692"/>
                </a:lnTo>
                <a:cubicBezTo>
                  <a:pt x="1384481" y="3602139"/>
                  <a:pt x="1328569" y="3560198"/>
                  <a:pt x="1266151" y="3530032"/>
                </a:cubicBezTo>
                <a:cubicBezTo>
                  <a:pt x="1198375" y="3497770"/>
                  <a:pt x="1120919" y="3479479"/>
                  <a:pt x="1040239" y="3479479"/>
                </a:cubicBezTo>
                <a:lnTo>
                  <a:pt x="562628" y="3479479"/>
                </a:lnTo>
                <a:cubicBezTo>
                  <a:pt x="480842" y="3478411"/>
                  <a:pt x="404453" y="3496702"/>
                  <a:pt x="336716" y="3530032"/>
                </a:cubicBezTo>
                <a:close/>
                <a:moveTo>
                  <a:pt x="801434" y="2511325"/>
                </a:moveTo>
                <a:cubicBezTo>
                  <a:pt x="590570" y="2511325"/>
                  <a:pt x="419541" y="2682354"/>
                  <a:pt x="419541" y="2894296"/>
                </a:cubicBezTo>
                <a:cubicBezTo>
                  <a:pt x="419541" y="3105160"/>
                  <a:pt x="590570" y="3276188"/>
                  <a:pt x="801434" y="3276188"/>
                </a:cubicBezTo>
                <a:cubicBezTo>
                  <a:pt x="1012298" y="3276188"/>
                  <a:pt x="1184404" y="3105160"/>
                  <a:pt x="1184404" y="2894296"/>
                </a:cubicBezTo>
                <a:cubicBezTo>
                  <a:pt x="1184404" y="2682393"/>
                  <a:pt x="1012307" y="2511325"/>
                  <a:pt x="801434" y="2511325"/>
                </a:cubicBezTo>
                <a:close/>
                <a:moveTo>
                  <a:pt x="1598559" y="1545307"/>
                </a:moveTo>
                <a:lnTo>
                  <a:pt x="1684627" y="1545307"/>
                </a:lnTo>
                <a:lnTo>
                  <a:pt x="1684627" y="1717443"/>
                </a:lnTo>
                <a:lnTo>
                  <a:pt x="1016579" y="1717443"/>
                </a:lnTo>
                <a:cubicBezTo>
                  <a:pt x="945589" y="1717443"/>
                  <a:pt x="887492" y="1775540"/>
                  <a:pt x="887492" y="1846530"/>
                </a:cubicBezTo>
                <a:lnTo>
                  <a:pt x="887492" y="2189695"/>
                </a:lnTo>
                <a:lnTo>
                  <a:pt x="715356" y="2189695"/>
                </a:lnTo>
                <a:lnTo>
                  <a:pt x="715356" y="1846530"/>
                </a:lnTo>
                <a:cubicBezTo>
                  <a:pt x="715356" y="1680861"/>
                  <a:pt x="850909" y="1545307"/>
                  <a:pt x="1016579" y="1545307"/>
                </a:cubicBezTo>
                <a:close/>
              </a:path>
            </a:pathLst>
          </a:custGeom>
          <a:solidFill>
            <a:srgbClr val="191925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BC84C60C-FD24-4D79-B27D-805FD66B6EAA}"/>
              </a:ext>
            </a:extLst>
          </p:cNvPr>
          <p:cNvGrpSpPr/>
          <p:nvPr/>
        </p:nvGrpSpPr>
        <p:grpSpPr>
          <a:xfrm>
            <a:off x="4292352" y="6513996"/>
            <a:ext cx="376400" cy="363846"/>
            <a:chOff x="-8919005" y="1994432"/>
            <a:chExt cx="5143500" cy="4971975"/>
          </a:xfrm>
          <a:solidFill>
            <a:srgbClr val="5DB0EE"/>
          </a:solidFill>
        </p:grpSpPr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EAB7FFE1-14A1-4783-8AFE-49192F9711B6}"/>
                </a:ext>
              </a:extLst>
            </p:cNvPr>
            <p:cNvSpPr/>
            <p:nvPr/>
          </p:nvSpPr>
          <p:spPr>
            <a:xfrm>
              <a:off x="-8918993" y="1994432"/>
              <a:ext cx="5143488" cy="4629074"/>
            </a:xfrm>
            <a:custGeom>
              <a:avLst/>
              <a:gdLst>
                <a:gd name="connsiteX0" fmla="*/ 85713 w 5143488"/>
                <a:gd name="connsiteY0" fmla="*/ 4629074 h 4629074"/>
                <a:gd name="connsiteX1" fmla="*/ 5057764 w 5143488"/>
                <a:gd name="connsiteY1" fmla="*/ 4629074 h 4629074"/>
                <a:gd name="connsiteX2" fmla="*/ 5143489 w 5143488"/>
                <a:gd name="connsiteY2" fmla="*/ 4543349 h 4629074"/>
                <a:gd name="connsiteX3" fmla="*/ 5057764 w 5143488"/>
                <a:gd name="connsiteY3" fmla="*/ 4457624 h 4629074"/>
                <a:gd name="connsiteX4" fmla="*/ 4371964 w 5143488"/>
                <a:gd name="connsiteY4" fmla="*/ 4457624 h 4629074"/>
                <a:gd name="connsiteX5" fmla="*/ 4371964 w 5143488"/>
                <a:gd name="connsiteY5" fmla="*/ 3771824 h 4629074"/>
                <a:gd name="connsiteX6" fmla="*/ 4286239 w 5143488"/>
                <a:gd name="connsiteY6" fmla="*/ 3686099 h 4629074"/>
                <a:gd name="connsiteX7" fmla="*/ 4200514 w 5143488"/>
                <a:gd name="connsiteY7" fmla="*/ 3771824 h 4629074"/>
                <a:gd name="connsiteX8" fmla="*/ 4200514 w 5143488"/>
                <a:gd name="connsiteY8" fmla="*/ 4457624 h 4629074"/>
                <a:gd name="connsiteX9" fmla="*/ 3623246 w 5143488"/>
                <a:gd name="connsiteY9" fmla="*/ 4457624 h 4629074"/>
                <a:gd name="connsiteX10" fmla="*/ 4011076 w 5143488"/>
                <a:gd name="connsiteY10" fmla="*/ 2828849 h 4629074"/>
                <a:gd name="connsiteX11" fmla="*/ 4114788 w 5143488"/>
                <a:gd name="connsiteY11" fmla="*/ 2828849 h 4629074"/>
                <a:gd name="connsiteX12" fmla="*/ 4599483 w 5143488"/>
                <a:gd name="connsiteY12" fmla="*/ 3029955 h 4629074"/>
                <a:gd name="connsiteX13" fmla="*/ 4800589 w 5143488"/>
                <a:gd name="connsiteY13" fmla="*/ 3514649 h 4629074"/>
                <a:gd name="connsiteX14" fmla="*/ 4800589 w 5143488"/>
                <a:gd name="connsiteY14" fmla="*/ 4200449 h 4629074"/>
                <a:gd name="connsiteX15" fmla="*/ 4886314 w 5143488"/>
                <a:gd name="connsiteY15" fmla="*/ 4286174 h 4629074"/>
                <a:gd name="connsiteX16" fmla="*/ 4972039 w 5143488"/>
                <a:gd name="connsiteY16" fmla="*/ 4200449 h 4629074"/>
                <a:gd name="connsiteX17" fmla="*/ 4972039 w 5143488"/>
                <a:gd name="connsiteY17" fmla="*/ 3514649 h 4629074"/>
                <a:gd name="connsiteX18" fmla="*/ 4720683 w 5143488"/>
                <a:gd name="connsiteY18" fmla="*/ 2908755 h 4629074"/>
                <a:gd name="connsiteX19" fmla="*/ 4114788 w 5143488"/>
                <a:gd name="connsiteY19" fmla="*/ 2657399 h 4629074"/>
                <a:gd name="connsiteX20" fmla="*/ 3686163 w 5143488"/>
                <a:gd name="connsiteY20" fmla="*/ 2657399 h 4629074"/>
                <a:gd name="connsiteX21" fmla="*/ 3686163 w 5143488"/>
                <a:gd name="connsiteY21" fmla="*/ 2503780 h 4629074"/>
                <a:gd name="connsiteX22" fmla="*/ 4110850 w 5143488"/>
                <a:gd name="connsiteY22" fmla="*/ 1792262 h 4629074"/>
                <a:gd name="connsiteX23" fmla="*/ 4359678 w 5143488"/>
                <a:gd name="connsiteY23" fmla="*/ 1644041 h 4629074"/>
                <a:gd name="connsiteX24" fmla="*/ 4457689 w 5143488"/>
                <a:gd name="connsiteY24" fmla="*/ 1371524 h 4629074"/>
                <a:gd name="connsiteX25" fmla="*/ 4420831 w 5143488"/>
                <a:gd name="connsiteY25" fmla="*/ 1239988 h 4629074"/>
                <a:gd name="connsiteX26" fmla="*/ 4321635 w 5143488"/>
                <a:gd name="connsiteY26" fmla="*/ 1146072 h 4629074"/>
                <a:gd name="connsiteX27" fmla="*/ 4239928 w 5143488"/>
                <a:gd name="connsiteY27" fmla="*/ 401373 h 4629074"/>
                <a:gd name="connsiteX28" fmla="*/ 4121715 w 5143488"/>
                <a:gd name="connsiteY28" fmla="*/ 374469 h 4629074"/>
                <a:gd name="connsiteX29" fmla="*/ 4094812 w 5143488"/>
                <a:gd name="connsiteY29" fmla="*/ 492681 h 4629074"/>
                <a:gd name="connsiteX30" fmla="*/ 4149078 w 5143488"/>
                <a:gd name="connsiteY30" fmla="*/ 1114339 h 4629074"/>
                <a:gd name="connsiteX31" fmla="*/ 4044406 w 5143488"/>
                <a:gd name="connsiteY31" fmla="*/ 1114339 h 4629074"/>
                <a:gd name="connsiteX32" fmla="*/ 3238591 w 5143488"/>
                <a:gd name="connsiteY32" fmla="*/ 546683 h 4629074"/>
                <a:gd name="connsiteX33" fmla="*/ 3170011 w 5143488"/>
                <a:gd name="connsiteY33" fmla="*/ 516908 h 4629074"/>
                <a:gd name="connsiteX34" fmla="*/ 3101431 w 5143488"/>
                <a:gd name="connsiteY34" fmla="*/ 551734 h 4629074"/>
                <a:gd name="connsiteX35" fmla="*/ 2849233 w 5143488"/>
                <a:gd name="connsiteY35" fmla="*/ 807042 h 4629074"/>
                <a:gd name="connsiteX36" fmla="*/ 2842502 w 5143488"/>
                <a:gd name="connsiteY36" fmla="*/ 922962 h 4629074"/>
                <a:gd name="connsiteX37" fmla="*/ 2957501 w 5143488"/>
                <a:gd name="connsiteY37" fmla="*/ 939225 h 4629074"/>
                <a:gd name="connsiteX38" fmla="*/ 3171813 w 5143488"/>
                <a:gd name="connsiteY38" fmla="*/ 733142 h 4629074"/>
                <a:gd name="connsiteX39" fmla="*/ 3874758 w 5143488"/>
                <a:gd name="connsiteY39" fmla="*/ 1233061 h 4629074"/>
                <a:gd name="connsiteX40" fmla="*/ 3765883 w 5143488"/>
                <a:gd name="connsiteY40" fmla="*/ 1341937 h 4629074"/>
                <a:gd name="connsiteX41" fmla="*/ 3686163 w 5143488"/>
                <a:gd name="connsiteY41" fmla="*/ 1285789 h 4629074"/>
                <a:gd name="connsiteX42" fmla="*/ 3343263 w 5143488"/>
                <a:gd name="connsiteY42" fmla="*/ 1285789 h 4629074"/>
                <a:gd name="connsiteX43" fmla="*/ 3257538 w 5143488"/>
                <a:gd name="connsiteY43" fmla="*/ 1371514 h 4629074"/>
                <a:gd name="connsiteX44" fmla="*/ 3257538 w 5143488"/>
                <a:gd name="connsiteY44" fmla="*/ 1399221 h 4629074"/>
                <a:gd name="connsiteX45" fmla="*/ 3086088 w 5143488"/>
                <a:gd name="connsiteY45" fmla="*/ 1399221 h 4629074"/>
                <a:gd name="connsiteX46" fmla="*/ 3086088 w 5143488"/>
                <a:gd name="connsiteY46" fmla="*/ 1371514 h 4629074"/>
                <a:gd name="connsiteX47" fmla="*/ 3060988 w 5143488"/>
                <a:gd name="connsiteY47" fmla="*/ 1310899 h 4629074"/>
                <a:gd name="connsiteX48" fmla="*/ 3000363 w 5143488"/>
                <a:gd name="connsiteY48" fmla="*/ 1285789 h 4629074"/>
                <a:gd name="connsiteX49" fmla="*/ 2657463 w 5143488"/>
                <a:gd name="connsiteY49" fmla="*/ 1285789 h 4629074"/>
                <a:gd name="connsiteX50" fmla="*/ 2577754 w 5143488"/>
                <a:gd name="connsiteY50" fmla="*/ 1341937 h 4629074"/>
                <a:gd name="connsiteX51" fmla="*/ 2468114 w 5143488"/>
                <a:gd name="connsiteY51" fmla="*/ 1232366 h 4629074"/>
                <a:gd name="connsiteX52" fmla="*/ 2660648 w 5143488"/>
                <a:gd name="connsiteY52" fmla="*/ 1140478 h 4629074"/>
                <a:gd name="connsiteX53" fmla="*/ 2694359 w 5143488"/>
                <a:gd name="connsiteY53" fmla="*/ 1024019 h 4629074"/>
                <a:gd name="connsiteX54" fmla="*/ 2577901 w 5143488"/>
                <a:gd name="connsiteY54" fmla="*/ 990307 h 4629074"/>
                <a:gd name="connsiteX55" fmla="*/ 2298800 w 5143488"/>
                <a:gd name="connsiteY55" fmla="*/ 1114339 h 4629074"/>
                <a:gd name="connsiteX56" fmla="*/ 2188043 w 5143488"/>
                <a:gd name="connsiteY56" fmla="*/ 1114339 h 4629074"/>
                <a:gd name="connsiteX57" fmla="*/ 2197576 w 5143488"/>
                <a:gd name="connsiteY57" fmla="*/ 575834 h 4629074"/>
                <a:gd name="connsiteX58" fmla="*/ 2593478 w 5143488"/>
                <a:gd name="connsiteY58" fmla="*/ 210666 h 4629074"/>
                <a:gd name="connsiteX59" fmla="*/ 3131018 w 5143488"/>
                <a:gd name="connsiteY59" fmla="*/ 244572 h 4629074"/>
                <a:gd name="connsiteX60" fmla="*/ 3208171 w 5143488"/>
                <a:gd name="connsiteY60" fmla="*/ 244572 h 4629074"/>
                <a:gd name="connsiteX61" fmla="*/ 3879471 w 5143488"/>
                <a:gd name="connsiteY61" fmla="*/ 277140 h 4629074"/>
                <a:gd name="connsiteX62" fmla="*/ 3996694 w 5143488"/>
                <a:gd name="connsiteY62" fmla="*/ 249662 h 4629074"/>
                <a:gd name="connsiteX63" fmla="*/ 3970858 w 5143488"/>
                <a:gd name="connsiteY63" fmla="*/ 132096 h 4629074"/>
                <a:gd name="connsiteX64" fmla="*/ 3169521 w 5143488"/>
                <a:gd name="connsiteY64" fmla="*/ 73199 h 4629074"/>
                <a:gd name="connsiteX65" fmla="*/ 2519539 w 5143488"/>
                <a:gd name="connsiteY65" fmla="*/ 55480 h 4629074"/>
                <a:gd name="connsiteX66" fmla="*/ 2044074 w 5143488"/>
                <a:gd name="connsiteY66" fmla="*/ 498996 h 4629074"/>
                <a:gd name="connsiteX67" fmla="*/ 2016671 w 5143488"/>
                <a:gd name="connsiteY67" fmla="*/ 1148639 h 4629074"/>
                <a:gd name="connsiteX68" fmla="*/ 1921149 w 5143488"/>
                <a:gd name="connsiteY68" fmla="*/ 1242398 h 4629074"/>
                <a:gd name="connsiteX69" fmla="*/ 1885938 w 5143488"/>
                <a:gd name="connsiteY69" fmla="*/ 1371524 h 4629074"/>
                <a:gd name="connsiteX70" fmla="*/ 1922296 w 5143488"/>
                <a:gd name="connsiteY70" fmla="*/ 1542974 h 4629074"/>
                <a:gd name="connsiteX71" fmla="*/ 257173 w 5143488"/>
                <a:gd name="connsiteY71" fmla="*/ 1542974 h 4629074"/>
                <a:gd name="connsiteX72" fmla="*/ 171448 w 5143488"/>
                <a:gd name="connsiteY72" fmla="*/ 1628699 h 4629074"/>
                <a:gd name="connsiteX73" fmla="*/ 171448 w 5143488"/>
                <a:gd name="connsiteY73" fmla="*/ 2057324 h 4629074"/>
                <a:gd name="connsiteX74" fmla="*/ 257173 w 5143488"/>
                <a:gd name="connsiteY74" fmla="*/ 2143049 h 4629074"/>
                <a:gd name="connsiteX75" fmla="*/ 342898 w 5143488"/>
                <a:gd name="connsiteY75" fmla="*/ 2057324 h 4629074"/>
                <a:gd name="connsiteX76" fmla="*/ 342898 w 5143488"/>
                <a:gd name="connsiteY76" fmla="*/ 1714424 h 4629074"/>
                <a:gd name="connsiteX77" fmla="*/ 1885948 w 5143488"/>
                <a:gd name="connsiteY77" fmla="*/ 1714424 h 4629074"/>
                <a:gd name="connsiteX78" fmla="*/ 1885948 w 5143488"/>
                <a:gd name="connsiteY78" fmla="*/ 2571674 h 4629074"/>
                <a:gd name="connsiteX79" fmla="*/ 342898 w 5143488"/>
                <a:gd name="connsiteY79" fmla="*/ 2571674 h 4629074"/>
                <a:gd name="connsiteX80" fmla="*/ 342898 w 5143488"/>
                <a:gd name="connsiteY80" fmla="*/ 2400224 h 4629074"/>
                <a:gd name="connsiteX81" fmla="*/ 257173 w 5143488"/>
                <a:gd name="connsiteY81" fmla="*/ 2314499 h 4629074"/>
                <a:gd name="connsiteX82" fmla="*/ 171448 w 5143488"/>
                <a:gd name="connsiteY82" fmla="*/ 2400224 h 4629074"/>
                <a:gd name="connsiteX83" fmla="*/ 171448 w 5143488"/>
                <a:gd name="connsiteY83" fmla="*/ 4457624 h 4629074"/>
                <a:gd name="connsiteX84" fmla="*/ 85725 w 5143488"/>
                <a:gd name="connsiteY84" fmla="*/ 4457624 h 4629074"/>
                <a:gd name="connsiteX85" fmla="*/ 0 w 5143488"/>
                <a:gd name="connsiteY85" fmla="*/ 4543349 h 4629074"/>
                <a:gd name="connsiteX86" fmla="*/ 85725 w 5143488"/>
                <a:gd name="connsiteY86" fmla="*/ 4629074 h 4629074"/>
                <a:gd name="connsiteX87" fmla="*/ 942963 w 5143488"/>
                <a:gd name="connsiteY87" fmla="*/ 4457624 h 4629074"/>
                <a:gd name="connsiteX88" fmla="*/ 942963 w 5143488"/>
                <a:gd name="connsiteY88" fmla="*/ 4114724 h 4629074"/>
                <a:gd name="connsiteX89" fmla="*/ 1285863 w 5143488"/>
                <a:gd name="connsiteY89" fmla="*/ 4114724 h 4629074"/>
                <a:gd name="connsiteX90" fmla="*/ 1285863 w 5143488"/>
                <a:gd name="connsiteY90" fmla="*/ 4457624 h 4629074"/>
                <a:gd name="connsiteX91" fmla="*/ 2707723 w 5143488"/>
                <a:gd name="connsiteY91" fmla="*/ 2828849 h 4629074"/>
                <a:gd name="connsiteX92" fmla="*/ 3050623 w 5143488"/>
                <a:gd name="connsiteY92" fmla="*/ 3171749 h 4629074"/>
                <a:gd name="connsiteX93" fmla="*/ 2848635 w 5143488"/>
                <a:gd name="connsiteY93" fmla="*/ 3373619 h 4629074"/>
                <a:gd name="connsiteX94" fmla="*/ 2546031 w 5143488"/>
                <a:gd name="connsiteY94" fmla="*/ 2828849 h 4629074"/>
                <a:gd name="connsiteX95" fmla="*/ 3171823 w 5143488"/>
                <a:gd name="connsiteY95" fmla="*/ 3292950 h 4629074"/>
                <a:gd name="connsiteX96" fmla="*/ 3314107 w 5143488"/>
                <a:gd name="connsiteY96" fmla="*/ 3435234 h 4629074"/>
                <a:gd name="connsiteX97" fmla="*/ 3314107 w 5143488"/>
                <a:gd name="connsiteY97" fmla="*/ 3435273 h 4629074"/>
                <a:gd name="connsiteX98" fmla="*/ 3171823 w 5143488"/>
                <a:gd name="connsiteY98" fmla="*/ 3514649 h 4629074"/>
                <a:gd name="connsiteX99" fmla="*/ 3029539 w 5143488"/>
                <a:gd name="connsiteY99" fmla="*/ 3435273 h 4629074"/>
                <a:gd name="connsiteX100" fmla="*/ 3171823 w 5143488"/>
                <a:gd name="connsiteY100" fmla="*/ 3686099 h 4629074"/>
                <a:gd name="connsiteX101" fmla="*/ 3227618 w 5143488"/>
                <a:gd name="connsiteY101" fmla="*/ 3681544 h 4629074"/>
                <a:gd name="connsiteX102" fmla="*/ 3331095 w 5143488"/>
                <a:gd name="connsiteY102" fmla="*/ 4457624 h 4629074"/>
                <a:gd name="connsiteX103" fmla="*/ 3012531 w 5143488"/>
                <a:gd name="connsiteY103" fmla="*/ 4457624 h 4629074"/>
                <a:gd name="connsiteX104" fmla="*/ 3116009 w 5143488"/>
                <a:gd name="connsiteY104" fmla="*/ 3681544 h 4629074"/>
                <a:gd name="connsiteX105" fmla="*/ 3171813 w 5143488"/>
                <a:gd name="connsiteY105" fmla="*/ 3686099 h 4629074"/>
                <a:gd name="connsiteX106" fmla="*/ 3390496 w 5143488"/>
                <a:gd name="connsiteY106" fmla="*/ 3605851 h 4629074"/>
                <a:gd name="connsiteX107" fmla="*/ 3436953 w 5143488"/>
                <a:gd name="connsiteY107" fmla="*/ 3558129 h 4629074"/>
                <a:gd name="connsiteX108" fmla="*/ 3454098 w 5143488"/>
                <a:gd name="connsiteY108" fmla="*/ 3575274 h 4629074"/>
                <a:gd name="connsiteX109" fmla="*/ 3514723 w 5143488"/>
                <a:gd name="connsiteY109" fmla="*/ 3600374 h 4629074"/>
                <a:gd name="connsiteX110" fmla="*/ 3526627 w 5143488"/>
                <a:gd name="connsiteY110" fmla="*/ 3599532 h 4629074"/>
                <a:gd name="connsiteX111" fmla="*/ 3589652 w 5143488"/>
                <a:gd name="connsiteY111" fmla="*/ 3556669 h 4629074"/>
                <a:gd name="connsiteX112" fmla="*/ 3715594 w 5143488"/>
                <a:gd name="connsiteY112" fmla="*/ 3329914 h 4629074"/>
                <a:gd name="connsiteX113" fmla="*/ 3483598 w 5143488"/>
                <a:gd name="connsiteY113" fmla="*/ 4304084 h 4629074"/>
                <a:gd name="connsiteX114" fmla="*/ 2753985 w 5143488"/>
                <a:gd name="connsiteY114" fmla="*/ 3556287 h 4629074"/>
                <a:gd name="connsiteX115" fmla="*/ 2753985 w 5143488"/>
                <a:gd name="connsiteY115" fmla="*/ 3556326 h 4629074"/>
                <a:gd name="connsiteX116" fmla="*/ 2817020 w 5143488"/>
                <a:gd name="connsiteY116" fmla="*/ 3599189 h 4629074"/>
                <a:gd name="connsiteX117" fmla="*/ 2828913 w 5143488"/>
                <a:gd name="connsiteY117" fmla="*/ 3600374 h 4629074"/>
                <a:gd name="connsiteX118" fmla="*/ 2889538 w 5143488"/>
                <a:gd name="connsiteY118" fmla="*/ 3575274 h 4629074"/>
                <a:gd name="connsiteX119" fmla="*/ 2906683 w 5143488"/>
                <a:gd name="connsiteY119" fmla="*/ 3558129 h 4629074"/>
                <a:gd name="connsiteX120" fmla="*/ 2953141 w 5143488"/>
                <a:gd name="connsiteY120" fmla="*/ 3605851 h 4629074"/>
                <a:gd name="connsiteX121" fmla="*/ 2860029 w 5143488"/>
                <a:gd name="connsiteY121" fmla="*/ 4304093 h 4629074"/>
                <a:gd name="connsiteX122" fmla="*/ 2628072 w 5143488"/>
                <a:gd name="connsiteY122" fmla="*/ 3329581 h 4629074"/>
                <a:gd name="connsiteX123" fmla="*/ 3495011 w 5143488"/>
                <a:gd name="connsiteY123" fmla="*/ 3373619 h 4629074"/>
                <a:gd name="connsiteX124" fmla="*/ 3293024 w 5143488"/>
                <a:gd name="connsiteY124" fmla="*/ 3171749 h 4629074"/>
                <a:gd name="connsiteX125" fmla="*/ 3635924 w 5143488"/>
                <a:gd name="connsiteY125" fmla="*/ 2828849 h 4629074"/>
                <a:gd name="connsiteX126" fmla="*/ 3797616 w 5143488"/>
                <a:gd name="connsiteY126" fmla="*/ 2828849 h 4629074"/>
                <a:gd name="connsiteX127" fmla="*/ 3514723 w 5143488"/>
                <a:gd name="connsiteY127" fmla="*/ 2707639 h 4629074"/>
                <a:gd name="connsiteX128" fmla="*/ 3171823 w 5143488"/>
                <a:gd name="connsiteY128" fmla="*/ 3050539 h 4629074"/>
                <a:gd name="connsiteX129" fmla="*/ 2828923 w 5143488"/>
                <a:gd name="connsiteY129" fmla="*/ 2707639 h 4629074"/>
                <a:gd name="connsiteX130" fmla="*/ 2828923 w 5143488"/>
                <a:gd name="connsiteY130" fmla="*/ 2591915 h 4629074"/>
                <a:gd name="connsiteX131" fmla="*/ 3514723 w 5143488"/>
                <a:gd name="connsiteY131" fmla="*/ 2591915 h 4629074"/>
                <a:gd name="connsiteX132" fmla="*/ 4114798 w 5143488"/>
                <a:gd name="connsiteY132" fmla="*/ 1614082 h 4629074"/>
                <a:gd name="connsiteX133" fmla="*/ 4114798 w 5143488"/>
                <a:gd name="connsiteY133" fmla="*/ 1285838 h 4629074"/>
                <a:gd name="connsiteX134" fmla="*/ 4200523 w 5143488"/>
                <a:gd name="connsiteY134" fmla="*/ 1285838 h 4629074"/>
                <a:gd name="connsiteX135" fmla="*/ 4261138 w 5143488"/>
                <a:gd name="connsiteY135" fmla="*/ 1310939 h 4629074"/>
                <a:gd name="connsiteX136" fmla="*/ 4286248 w 5143488"/>
                <a:gd name="connsiteY136" fmla="*/ 1371563 h 4629074"/>
                <a:gd name="connsiteX137" fmla="*/ 4238987 w 5143488"/>
                <a:gd name="connsiteY137" fmla="*/ 1520010 h 4629074"/>
                <a:gd name="connsiteX138" fmla="*/ 4114788 w 5143488"/>
                <a:gd name="connsiteY138" fmla="*/ 1614082 h 4629074"/>
                <a:gd name="connsiteX139" fmla="*/ 3428998 w 5143488"/>
                <a:gd name="connsiteY139" fmla="*/ 1457288 h 4629074"/>
                <a:gd name="connsiteX140" fmla="*/ 3600448 w 5143488"/>
                <a:gd name="connsiteY140" fmla="*/ 1457288 h 4629074"/>
                <a:gd name="connsiteX141" fmla="*/ 3600448 w 5143488"/>
                <a:gd name="connsiteY141" fmla="*/ 1628738 h 4629074"/>
                <a:gd name="connsiteX142" fmla="*/ 3428998 w 5143488"/>
                <a:gd name="connsiteY142" fmla="*/ 1628738 h 4629074"/>
                <a:gd name="connsiteX143" fmla="*/ 3257548 w 5143488"/>
                <a:gd name="connsiteY143" fmla="*/ 1583309 h 4629074"/>
                <a:gd name="connsiteX144" fmla="*/ 3257548 w 5143488"/>
                <a:gd name="connsiteY144" fmla="*/ 1714463 h 4629074"/>
                <a:gd name="connsiteX145" fmla="*/ 3282648 w 5143488"/>
                <a:gd name="connsiteY145" fmla="*/ 1775078 h 4629074"/>
                <a:gd name="connsiteX146" fmla="*/ 3343273 w 5143488"/>
                <a:gd name="connsiteY146" fmla="*/ 1800188 h 4629074"/>
                <a:gd name="connsiteX147" fmla="*/ 3686173 w 5143488"/>
                <a:gd name="connsiteY147" fmla="*/ 1800188 h 4629074"/>
                <a:gd name="connsiteX148" fmla="*/ 3746788 w 5143488"/>
                <a:gd name="connsiteY148" fmla="*/ 1775078 h 4629074"/>
                <a:gd name="connsiteX149" fmla="*/ 3771898 w 5143488"/>
                <a:gd name="connsiteY149" fmla="*/ 1714463 h 4629074"/>
                <a:gd name="connsiteX150" fmla="*/ 3771898 w 5143488"/>
                <a:gd name="connsiteY150" fmla="*/ 1578489 h 4629074"/>
                <a:gd name="connsiteX151" fmla="*/ 3943348 w 5143488"/>
                <a:gd name="connsiteY151" fmla="*/ 1407039 h 4629074"/>
                <a:gd name="connsiteX152" fmla="*/ 3943348 w 5143488"/>
                <a:gd name="connsiteY152" fmla="*/ 1714463 h 4629074"/>
                <a:gd name="connsiteX153" fmla="*/ 3557586 w 5143488"/>
                <a:gd name="connsiteY153" fmla="*/ 2382619 h 4629074"/>
                <a:gd name="connsiteX154" fmla="*/ 2786061 w 5143488"/>
                <a:gd name="connsiteY154" fmla="*/ 2382619 h 4629074"/>
                <a:gd name="connsiteX155" fmla="*/ 2400298 w 5143488"/>
                <a:gd name="connsiteY155" fmla="*/ 1714463 h 4629074"/>
                <a:gd name="connsiteX156" fmla="*/ 2400298 w 5143488"/>
                <a:gd name="connsiteY156" fmla="*/ 1407039 h 4629074"/>
                <a:gd name="connsiteX157" fmla="*/ 2571748 w 5143488"/>
                <a:gd name="connsiteY157" fmla="*/ 1578489 h 4629074"/>
                <a:gd name="connsiteX158" fmla="*/ 2571748 w 5143488"/>
                <a:gd name="connsiteY158" fmla="*/ 1714463 h 4629074"/>
                <a:gd name="connsiteX159" fmla="*/ 2596848 w 5143488"/>
                <a:gd name="connsiteY159" fmla="*/ 1775078 h 4629074"/>
                <a:gd name="connsiteX160" fmla="*/ 2657473 w 5143488"/>
                <a:gd name="connsiteY160" fmla="*/ 1800188 h 4629074"/>
                <a:gd name="connsiteX161" fmla="*/ 3000373 w 5143488"/>
                <a:gd name="connsiteY161" fmla="*/ 1800188 h 4629074"/>
                <a:gd name="connsiteX162" fmla="*/ 3060988 w 5143488"/>
                <a:gd name="connsiteY162" fmla="*/ 1775078 h 4629074"/>
                <a:gd name="connsiteX163" fmla="*/ 3086098 w 5143488"/>
                <a:gd name="connsiteY163" fmla="*/ 1714463 h 4629074"/>
                <a:gd name="connsiteX164" fmla="*/ 3086098 w 5143488"/>
                <a:gd name="connsiteY164" fmla="*/ 1583309 h 4629074"/>
                <a:gd name="connsiteX165" fmla="*/ 3171823 w 5143488"/>
                <a:gd name="connsiteY165" fmla="*/ 1557856 h 4629074"/>
                <a:gd name="connsiteX166" fmla="*/ 3257548 w 5143488"/>
                <a:gd name="connsiteY166" fmla="*/ 1583309 h 4629074"/>
                <a:gd name="connsiteX167" fmla="*/ 2743198 w 5143488"/>
                <a:gd name="connsiteY167" fmla="*/ 1457288 h 4629074"/>
                <a:gd name="connsiteX168" fmla="*/ 2914648 w 5143488"/>
                <a:gd name="connsiteY168" fmla="*/ 1457288 h 4629074"/>
                <a:gd name="connsiteX169" fmla="*/ 2914648 w 5143488"/>
                <a:gd name="connsiteY169" fmla="*/ 1628738 h 4629074"/>
                <a:gd name="connsiteX170" fmla="*/ 2743198 w 5143488"/>
                <a:gd name="connsiteY170" fmla="*/ 1628738 h 4629074"/>
                <a:gd name="connsiteX171" fmla="*/ 2228848 w 5143488"/>
                <a:gd name="connsiteY171" fmla="*/ 1614082 h 4629074"/>
                <a:gd name="connsiteX172" fmla="*/ 2104660 w 5143488"/>
                <a:gd name="connsiteY172" fmla="*/ 1520010 h 4629074"/>
                <a:gd name="connsiteX173" fmla="*/ 2057388 w 5143488"/>
                <a:gd name="connsiteY173" fmla="*/ 1371563 h 4629074"/>
                <a:gd name="connsiteX174" fmla="*/ 2143113 w 5143488"/>
                <a:gd name="connsiteY174" fmla="*/ 1285838 h 4629074"/>
                <a:gd name="connsiteX175" fmla="*/ 2228838 w 5143488"/>
                <a:gd name="connsiteY175" fmla="*/ 1285838 h 4629074"/>
                <a:gd name="connsiteX176" fmla="*/ 1371598 w 5143488"/>
                <a:gd name="connsiteY176" fmla="*/ 3429003 h 4629074"/>
                <a:gd name="connsiteX177" fmla="*/ 1543048 w 5143488"/>
                <a:gd name="connsiteY177" fmla="*/ 3429003 h 4629074"/>
                <a:gd name="connsiteX178" fmla="*/ 1543048 w 5143488"/>
                <a:gd name="connsiteY178" fmla="*/ 3600453 h 4629074"/>
                <a:gd name="connsiteX179" fmla="*/ 1371598 w 5143488"/>
                <a:gd name="connsiteY179" fmla="*/ 3600453 h 4629074"/>
                <a:gd name="connsiteX180" fmla="*/ 342898 w 5143488"/>
                <a:gd name="connsiteY180" fmla="*/ 3257553 h 4629074"/>
                <a:gd name="connsiteX181" fmla="*/ 342898 w 5143488"/>
                <a:gd name="connsiteY181" fmla="*/ 3086103 h 4629074"/>
                <a:gd name="connsiteX182" fmla="*/ 1885948 w 5143488"/>
                <a:gd name="connsiteY182" fmla="*/ 3086103 h 4629074"/>
                <a:gd name="connsiteX183" fmla="*/ 1885948 w 5143488"/>
                <a:gd name="connsiteY183" fmla="*/ 3257553 h 4629074"/>
                <a:gd name="connsiteX184" fmla="*/ 1028698 w 5143488"/>
                <a:gd name="connsiteY184" fmla="*/ 3429003 h 4629074"/>
                <a:gd name="connsiteX185" fmla="*/ 1200148 w 5143488"/>
                <a:gd name="connsiteY185" fmla="*/ 3429003 h 4629074"/>
                <a:gd name="connsiteX186" fmla="*/ 1200148 w 5143488"/>
                <a:gd name="connsiteY186" fmla="*/ 3600453 h 4629074"/>
                <a:gd name="connsiteX187" fmla="*/ 1028698 w 5143488"/>
                <a:gd name="connsiteY187" fmla="*/ 3600453 h 4629074"/>
                <a:gd name="connsiteX188" fmla="*/ 685798 w 5143488"/>
                <a:gd name="connsiteY188" fmla="*/ 3429003 h 4629074"/>
                <a:gd name="connsiteX189" fmla="*/ 857248 w 5143488"/>
                <a:gd name="connsiteY189" fmla="*/ 3429003 h 4629074"/>
                <a:gd name="connsiteX190" fmla="*/ 857248 w 5143488"/>
                <a:gd name="connsiteY190" fmla="*/ 3600453 h 4629074"/>
                <a:gd name="connsiteX191" fmla="*/ 685798 w 5143488"/>
                <a:gd name="connsiteY191" fmla="*/ 3600453 h 4629074"/>
                <a:gd name="connsiteX192" fmla="*/ 342898 w 5143488"/>
                <a:gd name="connsiteY192" fmla="*/ 3429003 h 4629074"/>
                <a:gd name="connsiteX193" fmla="*/ 514348 w 5143488"/>
                <a:gd name="connsiteY193" fmla="*/ 3429003 h 4629074"/>
                <a:gd name="connsiteX194" fmla="*/ 514348 w 5143488"/>
                <a:gd name="connsiteY194" fmla="*/ 3600453 h 4629074"/>
                <a:gd name="connsiteX195" fmla="*/ 342898 w 5143488"/>
                <a:gd name="connsiteY195" fmla="*/ 3600453 h 4629074"/>
                <a:gd name="connsiteX196" fmla="*/ 1714498 w 5143488"/>
                <a:gd name="connsiteY196" fmla="*/ 3429003 h 4629074"/>
                <a:gd name="connsiteX197" fmla="*/ 1885948 w 5143488"/>
                <a:gd name="connsiteY197" fmla="*/ 3429003 h 4629074"/>
                <a:gd name="connsiteX198" fmla="*/ 1885948 w 5143488"/>
                <a:gd name="connsiteY198" fmla="*/ 3600453 h 4629074"/>
                <a:gd name="connsiteX199" fmla="*/ 1714498 w 5143488"/>
                <a:gd name="connsiteY199" fmla="*/ 3600453 h 4629074"/>
                <a:gd name="connsiteX200" fmla="*/ 1885948 w 5143488"/>
                <a:gd name="connsiteY200" fmla="*/ 2914653 h 4629074"/>
                <a:gd name="connsiteX201" fmla="*/ 1714498 w 5143488"/>
                <a:gd name="connsiteY201" fmla="*/ 2914653 h 4629074"/>
                <a:gd name="connsiteX202" fmla="*/ 1714498 w 5143488"/>
                <a:gd name="connsiteY202" fmla="*/ 2743203 h 4629074"/>
                <a:gd name="connsiteX203" fmla="*/ 1885948 w 5143488"/>
                <a:gd name="connsiteY203" fmla="*/ 2743203 h 4629074"/>
                <a:gd name="connsiteX204" fmla="*/ 1543048 w 5143488"/>
                <a:gd name="connsiteY204" fmla="*/ 2914653 h 4629074"/>
                <a:gd name="connsiteX205" fmla="*/ 1371598 w 5143488"/>
                <a:gd name="connsiteY205" fmla="*/ 2914653 h 4629074"/>
                <a:gd name="connsiteX206" fmla="*/ 1371598 w 5143488"/>
                <a:gd name="connsiteY206" fmla="*/ 2743203 h 4629074"/>
                <a:gd name="connsiteX207" fmla="*/ 1543048 w 5143488"/>
                <a:gd name="connsiteY207" fmla="*/ 2743203 h 4629074"/>
                <a:gd name="connsiteX208" fmla="*/ 1200148 w 5143488"/>
                <a:gd name="connsiteY208" fmla="*/ 2914653 h 4629074"/>
                <a:gd name="connsiteX209" fmla="*/ 1028698 w 5143488"/>
                <a:gd name="connsiteY209" fmla="*/ 2914653 h 4629074"/>
                <a:gd name="connsiteX210" fmla="*/ 1028698 w 5143488"/>
                <a:gd name="connsiteY210" fmla="*/ 2743203 h 4629074"/>
                <a:gd name="connsiteX211" fmla="*/ 1200148 w 5143488"/>
                <a:gd name="connsiteY211" fmla="*/ 2743203 h 4629074"/>
                <a:gd name="connsiteX212" fmla="*/ 857248 w 5143488"/>
                <a:gd name="connsiteY212" fmla="*/ 2914653 h 4629074"/>
                <a:gd name="connsiteX213" fmla="*/ 685798 w 5143488"/>
                <a:gd name="connsiteY213" fmla="*/ 2914653 h 4629074"/>
                <a:gd name="connsiteX214" fmla="*/ 685798 w 5143488"/>
                <a:gd name="connsiteY214" fmla="*/ 2743203 h 4629074"/>
                <a:gd name="connsiteX215" fmla="*/ 857248 w 5143488"/>
                <a:gd name="connsiteY215" fmla="*/ 2743203 h 4629074"/>
                <a:gd name="connsiteX216" fmla="*/ 514348 w 5143488"/>
                <a:gd name="connsiteY216" fmla="*/ 2743203 h 4629074"/>
                <a:gd name="connsiteX217" fmla="*/ 514348 w 5143488"/>
                <a:gd name="connsiteY217" fmla="*/ 2914653 h 4629074"/>
                <a:gd name="connsiteX218" fmla="*/ 342898 w 5143488"/>
                <a:gd name="connsiteY218" fmla="*/ 2914653 h 4629074"/>
                <a:gd name="connsiteX219" fmla="*/ 342898 w 5143488"/>
                <a:gd name="connsiteY219" fmla="*/ 2743203 h 4629074"/>
                <a:gd name="connsiteX220" fmla="*/ 342898 w 5143488"/>
                <a:gd name="connsiteY220" fmla="*/ 3771903 h 4629074"/>
                <a:gd name="connsiteX221" fmla="*/ 1885948 w 5143488"/>
                <a:gd name="connsiteY221" fmla="*/ 3771903 h 4629074"/>
                <a:gd name="connsiteX222" fmla="*/ 1885948 w 5143488"/>
                <a:gd name="connsiteY222" fmla="*/ 4200528 h 4629074"/>
                <a:gd name="connsiteX223" fmla="*/ 1971673 w 5143488"/>
                <a:gd name="connsiteY223" fmla="*/ 4286253 h 4629074"/>
                <a:gd name="connsiteX224" fmla="*/ 2057398 w 5143488"/>
                <a:gd name="connsiteY224" fmla="*/ 4200528 h 4629074"/>
                <a:gd name="connsiteX225" fmla="*/ 2057398 w 5143488"/>
                <a:gd name="connsiteY225" fmla="*/ 1712249 h 4629074"/>
                <a:gd name="connsiteX226" fmla="*/ 2232787 w 5143488"/>
                <a:gd name="connsiteY226" fmla="*/ 1791968 h 4629074"/>
                <a:gd name="connsiteX227" fmla="*/ 2657473 w 5143488"/>
                <a:gd name="connsiteY227" fmla="*/ 2503829 h 4629074"/>
                <a:gd name="connsiteX228" fmla="*/ 2657473 w 5143488"/>
                <a:gd name="connsiteY228" fmla="*/ 2657448 h 4629074"/>
                <a:gd name="connsiteX229" fmla="*/ 2314573 w 5143488"/>
                <a:gd name="connsiteY229" fmla="*/ 2657448 h 4629074"/>
                <a:gd name="connsiteX230" fmla="*/ 2228848 w 5143488"/>
                <a:gd name="connsiteY230" fmla="*/ 2743173 h 4629074"/>
                <a:gd name="connsiteX231" fmla="*/ 2314573 w 5143488"/>
                <a:gd name="connsiteY231" fmla="*/ 2828898 h 4629074"/>
                <a:gd name="connsiteX232" fmla="*/ 2332561 w 5143488"/>
                <a:gd name="connsiteY232" fmla="*/ 2828898 h 4629074"/>
                <a:gd name="connsiteX233" fmla="*/ 2720390 w 5143488"/>
                <a:gd name="connsiteY233" fmla="*/ 4457673 h 4629074"/>
                <a:gd name="connsiteX234" fmla="*/ 1457343 w 5143488"/>
                <a:gd name="connsiteY234" fmla="*/ 4457673 h 4629074"/>
                <a:gd name="connsiteX235" fmla="*/ 1457343 w 5143488"/>
                <a:gd name="connsiteY235" fmla="*/ 4029048 h 4629074"/>
                <a:gd name="connsiteX236" fmla="*/ 1432233 w 5143488"/>
                <a:gd name="connsiteY236" fmla="*/ 3968423 h 4629074"/>
                <a:gd name="connsiteX237" fmla="*/ 1371618 w 5143488"/>
                <a:gd name="connsiteY237" fmla="*/ 3943323 h 4629074"/>
                <a:gd name="connsiteX238" fmla="*/ 857268 w 5143488"/>
                <a:gd name="connsiteY238" fmla="*/ 3943323 h 4629074"/>
                <a:gd name="connsiteX239" fmla="*/ 771543 w 5143488"/>
                <a:gd name="connsiteY239" fmla="*/ 4029048 h 4629074"/>
                <a:gd name="connsiteX240" fmla="*/ 771543 w 5143488"/>
                <a:gd name="connsiteY240" fmla="*/ 4457673 h 4629074"/>
                <a:gd name="connsiteX241" fmla="*/ 342918 w 5143488"/>
                <a:gd name="connsiteY241" fmla="*/ 4457673 h 4629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5143488" h="4629074">
                  <a:moveTo>
                    <a:pt x="85713" y="4629074"/>
                  </a:moveTo>
                  <a:lnTo>
                    <a:pt x="5057764" y="4629074"/>
                  </a:lnTo>
                  <a:cubicBezTo>
                    <a:pt x="5105103" y="4629074"/>
                    <a:pt x="5143489" y="4590689"/>
                    <a:pt x="5143489" y="4543349"/>
                  </a:cubicBezTo>
                  <a:cubicBezTo>
                    <a:pt x="5143489" y="4496009"/>
                    <a:pt x="5105103" y="4457624"/>
                    <a:pt x="5057764" y="4457624"/>
                  </a:cubicBezTo>
                  <a:lnTo>
                    <a:pt x="4371964" y="4457624"/>
                  </a:lnTo>
                  <a:lnTo>
                    <a:pt x="4371964" y="3771824"/>
                  </a:lnTo>
                  <a:cubicBezTo>
                    <a:pt x="4371964" y="3724484"/>
                    <a:pt x="4333578" y="3686099"/>
                    <a:pt x="4286239" y="3686099"/>
                  </a:cubicBezTo>
                  <a:cubicBezTo>
                    <a:pt x="4238899" y="3686099"/>
                    <a:pt x="4200514" y="3724484"/>
                    <a:pt x="4200514" y="3771824"/>
                  </a:cubicBezTo>
                  <a:lnTo>
                    <a:pt x="4200514" y="4457624"/>
                  </a:lnTo>
                  <a:lnTo>
                    <a:pt x="3623246" y="4457624"/>
                  </a:lnTo>
                  <a:lnTo>
                    <a:pt x="4011076" y="2828849"/>
                  </a:lnTo>
                  <a:lnTo>
                    <a:pt x="4114788" y="2828849"/>
                  </a:lnTo>
                  <a:cubicBezTo>
                    <a:pt x="4296614" y="2829045"/>
                    <a:pt x="4470934" y="2901368"/>
                    <a:pt x="4599483" y="3029955"/>
                  </a:cubicBezTo>
                  <a:cubicBezTo>
                    <a:pt x="4728070" y="3158504"/>
                    <a:pt x="4800403" y="3332824"/>
                    <a:pt x="4800589" y="3514649"/>
                  </a:cubicBezTo>
                  <a:lnTo>
                    <a:pt x="4800589" y="4200449"/>
                  </a:lnTo>
                  <a:cubicBezTo>
                    <a:pt x="4800589" y="4247789"/>
                    <a:pt x="4838974" y="4286174"/>
                    <a:pt x="4886314" y="4286174"/>
                  </a:cubicBezTo>
                  <a:cubicBezTo>
                    <a:pt x="4933653" y="4286174"/>
                    <a:pt x="4972039" y="4247789"/>
                    <a:pt x="4972039" y="4200449"/>
                  </a:cubicBezTo>
                  <a:lnTo>
                    <a:pt x="4972039" y="3514649"/>
                  </a:lnTo>
                  <a:cubicBezTo>
                    <a:pt x="4971774" y="3287365"/>
                    <a:pt x="4881375" y="3069457"/>
                    <a:pt x="4720683" y="2908755"/>
                  </a:cubicBezTo>
                  <a:cubicBezTo>
                    <a:pt x="4559990" y="2748052"/>
                    <a:pt x="4342072" y="2657664"/>
                    <a:pt x="4114788" y="2657399"/>
                  </a:cubicBezTo>
                  <a:lnTo>
                    <a:pt x="3686163" y="2657399"/>
                  </a:lnTo>
                  <a:lnTo>
                    <a:pt x="3686163" y="2503780"/>
                  </a:lnTo>
                  <a:cubicBezTo>
                    <a:pt x="3929946" y="2344841"/>
                    <a:pt x="4086661" y="2082277"/>
                    <a:pt x="4110850" y="1792262"/>
                  </a:cubicBezTo>
                  <a:cubicBezTo>
                    <a:pt x="4208478" y="1773207"/>
                    <a:pt x="4296418" y="1720812"/>
                    <a:pt x="4359678" y="1644041"/>
                  </a:cubicBezTo>
                  <a:cubicBezTo>
                    <a:pt x="4422938" y="1567310"/>
                    <a:pt x="4457571" y="1470985"/>
                    <a:pt x="4457689" y="1371524"/>
                  </a:cubicBezTo>
                  <a:cubicBezTo>
                    <a:pt x="4457532" y="1325144"/>
                    <a:pt x="4444796" y="1279676"/>
                    <a:pt x="4420831" y="1239988"/>
                  </a:cubicBezTo>
                  <a:cubicBezTo>
                    <a:pt x="4396878" y="1200260"/>
                    <a:pt x="4362588" y="1167812"/>
                    <a:pt x="4321635" y="1146072"/>
                  </a:cubicBezTo>
                  <a:cubicBezTo>
                    <a:pt x="4410613" y="898498"/>
                    <a:pt x="4380497" y="623768"/>
                    <a:pt x="4239928" y="401373"/>
                  </a:cubicBezTo>
                  <a:cubicBezTo>
                    <a:pt x="4214749" y="361304"/>
                    <a:pt x="4161825" y="349249"/>
                    <a:pt x="4121715" y="374469"/>
                  </a:cubicBezTo>
                  <a:cubicBezTo>
                    <a:pt x="4081655" y="399650"/>
                    <a:pt x="4069594" y="452578"/>
                    <a:pt x="4094812" y="492681"/>
                  </a:cubicBezTo>
                  <a:cubicBezTo>
                    <a:pt x="4212985" y="678709"/>
                    <a:pt x="4233236" y="910627"/>
                    <a:pt x="4149078" y="1114339"/>
                  </a:cubicBezTo>
                  <a:lnTo>
                    <a:pt x="4044406" y="1114339"/>
                  </a:lnTo>
                  <a:cubicBezTo>
                    <a:pt x="3727037" y="1006110"/>
                    <a:pt x="3447358" y="809100"/>
                    <a:pt x="3238591" y="546683"/>
                  </a:cubicBezTo>
                  <a:cubicBezTo>
                    <a:pt x="3221338" y="526974"/>
                    <a:pt x="3196189" y="516067"/>
                    <a:pt x="3170011" y="516908"/>
                  </a:cubicBezTo>
                  <a:cubicBezTo>
                    <a:pt x="3143186" y="517980"/>
                    <a:pt x="3118125" y="530685"/>
                    <a:pt x="3101431" y="551734"/>
                  </a:cubicBezTo>
                  <a:cubicBezTo>
                    <a:pt x="3026306" y="645232"/>
                    <a:pt x="2941806" y="730762"/>
                    <a:pt x="2849233" y="807042"/>
                  </a:cubicBezTo>
                  <a:cubicBezTo>
                    <a:pt x="2817167" y="838040"/>
                    <a:pt x="2814218" y="888437"/>
                    <a:pt x="2842502" y="922962"/>
                  </a:cubicBezTo>
                  <a:cubicBezTo>
                    <a:pt x="2870786" y="957477"/>
                    <a:pt x="2920801" y="964561"/>
                    <a:pt x="2957501" y="939225"/>
                  </a:cubicBezTo>
                  <a:cubicBezTo>
                    <a:pt x="3034115" y="876112"/>
                    <a:pt x="3105761" y="807228"/>
                    <a:pt x="3171813" y="733142"/>
                  </a:cubicBezTo>
                  <a:cubicBezTo>
                    <a:pt x="3365082" y="951050"/>
                    <a:pt x="3605494" y="1122001"/>
                    <a:pt x="3874758" y="1233061"/>
                  </a:cubicBezTo>
                  <a:lnTo>
                    <a:pt x="3765883" y="1341937"/>
                  </a:lnTo>
                  <a:cubicBezTo>
                    <a:pt x="3753597" y="1308450"/>
                    <a:pt x="3721835" y="1286103"/>
                    <a:pt x="3686163" y="1285789"/>
                  </a:cubicBezTo>
                  <a:lnTo>
                    <a:pt x="3343263" y="1285789"/>
                  </a:lnTo>
                  <a:cubicBezTo>
                    <a:pt x="3295924" y="1285789"/>
                    <a:pt x="3257538" y="1324175"/>
                    <a:pt x="3257538" y="1371514"/>
                  </a:cubicBezTo>
                  <a:lnTo>
                    <a:pt x="3257538" y="1399221"/>
                  </a:lnTo>
                  <a:cubicBezTo>
                    <a:pt x="3201401" y="1383957"/>
                    <a:pt x="3142226" y="1383957"/>
                    <a:pt x="3086088" y="1399221"/>
                  </a:cubicBezTo>
                  <a:lnTo>
                    <a:pt x="3086088" y="1371514"/>
                  </a:lnTo>
                  <a:cubicBezTo>
                    <a:pt x="3086088" y="1348785"/>
                    <a:pt x="3077055" y="1326967"/>
                    <a:pt x="3060988" y="1310899"/>
                  </a:cubicBezTo>
                  <a:cubicBezTo>
                    <a:pt x="3044911" y="1294822"/>
                    <a:pt x="3023103" y="1285789"/>
                    <a:pt x="3000363" y="1285789"/>
                  </a:cubicBezTo>
                  <a:lnTo>
                    <a:pt x="2657463" y="1285789"/>
                  </a:lnTo>
                  <a:cubicBezTo>
                    <a:pt x="2621762" y="1285907"/>
                    <a:pt x="2589922" y="1308333"/>
                    <a:pt x="2577754" y="1341937"/>
                  </a:cubicBezTo>
                  <a:lnTo>
                    <a:pt x="2468114" y="1232366"/>
                  </a:lnTo>
                  <a:cubicBezTo>
                    <a:pt x="2533863" y="1205188"/>
                    <a:pt x="2598152" y="1174533"/>
                    <a:pt x="2660648" y="1140478"/>
                  </a:cubicBezTo>
                  <a:cubicBezTo>
                    <a:pt x="2702128" y="1117631"/>
                    <a:pt x="2717206" y="1065510"/>
                    <a:pt x="2694359" y="1024019"/>
                  </a:cubicBezTo>
                  <a:cubicBezTo>
                    <a:pt x="2671512" y="982529"/>
                    <a:pt x="2619392" y="967461"/>
                    <a:pt x="2577901" y="990307"/>
                  </a:cubicBezTo>
                  <a:cubicBezTo>
                    <a:pt x="2488619" y="1039636"/>
                    <a:pt x="2395233" y="1081117"/>
                    <a:pt x="2298800" y="1114339"/>
                  </a:cubicBezTo>
                  <a:lnTo>
                    <a:pt x="2188043" y="1114339"/>
                  </a:lnTo>
                  <a:cubicBezTo>
                    <a:pt x="2117553" y="941047"/>
                    <a:pt x="2120991" y="746476"/>
                    <a:pt x="2197576" y="575834"/>
                  </a:cubicBezTo>
                  <a:cubicBezTo>
                    <a:pt x="2274150" y="405149"/>
                    <a:pt x="2417208" y="273191"/>
                    <a:pt x="2593478" y="210666"/>
                  </a:cubicBezTo>
                  <a:cubicBezTo>
                    <a:pt x="2769788" y="148094"/>
                    <a:pt x="2963967" y="160340"/>
                    <a:pt x="3131018" y="244572"/>
                  </a:cubicBezTo>
                  <a:cubicBezTo>
                    <a:pt x="3155276" y="256781"/>
                    <a:pt x="3183903" y="256781"/>
                    <a:pt x="3208171" y="244572"/>
                  </a:cubicBezTo>
                  <a:cubicBezTo>
                    <a:pt x="3422366" y="137872"/>
                    <a:pt x="3676631" y="150199"/>
                    <a:pt x="3879471" y="277140"/>
                  </a:cubicBezTo>
                  <a:cubicBezTo>
                    <a:pt x="3919502" y="301595"/>
                    <a:pt x="3971701" y="289348"/>
                    <a:pt x="3996694" y="249662"/>
                  </a:cubicBezTo>
                  <a:cubicBezTo>
                    <a:pt x="4021676" y="210014"/>
                    <a:pt x="4010165" y="157623"/>
                    <a:pt x="3970858" y="132096"/>
                  </a:cubicBezTo>
                  <a:cubicBezTo>
                    <a:pt x="3729604" y="-17918"/>
                    <a:pt x="3430105" y="-39961"/>
                    <a:pt x="3169521" y="73199"/>
                  </a:cubicBezTo>
                  <a:cubicBezTo>
                    <a:pt x="2963585" y="-17846"/>
                    <a:pt x="2730099" y="-24198"/>
                    <a:pt x="2519539" y="55480"/>
                  </a:cubicBezTo>
                  <a:cubicBezTo>
                    <a:pt x="2308979" y="135158"/>
                    <a:pt x="2138176" y="294481"/>
                    <a:pt x="2044074" y="498996"/>
                  </a:cubicBezTo>
                  <a:cubicBezTo>
                    <a:pt x="1950002" y="703555"/>
                    <a:pt x="1940136" y="936884"/>
                    <a:pt x="2016671" y="1148639"/>
                  </a:cubicBezTo>
                  <a:cubicBezTo>
                    <a:pt x="1977101" y="1170869"/>
                    <a:pt x="1944114" y="1203209"/>
                    <a:pt x="1921149" y="1242398"/>
                  </a:cubicBezTo>
                  <a:cubicBezTo>
                    <a:pt x="1898185" y="1281547"/>
                    <a:pt x="1886017" y="1326134"/>
                    <a:pt x="1885938" y="1371524"/>
                  </a:cubicBezTo>
                  <a:cubicBezTo>
                    <a:pt x="1885977" y="1430571"/>
                    <a:pt x="1898381" y="1488972"/>
                    <a:pt x="1922296" y="1542974"/>
                  </a:cubicBezTo>
                  <a:lnTo>
                    <a:pt x="257173" y="1542974"/>
                  </a:lnTo>
                  <a:cubicBezTo>
                    <a:pt x="209833" y="1542974"/>
                    <a:pt x="171448" y="1581359"/>
                    <a:pt x="171448" y="1628699"/>
                  </a:cubicBezTo>
                  <a:lnTo>
                    <a:pt x="171448" y="2057324"/>
                  </a:lnTo>
                  <a:cubicBezTo>
                    <a:pt x="171448" y="2104664"/>
                    <a:pt x="209833" y="2143049"/>
                    <a:pt x="257173" y="2143049"/>
                  </a:cubicBezTo>
                  <a:cubicBezTo>
                    <a:pt x="304513" y="2143049"/>
                    <a:pt x="342898" y="2104664"/>
                    <a:pt x="342898" y="2057324"/>
                  </a:cubicBezTo>
                  <a:lnTo>
                    <a:pt x="342898" y="1714424"/>
                  </a:lnTo>
                  <a:lnTo>
                    <a:pt x="1885948" y="1714424"/>
                  </a:lnTo>
                  <a:lnTo>
                    <a:pt x="1885948" y="2571674"/>
                  </a:lnTo>
                  <a:lnTo>
                    <a:pt x="342898" y="2571674"/>
                  </a:lnTo>
                  <a:lnTo>
                    <a:pt x="342898" y="2400224"/>
                  </a:lnTo>
                  <a:cubicBezTo>
                    <a:pt x="342898" y="2352884"/>
                    <a:pt x="304513" y="2314499"/>
                    <a:pt x="257173" y="2314499"/>
                  </a:cubicBezTo>
                  <a:cubicBezTo>
                    <a:pt x="209833" y="2314499"/>
                    <a:pt x="171448" y="2352884"/>
                    <a:pt x="171448" y="2400224"/>
                  </a:cubicBezTo>
                  <a:lnTo>
                    <a:pt x="171448" y="4457624"/>
                  </a:lnTo>
                  <a:lnTo>
                    <a:pt x="85725" y="4457624"/>
                  </a:lnTo>
                  <a:cubicBezTo>
                    <a:pt x="38385" y="4457624"/>
                    <a:pt x="0" y="4496009"/>
                    <a:pt x="0" y="4543349"/>
                  </a:cubicBezTo>
                  <a:cubicBezTo>
                    <a:pt x="0" y="4590689"/>
                    <a:pt x="38385" y="4629074"/>
                    <a:pt x="85725" y="4629074"/>
                  </a:cubicBezTo>
                  <a:close/>
                  <a:moveTo>
                    <a:pt x="942963" y="4457624"/>
                  </a:moveTo>
                  <a:lnTo>
                    <a:pt x="942963" y="4114724"/>
                  </a:lnTo>
                  <a:lnTo>
                    <a:pt x="1285863" y="4114724"/>
                  </a:lnTo>
                  <a:lnTo>
                    <a:pt x="1285863" y="4457624"/>
                  </a:lnTo>
                  <a:close/>
                  <a:moveTo>
                    <a:pt x="2707723" y="2828849"/>
                  </a:moveTo>
                  <a:lnTo>
                    <a:pt x="3050623" y="3171749"/>
                  </a:lnTo>
                  <a:lnTo>
                    <a:pt x="2848635" y="3373619"/>
                  </a:lnTo>
                  <a:lnTo>
                    <a:pt x="2546031" y="2828849"/>
                  </a:lnTo>
                  <a:close/>
                  <a:moveTo>
                    <a:pt x="3171823" y="3292950"/>
                  </a:moveTo>
                  <a:lnTo>
                    <a:pt x="3314107" y="3435234"/>
                  </a:lnTo>
                  <a:lnTo>
                    <a:pt x="3314107" y="3435273"/>
                  </a:lnTo>
                  <a:cubicBezTo>
                    <a:pt x="3283648" y="3484601"/>
                    <a:pt x="3229793" y="3514649"/>
                    <a:pt x="3171823" y="3514649"/>
                  </a:cubicBezTo>
                  <a:cubicBezTo>
                    <a:pt x="3113844" y="3514649"/>
                    <a:pt x="3059999" y="3484601"/>
                    <a:pt x="3029539" y="3435273"/>
                  </a:cubicBezTo>
                  <a:close/>
                  <a:moveTo>
                    <a:pt x="3171823" y="3686099"/>
                  </a:moveTo>
                  <a:cubicBezTo>
                    <a:pt x="3190536" y="3686099"/>
                    <a:pt x="3209180" y="3684610"/>
                    <a:pt x="3227618" y="3681544"/>
                  </a:cubicBezTo>
                  <a:lnTo>
                    <a:pt x="3331095" y="4457624"/>
                  </a:lnTo>
                  <a:lnTo>
                    <a:pt x="3012531" y="4457624"/>
                  </a:lnTo>
                  <a:lnTo>
                    <a:pt x="3116009" y="3681544"/>
                  </a:lnTo>
                  <a:cubicBezTo>
                    <a:pt x="3134457" y="3684610"/>
                    <a:pt x="3153101" y="3686099"/>
                    <a:pt x="3171813" y="3686099"/>
                  </a:cubicBezTo>
                  <a:close/>
                  <a:moveTo>
                    <a:pt x="3390496" y="3605851"/>
                  </a:moveTo>
                  <a:cubicBezTo>
                    <a:pt x="3407523" y="3591498"/>
                    <a:pt x="3423061" y="3575499"/>
                    <a:pt x="3436953" y="3558129"/>
                  </a:cubicBezTo>
                  <a:lnTo>
                    <a:pt x="3454098" y="3575274"/>
                  </a:lnTo>
                  <a:cubicBezTo>
                    <a:pt x="3470176" y="3591341"/>
                    <a:pt x="3491984" y="3600374"/>
                    <a:pt x="3514723" y="3600374"/>
                  </a:cubicBezTo>
                  <a:cubicBezTo>
                    <a:pt x="3518701" y="3600374"/>
                    <a:pt x="3522678" y="3600110"/>
                    <a:pt x="3526627" y="3599532"/>
                  </a:cubicBezTo>
                  <a:cubicBezTo>
                    <a:pt x="3553177" y="3595858"/>
                    <a:pt x="3576484" y="3580016"/>
                    <a:pt x="3589652" y="3556669"/>
                  </a:cubicBezTo>
                  <a:lnTo>
                    <a:pt x="3715594" y="3329914"/>
                  </a:lnTo>
                  <a:lnTo>
                    <a:pt x="3483598" y="4304084"/>
                  </a:lnTo>
                  <a:close/>
                  <a:moveTo>
                    <a:pt x="2753985" y="3556287"/>
                  </a:moveTo>
                  <a:lnTo>
                    <a:pt x="2753985" y="3556326"/>
                  </a:lnTo>
                  <a:cubicBezTo>
                    <a:pt x="2767152" y="3579673"/>
                    <a:pt x="2790460" y="3595515"/>
                    <a:pt x="2817020" y="3599189"/>
                  </a:cubicBezTo>
                  <a:cubicBezTo>
                    <a:pt x="2820919" y="3599875"/>
                    <a:pt x="2824936" y="3600257"/>
                    <a:pt x="2828913" y="3600374"/>
                  </a:cubicBezTo>
                  <a:cubicBezTo>
                    <a:pt x="2851653" y="3600374"/>
                    <a:pt x="2873461" y="3591341"/>
                    <a:pt x="2889538" y="3575274"/>
                  </a:cubicBezTo>
                  <a:lnTo>
                    <a:pt x="2906683" y="3558129"/>
                  </a:lnTo>
                  <a:cubicBezTo>
                    <a:pt x="2920575" y="3575499"/>
                    <a:pt x="2936114" y="3591498"/>
                    <a:pt x="2953141" y="3605851"/>
                  </a:cubicBezTo>
                  <a:lnTo>
                    <a:pt x="2860029" y="4304093"/>
                  </a:lnTo>
                  <a:lnTo>
                    <a:pt x="2628072" y="3329581"/>
                  </a:lnTo>
                  <a:close/>
                  <a:moveTo>
                    <a:pt x="3495011" y="3373619"/>
                  </a:moveTo>
                  <a:lnTo>
                    <a:pt x="3293024" y="3171749"/>
                  </a:lnTo>
                  <a:lnTo>
                    <a:pt x="3635924" y="2828849"/>
                  </a:lnTo>
                  <a:lnTo>
                    <a:pt x="3797616" y="2828849"/>
                  </a:lnTo>
                  <a:close/>
                  <a:moveTo>
                    <a:pt x="3514723" y="2707639"/>
                  </a:moveTo>
                  <a:lnTo>
                    <a:pt x="3171823" y="3050539"/>
                  </a:lnTo>
                  <a:lnTo>
                    <a:pt x="2828923" y="2707639"/>
                  </a:lnTo>
                  <a:lnTo>
                    <a:pt x="2828923" y="2591915"/>
                  </a:lnTo>
                  <a:cubicBezTo>
                    <a:pt x="3049163" y="2679208"/>
                    <a:pt x="3294483" y="2679208"/>
                    <a:pt x="3514723" y="2591915"/>
                  </a:cubicBezTo>
                  <a:close/>
                  <a:moveTo>
                    <a:pt x="4114798" y="1614082"/>
                  </a:moveTo>
                  <a:lnTo>
                    <a:pt x="4114798" y="1285838"/>
                  </a:lnTo>
                  <a:lnTo>
                    <a:pt x="4200523" y="1285838"/>
                  </a:lnTo>
                  <a:cubicBezTo>
                    <a:pt x="4223253" y="1285838"/>
                    <a:pt x="4245071" y="1294871"/>
                    <a:pt x="4261138" y="1310939"/>
                  </a:cubicBezTo>
                  <a:cubicBezTo>
                    <a:pt x="4277215" y="1327016"/>
                    <a:pt x="4286248" y="1348834"/>
                    <a:pt x="4286248" y="1371563"/>
                  </a:cubicBezTo>
                  <a:cubicBezTo>
                    <a:pt x="4286170" y="1424723"/>
                    <a:pt x="4269672" y="1476579"/>
                    <a:pt x="4238987" y="1520010"/>
                  </a:cubicBezTo>
                  <a:cubicBezTo>
                    <a:pt x="4208293" y="1563411"/>
                    <a:pt x="4164891" y="1596280"/>
                    <a:pt x="4114788" y="1614082"/>
                  </a:cubicBezTo>
                  <a:close/>
                  <a:moveTo>
                    <a:pt x="3428998" y="1457288"/>
                  </a:moveTo>
                  <a:lnTo>
                    <a:pt x="3600448" y="1457288"/>
                  </a:lnTo>
                  <a:lnTo>
                    <a:pt x="3600448" y="1628738"/>
                  </a:lnTo>
                  <a:lnTo>
                    <a:pt x="3428998" y="1628738"/>
                  </a:lnTo>
                  <a:close/>
                  <a:moveTo>
                    <a:pt x="3257548" y="1583309"/>
                  </a:moveTo>
                  <a:lnTo>
                    <a:pt x="3257548" y="1714463"/>
                  </a:lnTo>
                  <a:cubicBezTo>
                    <a:pt x="3257548" y="1737193"/>
                    <a:pt x="3266581" y="1759011"/>
                    <a:pt x="3282648" y="1775078"/>
                  </a:cubicBezTo>
                  <a:cubicBezTo>
                    <a:pt x="3298726" y="1791155"/>
                    <a:pt x="3320534" y="1800188"/>
                    <a:pt x="3343273" y="1800188"/>
                  </a:cubicBezTo>
                  <a:lnTo>
                    <a:pt x="3686173" y="1800188"/>
                  </a:lnTo>
                  <a:cubicBezTo>
                    <a:pt x="3708903" y="1800188"/>
                    <a:pt x="3730721" y="1791155"/>
                    <a:pt x="3746788" y="1775078"/>
                  </a:cubicBezTo>
                  <a:cubicBezTo>
                    <a:pt x="3762865" y="1759011"/>
                    <a:pt x="3771898" y="1737193"/>
                    <a:pt x="3771898" y="1714463"/>
                  </a:cubicBezTo>
                  <a:lnTo>
                    <a:pt x="3771898" y="1578489"/>
                  </a:lnTo>
                  <a:lnTo>
                    <a:pt x="3943348" y="1407039"/>
                  </a:lnTo>
                  <a:lnTo>
                    <a:pt x="3943348" y="1714463"/>
                  </a:lnTo>
                  <a:cubicBezTo>
                    <a:pt x="3943348" y="1990086"/>
                    <a:pt x="3796313" y="2244812"/>
                    <a:pt x="3557586" y="2382619"/>
                  </a:cubicBezTo>
                  <a:cubicBezTo>
                    <a:pt x="3318859" y="2520425"/>
                    <a:pt x="3024788" y="2520425"/>
                    <a:pt x="2786061" y="2382619"/>
                  </a:cubicBezTo>
                  <a:cubicBezTo>
                    <a:pt x="2547334" y="2244812"/>
                    <a:pt x="2400298" y="1990086"/>
                    <a:pt x="2400298" y="1714463"/>
                  </a:cubicBezTo>
                  <a:lnTo>
                    <a:pt x="2400298" y="1407039"/>
                  </a:lnTo>
                  <a:lnTo>
                    <a:pt x="2571748" y="1578489"/>
                  </a:lnTo>
                  <a:lnTo>
                    <a:pt x="2571748" y="1714463"/>
                  </a:lnTo>
                  <a:cubicBezTo>
                    <a:pt x="2571748" y="1737193"/>
                    <a:pt x="2580781" y="1759011"/>
                    <a:pt x="2596848" y="1775078"/>
                  </a:cubicBezTo>
                  <a:cubicBezTo>
                    <a:pt x="2612926" y="1791155"/>
                    <a:pt x="2634734" y="1800188"/>
                    <a:pt x="2657473" y="1800188"/>
                  </a:cubicBezTo>
                  <a:lnTo>
                    <a:pt x="3000373" y="1800188"/>
                  </a:lnTo>
                  <a:cubicBezTo>
                    <a:pt x="3023103" y="1800188"/>
                    <a:pt x="3044921" y="1791155"/>
                    <a:pt x="3060988" y="1775078"/>
                  </a:cubicBezTo>
                  <a:cubicBezTo>
                    <a:pt x="3077065" y="1759011"/>
                    <a:pt x="3086098" y="1737193"/>
                    <a:pt x="3086098" y="1714463"/>
                  </a:cubicBezTo>
                  <a:lnTo>
                    <a:pt x="3086098" y="1583309"/>
                  </a:lnTo>
                  <a:cubicBezTo>
                    <a:pt x="3111580" y="1566703"/>
                    <a:pt x="3141393" y="1557856"/>
                    <a:pt x="3171823" y="1557856"/>
                  </a:cubicBezTo>
                  <a:cubicBezTo>
                    <a:pt x="3202243" y="1557856"/>
                    <a:pt x="3232056" y="1566703"/>
                    <a:pt x="3257548" y="1583309"/>
                  </a:cubicBezTo>
                  <a:close/>
                  <a:moveTo>
                    <a:pt x="2743198" y="1457288"/>
                  </a:moveTo>
                  <a:lnTo>
                    <a:pt x="2914648" y="1457288"/>
                  </a:lnTo>
                  <a:lnTo>
                    <a:pt x="2914648" y="1628738"/>
                  </a:lnTo>
                  <a:lnTo>
                    <a:pt x="2743198" y="1628738"/>
                  </a:lnTo>
                  <a:close/>
                  <a:moveTo>
                    <a:pt x="2228848" y="1614082"/>
                  </a:moveTo>
                  <a:cubicBezTo>
                    <a:pt x="2178746" y="1596290"/>
                    <a:pt x="2135354" y="1563411"/>
                    <a:pt x="2104660" y="1520010"/>
                  </a:cubicBezTo>
                  <a:cubicBezTo>
                    <a:pt x="2073965" y="1476579"/>
                    <a:pt x="2057467" y="1424723"/>
                    <a:pt x="2057388" y="1371563"/>
                  </a:cubicBezTo>
                  <a:cubicBezTo>
                    <a:pt x="2057388" y="1324223"/>
                    <a:pt x="2095774" y="1285838"/>
                    <a:pt x="2143113" y="1285838"/>
                  </a:cubicBezTo>
                  <a:lnTo>
                    <a:pt x="2228838" y="1285838"/>
                  </a:lnTo>
                  <a:close/>
                  <a:moveTo>
                    <a:pt x="1371598" y="3429003"/>
                  </a:moveTo>
                  <a:lnTo>
                    <a:pt x="1543048" y="3429003"/>
                  </a:lnTo>
                  <a:lnTo>
                    <a:pt x="1543048" y="3600453"/>
                  </a:lnTo>
                  <a:lnTo>
                    <a:pt x="1371598" y="3600453"/>
                  </a:lnTo>
                  <a:close/>
                  <a:moveTo>
                    <a:pt x="342898" y="3257553"/>
                  </a:moveTo>
                  <a:lnTo>
                    <a:pt x="342898" y="3086103"/>
                  </a:lnTo>
                  <a:lnTo>
                    <a:pt x="1885948" y="3086103"/>
                  </a:lnTo>
                  <a:lnTo>
                    <a:pt x="1885948" y="3257553"/>
                  </a:lnTo>
                  <a:close/>
                  <a:moveTo>
                    <a:pt x="1028698" y="3429003"/>
                  </a:moveTo>
                  <a:lnTo>
                    <a:pt x="1200148" y="3429003"/>
                  </a:lnTo>
                  <a:lnTo>
                    <a:pt x="1200148" y="3600453"/>
                  </a:lnTo>
                  <a:lnTo>
                    <a:pt x="1028698" y="3600453"/>
                  </a:lnTo>
                  <a:close/>
                  <a:moveTo>
                    <a:pt x="685798" y="3429003"/>
                  </a:moveTo>
                  <a:lnTo>
                    <a:pt x="857248" y="3429003"/>
                  </a:lnTo>
                  <a:lnTo>
                    <a:pt x="857248" y="3600453"/>
                  </a:lnTo>
                  <a:lnTo>
                    <a:pt x="685798" y="3600453"/>
                  </a:lnTo>
                  <a:close/>
                  <a:moveTo>
                    <a:pt x="342898" y="3429003"/>
                  </a:moveTo>
                  <a:lnTo>
                    <a:pt x="514348" y="3429003"/>
                  </a:lnTo>
                  <a:lnTo>
                    <a:pt x="514348" y="3600453"/>
                  </a:lnTo>
                  <a:lnTo>
                    <a:pt x="342898" y="3600453"/>
                  </a:lnTo>
                  <a:close/>
                  <a:moveTo>
                    <a:pt x="1714498" y="3429003"/>
                  </a:moveTo>
                  <a:lnTo>
                    <a:pt x="1885948" y="3429003"/>
                  </a:lnTo>
                  <a:lnTo>
                    <a:pt x="1885948" y="3600453"/>
                  </a:lnTo>
                  <a:lnTo>
                    <a:pt x="1714498" y="3600453"/>
                  </a:lnTo>
                  <a:close/>
                  <a:moveTo>
                    <a:pt x="1885948" y="2914653"/>
                  </a:moveTo>
                  <a:lnTo>
                    <a:pt x="1714498" y="2914653"/>
                  </a:lnTo>
                  <a:lnTo>
                    <a:pt x="1714498" y="2743203"/>
                  </a:lnTo>
                  <a:lnTo>
                    <a:pt x="1885948" y="2743203"/>
                  </a:lnTo>
                  <a:close/>
                  <a:moveTo>
                    <a:pt x="1543048" y="2914653"/>
                  </a:moveTo>
                  <a:lnTo>
                    <a:pt x="1371598" y="2914653"/>
                  </a:lnTo>
                  <a:lnTo>
                    <a:pt x="1371598" y="2743203"/>
                  </a:lnTo>
                  <a:lnTo>
                    <a:pt x="1543048" y="2743203"/>
                  </a:lnTo>
                  <a:close/>
                  <a:moveTo>
                    <a:pt x="1200148" y="2914653"/>
                  </a:moveTo>
                  <a:lnTo>
                    <a:pt x="1028698" y="2914653"/>
                  </a:lnTo>
                  <a:lnTo>
                    <a:pt x="1028698" y="2743203"/>
                  </a:lnTo>
                  <a:lnTo>
                    <a:pt x="1200148" y="2743203"/>
                  </a:lnTo>
                  <a:close/>
                  <a:moveTo>
                    <a:pt x="857248" y="2914653"/>
                  </a:moveTo>
                  <a:lnTo>
                    <a:pt x="685798" y="2914653"/>
                  </a:lnTo>
                  <a:lnTo>
                    <a:pt x="685798" y="2743203"/>
                  </a:lnTo>
                  <a:lnTo>
                    <a:pt x="857248" y="2743203"/>
                  </a:lnTo>
                  <a:close/>
                  <a:moveTo>
                    <a:pt x="514348" y="2743203"/>
                  </a:moveTo>
                  <a:lnTo>
                    <a:pt x="514348" y="2914653"/>
                  </a:lnTo>
                  <a:lnTo>
                    <a:pt x="342898" y="2914653"/>
                  </a:lnTo>
                  <a:lnTo>
                    <a:pt x="342898" y="2743203"/>
                  </a:lnTo>
                  <a:close/>
                  <a:moveTo>
                    <a:pt x="342898" y="3771903"/>
                  </a:moveTo>
                  <a:lnTo>
                    <a:pt x="1885948" y="3771903"/>
                  </a:lnTo>
                  <a:lnTo>
                    <a:pt x="1885948" y="4200528"/>
                  </a:lnTo>
                  <a:cubicBezTo>
                    <a:pt x="1885948" y="4247867"/>
                    <a:pt x="1924333" y="4286253"/>
                    <a:pt x="1971673" y="4286253"/>
                  </a:cubicBezTo>
                  <a:cubicBezTo>
                    <a:pt x="2019013" y="4286253"/>
                    <a:pt x="2057398" y="4247867"/>
                    <a:pt x="2057398" y="4200528"/>
                  </a:cubicBezTo>
                  <a:lnTo>
                    <a:pt x="2057398" y="1712249"/>
                  </a:lnTo>
                  <a:cubicBezTo>
                    <a:pt x="2108980" y="1751898"/>
                    <a:pt x="2168997" y="1779183"/>
                    <a:pt x="2232787" y="1791968"/>
                  </a:cubicBezTo>
                  <a:cubicBezTo>
                    <a:pt x="2256858" y="2082091"/>
                    <a:pt x="2413612" y="2344821"/>
                    <a:pt x="2657473" y="2503829"/>
                  </a:cubicBezTo>
                  <a:lnTo>
                    <a:pt x="2657473" y="2657448"/>
                  </a:lnTo>
                  <a:lnTo>
                    <a:pt x="2314573" y="2657448"/>
                  </a:lnTo>
                  <a:cubicBezTo>
                    <a:pt x="2267233" y="2657448"/>
                    <a:pt x="2228848" y="2695833"/>
                    <a:pt x="2228848" y="2743173"/>
                  </a:cubicBezTo>
                  <a:cubicBezTo>
                    <a:pt x="2228848" y="2790513"/>
                    <a:pt x="2267233" y="2828898"/>
                    <a:pt x="2314573" y="2828898"/>
                  </a:cubicBezTo>
                  <a:lnTo>
                    <a:pt x="2332561" y="2828898"/>
                  </a:lnTo>
                  <a:lnTo>
                    <a:pt x="2720390" y="4457673"/>
                  </a:lnTo>
                  <a:lnTo>
                    <a:pt x="1457343" y="4457673"/>
                  </a:lnTo>
                  <a:lnTo>
                    <a:pt x="1457343" y="4029048"/>
                  </a:lnTo>
                  <a:cubicBezTo>
                    <a:pt x="1457343" y="4006309"/>
                    <a:pt x="1448310" y="3984501"/>
                    <a:pt x="1432233" y="3968423"/>
                  </a:cubicBezTo>
                  <a:cubicBezTo>
                    <a:pt x="1416155" y="3952356"/>
                    <a:pt x="1394347" y="3943323"/>
                    <a:pt x="1371618" y="3943323"/>
                  </a:cubicBezTo>
                  <a:lnTo>
                    <a:pt x="857268" y="3943323"/>
                  </a:lnTo>
                  <a:cubicBezTo>
                    <a:pt x="809928" y="3943323"/>
                    <a:pt x="771543" y="3981708"/>
                    <a:pt x="771543" y="4029048"/>
                  </a:cubicBezTo>
                  <a:lnTo>
                    <a:pt x="771543" y="4457673"/>
                  </a:lnTo>
                  <a:lnTo>
                    <a:pt x="342918" y="4457673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032CA64E-974C-4F50-9C0A-C52A43F86B2B}"/>
                </a:ext>
              </a:extLst>
            </p:cNvPr>
            <p:cNvSpPr/>
            <p:nvPr/>
          </p:nvSpPr>
          <p:spPr>
            <a:xfrm>
              <a:off x="-8919005" y="6794957"/>
              <a:ext cx="5143500" cy="171450"/>
            </a:xfrm>
            <a:custGeom>
              <a:avLst/>
              <a:gdLst>
                <a:gd name="connsiteX0" fmla="*/ 5057775 w 5143500"/>
                <a:gd name="connsiteY0" fmla="*/ 0 h 171450"/>
                <a:gd name="connsiteX1" fmla="*/ 85725 w 5143500"/>
                <a:gd name="connsiteY1" fmla="*/ 0 h 171450"/>
                <a:gd name="connsiteX2" fmla="*/ 0 w 5143500"/>
                <a:gd name="connsiteY2" fmla="*/ 85725 h 171450"/>
                <a:gd name="connsiteX3" fmla="*/ 85725 w 5143500"/>
                <a:gd name="connsiteY3" fmla="*/ 171450 h 171450"/>
                <a:gd name="connsiteX4" fmla="*/ 5057775 w 5143500"/>
                <a:gd name="connsiteY4" fmla="*/ 171450 h 171450"/>
                <a:gd name="connsiteX5" fmla="*/ 5143500 w 5143500"/>
                <a:gd name="connsiteY5" fmla="*/ 85725 h 171450"/>
                <a:gd name="connsiteX6" fmla="*/ 5057775 w 5143500"/>
                <a:gd name="connsiteY6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43500" h="171450">
                  <a:moveTo>
                    <a:pt x="5057775" y="0"/>
                  </a:move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ubicBezTo>
                    <a:pt x="0" y="133065"/>
                    <a:pt x="38385" y="171450"/>
                    <a:pt x="85725" y="171450"/>
                  </a:cubicBezTo>
                  <a:lnTo>
                    <a:pt x="5057775" y="171450"/>
                  </a:lnTo>
                  <a:cubicBezTo>
                    <a:pt x="5105115" y="171450"/>
                    <a:pt x="5143500" y="133065"/>
                    <a:pt x="5143500" y="85725"/>
                  </a:cubicBezTo>
                  <a:cubicBezTo>
                    <a:pt x="5143500" y="38385"/>
                    <a:pt x="5105115" y="0"/>
                    <a:pt x="5057775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EBA529A4-E479-459D-B0D5-F6DF0338F80C}"/>
                </a:ext>
              </a:extLst>
            </p:cNvPr>
            <p:cNvSpPr/>
            <p:nvPr/>
          </p:nvSpPr>
          <p:spPr>
            <a:xfrm>
              <a:off x="-6090075" y="3965970"/>
              <a:ext cx="685810" cy="249653"/>
            </a:xfrm>
            <a:custGeom>
              <a:avLst/>
              <a:gdLst>
                <a:gd name="connsiteX0" fmla="*/ 14397 w 685810"/>
                <a:gd name="connsiteY0" fmla="*/ 38172 h 249653"/>
                <a:gd name="connsiteX1" fmla="*/ 1651 w 685810"/>
                <a:gd name="connsiteY1" fmla="*/ 102540 h 249653"/>
                <a:gd name="connsiteX2" fmla="*/ 38165 w 685810"/>
                <a:gd name="connsiteY2" fmla="*/ 157080 h 249653"/>
                <a:gd name="connsiteX3" fmla="*/ 342905 w 685810"/>
                <a:gd name="connsiteY3" fmla="*/ 249653 h 249653"/>
                <a:gd name="connsiteX4" fmla="*/ 647645 w 685810"/>
                <a:gd name="connsiteY4" fmla="*/ 157080 h 249653"/>
                <a:gd name="connsiteX5" fmla="*/ 671413 w 685810"/>
                <a:gd name="connsiteY5" fmla="*/ 38172 h 249653"/>
                <a:gd name="connsiteX6" fmla="*/ 552505 w 685810"/>
                <a:gd name="connsiteY6" fmla="*/ 14404 h 249653"/>
                <a:gd name="connsiteX7" fmla="*/ 342895 w 685810"/>
                <a:gd name="connsiteY7" fmla="*/ 78007 h 249653"/>
                <a:gd name="connsiteX8" fmla="*/ 133286 w 685810"/>
                <a:gd name="connsiteY8" fmla="*/ 14404 h 249653"/>
                <a:gd name="connsiteX9" fmla="*/ 68908 w 685810"/>
                <a:gd name="connsiteY9" fmla="*/ 1658 h 249653"/>
                <a:gd name="connsiteX10" fmla="*/ 14377 w 685810"/>
                <a:gd name="connsiteY10" fmla="*/ 38172 h 24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5810" h="249653">
                  <a:moveTo>
                    <a:pt x="14397" y="38172"/>
                  </a:moveTo>
                  <a:cubicBezTo>
                    <a:pt x="1808" y="57081"/>
                    <a:pt x="-2787" y="80231"/>
                    <a:pt x="1651" y="102540"/>
                  </a:cubicBezTo>
                  <a:cubicBezTo>
                    <a:pt x="6089" y="124818"/>
                    <a:pt x="19217" y="144452"/>
                    <a:pt x="38165" y="157080"/>
                  </a:cubicBezTo>
                  <a:cubicBezTo>
                    <a:pt x="128328" y="217431"/>
                    <a:pt x="234412" y="249653"/>
                    <a:pt x="342905" y="249653"/>
                  </a:cubicBezTo>
                  <a:cubicBezTo>
                    <a:pt x="451399" y="249653"/>
                    <a:pt x="557482" y="217431"/>
                    <a:pt x="647645" y="157080"/>
                  </a:cubicBezTo>
                  <a:cubicBezTo>
                    <a:pt x="687020" y="130785"/>
                    <a:pt x="697660" y="77557"/>
                    <a:pt x="671413" y="38172"/>
                  </a:cubicBezTo>
                  <a:cubicBezTo>
                    <a:pt x="645118" y="-1212"/>
                    <a:pt x="591880" y="-11852"/>
                    <a:pt x="552505" y="14404"/>
                  </a:cubicBezTo>
                  <a:cubicBezTo>
                    <a:pt x="490470" y="55885"/>
                    <a:pt x="417530" y="78007"/>
                    <a:pt x="342895" y="78007"/>
                  </a:cubicBezTo>
                  <a:cubicBezTo>
                    <a:pt x="268261" y="78007"/>
                    <a:pt x="195331" y="55885"/>
                    <a:pt x="133286" y="14404"/>
                  </a:cubicBezTo>
                  <a:cubicBezTo>
                    <a:pt x="114377" y="1815"/>
                    <a:pt x="91226" y="-2780"/>
                    <a:pt x="68908" y="1658"/>
                  </a:cubicBezTo>
                  <a:cubicBezTo>
                    <a:pt x="46639" y="6096"/>
                    <a:pt x="27006" y="19224"/>
                    <a:pt x="14377" y="38172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4B72157E-5B2B-47B0-8726-224B40508EA4}"/>
                </a:ext>
              </a:extLst>
            </p:cNvPr>
            <p:cNvSpPr/>
            <p:nvPr/>
          </p:nvSpPr>
          <p:spPr>
            <a:xfrm>
              <a:off x="-8061755" y="3880307"/>
              <a:ext cx="514350" cy="514350"/>
            </a:xfrm>
            <a:custGeom>
              <a:avLst/>
              <a:gdLst>
                <a:gd name="connsiteX0" fmla="*/ 257175 w 514350"/>
                <a:gd name="connsiteY0" fmla="*/ 0 h 514350"/>
                <a:gd name="connsiteX1" fmla="*/ 171450 w 514350"/>
                <a:gd name="connsiteY1" fmla="*/ 85725 h 514350"/>
                <a:gd name="connsiteX2" fmla="*/ 171450 w 514350"/>
                <a:gd name="connsiteY2" fmla="*/ 171450 h 514350"/>
                <a:gd name="connsiteX3" fmla="*/ 85725 w 514350"/>
                <a:gd name="connsiteY3" fmla="*/ 171450 h 514350"/>
                <a:gd name="connsiteX4" fmla="*/ 0 w 514350"/>
                <a:gd name="connsiteY4" fmla="*/ 257175 h 514350"/>
                <a:gd name="connsiteX5" fmla="*/ 85725 w 514350"/>
                <a:gd name="connsiteY5" fmla="*/ 342900 h 514350"/>
                <a:gd name="connsiteX6" fmla="*/ 171450 w 514350"/>
                <a:gd name="connsiteY6" fmla="*/ 342900 h 514350"/>
                <a:gd name="connsiteX7" fmla="*/ 171450 w 514350"/>
                <a:gd name="connsiteY7" fmla="*/ 428625 h 514350"/>
                <a:gd name="connsiteX8" fmla="*/ 257175 w 514350"/>
                <a:gd name="connsiteY8" fmla="*/ 514350 h 514350"/>
                <a:gd name="connsiteX9" fmla="*/ 342900 w 514350"/>
                <a:gd name="connsiteY9" fmla="*/ 428625 h 514350"/>
                <a:gd name="connsiteX10" fmla="*/ 342900 w 514350"/>
                <a:gd name="connsiteY10" fmla="*/ 342900 h 514350"/>
                <a:gd name="connsiteX11" fmla="*/ 428625 w 514350"/>
                <a:gd name="connsiteY11" fmla="*/ 342900 h 514350"/>
                <a:gd name="connsiteX12" fmla="*/ 514350 w 514350"/>
                <a:gd name="connsiteY12" fmla="*/ 257175 h 514350"/>
                <a:gd name="connsiteX13" fmla="*/ 428625 w 514350"/>
                <a:gd name="connsiteY13" fmla="*/ 171450 h 514350"/>
                <a:gd name="connsiteX14" fmla="*/ 342900 w 514350"/>
                <a:gd name="connsiteY14" fmla="*/ 171450 h 514350"/>
                <a:gd name="connsiteX15" fmla="*/ 342900 w 514350"/>
                <a:gd name="connsiteY15" fmla="*/ 85725 h 514350"/>
                <a:gd name="connsiteX16" fmla="*/ 317800 w 514350"/>
                <a:gd name="connsiteY16" fmla="*/ 25100 h 514350"/>
                <a:gd name="connsiteX17" fmla="*/ 257175 w 514350"/>
                <a:gd name="connsiteY17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4350" h="514350">
                  <a:moveTo>
                    <a:pt x="257175" y="0"/>
                  </a:moveTo>
                  <a:cubicBezTo>
                    <a:pt x="209835" y="0"/>
                    <a:pt x="171450" y="38385"/>
                    <a:pt x="171450" y="85725"/>
                  </a:cubicBezTo>
                  <a:lnTo>
                    <a:pt x="171450" y="171450"/>
                  </a:lnTo>
                  <a:lnTo>
                    <a:pt x="85725" y="171450"/>
                  </a:lnTo>
                  <a:cubicBezTo>
                    <a:pt x="38385" y="171450"/>
                    <a:pt x="0" y="209835"/>
                    <a:pt x="0" y="257175"/>
                  </a:cubicBezTo>
                  <a:cubicBezTo>
                    <a:pt x="0" y="304515"/>
                    <a:pt x="38385" y="342900"/>
                    <a:pt x="85725" y="342900"/>
                  </a:cubicBezTo>
                  <a:lnTo>
                    <a:pt x="171450" y="342900"/>
                  </a:lnTo>
                  <a:lnTo>
                    <a:pt x="171450" y="428625"/>
                  </a:lnTo>
                  <a:cubicBezTo>
                    <a:pt x="171450" y="475965"/>
                    <a:pt x="209835" y="514350"/>
                    <a:pt x="257175" y="514350"/>
                  </a:cubicBezTo>
                  <a:cubicBezTo>
                    <a:pt x="304515" y="514350"/>
                    <a:pt x="342900" y="475965"/>
                    <a:pt x="342900" y="428625"/>
                  </a:cubicBezTo>
                  <a:lnTo>
                    <a:pt x="342900" y="342900"/>
                  </a:lnTo>
                  <a:lnTo>
                    <a:pt x="428625" y="342900"/>
                  </a:lnTo>
                  <a:cubicBezTo>
                    <a:pt x="475965" y="342900"/>
                    <a:pt x="514350" y="304515"/>
                    <a:pt x="514350" y="257175"/>
                  </a:cubicBezTo>
                  <a:cubicBezTo>
                    <a:pt x="514350" y="209835"/>
                    <a:pt x="475965" y="171450"/>
                    <a:pt x="428625" y="171450"/>
                  </a:cubicBezTo>
                  <a:lnTo>
                    <a:pt x="342900" y="171450"/>
                  </a:lnTo>
                  <a:lnTo>
                    <a:pt x="342900" y="85725"/>
                  </a:lnTo>
                  <a:cubicBezTo>
                    <a:pt x="342900" y="62996"/>
                    <a:pt x="333867" y="41177"/>
                    <a:pt x="317800" y="25100"/>
                  </a:cubicBezTo>
                  <a:cubicBezTo>
                    <a:pt x="301723" y="9033"/>
                    <a:pt x="279904" y="0"/>
                    <a:pt x="257175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744000A8-8B9D-4872-8404-CF12F40E1A23}"/>
              </a:ext>
            </a:extLst>
          </p:cNvPr>
          <p:cNvGrpSpPr/>
          <p:nvPr/>
        </p:nvGrpSpPr>
        <p:grpSpPr>
          <a:xfrm>
            <a:off x="4290927" y="7655289"/>
            <a:ext cx="354455" cy="354452"/>
            <a:chOff x="-7630713" y="1830619"/>
            <a:chExt cx="5486503" cy="5486456"/>
          </a:xfrm>
          <a:solidFill>
            <a:srgbClr val="191925"/>
          </a:solidFill>
        </p:grpSpPr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307A9C86-0676-4C80-B162-D7EC7794B34C}"/>
                </a:ext>
              </a:extLst>
            </p:cNvPr>
            <p:cNvSpPr/>
            <p:nvPr/>
          </p:nvSpPr>
          <p:spPr>
            <a:xfrm>
              <a:off x="-5316190" y="1830619"/>
              <a:ext cx="1336162" cy="3171841"/>
            </a:xfrm>
            <a:custGeom>
              <a:avLst/>
              <a:gdLst>
                <a:gd name="connsiteX0" fmla="*/ 177386 w 1336162"/>
                <a:gd name="connsiteY0" fmla="*/ 836585 h 3171841"/>
                <a:gd name="connsiteX1" fmla="*/ 482400 w 1336162"/>
                <a:gd name="connsiteY1" fmla="*/ 908686 h 3171841"/>
                <a:gd name="connsiteX2" fmla="*/ 510724 w 1336162"/>
                <a:gd name="connsiteY2" fmla="*/ 942747 h 3171841"/>
                <a:gd name="connsiteX3" fmla="*/ 481715 w 1336162"/>
                <a:gd name="connsiteY3" fmla="*/ 1019556 h 3171841"/>
                <a:gd name="connsiteX4" fmla="*/ 254156 w 1336162"/>
                <a:gd name="connsiteY4" fmla="*/ 2845744 h 3171841"/>
                <a:gd name="connsiteX5" fmla="*/ 412057 w 1336162"/>
                <a:gd name="connsiteY5" fmla="*/ 2965181 h 3171841"/>
                <a:gd name="connsiteX6" fmla="*/ 423764 w 1336162"/>
                <a:gd name="connsiteY6" fmla="*/ 2871304 h 3171841"/>
                <a:gd name="connsiteX7" fmla="*/ 428663 w 1336162"/>
                <a:gd name="connsiteY7" fmla="*/ 2871804 h 3171841"/>
                <a:gd name="connsiteX8" fmla="*/ 1132255 w 1336162"/>
                <a:gd name="connsiteY8" fmla="*/ 2871804 h 3171841"/>
                <a:gd name="connsiteX9" fmla="*/ 1163752 w 1336162"/>
                <a:gd name="connsiteY9" fmla="*/ 3171841 h 3171841"/>
                <a:gd name="connsiteX10" fmla="*/ 1336163 w 1336162"/>
                <a:gd name="connsiteY10" fmla="*/ 3171841 h 3171841"/>
                <a:gd name="connsiteX11" fmla="*/ 1110711 w 1336162"/>
                <a:gd name="connsiteY11" fmla="*/ 1023034 h 3171841"/>
                <a:gd name="connsiteX12" fmla="*/ 1073776 w 1336162"/>
                <a:gd name="connsiteY12" fmla="*/ 930837 h 3171841"/>
                <a:gd name="connsiteX13" fmla="*/ 994478 w 1336162"/>
                <a:gd name="connsiteY13" fmla="*/ 871135 h 3171841"/>
                <a:gd name="connsiteX14" fmla="*/ 1020773 w 1336162"/>
                <a:gd name="connsiteY14" fmla="*/ 668041 h 3171841"/>
                <a:gd name="connsiteX15" fmla="*/ 906960 w 1336162"/>
                <a:gd name="connsiteY15" fmla="*/ 491692 h 3171841"/>
                <a:gd name="connsiteX16" fmla="*/ 912965 w 1336162"/>
                <a:gd name="connsiteY16" fmla="*/ 409870 h 3171841"/>
                <a:gd name="connsiteX17" fmla="*/ 479442 w 1336162"/>
                <a:gd name="connsiteY17" fmla="*/ 800 h 3171841"/>
                <a:gd name="connsiteX18" fmla="*/ 479442 w 1336162"/>
                <a:gd name="connsiteY18" fmla="*/ 762 h 3171841"/>
                <a:gd name="connsiteX19" fmla="*/ 415917 w 1336162"/>
                <a:gd name="connsiteY19" fmla="*/ 17639 h 3171841"/>
                <a:gd name="connsiteX20" fmla="*/ 383008 w 1336162"/>
                <a:gd name="connsiteY20" fmla="*/ 74509 h 3171841"/>
                <a:gd name="connsiteX21" fmla="*/ 400036 w 1336162"/>
                <a:gd name="connsiteY21" fmla="*/ 137961 h 3171841"/>
                <a:gd name="connsiteX22" fmla="*/ 456977 w 1336162"/>
                <a:gd name="connsiteY22" fmla="*/ 170721 h 3171841"/>
                <a:gd name="connsiteX23" fmla="*/ 741515 w 1336162"/>
                <a:gd name="connsiteY23" fmla="*/ 411897 h 3171841"/>
                <a:gd name="connsiteX24" fmla="*/ 728700 w 1336162"/>
                <a:gd name="connsiteY24" fmla="*/ 504396 h 3171841"/>
                <a:gd name="connsiteX25" fmla="*/ 775080 w 1336162"/>
                <a:gd name="connsiteY25" fmla="*/ 611440 h 3171841"/>
                <a:gd name="connsiteX26" fmla="*/ 853839 w 1336162"/>
                <a:gd name="connsiteY26" fmla="*/ 707191 h 3171841"/>
                <a:gd name="connsiteX27" fmla="*/ 831453 w 1336162"/>
                <a:gd name="connsiteY27" fmla="*/ 808219 h 3171841"/>
                <a:gd name="connsiteX28" fmla="*/ 723106 w 1336162"/>
                <a:gd name="connsiteY28" fmla="*/ 857243 h 3171841"/>
                <a:gd name="connsiteX29" fmla="*/ 612889 w 1336162"/>
                <a:gd name="connsiteY29" fmla="*/ 797197 h 3171841"/>
                <a:gd name="connsiteX30" fmla="*/ 495822 w 1336162"/>
                <a:gd name="connsiteY30" fmla="*/ 732980 h 3171841"/>
                <a:gd name="connsiteX31" fmla="*/ 495783 w 1336162"/>
                <a:gd name="connsiteY31" fmla="*/ 733018 h 3171841"/>
                <a:gd name="connsiteX32" fmla="*/ 277415 w 1336162"/>
                <a:gd name="connsiteY32" fmla="*/ 697389 h 3171841"/>
                <a:gd name="connsiteX33" fmla="*/ 171292 w 1336162"/>
                <a:gd name="connsiteY33" fmla="*/ 445955 h 3171841"/>
                <a:gd name="connsiteX34" fmla="*/ 142439 w 1336162"/>
                <a:gd name="connsiteY34" fmla="*/ 386713 h 3171841"/>
                <a:gd name="connsiteX35" fmla="*/ 80061 w 1336162"/>
                <a:gd name="connsiteY35" fmla="*/ 365472 h 3171841"/>
                <a:gd name="connsiteX36" fmla="*/ 21043 w 1336162"/>
                <a:gd name="connsiteY36" fmla="*/ 394749 h 3171841"/>
                <a:gd name="connsiteX37" fmla="*/ 224 w 1336162"/>
                <a:gd name="connsiteY37" fmla="*/ 457244 h 3171841"/>
                <a:gd name="connsiteX38" fmla="*/ 177376 w 1336162"/>
                <a:gd name="connsiteY38" fmla="*/ 836580 h 3171841"/>
                <a:gd name="connsiteX39" fmla="*/ 923115 w 1336162"/>
                <a:gd name="connsiteY39" fmla="*/ 1028697 h 3171841"/>
                <a:gd name="connsiteX40" fmla="*/ 923076 w 1336162"/>
                <a:gd name="connsiteY40" fmla="*/ 1028736 h 3171841"/>
                <a:gd name="connsiteX41" fmla="*/ 940182 w 1336162"/>
                <a:gd name="connsiteY41" fmla="*/ 1040943 h 3171841"/>
                <a:gd name="connsiteX42" fmla="*/ 988364 w 1336162"/>
                <a:gd name="connsiteY42" fmla="*/ 1500224 h 3171841"/>
                <a:gd name="connsiteX43" fmla="*/ 594568 w 1336162"/>
                <a:gd name="connsiteY43" fmla="*/ 1500224 h 3171841"/>
                <a:gd name="connsiteX44" fmla="*/ 651822 w 1336162"/>
                <a:gd name="connsiteY44" fmla="*/ 1040757 h 3171841"/>
                <a:gd name="connsiteX45" fmla="*/ 668928 w 1336162"/>
                <a:gd name="connsiteY45" fmla="*/ 1028736 h 3171841"/>
                <a:gd name="connsiteX46" fmla="*/ 519826 w 1336162"/>
                <a:gd name="connsiteY46" fmla="*/ 2100309 h 3171841"/>
                <a:gd name="connsiteX47" fmla="*/ 573210 w 1336162"/>
                <a:gd name="connsiteY47" fmla="*/ 1671683 h 3171841"/>
                <a:gd name="connsiteX48" fmla="*/ 1006352 w 1336162"/>
                <a:gd name="connsiteY48" fmla="*/ 1671723 h 3171841"/>
                <a:gd name="connsiteX49" fmla="*/ 1051321 w 1336162"/>
                <a:gd name="connsiteY49" fmla="*/ 2100348 h 3171841"/>
                <a:gd name="connsiteX50" fmla="*/ 498664 w 1336162"/>
                <a:gd name="connsiteY50" fmla="*/ 2270191 h 3171841"/>
                <a:gd name="connsiteX51" fmla="*/ 514388 w 1336162"/>
                <a:gd name="connsiteY51" fmla="*/ 2271798 h 3171841"/>
                <a:gd name="connsiteX52" fmla="*/ 1069308 w 1336162"/>
                <a:gd name="connsiteY52" fmla="*/ 2271798 h 3171841"/>
                <a:gd name="connsiteX53" fmla="*/ 1114277 w 1336162"/>
                <a:gd name="connsiteY53" fmla="*/ 2700423 h 3171841"/>
                <a:gd name="connsiteX54" fmla="*/ 445044 w 1336162"/>
                <a:gd name="connsiteY54" fmla="*/ 2700423 h 317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336162" h="3171841">
                  <a:moveTo>
                    <a:pt x="177386" y="836585"/>
                  </a:moveTo>
                  <a:cubicBezTo>
                    <a:pt x="266785" y="897205"/>
                    <a:pt x="375318" y="922884"/>
                    <a:pt x="482400" y="908686"/>
                  </a:cubicBezTo>
                  <a:cubicBezTo>
                    <a:pt x="491551" y="920282"/>
                    <a:pt x="500505" y="932107"/>
                    <a:pt x="510724" y="942747"/>
                  </a:cubicBezTo>
                  <a:cubicBezTo>
                    <a:pt x="495294" y="965786"/>
                    <a:pt x="485349" y="992075"/>
                    <a:pt x="481715" y="1019556"/>
                  </a:cubicBezTo>
                  <a:lnTo>
                    <a:pt x="254156" y="2845744"/>
                  </a:lnTo>
                  <a:cubicBezTo>
                    <a:pt x="311675" y="2878652"/>
                    <a:pt x="364756" y="2918801"/>
                    <a:pt x="412057" y="2965181"/>
                  </a:cubicBezTo>
                  <a:lnTo>
                    <a:pt x="423764" y="2871304"/>
                  </a:lnTo>
                  <a:cubicBezTo>
                    <a:pt x="425410" y="2871383"/>
                    <a:pt x="426978" y="2871804"/>
                    <a:pt x="428663" y="2871804"/>
                  </a:cubicBezTo>
                  <a:lnTo>
                    <a:pt x="1132255" y="2871804"/>
                  </a:lnTo>
                  <a:lnTo>
                    <a:pt x="1163752" y="3171841"/>
                  </a:lnTo>
                  <a:lnTo>
                    <a:pt x="1336163" y="3171841"/>
                  </a:lnTo>
                  <a:lnTo>
                    <a:pt x="1110711" y="1023034"/>
                  </a:lnTo>
                  <a:cubicBezTo>
                    <a:pt x="1107037" y="989508"/>
                    <a:pt x="1094291" y="957626"/>
                    <a:pt x="1073776" y="930837"/>
                  </a:cubicBezTo>
                  <a:cubicBezTo>
                    <a:pt x="1053300" y="904086"/>
                    <a:pt x="1025867" y="883421"/>
                    <a:pt x="994478" y="871135"/>
                  </a:cubicBezTo>
                  <a:cubicBezTo>
                    <a:pt x="1027935" y="808984"/>
                    <a:pt x="1037310" y="736650"/>
                    <a:pt x="1020773" y="668041"/>
                  </a:cubicBezTo>
                  <a:cubicBezTo>
                    <a:pt x="1004275" y="597930"/>
                    <a:pt x="964057" y="535622"/>
                    <a:pt x="906960" y="491692"/>
                  </a:cubicBezTo>
                  <a:cubicBezTo>
                    <a:pt x="911251" y="464635"/>
                    <a:pt x="913240" y="437272"/>
                    <a:pt x="912965" y="409870"/>
                  </a:cubicBezTo>
                  <a:cubicBezTo>
                    <a:pt x="911701" y="303943"/>
                    <a:pt x="867007" y="51971"/>
                    <a:pt x="479442" y="800"/>
                  </a:cubicBezTo>
                  <a:lnTo>
                    <a:pt x="479442" y="762"/>
                  </a:lnTo>
                  <a:cubicBezTo>
                    <a:pt x="456869" y="-2262"/>
                    <a:pt x="434022" y="3785"/>
                    <a:pt x="415917" y="17639"/>
                  </a:cubicBezTo>
                  <a:cubicBezTo>
                    <a:pt x="397851" y="31455"/>
                    <a:pt x="385987" y="51929"/>
                    <a:pt x="383008" y="74509"/>
                  </a:cubicBezTo>
                  <a:cubicBezTo>
                    <a:pt x="380059" y="97050"/>
                    <a:pt x="386143" y="119897"/>
                    <a:pt x="400036" y="137961"/>
                  </a:cubicBezTo>
                  <a:cubicBezTo>
                    <a:pt x="413928" y="156025"/>
                    <a:pt x="434404" y="167812"/>
                    <a:pt x="456977" y="170721"/>
                  </a:cubicBezTo>
                  <a:cubicBezTo>
                    <a:pt x="646836" y="195826"/>
                    <a:pt x="739908" y="274698"/>
                    <a:pt x="741515" y="411897"/>
                  </a:cubicBezTo>
                  <a:cubicBezTo>
                    <a:pt x="741868" y="443202"/>
                    <a:pt x="737538" y="474392"/>
                    <a:pt x="728700" y="504396"/>
                  </a:cubicBezTo>
                  <a:cubicBezTo>
                    <a:pt x="713770" y="546723"/>
                    <a:pt x="733981" y="593412"/>
                    <a:pt x="775080" y="611440"/>
                  </a:cubicBezTo>
                  <a:cubicBezTo>
                    <a:pt x="814886" y="629235"/>
                    <a:pt x="844042" y="664673"/>
                    <a:pt x="853839" y="707191"/>
                  </a:cubicBezTo>
                  <a:cubicBezTo>
                    <a:pt x="862912" y="742515"/>
                    <a:pt x="854604" y="780019"/>
                    <a:pt x="831453" y="808219"/>
                  </a:cubicBezTo>
                  <a:cubicBezTo>
                    <a:pt x="803747" y="838912"/>
                    <a:pt x="764480" y="856669"/>
                    <a:pt x="723106" y="857243"/>
                  </a:cubicBezTo>
                  <a:cubicBezTo>
                    <a:pt x="678481" y="857510"/>
                    <a:pt x="636843" y="834855"/>
                    <a:pt x="612889" y="797197"/>
                  </a:cubicBezTo>
                  <a:cubicBezTo>
                    <a:pt x="578060" y="752843"/>
                    <a:pt x="550432" y="717519"/>
                    <a:pt x="495822" y="732980"/>
                  </a:cubicBezTo>
                  <a:lnTo>
                    <a:pt x="495783" y="733018"/>
                  </a:lnTo>
                  <a:cubicBezTo>
                    <a:pt x="421158" y="750125"/>
                    <a:pt x="342781" y="737304"/>
                    <a:pt x="277415" y="697389"/>
                  </a:cubicBezTo>
                  <a:cubicBezTo>
                    <a:pt x="214997" y="651848"/>
                    <a:pt x="179287" y="567273"/>
                    <a:pt x="171292" y="445955"/>
                  </a:cubicBezTo>
                  <a:cubicBezTo>
                    <a:pt x="169950" y="423146"/>
                    <a:pt x="159545" y="401830"/>
                    <a:pt x="142439" y="386713"/>
                  </a:cubicBezTo>
                  <a:cubicBezTo>
                    <a:pt x="125294" y="371634"/>
                    <a:pt x="102869" y="363980"/>
                    <a:pt x="80061" y="365472"/>
                  </a:cubicBezTo>
                  <a:cubicBezTo>
                    <a:pt x="57283" y="366965"/>
                    <a:pt x="36043" y="377528"/>
                    <a:pt x="21043" y="394749"/>
                  </a:cubicBezTo>
                  <a:cubicBezTo>
                    <a:pt x="6044" y="411971"/>
                    <a:pt x="-1422" y="434474"/>
                    <a:pt x="224" y="457244"/>
                  </a:cubicBezTo>
                  <a:cubicBezTo>
                    <a:pt x="11746" y="632172"/>
                    <a:pt x="71332" y="759770"/>
                    <a:pt x="177376" y="836580"/>
                  </a:cubicBezTo>
                  <a:close/>
                  <a:moveTo>
                    <a:pt x="923115" y="1028697"/>
                  </a:moveTo>
                  <a:lnTo>
                    <a:pt x="923076" y="1028736"/>
                  </a:lnTo>
                  <a:cubicBezTo>
                    <a:pt x="931002" y="1028119"/>
                    <a:pt x="938193" y="1033253"/>
                    <a:pt x="940182" y="1040943"/>
                  </a:cubicBezTo>
                  <a:lnTo>
                    <a:pt x="988364" y="1500224"/>
                  </a:lnTo>
                  <a:lnTo>
                    <a:pt x="594568" y="1500224"/>
                  </a:lnTo>
                  <a:lnTo>
                    <a:pt x="651822" y="1040757"/>
                  </a:lnTo>
                  <a:cubicBezTo>
                    <a:pt x="653929" y="1033184"/>
                    <a:pt x="661081" y="1028168"/>
                    <a:pt x="668928" y="1028736"/>
                  </a:cubicBezTo>
                  <a:close/>
                  <a:moveTo>
                    <a:pt x="519826" y="2100309"/>
                  </a:moveTo>
                  <a:lnTo>
                    <a:pt x="573210" y="1671683"/>
                  </a:lnTo>
                  <a:lnTo>
                    <a:pt x="1006352" y="1671723"/>
                  </a:lnTo>
                  <a:lnTo>
                    <a:pt x="1051321" y="2100348"/>
                  </a:lnTo>
                  <a:close/>
                  <a:moveTo>
                    <a:pt x="498664" y="2270191"/>
                  </a:moveTo>
                  <a:cubicBezTo>
                    <a:pt x="503827" y="2271220"/>
                    <a:pt x="509108" y="2271759"/>
                    <a:pt x="514388" y="2271798"/>
                  </a:cubicBezTo>
                  <a:lnTo>
                    <a:pt x="1069308" y="2271798"/>
                  </a:lnTo>
                  <a:lnTo>
                    <a:pt x="1114277" y="2700423"/>
                  </a:lnTo>
                  <a:lnTo>
                    <a:pt x="445044" y="2700423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9B70936B-AFF4-43EE-B4A6-AABCEE8E371D}"/>
                </a:ext>
              </a:extLst>
            </p:cNvPr>
            <p:cNvSpPr/>
            <p:nvPr/>
          </p:nvSpPr>
          <p:spPr>
            <a:xfrm>
              <a:off x="-3258732" y="5859731"/>
              <a:ext cx="771525" cy="771525"/>
            </a:xfrm>
            <a:custGeom>
              <a:avLst/>
              <a:gdLst>
                <a:gd name="connsiteX0" fmla="*/ 685800 w 771525"/>
                <a:gd name="connsiteY0" fmla="*/ 771525 h 771525"/>
                <a:gd name="connsiteX1" fmla="*/ 771525 w 771525"/>
                <a:gd name="connsiteY1" fmla="*/ 685800 h 771525"/>
                <a:gd name="connsiteX2" fmla="*/ 771525 w 771525"/>
                <a:gd name="connsiteY2" fmla="*/ 85725 h 771525"/>
                <a:gd name="connsiteX3" fmla="*/ 685800 w 771525"/>
                <a:gd name="connsiteY3" fmla="*/ 0 h 771525"/>
                <a:gd name="connsiteX4" fmla="*/ 85725 w 771525"/>
                <a:gd name="connsiteY4" fmla="*/ 0 h 771525"/>
                <a:gd name="connsiteX5" fmla="*/ 0 w 771525"/>
                <a:gd name="connsiteY5" fmla="*/ 85725 h 771525"/>
                <a:gd name="connsiteX6" fmla="*/ 0 w 771525"/>
                <a:gd name="connsiteY6" fmla="*/ 685800 h 771525"/>
                <a:gd name="connsiteX7" fmla="*/ 85725 w 771525"/>
                <a:gd name="connsiteY7" fmla="*/ 771525 h 771525"/>
                <a:gd name="connsiteX8" fmla="*/ 171450 w 771525"/>
                <a:gd name="connsiteY8" fmla="*/ 171450 h 771525"/>
                <a:gd name="connsiteX9" fmla="*/ 600075 w 771525"/>
                <a:gd name="connsiteY9" fmla="*/ 171450 h 771525"/>
                <a:gd name="connsiteX10" fmla="*/ 600075 w 771525"/>
                <a:gd name="connsiteY10" fmla="*/ 600075 h 771525"/>
                <a:gd name="connsiteX11" fmla="*/ 171450 w 771525"/>
                <a:gd name="connsiteY11" fmla="*/ 600075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5" h="771525">
                  <a:moveTo>
                    <a:pt x="685800" y="771525"/>
                  </a:moveTo>
                  <a:cubicBezTo>
                    <a:pt x="733140" y="771525"/>
                    <a:pt x="771525" y="733140"/>
                    <a:pt x="771525" y="685800"/>
                  </a:cubicBezTo>
                  <a:lnTo>
                    <a:pt x="771525" y="85725"/>
                  </a:lnTo>
                  <a:cubicBezTo>
                    <a:pt x="771525" y="38385"/>
                    <a:pt x="733140" y="0"/>
                    <a:pt x="685800" y="0"/>
                  </a:cubicBez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lnTo>
                    <a:pt x="0" y="685800"/>
                  </a:lnTo>
                  <a:cubicBezTo>
                    <a:pt x="0" y="733140"/>
                    <a:pt x="38385" y="771525"/>
                    <a:pt x="85725" y="771525"/>
                  </a:cubicBezTo>
                  <a:close/>
                  <a:moveTo>
                    <a:pt x="171450" y="171450"/>
                  </a:moveTo>
                  <a:lnTo>
                    <a:pt x="600075" y="171450"/>
                  </a:lnTo>
                  <a:lnTo>
                    <a:pt x="600075" y="600075"/>
                  </a:lnTo>
                  <a:lnTo>
                    <a:pt x="171450" y="600075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84F614FF-B7B5-4CEF-A072-2F875E8BA6DE}"/>
                </a:ext>
              </a:extLst>
            </p:cNvPr>
            <p:cNvSpPr/>
            <p:nvPr/>
          </p:nvSpPr>
          <p:spPr>
            <a:xfrm>
              <a:off x="-4201707" y="5859731"/>
              <a:ext cx="771525" cy="771525"/>
            </a:xfrm>
            <a:custGeom>
              <a:avLst/>
              <a:gdLst>
                <a:gd name="connsiteX0" fmla="*/ 685800 w 771525"/>
                <a:gd name="connsiteY0" fmla="*/ 771525 h 771525"/>
                <a:gd name="connsiteX1" fmla="*/ 771525 w 771525"/>
                <a:gd name="connsiteY1" fmla="*/ 685800 h 771525"/>
                <a:gd name="connsiteX2" fmla="*/ 771525 w 771525"/>
                <a:gd name="connsiteY2" fmla="*/ 85725 h 771525"/>
                <a:gd name="connsiteX3" fmla="*/ 685800 w 771525"/>
                <a:gd name="connsiteY3" fmla="*/ 0 h 771525"/>
                <a:gd name="connsiteX4" fmla="*/ 85725 w 771525"/>
                <a:gd name="connsiteY4" fmla="*/ 0 h 771525"/>
                <a:gd name="connsiteX5" fmla="*/ 0 w 771525"/>
                <a:gd name="connsiteY5" fmla="*/ 85725 h 771525"/>
                <a:gd name="connsiteX6" fmla="*/ 0 w 771525"/>
                <a:gd name="connsiteY6" fmla="*/ 685800 h 771525"/>
                <a:gd name="connsiteX7" fmla="*/ 85725 w 771525"/>
                <a:gd name="connsiteY7" fmla="*/ 771525 h 771525"/>
                <a:gd name="connsiteX8" fmla="*/ 171450 w 771525"/>
                <a:gd name="connsiteY8" fmla="*/ 171450 h 771525"/>
                <a:gd name="connsiteX9" fmla="*/ 600075 w 771525"/>
                <a:gd name="connsiteY9" fmla="*/ 171450 h 771525"/>
                <a:gd name="connsiteX10" fmla="*/ 600075 w 771525"/>
                <a:gd name="connsiteY10" fmla="*/ 600075 h 771525"/>
                <a:gd name="connsiteX11" fmla="*/ 171450 w 771525"/>
                <a:gd name="connsiteY11" fmla="*/ 600075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5" h="771525">
                  <a:moveTo>
                    <a:pt x="685800" y="771525"/>
                  </a:moveTo>
                  <a:cubicBezTo>
                    <a:pt x="733140" y="771525"/>
                    <a:pt x="771525" y="733140"/>
                    <a:pt x="771525" y="685800"/>
                  </a:cubicBezTo>
                  <a:lnTo>
                    <a:pt x="771525" y="85725"/>
                  </a:lnTo>
                  <a:cubicBezTo>
                    <a:pt x="771525" y="38385"/>
                    <a:pt x="733140" y="0"/>
                    <a:pt x="685800" y="0"/>
                  </a:cubicBez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lnTo>
                    <a:pt x="0" y="685800"/>
                  </a:lnTo>
                  <a:cubicBezTo>
                    <a:pt x="0" y="733140"/>
                    <a:pt x="38385" y="771525"/>
                    <a:pt x="85725" y="771525"/>
                  </a:cubicBezTo>
                  <a:close/>
                  <a:moveTo>
                    <a:pt x="171450" y="171450"/>
                  </a:moveTo>
                  <a:lnTo>
                    <a:pt x="600075" y="171450"/>
                  </a:lnTo>
                  <a:lnTo>
                    <a:pt x="600075" y="600075"/>
                  </a:lnTo>
                  <a:lnTo>
                    <a:pt x="171450" y="600075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5BBA3DAF-5A2C-4550-A1DB-062828AF238C}"/>
                </a:ext>
              </a:extLst>
            </p:cNvPr>
            <p:cNvSpPr/>
            <p:nvPr/>
          </p:nvSpPr>
          <p:spPr>
            <a:xfrm>
              <a:off x="-3858898" y="1873560"/>
              <a:ext cx="1101788" cy="3128959"/>
            </a:xfrm>
            <a:custGeom>
              <a:avLst/>
              <a:gdLst>
                <a:gd name="connsiteX0" fmla="*/ 298414 w 1101788"/>
                <a:gd name="connsiteY0" fmla="*/ 1349074 h 3128959"/>
                <a:gd name="connsiteX1" fmla="*/ 367150 w 1101788"/>
                <a:gd name="connsiteY1" fmla="*/ 1466443 h 3128959"/>
                <a:gd name="connsiteX2" fmla="*/ 310317 w 1101788"/>
                <a:gd name="connsiteY2" fmla="*/ 1576700 h 3128959"/>
                <a:gd name="connsiteX3" fmla="*/ 116941 w 1101788"/>
                <a:gd name="connsiteY3" fmla="*/ 3128960 h 3128959"/>
                <a:gd name="connsiteX4" fmla="*/ 289694 w 1101788"/>
                <a:gd name="connsiteY4" fmla="*/ 3128960 h 3128959"/>
                <a:gd name="connsiteX5" fmla="*/ 327276 w 1101788"/>
                <a:gd name="connsiteY5" fmla="*/ 2827355 h 3128959"/>
                <a:gd name="connsiteX6" fmla="*/ 897920 w 1101788"/>
                <a:gd name="connsiteY6" fmla="*/ 2828922 h 3128959"/>
                <a:gd name="connsiteX7" fmla="*/ 929418 w 1101788"/>
                <a:gd name="connsiteY7" fmla="*/ 3128960 h 3128959"/>
                <a:gd name="connsiteX8" fmla="*/ 1101789 w 1101788"/>
                <a:gd name="connsiteY8" fmla="*/ 3128960 h 3128959"/>
                <a:gd name="connsiteX9" fmla="*/ 939333 w 1101788"/>
                <a:gd name="connsiteY9" fmla="*/ 1580227 h 3128959"/>
                <a:gd name="connsiteX10" fmla="*/ 893022 w 1101788"/>
                <a:gd name="connsiteY10" fmla="*/ 1477014 h 3128959"/>
                <a:gd name="connsiteX11" fmla="*/ 795354 w 1101788"/>
                <a:gd name="connsiteY11" fmla="*/ 1419995 h 3128959"/>
                <a:gd name="connsiteX12" fmla="*/ 847132 w 1101788"/>
                <a:gd name="connsiteY12" fmla="*/ 1275330 h 3128959"/>
                <a:gd name="connsiteX13" fmla="*/ 804201 w 1101788"/>
                <a:gd name="connsiteY13" fmla="*/ 1087735 h 3128959"/>
                <a:gd name="connsiteX14" fmla="*/ 847631 w 1101788"/>
                <a:gd name="connsiteY14" fmla="*/ 797297 h 3128959"/>
                <a:gd name="connsiteX15" fmla="*/ 652032 w 1101788"/>
                <a:gd name="connsiteY15" fmla="*/ 544335 h 3128959"/>
                <a:gd name="connsiteX16" fmla="*/ 626010 w 1101788"/>
                <a:gd name="connsiteY16" fmla="*/ 248275 h 3128959"/>
                <a:gd name="connsiteX17" fmla="*/ 275419 w 1101788"/>
                <a:gd name="connsiteY17" fmla="*/ 2504 h 3128959"/>
                <a:gd name="connsiteX18" fmla="*/ 275419 w 1101788"/>
                <a:gd name="connsiteY18" fmla="*/ 2465 h 3128959"/>
                <a:gd name="connsiteX19" fmla="*/ 171824 w 1101788"/>
                <a:gd name="connsiteY19" fmla="*/ 65268 h 3128959"/>
                <a:gd name="connsiteX20" fmla="*/ 234399 w 1101788"/>
                <a:gd name="connsiteY20" fmla="*/ 168980 h 3128959"/>
                <a:gd name="connsiteX21" fmla="*/ 471558 w 1101788"/>
                <a:gd name="connsiteY21" fmla="*/ 322639 h 3128959"/>
                <a:gd name="connsiteX22" fmla="*/ 471402 w 1101788"/>
                <a:gd name="connsiteY22" fmla="*/ 550118 h 3128959"/>
                <a:gd name="connsiteX23" fmla="*/ 511315 w 1101788"/>
                <a:gd name="connsiteY23" fmla="*/ 661600 h 3128959"/>
                <a:gd name="connsiteX24" fmla="*/ 680580 w 1101788"/>
                <a:gd name="connsiteY24" fmla="*/ 835921 h 3128959"/>
                <a:gd name="connsiteX25" fmla="*/ 631899 w 1101788"/>
                <a:gd name="connsiteY25" fmla="*/ 1043187 h 3128959"/>
                <a:gd name="connsiteX26" fmla="*/ 641206 w 1101788"/>
                <a:gd name="connsiteY26" fmla="*/ 1156119 h 3128959"/>
                <a:gd name="connsiteX27" fmla="*/ 676368 w 1101788"/>
                <a:gd name="connsiteY27" fmla="*/ 1260057 h 3128959"/>
                <a:gd name="connsiteX28" fmla="*/ 624482 w 1101788"/>
                <a:gd name="connsiteY28" fmla="*/ 1352630 h 3128959"/>
                <a:gd name="connsiteX29" fmla="*/ 525158 w 1101788"/>
                <a:gd name="connsiteY29" fmla="*/ 1366375 h 3128959"/>
                <a:gd name="connsiteX30" fmla="*/ 458499 w 1101788"/>
                <a:gd name="connsiteY30" fmla="*/ 1286391 h 3128959"/>
                <a:gd name="connsiteX31" fmla="*/ 366572 w 1101788"/>
                <a:gd name="connsiteY31" fmla="*/ 1186735 h 3128959"/>
                <a:gd name="connsiteX32" fmla="*/ 207330 w 1101788"/>
                <a:gd name="connsiteY32" fmla="*/ 1103645 h 3128959"/>
                <a:gd name="connsiteX33" fmla="*/ 192330 w 1101788"/>
                <a:gd name="connsiteY33" fmla="*/ 836253 h 3128959"/>
                <a:gd name="connsiteX34" fmla="*/ 192369 w 1101788"/>
                <a:gd name="connsiteY34" fmla="*/ 836253 h 3128959"/>
                <a:gd name="connsiteX35" fmla="*/ 132166 w 1101788"/>
                <a:gd name="connsiteY35" fmla="*/ 731012 h 3128959"/>
                <a:gd name="connsiteX36" fmla="*/ 26925 w 1101788"/>
                <a:gd name="connsiteY36" fmla="*/ 791210 h 3128959"/>
                <a:gd name="connsiteX37" fmla="*/ 69141 w 1101788"/>
                <a:gd name="connsiteY37" fmla="*/ 1205065 h 3128959"/>
                <a:gd name="connsiteX38" fmla="*/ 298414 w 1101788"/>
                <a:gd name="connsiteY38" fmla="*/ 1349113 h 3128959"/>
                <a:gd name="connsiteX39" fmla="*/ 423170 w 1101788"/>
                <a:gd name="connsiteY39" fmla="*/ 2057378 h 3128959"/>
                <a:gd name="connsiteX40" fmla="*/ 480425 w 1101788"/>
                <a:gd name="connsiteY40" fmla="*/ 1597911 h 3128959"/>
                <a:gd name="connsiteX41" fmla="*/ 497530 w 1101788"/>
                <a:gd name="connsiteY41" fmla="*/ 1585890 h 3128959"/>
                <a:gd name="connsiteX42" fmla="*/ 751679 w 1101788"/>
                <a:gd name="connsiteY42" fmla="*/ 1585890 h 3128959"/>
                <a:gd name="connsiteX43" fmla="*/ 768784 w 1101788"/>
                <a:gd name="connsiteY43" fmla="*/ 1598107 h 3128959"/>
                <a:gd name="connsiteX44" fmla="*/ 816967 w 1101788"/>
                <a:gd name="connsiteY44" fmla="*/ 2057387 h 3128959"/>
                <a:gd name="connsiteX45" fmla="*/ 401812 w 1101788"/>
                <a:gd name="connsiteY45" fmla="*/ 2228828 h 3128959"/>
                <a:gd name="connsiteX46" fmla="*/ 834954 w 1101788"/>
                <a:gd name="connsiteY46" fmla="*/ 2228828 h 3128959"/>
                <a:gd name="connsiteX47" fmla="*/ 879923 w 1101788"/>
                <a:gd name="connsiteY47" fmla="*/ 2657453 h 3128959"/>
                <a:gd name="connsiteX48" fmla="*/ 348428 w 1101788"/>
                <a:gd name="connsiteY48" fmla="*/ 2657453 h 3128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101788" h="3128959">
                  <a:moveTo>
                    <a:pt x="298414" y="1349074"/>
                  </a:moveTo>
                  <a:cubicBezTo>
                    <a:pt x="311042" y="1393386"/>
                    <a:pt x="334692" y="1433770"/>
                    <a:pt x="367150" y="1466443"/>
                  </a:cubicBezTo>
                  <a:cubicBezTo>
                    <a:pt x="335878" y="1495413"/>
                    <a:pt x="315784" y="1534445"/>
                    <a:pt x="310317" y="1576700"/>
                  </a:cubicBezTo>
                  <a:lnTo>
                    <a:pt x="116941" y="3128960"/>
                  </a:lnTo>
                  <a:lnTo>
                    <a:pt x="289694" y="3128960"/>
                  </a:lnTo>
                  <a:lnTo>
                    <a:pt x="327276" y="2827355"/>
                  </a:lnTo>
                  <a:cubicBezTo>
                    <a:pt x="332400" y="2828315"/>
                    <a:pt x="897920" y="2828922"/>
                    <a:pt x="897920" y="2828922"/>
                  </a:cubicBezTo>
                  <a:lnTo>
                    <a:pt x="929418" y="3128960"/>
                  </a:lnTo>
                  <a:lnTo>
                    <a:pt x="1101789" y="3128960"/>
                  </a:lnTo>
                  <a:lnTo>
                    <a:pt x="939333" y="1580227"/>
                  </a:lnTo>
                  <a:cubicBezTo>
                    <a:pt x="935042" y="1541842"/>
                    <a:pt x="918857" y="1505759"/>
                    <a:pt x="893022" y="1477014"/>
                  </a:cubicBezTo>
                  <a:cubicBezTo>
                    <a:pt x="867225" y="1448279"/>
                    <a:pt x="833053" y="1428372"/>
                    <a:pt x="795354" y="1419995"/>
                  </a:cubicBezTo>
                  <a:cubicBezTo>
                    <a:pt x="824785" y="1377054"/>
                    <a:pt x="842615" y="1327226"/>
                    <a:pt x="847132" y="1275330"/>
                  </a:cubicBezTo>
                  <a:cubicBezTo>
                    <a:pt x="853186" y="1209807"/>
                    <a:pt x="838138" y="1144098"/>
                    <a:pt x="804201" y="1087735"/>
                  </a:cubicBezTo>
                  <a:cubicBezTo>
                    <a:pt x="852265" y="999022"/>
                    <a:pt x="867647" y="896229"/>
                    <a:pt x="847631" y="797297"/>
                  </a:cubicBezTo>
                  <a:cubicBezTo>
                    <a:pt x="818965" y="690175"/>
                    <a:pt x="748514" y="599062"/>
                    <a:pt x="652032" y="544335"/>
                  </a:cubicBezTo>
                  <a:cubicBezTo>
                    <a:pt x="677485" y="445560"/>
                    <a:pt x="668295" y="341084"/>
                    <a:pt x="626010" y="248275"/>
                  </a:cubicBezTo>
                  <a:cubicBezTo>
                    <a:pt x="567071" y="127917"/>
                    <a:pt x="449123" y="45249"/>
                    <a:pt x="275419" y="2504"/>
                  </a:cubicBezTo>
                  <a:lnTo>
                    <a:pt x="275419" y="2465"/>
                  </a:lnTo>
                  <a:cubicBezTo>
                    <a:pt x="229451" y="-8747"/>
                    <a:pt x="183111" y="19343"/>
                    <a:pt x="171824" y="65268"/>
                  </a:cubicBezTo>
                  <a:cubicBezTo>
                    <a:pt x="160499" y="111192"/>
                    <a:pt x="188509" y="157575"/>
                    <a:pt x="234399" y="168980"/>
                  </a:cubicBezTo>
                  <a:cubicBezTo>
                    <a:pt x="355942" y="198869"/>
                    <a:pt x="435740" y="250572"/>
                    <a:pt x="471558" y="322639"/>
                  </a:cubicBezTo>
                  <a:cubicBezTo>
                    <a:pt x="500910" y="395658"/>
                    <a:pt x="500832" y="477169"/>
                    <a:pt x="471402" y="550118"/>
                  </a:cubicBezTo>
                  <a:cubicBezTo>
                    <a:pt x="452767" y="591985"/>
                    <a:pt x="470334" y="641087"/>
                    <a:pt x="511315" y="661600"/>
                  </a:cubicBezTo>
                  <a:cubicBezTo>
                    <a:pt x="607180" y="709667"/>
                    <a:pt x="664131" y="768301"/>
                    <a:pt x="680580" y="835921"/>
                  </a:cubicBezTo>
                  <a:cubicBezTo>
                    <a:pt x="691524" y="908710"/>
                    <a:pt x="674114" y="982915"/>
                    <a:pt x="631899" y="1043187"/>
                  </a:cubicBezTo>
                  <a:cubicBezTo>
                    <a:pt x="606142" y="1077820"/>
                    <a:pt x="610129" y="1126198"/>
                    <a:pt x="641206" y="1156119"/>
                  </a:cubicBezTo>
                  <a:cubicBezTo>
                    <a:pt x="667834" y="1183786"/>
                    <a:pt x="680737" y="1221907"/>
                    <a:pt x="676368" y="1260057"/>
                  </a:cubicBezTo>
                  <a:cubicBezTo>
                    <a:pt x="673997" y="1297178"/>
                    <a:pt x="654941" y="1331243"/>
                    <a:pt x="624482" y="1352630"/>
                  </a:cubicBezTo>
                  <a:cubicBezTo>
                    <a:pt x="595012" y="1371656"/>
                    <a:pt x="558655" y="1376662"/>
                    <a:pt x="525158" y="1366375"/>
                  </a:cubicBezTo>
                  <a:cubicBezTo>
                    <a:pt x="490183" y="1353590"/>
                    <a:pt x="464730" y="1323091"/>
                    <a:pt x="458499" y="1286391"/>
                  </a:cubicBezTo>
                  <a:cubicBezTo>
                    <a:pt x="444028" y="1239816"/>
                    <a:pt x="427687" y="1187274"/>
                    <a:pt x="366572" y="1186735"/>
                  </a:cubicBezTo>
                  <a:cubicBezTo>
                    <a:pt x="304537" y="1181297"/>
                    <a:pt x="247243" y="1151406"/>
                    <a:pt x="207330" y="1103645"/>
                  </a:cubicBezTo>
                  <a:cubicBezTo>
                    <a:pt x="165074" y="1044745"/>
                    <a:pt x="160068" y="954817"/>
                    <a:pt x="192330" y="836253"/>
                  </a:cubicBezTo>
                  <a:lnTo>
                    <a:pt x="192369" y="836253"/>
                  </a:lnTo>
                  <a:cubicBezTo>
                    <a:pt x="204802" y="790558"/>
                    <a:pt x="177820" y="743447"/>
                    <a:pt x="132166" y="731012"/>
                  </a:cubicBezTo>
                  <a:cubicBezTo>
                    <a:pt x="86472" y="718574"/>
                    <a:pt x="39367" y="745517"/>
                    <a:pt x="26925" y="791210"/>
                  </a:cubicBezTo>
                  <a:cubicBezTo>
                    <a:pt x="-19837" y="962782"/>
                    <a:pt x="-5641" y="1102048"/>
                    <a:pt x="69141" y="1205065"/>
                  </a:cubicBezTo>
                  <a:cubicBezTo>
                    <a:pt x="125592" y="1279269"/>
                    <a:pt x="207065" y="1330439"/>
                    <a:pt x="298414" y="1349113"/>
                  </a:cubicBezTo>
                  <a:close/>
                  <a:moveTo>
                    <a:pt x="423170" y="2057378"/>
                  </a:moveTo>
                  <a:lnTo>
                    <a:pt x="480425" y="1597911"/>
                  </a:lnTo>
                  <a:cubicBezTo>
                    <a:pt x="482531" y="1590338"/>
                    <a:pt x="489683" y="1585322"/>
                    <a:pt x="497530" y="1585890"/>
                  </a:cubicBezTo>
                  <a:lnTo>
                    <a:pt x="751679" y="1585890"/>
                  </a:lnTo>
                  <a:cubicBezTo>
                    <a:pt x="759594" y="1585283"/>
                    <a:pt x="766795" y="1590406"/>
                    <a:pt x="768784" y="1598107"/>
                  </a:cubicBezTo>
                  <a:lnTo>
                    <a:pt x="816967" y="2057387"/>
                  </a:lnTo>
                  <a:close/>
                  <a:moveTo>
                    <a:pt x="401812" y="2228828"/>
                  </a:moveTo>
                  <a:lnTo>
                    <a:pt x="834954" y="2228828"/>
                  </a:lnTo>
                  <a:lnTo>
                    <a:pt x="879923" y="2657453"/>
                  </a:lnTo>
                  <a:lnTo>
                    <a:pt x="348428" y="2657453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F28126FD-0790-4B19-9AEB-40993214E0D3}"/>
                </a:ext>
              </a:extLst>
            </p:cNvPr>
            <p:cNvSpPr/>
            <p:nvPr/>
          </p:nvSpPr>
          <p:spPr>
            <a:xfrm>
              <a:off x="-7052039" y="4059506"/>
              <a:ext cx="728662" cy="171450"/>
            </a:xfrm>
            <a:custGeom>
              <a:avLst/>
              <a:gdLst>
                <a:gd name="connsiteX0" fmla="*/ 642938 w 728662"/>
                <a:gd name="connsiteY0" fmla="*/ 0 h 171450"/>
                <a:gd name="connsiteX1" fmla="*/ 85725 w 728662"/>
                <a:gd name="connsiteY1" fmla="*/ 0 h 171450"/>
                <a:gd name="connsiteX2" fmla="*/ 0 w 728662"/>
                <a:gd name="connsiteY2" fmla="*/ 85725 h 171450"/>
                <a:gd name="connsiteX3" fmla="*/ 85725 w 728662"/>
                <a:gd name="connsiteY3" fmla="*/ 171450 h 171450"/>
                <a:gd name="connsiteX4" fmla="*/ 642938 w 728662"/>
                <a:gd name="connsiteY4" fmla="*/ 171450 h 171450"/>
                <a:gd name="connsiteX5" fmla="*/ 728663 w 728662"/>
                <a:gd name="connsiteY5" fmla="*/ 85725 h 171450"/>
                <a:gd name="connsiteX6" fmla="*/ 642938 w 728662"/>
                <a:gd name="connsiteY6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662" h="171450">
                  <a:moveTo>
                    <a:pt x="642938" y="0"/>
                  </a:move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ubicBezTo>
                    <a:pt x="0" y="133065"/>
                    <a:pt x="38385" y="171450"/>
                    <a:pt x="85725" y="171450"/>
                  </a:cubicBezTo>
                  <a:lnTo>
                    <a:pt x="642938" y="171450"/>
                  </a:lnTo>
                  <a:cubicBezTo>
                    <a:pt x="690277" y="171450"/>
                    <a:pt x="728663" y="133065"/>
                    <a:pt x="728663" y="85725"/>
                  </a:cubicBezTo>
                  <a:cubicBezTo>
                    <a:pt x="728663" y="38385"/>
                    <a:pt x="690277" y="0"/>
                    <a:pt x="642938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4279D569-2CAE-4DAA-9871-6CC293856EDF}"/>
                </a:ext>
              </a:extLst>
            </p:cNvPr>
            <p:cNvSpPr/>
            <p:nvPr/>
          </p:nvSpPr>
          <p:spPr>
            <a:xfrm>
              <a:off x="-7052039" y="4402406"/>
              <a:ext cx="728662" cy="171450"/>
            </a:xfrm>
            <a:custGeom>
              <a:avLst/>
              <a:gdLst>
                <a:gd name="connsiteX0" fmla="*/ 642938 w 728662"/>
                <a:gd name="connsiteY0" fmla="*/ 0 h 171450"/>
                <a:gd name="connsiteX1" fmla="*/ 85725 w 728662"/>
                <a:gd name="connsiteY1" fmla="*/ 0 h 171450"/>
                <a:gd name="connsiteX2" fmla="*/ 0 w 728662"/>
                <a:gd name="connsiteY2" fmla="*/ 85725 h 171450"/>
                <a:gd name="connsiteX3" fmla="*/ 85725 w 728662"/>
                <a:gd name="connsiteY3" fmla="*/ 171450 h 171450"/>
                <a:gd name="connsiteX4" fmla="*/ 642938 w 728662"/>
                <a:gd name="connsiteY4" fmla="*/ 171450 h 171450"/>
                <a:gd name="connsiteX5" fmla="*/ 728663 w 728662"/>
                <a:gd name="connsiteY5" fmla="*/ 85725 h 171450"/>
                <a:gd name="connsiteX6" fmla="*/ 642938 w 728662"/>
                <a:gd name="connsiteY6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662" h="171450">
                  <a:moveTo>
                    <a:pt x="642938" y="0"/>
                  </a:move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ubicBezTo>
                    <a:pt x="0" y="133065"/>
                    <a:pt x="38385" y="171450"/>
                    <a:pt x="85725" y="171450"/>
                  </a:cubicBezTo>
                  <a:lnTo>
                    <a:pt x="642938" y="171450"/>
                  </a:lnTo>
                  <a:cubicBezTo>
                    <a:pt x="690277" y="171450"/>
                    <a:pt x="728663" y="133065"/>
                    <a:pt x="728663" y="85725"/>
                  </a:cubicBezTo>
                  <a:cubicBezTo>
                    <a:pt x="728663" y="38385"/>
                    <a:pt x="690277" y="0"/>
                    <a:pt x="642938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4A558F89-199E-44A7-A496-03EAD7D994FD}"/>
                </a:ext>
              </a:extLst>
            </p:cNvPr>
            <p:cNvSpPr/>
            <p:nvPr/>
          </p:nvSpPr>
          <p:spPr>
            <a:xfrm>
              <a:off x="-7052039" y="4745306"/>
              <a:ext cx="728662" cy="171450"/>
            </a:xfrm>
            <a:custGeom>
              <a:avLst/>
              <a:gdLst>
                <a:gd name="connsiteX0" fmla="*/ 642938 w 728662"/>
                <a:gd name="connsiteY0" fmla="*/ 0 h 171450"/>
                <a:gd name="connsiteX1" fmla="*/ 85725 w 728662"/>
                <a:gd name="connsiteY1" fmla="*/ 0 h 171450"/>
                <a:gd name="connsiteX2" fmla="*/ 0 w 728662"/>
                <a:gd name="connsiteY2" fmla="*/ 85725 h 171450"/>
                <a:gd name="connsiteX3" fmla="*/ 85725 w 728662"/>
                <a:gd name="connsiteY3" fmla="*/ 171450 h 171450"/>
                <a:gd name="connsiteX4" fmla="*/ 642938 w 728662"/>
                <a:gd name="connsiteY4" fmla="*/ 171450 h 171450"/>
                <a:gd name="connsiteX5" fmla="*/ 728663 w 728662"/>
                <a:gd name="connsiteY5" fmla="*/ 85725 h 171450"/>
                <a:gd name="connsiteX6" fmla="*/ 642938 w 728662"/>
                <a:gd name="connsiteY6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662" h="171450">
                  <a:moveTo>
                    <a:pt x="642938" y="0"/>
                  </a:move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ubicBezTo>
                    <a:pt x="0" y="133065"/>
                    <a:pt x="38385" y="171450"/>
                    <a:pt x="85725" y="171450"/>
                  </a:cubicBezTo>
                  <a:lnTo>
                    <a:pt x="642938" y="171450"/>
                  </a:lnTo>
                  <a:cubicBezTo>
                    <a:pt x="690277" y="171450"/>
                    <a:pt x="728663" y="133065"/>
                    <a:pt x="728663" y="85725"/>
                  </a:cubicBezTo>
                  <a:cubicBezTo>
                    <a:pt x="728663" y="38385"/>
                    <a:pt x="690277" y="0"/>
                    <a:pt x="642938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C7DBDDC2-014E-470D-92AB-02C7A88F6D3A}"/>
                </a:ext>
              </a:extLst>
            </p:cNvPr>
            <p:cNvSpPr/>
            <p:nvPr/>
          </p:nvSpPr>
          <p:spPr>
            <a:xfrm>
              <a:off x="-7052039" y="5088206"/>
              <a:ext cx="728662" cy="171450"/>
            </a:xfrm>
            <a:custGeom>
              <a:avLst/>
              <a:gdLst>
                <a:gd name="connsiteX0" fmla="*/ 642938 w 728662"/>
                <a:gd name="connsiteY0" fmla="*/ 0 h 171450"/>
                <a:gd name="connsiteX1" fmla="*/ 85725 w 728662"/>
                <a:gd name="connsiteY1" fmla="*/ 0 h 171450"/>
                <a:gd name="connsiteX2" fmla="*/ 0 w 728662"/>
                <a:gd name="connsiteY2" fmla="*/ 85725 h 171450"/>
                <a:gd name="connsiteX3" fmla="*/ 85725 w 728662"/>
                <a:gd name="connsiteY3" fmla="*/ 171450 h 171450"/>
                <a:gd name="connsiteX4" fmla="*/ 642938 w 728662"/>
                <a:gd name="connsiteY4" fmla="*/ 171450 h 171450"/>
                <a:gd name="connsiteX5" fmla="*/ 728663 w 728662"/>
                <a:gd name="connsiteY5" fmla="*/ 85725 h 171450"/>
                <a:gd name="connsiteX6" fmla="*/ 642938 w 728662"/>
                <a:gd name="connsiteY6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662" h="171450">
                  <a:moveTo>
                    <a:pt x="642938" y="0"/>
                  </a:move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ubicBezTo>
                    <a:pt x="0" y="133065"/>
                    <a:pt x="38385" y="171450"/>
                    <a:pt x="85725" y="171450"/>
                  </a:cubicBezTo>
                  <a:lnTo>
                    <a:pt x="642938" y="171450"/>
                  </a:lnTo>
                  <a:cubicBezTo>
                    <a:pt x="690277" y="171450"/>
                    <a:pt x="728663" y="133065"/>
                    <a:pt x="728663" y="85725"/>
                  </a:cubicBezTo>
                  <a:cubicBezTo>
                    <a:pt x="728663" y="38385"/>
                    <a:pt x="690277" y="0"/>
                    <a:pt x="642938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9969A12B-9272-4801-82D8-A819E9F33748}"/>
                </a:ext>
              </a:extLst>
            </p:cNvPr>
            <p:cNvSpPr/>
            <p:nvPr/>
          </p:nvSpPr>
          <p:spPr>
            <a:xfrm>
              <a:off x="-7052039" y="5431106"/>
              <a:ext cx="728662" cy="171450"/>
            </a:xfrm>
            <a:custGeom>
              <a:avLst/>
              <a:gdLst>
                <a:gd name="connsiteX0" fmla="*/ 728663 w 728662"/>
                <a:gd name="connsiteY0" fmla="*/ 85725 h 171450"/>
                <a:gd name="connsiteX1" fmla="*/ 642938 w 728662"/>
                <a:gd name="connsiteY1" fmla="*/ 0 h 171450"/>
                <a:gd name="connsiteX2" fmla="*/ 85725 w 728662"/>
                <a:gd name="connsiteY2" fmla="*/ 0 h 171450"/>
                <a:gd name="connsiteX3" fmla="*/ 0 w 728662"/>
                <a:gd name="connsiteY3" fmla="*/ 85725 h 171450"/>
                <a:gd name="connsiteX4" fmla="*/ 85725 w 728662"/>
                <a:gd name="connsiteY4" fmla="*/ 171450 h 171450"/>
                <a:gd name="connsiteX5" fmla="*/ 642938 w 728662"/>
                <a:gd name="connsiteY5" fmla="*/ 171450 h 171450"/>
                <a:gd name="connsiteX6" fmla="*/ 728663 w 728662"/>
                <a:gd name="connsiteY6" fmla="*/ 857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662" h="171450">
                  <a:moveTo>
                    <a:pt x="728663" y="85725"/>
                  </a:moveTo>
                  <a:cubicBezTo>
                    <a:pt x="728663" y="38385"/>
                    <a:pt x="690277" y="0"/>
                    <a:pt x="642938" y="0"/>
                  </a:cubicBez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ubicBezTo>
                    <a:pt x="0" y="133065"/>
                    <a:pt x="38385" y="171450"/>
                    <a:pt x="85725" y="171450"/>
                  </a:cubicBezTo>
                  <a:lnTo>
                    <a:pt x="642938" y="171450"/>
                  </a:lnTo>
                  <a:cubicBezTo>
                    <a:pt x="690277" y="171450"/>
                    <a:pt x="728663" y="133065"/>
                    <a:pt x="728663" y="8572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4244891D-6597-4849-9E87-7FEA892C44FA}"/>
                </a:ext>
              </a:extLst>
            </p:cNvPr>
            <p:cNvSpPr/>
            <p:nvPr/>
          </p:nvSpPr>
          <p:spPr>
            <a:xfrm>
              <a:off x="-7052039" y="5774006"/>
              <a:ext cx="664598" cy="171450"/>
            </a:xfrm>
            <a:custGeom>
              <a:avLst/>
              <a:gdLst>
                <a:gd name="connsiteX0" fmla="*/ 642938 w 664598"/>
                <a:gd name="connsiteY0" fmla="*/ 0 h 171450"/>
                <a:gd name="connsiteX1" fmla="*/ 85725 w 664598"/>
                <a:gd name="connsiteY1" fmla="*/ 0 h 171450"/>
                <a:gd name="connsiteX2" fmla="*/ 0 w 664598"/>
                <a:gd name="connsiteY2" fmla="*/ 85725 h 171450"/>
                <a:gd name="connsiteX3" fmla="*/ 85725 w 664598"/>
                <a:gd name="connsiteY3" fmla="*/ 171450 h 171450"/>
                <a:gd name="connsiteX4" fmla="*/ 506698 w 664598"/>
                <a:gd name="connsiteY4" fmla="*/ 171450 h 171450"/>
                <a:gd name="connsiteX5" fmla="*/ 664599 w 664598"/>
                <a:gd name="connsiteY5" fmla="*/ 3096 h 171450"/>
                <a:gd name="connsiteX6" fmla="*/ 642938 w 664598"/>
                <a:gd name="connsiteY6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4598" h="171450">
                  <a:moveTo>
                    <a:pt x="642938" y="0"/>
                  </a:move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ubicBezTo>
                    <a:pt x="0" y="133065"/>
                    <a:pt x="38385" y="171450"/>
                    <a:pt x="85725" y="171450"/>
                  </a:cubicBezTo>
                  <a:lnTo>
                    <a:pt x="506698" y="171450"/>
                  </a:lnTo>
                  <a:cubicBezTo>
                    <a:pt x="550629" y="107769"/>
                    <a:pt x="603827" y="51014"/>
                    <a:pt x="664599" y="3096"/>
                  </a:cubicBezTo>
                  <a:cubicBezTo>
                    <a:pt x="657516" y="1146"/>
                    <a:pt x="650246" y="68"/>
                    <a:pt x="642938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5B57943D-8289-4F25-BFBB-44E9F75279EC}"/>
                </a:ext>
              </a:extLst>
            </p:cNvPr>
            <p:cNvSpPr/>
            <p:nvPr/>
          </p:nvSpPr>
          <p:spPr>
            <a:xfrm>
              <a:off x="-7052039" y="6116906"/>
              <a:ext cx="417799" cy="171450"/>
            </a:xfrm>
            <a:custGeom>
              <a:avLst/>
              <a:gdLst>
                <a:gd name="connsiteX0" fmla="*/ 417799 w 417799"/>
                <a:gd name="connsiteY0" fmla="*/ 0 h 171450"/>
                <a:gd name="connsiteX1" fmla="*/ 85725 w 417799"/>
                <a:gd name="connsiteY1" fmla="*/ 0 h 171450"/>
                <a:gd name="connsiteX2" fmla="*/ 0 w 417799"/>
                <a:gd name="connsiteY2" fmla="*/ 85725 h 171450"/>
                <a:gd name="connsiteX3" fmla="*/ 85725 w 417799"/>
                <a:gd name="connsiteY3" fmla="*/ 171450 h 171450"/>
                <a:gd name="connsiteX4" fmla="*/ 374241 w 417799"/>
                <a:gd name="connsiteY4" fmla="*/ 171450 h 171450"/>
                <a:gd name="connsiteX5" fmla="*/ 417789 w 417799"/>
                <a:gd name="connsiteY5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7799" h="171450">
                  <a:moveTo>
                    <a:pt x="417799" y="0"/>
                  </a:move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ubicBezTo>
                    <a:pt x="0" y="133065"/>
                    <a:pt x="38385" y="171450"/>
                    <a:pt x="85725" y="171450"/>
                  </a:cubicBezTo>
                  <a:lnTo>
                    <a:pt x="374241" y="171450"/>
                  </a:lnTo>
                  <a:cubicBezTo>
                    <a:pt x="382588" y="112893"/>
                    <a:pt x="397166" y="55413"/>
                    <a:pt x="417789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DD0B100-8D81-4816-99AF-A4D94126A3AE}"/>
                </a:ext>
              </a:extLst>
            </p:cNvPr>
            <p:cNvSpPr/>
            <p:nvPr/>
          </p:nvSpPr>
          <p:spPr>
            <a:xfrm>
              <a:off x="-7052069" y="6459806"/>
              <a:ext cx="364336" cy="171450"/>
            </a:xfrm>
            <a:custGeom>
              <a:avLst/>
              <a:gdLst>
                <a:gd name="connsiteX0" fmla="*/ 364336 w 364336"/>
                <a:gd name="connsiteY0" fmla="*/ 0 h 171450"/>
                <a:gd name="connsiteX1" fmla="*/ 85725 w 364336"/>
                <a:gd name="connsiteY1" fmla="*/ 0 h 171450"/>
                <a:gd name="connsiteX2" fmla="*/ 0 w 364336"/>
                <a:gd name="connsiteY2" fmla="*/ 85725 h 171450"/>
                <a:gd name="connsiteX3" fmla="*/ 85725 w 364336"/>
                <a:gd name="connsiteY3" fmla="*/ 171450 h 171450"/>
                <a:gd name="connsiteX4" fmla="*/ 364336 w 364336"/>
                <a:gd name="connsiteY4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336" h="171450">
                  <a:moveTo>
                    <a:pt x="364336" y="0"/>
                  </a:move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ubicBezTo>
                    <a:pt x="0" y="133065"/>
                    <a:pt x="38385" y="171450"/>
                    <a:pt x="85725" y="171450"/>
                  </a:cubicBezTo>
                  <a:lnTo>
                    <a:pt x="364336" y="171450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B700A219-9D72-46EF-95F8-F6E41ABB9F5C}"/>
                </a:ext>
              </a:extLst>
            </p:cNvPr>
            <p:cNvSpPr/>
            <p:nvPr/>
          </p:nvSpPr>
          <p:spPr>
            <a:xfrm>
              <a:off x="-7052088" y="6802706"/>
              <a:ext cx="364336" cy="171450"/>
            </a:xfrm>
            <a:custGeom>
              <a:avLst/>
              <a:gdLst>
                <a:gd name="connsiteX0" fmla="*/ 0 w 364336"/>
                <a:gd name="connsiteY0" fmla="*/ 85725 h 171450"/>
                <a:gd name="connsiteX1" fmla="*/ 85725 w 364336"/>
                <a:gd name="connsiteY1" fmla="*/ 171450 h 171450"/>
                <a:gd name="connsiteX2" fmla="*/ 364336 w 364336"/>
                <a:gd name="connsiteY2" fmla="*/ 171450 h 171450"/>
                <a:gd name="connsiteX3" fmla="*/ 364336 w 364336"/>
                <a:gd name="connsiteY3" fmla="*/ 0 h 171450"/>
                <a:gd name="connsiteX4" fmla="*/ 85725 w 364336"/>
                <a:gd name="connsiteY4" fmla="*/ 0 h 171450"/>
                <a:gd name="connsiteX5" fmla="*/ 0 w 364336"/>
                <a:gd name="connsiteY5" fmla="*/ 857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4336" h="171450">
                  <a:moveTo>
                    <a:pt x="0" y="85725"/>
                  </a:moveTo>
                  <a:cubicBezTo>
                    <a:pt x="0" y="133065"/>
                    <a:pt x="38385" y="171450"/>
                    <a:pt x="85725" y="171450"/>
                  </a:cubicBezTo>
                  <a:lnTo>
                    <a:pt x="364336" y="171450"/>
                  </a:lnTo>
                  <a:lnTo>
                    <a:pt x="364336" y="0"/>
                  </a:lnTo>
                  <a:lnTo>
                    <a:pt x="85725" y="0"/>
                  </a:lnTo>
                  <a:cubicBezTo>
                    <a:pt x="38385" y="0"/>
                    <a:pt x="0" y="38385"/>
                    <a:pt x="0" y="8572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AD5AAD95-A9B8-465A-A725-5AFAA4765413}"/>
                </a:ext>
              </a:extLst>
            </p:cNvPr>
            <p:cNvSpPr/>
            <p:nvPr/>
          </p:nvSpPr>
          <p:spPr>
            <a:xfrm>
              <a:off x="-5787325" y="6072387"/>
              <a:ext cx="685403" cy="901033"/>
            </a:xfrm>
            <a:custGeom>
              <a:avLst/>
              <a:gdLst>
                <a:gd name="connsiteX0" fmla="*/ 254088 w 685403"/>
                <a:gd name="connsiteY0" fmla="*/ 39032 h 901033"/>
                <a:gd name="connsiteX1" fmla="*/ 86733 w 685403"/>
                <a:gd name="connsiteY1" fmla="*/ 0 h 901033"/>
                <a:gd name="connsiteX2" fmla="*/ 2997 w 685403"/>
                <a:gd name="connsiteY2" fmla="*/ 508423 h 901033"/>
                <a:gd name="connsiteX3" fmla="*/ 66453 w 685403"/>
                <a:gd name="connsiteY3" fmla="*/ 698438 h 901033"/>
                <a:gd name="connsiteX4" fmla="*/ 233505 w 685403"/>
                <a:gd name="connsiteY4" fmla="*/ 859974 h 901033"/>
                <a:gd name="connsiteX5" fmla="*/ 237668 w 685403"/>
                <a:gd name="connsiteY5" fmla="*/ 863716 h 901033"/>
                <a:gd name="connsiteX6" fmla="*/ 237668 w 685403"/>
                <a:gd name="connsiteY6" fmla="*/ 863755 h 901033"/>
                <a:gd name="connsiteX7" fmla="*/ 343487 w 685403"/>
                <a:gd name="connsiteY7" fmla="*/ 901033 h 901033"/>
                <a:gd name="connsiteX8" fmla="*/ 449345 w 685403"/>
                <a:gd name="connsiteY8" fmla="*/ 863795 h 901033"/>
                <a:gd name="connsiteX9" fmla="*/ 620678 w 685403"/>
                <a:gd name="connsiteY9" fmla="*/ 698468 h 901033"/>
                <a:gd name="connsiteX10" fmla="*/ 620678 w 685403"/>
                <a:gd name="connsiteY10" fmla="*/ 698429 h 901033"/>
                <a:gd name="connsiteX11" fmla="*/ 681420 w 685403"/>
                <a:gd name="connsiteY11" fmla="*/ 508531 h 901033"/>
                <a:gd name="connsiteX12" fmla="*/ 580774 w 685403"/>
                <a:gd name="connsiteY12" fmla="*/ 6505 h 901033"/>
                <a:gd name="connsiteX13" fmla="*/ 412841 w 685403"/>
                <a:gd name="connsiteY13" fmla="*/ 40991 h 901033"/>
                <a:gd name="connsiteX14" fmla="*/ 513908 w 685403"/>
                <a:gd name="connsiteY14" fmla="*/ 544937 h 901033"/>
                <a:gd name="connsiteX15" fmla="*/ 513908 w 685403"/>
                <a:gd name="connsiteY15" fmla="*/ 544898 h 901033"/>
                <a:gd name="connsiteX16" fmla="*/ 507246 w 685403"/>
                <a:gd name="connsiteY16" fmla="*/ 569851 h 901033"/>
                <a:gd name="connsiteX17" fmla="*/ 343526 w 685403"/>
                <a:gd name="connsiteY17" fmla="*/ 727869 h 901033"/>
                <a:gd name="connsiteX18" fmla="*/ 183980 w 685403"/>
                <a:gd name="connsiteY18" fmla="*/ 573642 h 901033"/>
                <a:gd name="connsiteX19" fmla="*/ 180188 w 685403"/>
                <a:gd name="connsiteY19" fmla="*/ 570194 h 901033"/>
                <a:gd name="connsiteX20" fmla="*/ 171733 w 685403"/>
                <a:gd name="connsiteY20" fmla="*/ 538735 h 90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403" h="901033">
                  <a:moveTo>
                    <a:pt x="254088" y="39032"/>
                  </a:moveTo>
                  <a:cubicBezTo>
                    <a:pt x="196990" y="32370"/>
                    <a:pt x="140882" y="19281"/>
                    <a:pt x="86733" y="0"/>
                  </a:cubicBezTo>
                  <a:lnTo>
                    <a:pt x="2997" y="508423"/>
                  </a:lnTo>
                  <a:cubicBezTo>
                    <a:pt x="-8867" y="578374"/>
                    <a:pt x="14940" y="649639"/>
                    <a:pt x="66453" y="698438"/>
                  </a:cubicBezTo>
                  <a:lnTo>
                    <a:pt x="233505" y="859974"/>
                  </a:lnTo>
                  <a:lnTo>
                    <a:pt x="237668" y="863716"/>
                  </a:lnTo>
                  <a:lnTo>
                    <a:pt x="237668" y="863755"/>
                  </a:lnTo>
                  <a:cubicBezTo>
                    <a:pt x="267677" y="887866"/>
                    <a:pt x="304994" y="900995"/>
                    <a:pt x="343487" y="901033"/>
                  </a:cubicBezTo>
                  <a:cubicBezTo>
                    <a:pt x="381990" y="901033"/>
                    <a:pt x="419347" y="887906"/>
                    <a:pt x="449345" y="863795"/>
                  </a:cubicBezTo>
                  <a:lnTo>
                    <a:pt x="620678" y="698468"/>
                  </a:lnTo>
                  <a:lnTo>
                    <a:pt x="620678" y="698429"/>
                  </a:lnTo>
                  <a:cubicBezTo>
                    <a:pt x="672348" y="649864"/>
                    <a:pt x="695312" y="578071"/>
                    <a:pt x="681420" y="508531"/>
                  </a:cubicBezTo>
                  <a:lnTo>
                    <a:pt x="580774" y="6505"/>
                  </a:lnTo>
                  <a:cubicBezTo>
                    <a:pt x="526233" y="24268"/>
                    <a:pt x="469909" y="35828"/>
                    <a:pt x="412841" y="40991"/>
                  </a:cubicBezTo>
                  <a:lnTo>
                    <a:pt x="513908" y="544937"/>
                  </a:lnTo>
                  <a:lnTo>
                    <a:pt x="513908" y="544898"/>
                  </a:lnTo>
                  <a:cubicBezTo>
                    <a:pt x="514330" y="553735"/>
                    <a:pt x="511988" y="562425"/>
                    <a:pt x="507246" y="569851"/>
                  </a:cubicBezTo>
                  <a:lnTo>
                    <a:pt x="343526" y="727869"/>
                  </a:lnTo>
                  <a:lnTo>
                    <a:pt x="183980" y="573642"/>
                  </a:lnTo>
                  <a:lnTo>
                    <a:pt x="180188" y="570194"/>
                  </a:lnTo>
                  <a:cubicBezTo>
                    <a:pt x="173761" y="561014"/>
                    <a:pt x="170773" y="549875"/>
                    <a:pt x="171733" y="53873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E42FDFF2-C822-4725-A677-7DDE51DD25BA}"/>
                </a:ext>
              </a:extLst>
            </p:cNvPr>
            <p:cNvSpPr/>
            <p:nvPr/>
          </p:nvSpPr>
          <p:spPr>
            <a:xfrm>
              <a:off x="-6516637" y="5800850"/>
              <a:ext cx="2143780" cy="1516225"/>
            </a:xfrm>
            <a:custGeom>
              <a:avLst/>
              <a:gdLst>
                <a:gd name="connsiteX0" fmla="*/ 1693203 w 2143780"/>
                <a:gd name="connsiteY0" fmla="*/ 0 h 1516225"/>
                <a:gd name="connsiteX1" fmla="*/ 1551987 w 2143780"/>
                <a:gd name="connsiteY1" fmla="*/ 147457 h 1516225"/>
                <a:gd name="connsiteX2" fmla="*/ 1857148 w 2143780"/>
                <a:gd name="connsiteY2" fmla="*/ 294453 h 1516225"/>
                <a:gd name="connsiteX3" fmla="*/ 1972000 w 2143780"/>
                <a:gd name="connsiteY3" fmla="*/ 613125 h 1516225"/>
                <a:gd name="connsiteX4" fmla="*/ 1972000 w 2143780"/>
                <a:gd name="connsiteY4" fmla="*/ 1344776 h 1516225"/>
                <a:gd name="connsiteX5" fmla="*/ 171775 w 2143780"/>
                <a:gd name="connsiteY5" fmla="*/ 1344776 h 1516225"/>
                <a:gd name="connsiteX6" fmla="*/ 171775 w 2143780"/>
                <a:gd name="connsiteY6" fmla="*/ 613125 h 1516225"/>
                <a:gd name="connsiteX7" fmla="*/ 286627 w 2143780"/>
                <a:gd name="connsiteY7" fmla="*/ 294453 h 1516225"/>
                <a:gd name="connsiteX8" fmla="*/ 591788 w 2143780"/>
                <a:gd name="connsiteY8" fmla="*/ 147457 h 1516225"/>
                <a:gd name="connsiteX9" fmla="*/ 450572 w 2143780"/>
                <a:gd name="connsiteY9" fmla="*/ 0 h 1516225"/>
                <a:gd name="connsiteX10" fmla="*/ 119419 w 2143780"/>
                <a:gd name="connsiteY10" fmla="*/ 228705 h 1516225"/>
                <a:gd name="connsiteX11" fmla="*/ 325 w 2143780"/>
                <a:gd name="connsiteY11" fmla="*/ 613125 h 1516225"/>
                <a:gd name="connsiteX12" fmla="*/ 325 w 2143780"/>
                <a:gd name="connsiteY12" fmla="*/ 1430501 h 1516225"/>
                <a:gd name="connsiteX13" fmla="*/ 86050 w 2143780"/>
                <a:gd name="connsiteY13" fmla="*/ 1516226 h 1516225"/>
                <a:gd name="connsiteX14" fmla="*/ 2057725 w 2143780"/>
                <a:gd name="connsiteY14" fmla="*/ 1516226 h 1516225"/>
                <a:gd name="connsiteX15" fmla="*/ 2143450 w 2143780"/>
                <a:gd name="connsiteY15" fmla="*/ 1430501 h 1516225"/>
                <a:gd name="connsiteX16" fmla="*/ 2143450 w 2143780"/>
                <a:gd name="connsiteY16" fmla="*/ 613125 h 1516225"/>
                <a:gd name="connsiteX17" fmla="*/ 2024356 w 2143780"/>
                <a:gd name="connsiteY17" fmla="*/ 228705 h 1516225"/>
                <a:gd name="connsiteX18" fmla="*/ 1693203 w 2143780"/>
                <a:gd name="connsiteY18" fmla="*/ 0 h 151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43780" h="1516225">
                  <a:moveTo>
                    <a:pt x="1693203" y="0"/>
                  </a:moveTo>
                  <a:cubicBezTo>
                    <a:pt x="1652829" y="55148"/>
                    <a:pt x="1605332" y="104741"/>
                    <a:pt x="1551987" y="147457"/>
                  </a:cubicBezTo>
                  <a:cubicBezTo>
                    <a:pt x="1669014" y="154609"/>
                    <a:pt x="1778585" y="207386"/>
                    <a:pt x="1857148" y="294453"/>
                  </a:cubicBezTo>
                  <a:cubicBezTo>
                    <a:pt x="1935682" y="381560"/>
                    <a:pt x="1976938" y="495980"/>
                    <a:pt x="1972000" y="613125"/>
                  </a:cubicBezTo>
                  <a:lnTo>
                    <a:pt x="1972000" y="1344776"/>
                  </a:lnTo>
                  <a:lnTo>
                    <a:pt x="171775" y="1344776"/>
                  </a:lnTo>
                  <a:lnTo>
                    <a:pt x="171775" y="613125"/>
                  </a:lnTo>
                  <a:cubicBezTo>
                    <a:pt x="166837" y="495980"/>
                    <a:pt x="208093" y="381550"/>
                    <a:pt x="286627" y="294453"/>
                  </a:cubicBezTo>
                  <a:cubicBezTo>
                    <a:pt x="365200" y="207386"/>
                    <a:pt x="474761" y="154579"/>
                    <a:pt x="591788" y="147457"/>
                  </a:cubicBezTo>
                  <a:cubicBezTo>
                    <a:pt x="538443" y="104712"/>
                    <a:pt x="490946" y="55148"/>
                    <a:pt x="450572" y="0"/>
                  </a:cubicBezTo>
                  <a:cubicBezTo>
                    <a:pt x="317703" y="37004"/>
                    <a:pt x="201049" y="117527"/>
                    <a:pt x="119419" y="228705"/>
                  </a:cubicBezTo>
                  <a:cubicBezTo>
                    <a:pt x="37750" y="339883"/>
                    <a:pt x="-4152" y="475279"/>
                    <a:pt x="325" y="613125"/>
                  </a:cubicBezTo>
                  <a:lnTo>
                    <a:pt x="325" y="1430501"/>
                  </a:lnTo>
                  <a:cubicBezTo>
                    <a:pt x="325" y="1477840"/>
                    <a:pt x="38710" y="1516226"/>
                    <a:pt x="86050" y="1516226"/>
                  </a:cubicBezTo>
                  <a:lnTo>
                    <a:pt x="2057725" y="1516226"/>
                  </a:lnTo>
                  <a:cubicBezTo>
                    <a:pt x="2105065" y="1516226"/>
                    <a:pt x="2143450" y="1477840"/>
                    <a:pt x="2143450" y="1430501"/>
                  </a:cubicBezTo>
                  <a:lnTo>
                    <a:pt x="2143450" y="613125"/>
                  </a:lnTo>
                  <a:cubicBezTo>
                    <a:pt x="2147967" y="475279"/>
                    <a:pt x="2106025" y="339873"/>
                    <a:pt x="2024356" y="228705"/>
                  </a:cubicBezTo>
                  <a:cubicBezTo>
                    <a:pt x="1942726" y="117527"/>
                    <a:pt x="1826081" y="36975"/>
                    <a:pt x="1693203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4365D3AA-E1AB-4F87-B8D0-365C7BE7FDB8}"/>
                </a:ext>
              </a:extLst>
            </p:cNvPr>
            <p:cNvSpPr/>
            <p:nvPr/>
          </p:nvSpPr>
          <p:spPr>
            <a:xfrm>
              <a:off x="-7630713" y="3716615"/>
              <a:ext cx="1885955" cy="3600449"/>
            </a:xfrm>
            <a:custGeom>
              <a:avLst/>
              <a:gdLst>
                <a:gd name="connsiteX0" fmla="*/ 942981 w 1885955"/>
                <a:gd name="connsiteY0" fmla="*/ 3428990 h 3600449"/>
                <a:gd name="connsiteX1" fmla="*/ 257181 w 1885955"/>
                <a:gd name="connsiteY1" fmla="*/ 3428990 h 3600449"/>
                <a:gd name="connsiteX2" fmla="*/ 171456 w 1885955"/>
                <a:gd name="connsiteY2" fmla="*/ 3343265 h 3600449"/>
                <a:gd name="connsiteX3" fmla="*/ 171456 w 1885955"/>
                <a:gd name="connsiteY3" fmla="*/ 257165 h 3600449"/>
                <a:gd name="connsiteX4" fmla="*/ 257181 w 1885955"/>
                <a:gd name="connsiteY4" fmla="*/ 171440 h 3600449"/>
                <a:gd name="connsiteX5" fmla="*/ 1628781 w 1885955"/>
                <a:gd name="connsiteY5" fmla="*/ 171440 h 3600449"/>
                <a:gd name="connsiteX6" fmla="*/ 1714506 w 1885955"/>
                <a:gd name="connsiteY6" fmla="*/ 257165 h 3600449"/>
                <a:gd name="connsiteX7" fmla="*/ 1714506 w 1885955"/>
                <a:gd name="connsiteY7" fmla="*/ 1019432 h 3600449"/>
                <a:gd name="connsiteX8" fmla="*/ 1885956 w 1885955"/>
                <a:gd name="connsiteY8" fmla="*/ 917983 h 3600449"/>
                <a:gd name="connsiteX9" fmla="*/ 1885956 w 1885955"/>
                <a:gd name="connsiteY9" fmla="*/ 257175 h 3600449"/>
                <a:gd name="connsiteX10" fmla="*/ 1810567 w 1885955"/>
                <a:gd name="connsiteY10" fmla="*/ 75389 h 3600449"/>
                <a:gd name="connsiteX11" fmla="*/ 1628781 w 1885955"/>
                <a:gd name="connsiteY11" fmla="*/ 0 h 3600449"/>
                <a:gd name="connsiteX12" fmla="*/ 257178 w 1885955"/>
                <a:gd name="connsiteY12" fmla="*/ 0 h 3600449"/>
                <a:gd name="connsiteX13" fmla="*/ 75392 w 1885955"/>
                <a:gd name="connsiteY13" fmla="*/ 75389 h 3600449"/>
                <a:gd name="connsiteX14" fmla="*/ 0 w 1885955"/>
                <a:gd name="connsiteY14" fmla="*/ 257175 h 3600449"/>
                <a:gd name="connsiteX15" fmla="*/ 0 w 1885955"/>
                <a:gd name="connsiteY15" fmla="*/ 3343275 h 3600449"/>
                <a:gd name="connsiteX16" fmla="*/ 75392 w 1885955"/>
                <a:gd name="connsiteY16" fmla="*/ 3525022 h 3600449"/>
                <a:gd name="connsiteX17" fmla="*/ 257178 w 1885955"/>
                <a:gd name="connsiteY17" fmla="*/ 3600450 h 3600449"/>
                <a:gd name="connsiteX18" fmla="*/ 957941 w 1885955"/>
                <a:gd name="connsiteY18" fmla="*/ 3600450 h 3600449"/>
                <a:gd name="connsiteX19" fmla="*/ 942971 w 1885955"/>
                <a:gd name="connsiteY19" fmla="*/ 3514725 h 3600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85955" h="3600449">
                  <a:moveTo>
                    <a:pt x="942981" y="3428990"/>
                  </a:moveTo>
                  <a:lnTo>
                    <a:pt x="257181" y="3428990"/>
                  </a:lnTo>
                  <a:cubicBezTo>
                    <a:pt x="209841" y="3428912"/>
                    <a:pt x="171494" y="3390566"/>
                    <a:pt x="171456" y="3343265"/>
                  </a:cubicBezTo>
                  <a:lnTo>
                    <a:pt x="171456" y="257165"/>
                  </a:lnTo>
                  <a:cubicBezTo>
                    <a:pt x="171494" y="209825"/>
                    <a:pt x="209841" y="171479"/>
                    <a:pt x="257181" y="171440"/>
                  </a:cubicBezTo>
                  <a:lnTo>
                    <a:pt x="1628781" y="171440"/>
                  </a:lnTo>
                  <a:cubicBezTo>
                    <a:pt x="1676121" y="171479"/>
                    <a:pt x="1714467" y="209825"/>
                    <a:pt x="1714506" y="257165"/>
                  </a:cubicBezTo>
                  <a:lnTo>
                    <a:pt x="1714506" y="1019432"/>
                  </a:lnTo>
                  <a:cubicBezTo>
                    <a:pt x="1767009" y="978333"/>
                    <a:pt x="1824645" y="944229"/>
                    <a:pt x="1885956" y="917983"/>
                  </a:cubicBezTo>
                  <a:lnTo>
                    <a:pt x="1885956" y="257175"/>
                  </a:lnTo>
                  <a:cubicBezTo>
                    <a:pt x="1885878" y="188977"/>
                    <a:pt x="1858749" y="123610"/>
                    <a:pt x="1810567" y="75389"/>
                  </a:cubicBezTo>
                  <a:cubicBezTo>
                    <a:pt x="1762345" y="27167"/>
                    <a:pt x="1696979" y="68"/>
                    <a:pt x="1628781" y="0"/>
                  </a:cubicBezTo>
                  <a:lnTo>
                    <a:pt x="257178" y="0"/>
                  </a:lnTo>
                  <a:cubicBezTo>
                    <a:pt x="188981" y="78"/>
                    <a:pt x="123614" y="27167"/>
                    <a:pt x="75392" y="75389"/>
                  </a:cubicBezTo>
                  <a:cubicBezTo>
                    <a:pt x="27210" y="123610"/>
                    <a:pt x="76" y="188977"/>
                    <a:pt x="0" y="257175"/>
                  </a:cubicBezTo>
                  <a:lnTo>
                    <a:pt x="0" y="3343275"/>
                  </a:lnTo>
                  <a:cubicBezTo>
                    <a:pt x="76" y="3411434"/>
                    <a:pt x="27210" y="3476839"/>
                    <a:pt x="75392" y="3525022"/>
                  </a:cubicBezTo>
                  <a:cubicBezTo>
                    <a:pt x="123613" y="3573243"/>
                    <a:pt x="188980" y="3600371"/>
                    <a:pt x="257178" y="3600450"/>
                  </a:cubicBezTo>
                  <a:lnTo>
                    <a:pt x="957941" y="3600450"/>
                  </a:lnTo>
                  <a:cubicBezTo>
                    <a:pt x="948105" y="3572940"/>
                    <a:pt x="943050" y="3543930"/>
                    <a:pt x="942971" y="351472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791EBE11-4C11-4CF2-9613-84532CE5B827}"/>
                </a:ext>
              </a:extLst>
            </p:cNvPr>
            <p:cNvSpPr/>
            <p:nvPr/>
          </p:nvSpPr>
          <p:spPr>
            <a:xfrm>
              <a:off x="-6044746" y="4745305"/>
              <a:ext cx="1200150" cy="1200150"/>
            </a:xfrm>
            <a:custGeom>
              <a:avLst/>
              <a:gdLst>
                <a:gd name="connsiteX0" fmla="*/ 0 w 1200150"/>
                <a:gd name="connsiteY0" fmla="*/ 600075 h 1200150"/>
                <a:gd name="connsiteX1" fmla="*/ 175771 w 1200150"/>
                <a:gd name="connsiteY1" fmla="*/ 1024379 h 1200150"/>
                <a:gd name="connsiteX2" fmla="*/ 600075 w 1200150"/>
                <a:gd name="connsiteY2" fmla="*/ 1200150 h 1200150"/>
                <a:gd name="connsiteX3" fmla="*/ 1024379 w 1200150"/>
                <a:gd name="connsiteY3" fmla="*/ 1024379 h 1200150"/>
                <a:gd name="connsiteX4" fmla="*/ 1200150 w 1200150"/>
                <a:gd name="connsiteY4" fmla="*/ 600075 h 1200150"/>
                <a:gd name="connsiteX5" fmla="*/ 1024379 w 1200150"/>
                <a:gd name="connsiteY5" fmla="*/ 175741 h 1200150"/>
                <a:gd name="connsiteX6" fmla="*/ 600075 w 1200150"/>
                <a:gd name="connsiteY6" fmla="*/ 0 h 1200150"/>
                <a:gd name="connsiteX7" fmla="*/ 175741 w 1200150"/>
                <a:gd name="connsiteY7" fmla="*/ 175741 h 1200150"/>
                <a:gd name="connsiteX8" fmla="*/ 0 w 1200150"/>
                <a:gd name="connsiteY8" fmla="*/ 600075 h 1200150"/>
                <a:gd name="connsiteX9" fmla="*/ 600075 w 1200150"/>
                <a:gd name="connsiteY9" fmla="*/ 171450 h 1200150"/>
                <a:gd name="connsiteX10" fmla="*/ 903179 w 1200150"/>
                <a:gd name="connsiteY10" fmla="*/ 296971 h 1200150"/>
                <a:gd name="connsiteX11" fmla="*/ 1028700 w 1200150"/>
                <a:gd name="connsiteY11" fmla="*/ 600075 h 1200150"/>
                <a:gd name="connsiteX12" fmla="*/ 903179 w 1200150"/>
                <a:gd name="connsiteY12" fmla="*/ 903140 h 1200150"/>
                <a:gd name="connsiteX13" fmla="*/ 600075 w 1200150"/>
                <a:gd name="connsiteY13" fmla="*/ 1028700 h 1200150"/>
                <a:gd name="connsiteX14" fmla="*/ 296971 w 1200150"/>
                <a:gd name="connsiteY14" fmla="*/ 903140 h 1200150"/>
                <a:gd name="connsiteX15" fmla="*/ 171450 w 1200150"/>
                <a:gd name="connsiteY15" fmla="*/ 600075 h 1200150"/>
                <a:gd name="connsiteX16" fmla="*/ 297128 w 1200150"/>
                <a:gd name="connsiteY16" fmla="*/ 297128 h 1200150"/>
                <a:gd name="connsiteX17" fmla="*/ 600075 w 1200150"/>
                <a:gd name="connsiteY17" fmla="*/ 171450 h 120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0150" h="1200150">
                  <a:moveTo>
                    <a:pt x="0" y="600075"/>
                  </a:moveTo>
                  <a:cubicBezTo>
                    <a:pt x="0" y="759200"/>
                    <a:pt x="63221" y="911859"/>
                    <a:pt x="175771" y="1024379"/>
                  </a:cubicBezTo>
                  <a:cubicBezTo>
                    <a:pt x="288281" y="1136929"/>
                    <a:pt x="440901" y="1200150"/>
                    <a:pt x="600075" y="1200150"/>
                  </a:cubicBezTo>
                  <a:cubicBezTo>
                    <a:pt x="759249" y="1200150"/>
                    <a:pt x="911859" y="1136929"/>
                    <a:pt x="1024379" y="1024379"/>
                  </a:cubicBezTo>
                  <a:cubicBezTo>
                    <a:pt x="1136929" y="911869"/>
                    <a:pt x="1200150" y="759210"/>
                    <a:pt x="1200150" y="600075"/>
                  </a:cubicBezTo>
                  <a:cubicBezTo>
                    <a:pt x="1200150" y="440911"/>
                    <a:pt x="1136929" y="288291"/>
                    <a:pt x="1024379" y="175741"/>
                  </a:cubicBezTo>
                  <a:cubicBezTo>
                    <a:pt x="911869" y="63231"/>
                    <a:pt x="759249" y="0"/>
                    <a:pt x="600075" y="0"/>
                  </a:cubicBezTo>
                  <a:cubicBezTo>
                    <a:pt x="440911" y="-39"/>
                    <a:pt x="288291" y="63182"/>
                    <a:pt x="175741" y="175741"/>
                  </a:cubicBezTo>
                  <a:cubicBezTo>
                    <a:pt x="63192" y="288252"/>
                    <a:pt x="-29" y="440911"/>
                    <a:pt x="0" y="600075"/>
                  </a:cubicBezTo>
                  <a:close/>
                  <a:moveTo>
                    <a:pt x="600075" y="171450"/>
                  </a:moveTo>
                  <a:cubicBezTo>
                    <a:pt x="713741" y="171450"/>
                    <a:pt x="822764" y="216605"/>
                    <a:pt x="903179" y="296971"/>
                  </a:cubicBezTo>
                  <a:cubicBezTo>
                    <a:pt x="983545" y="377376"/>
                    <a:pt x="1028700" y="486370"/>
                    <a:pt x="1028700" y="600075"/>
                  </a:cubicBezTo>
                  <a:cubicBezTo>
                    <a:pt x="1028700" y="713741"/>
                    <a:pt x="983545" y="822764"/>
                    <a:pt x="903179" y="903140"/>
                  </a:cubicBezTo>
                  <a:cubicBezTo>
                    <a:pt x="822774" y="983545"/>
                    <a:pt x="713741" y="1028700"/>
                    <a:pt x="600075" y="1028700"/>
                  </a:cubicBezTo>
                  <a:cubicBezTo>
                    <a:pt x="486409" y="1028700"/>
                    <a:pt x="377386" y="983545"/>
                    <a:pt x="296971" y="903140"/>
                  </a:cubicBezTo>
                  <a:cubicBezTo>
                    <a:pt x="216605" y="822774"/>
                    <a:pt x="171450" y="713741"/>
                    <a:pt x="171450" y="600075"/>
                  </a:cubicBezTo>
                  <a:cubicBezTo>
                    <a:pt x="171568" y="486409"/>
                    <a:pt x="216762" y="377494"/>
                    <a:pt x="297128" y="297128"/>
                  </a:cubicBezTo>
                  <a:cubicBezTo>
                    <a:pt x="377494" y="216762"/>
                    <a:pt x="486448" y="171568"/>
                    <a:pt x="600075" y="17145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15E608C3-4767-4F2B-950C-6EB8D92E5F3A}"/>
                </a:ext>
              </a:extLst>
            </p:cNvPr>
            <p:cNvSpPr/>
            <p:nvPr/>
          </p:nvSpPr>
          <p:spPr>
            <a:xfrm>
              <a:off x="-4693034" y="5173931"/>
              <a:ext cx="2548824" cy="2143125"/>
            </a:xfrm>
            <a:custGeom>
              <a:avLst/>
              <a:gdLst>
                <a:gd name="connsiteX0" fmla="*/ 2291552 w 2548824"/>
                <a:gd name="connsiteY0" fmla="*/ 0 h 2143125"/>
                <a:gd name="connsiteX1" fmla="*/ 0 w 2548824"/>
                <a:gd name="connsiteY1" fmla="*/ 0 h 2143125"/>
                <a:gd name="connsiteX2" fmla="*/ 19859 w 2548824"/>
                <a:gd name="connsiteY2" fmla="*/ 171450 h 2143125"/>
                <a:gd name="connsiteX3" fmla="*/ 2291621 w 2548824"/>
                <a:gd name="connsiteY3" fmla="*/ 171450 h 2143125"/>
                <a:gd name="connsiteX4" fmla="*/ 2377346 w 2548824"/>
                <a:gd name="connsiteY4" fmla="*/ 257175 h 2143125"/>
                <a:gd name="connsiteX5" fmla="*/ 2377346 w 2548824"/>
                <a:gd name="connsiteY5" fmla="*/ 1885950 h 2143125"/>
                <a:gd name="connsiteX6" fmla="*/ 2291621 w 2548824"/>
                <a:gd name="connsiteY6" fmla="*/ 1971675 h 2143125"/>
                <a:gd name="connsiteX7" fmla="*/ 491395 w 2548824"/>
                <a:gd name="connsiteY7" fmla="*/ 1971675 h 2143125"/>
                <a:gd name="connsiteX8" fmla="*/ 491395 w 2548824"/>
                <a:gd name="connsiteY8" fmla="*/ 2057400 h 2143125"/>
                <a:gd name="connsiteX9" fmla="*/ 476435 w 2548824"/>
                <a:gd name="connsiteY9" fmla="*/ 2143125 h 2143125"/>
                <a:gd name="connsiteX10" fmla="*/ 2291650 w 2548824"/>
                <a:gd name="connsiteY10" fmla="*/ 2143125 h 2143125"/>
                <a:gd name="connsiteX11" fmla="*/ 2473436 w 2548824"/>
                <a:gd name="connsiteY11" fmla="*/ 2067697 h 2143125"/>
                <a:gd name="connsiteX12" fmla="*/ 2548825 w 2548824"/>
                <a:gd name="connsiteY12" fmla="*/ 1885950 h 2143125"/>
                <a:gd name="connsiteX13" fmla="*/ 2548825 w 2548824"/>
                <a:gd name="connsiteY13" fmla="*/ 257175 h 2143125"/>
                <a:gd name="connsiteX14" fmla="*/ 2473436 w 2548824"/>
                <a:gd name="connsiteY14" fmla="*/ 75389 h 2143125"/>
                <a:gd name="connsiteX15" fmla="*/ 2291650 w 2548824"/>
                <a:gd name="connsiteY15" fmla="*/ 0 h 214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48824" h="2143125">
                  <a:moveTo>
                    <a:pt x="2291552" y="0"/>
                  </a:moveTo>
                  <a:lnTo>
                    <a:pt x="0" y="0"/>
                  </a:lnTo>
                  <a:cubicBezTo>
                    <a:pt x="13011" y="56216"/>
                    <a:pt x="19712" y="113735"/>
                    <a:pt x="19859" y="171450"/>
                  </a:cubicBezTo>
                  <a:lnTo>
                    <a:pt x="2291621" y="171450"/>
                  </a:lnTo>
                  <a:cubicBezTo>
                    <a:pt x="2338921" y="171489"/>
                    <a:pt x="2377277" y="209835"/>
                    <a:pt x="2377346" y="257175"/>
                  </a:cubicBezTo>
                  <a:lnTo>
                    <a:pt x="2377346" y="1885950"/>
                  </a:lnTo>
                  <a:cubicBezTo>
                    <a:pt x="2377277" y="1933251"/>
                    <a:pt x="2338921" y="1971597"/>
                    <a:pt x="2291621" y="1971675"/>
                  </a:cubicBezTo>
                  <a:lnTo>
                    <a:pt x="491395" y="1971675"/>
                  </a:lnTo>
                  <a:lnTo>
                    <a:pt x="491395" y="2057400"/>
                  </a:lnTo>
                  <a:cubicBezTo>
                    <a:pt x="491317" y="2086606"/>
                    <a:pt x="486271" y="2115605"/>
                    <a:pt x="476435" y="2143125"/>
                  </a:cubicBezTo>
                  <a:lnTo>
                    <a:pt x="2291650" y="2143125"/>
                  </a:lnTo>
                  <a:cubicBezTo>
                    <a:pt x="2359848" y="2143047"/>
                    <a:pt x="2425214" y="2115919"/>
                    <a:pt x="2473436" y="2067697"/>
                  </a:cubicBezTo>
                  <a:cubicBezTo>
                    <a:pt x="2521618" y="2019514"/>
                    <a:pt x="2548756" y="1954108"/>
                    <a:pt x="2548825" y="1885950"/>
                  </a:cubicBezTo>
                  <a:lnTo>
                    <a:pt x="2548825" y="257175"/>
                  </a:lnTo>
                  <a:cubicBezTo>
                    <a:pt x="2548756" y="188977"/>
                    <a:pt x="2521618" y="123611"/>
                    <a:pt x="2473436" y="75389"/>
                  </a:cubicBezTo>
                  <a:cubicBezTo>
                    <a:pt x="2425214" y="27168"/>
                    <a:pt x="2359848" y="68"/>
                    <a:pt x="2291650" y="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517C9C15-C96B-40A9-83B8-37D92472E429}"/>
              </a:ext>
            </a:extLst>
          </p:cNvPr>
          <p:cNvGrpSpPr/>
          <p:nvPr/>
        </p:nvGrpSpPr>
        <p:grpSpPr>
          <a:xfrm>
            <a:off x="4332657" y="8839052"/>
            <a:ext cx="320718" cy="365804"/>
            <a:chOff x="-7542790" y="1760897"/>
            <a:chExt cx="4284075" cy="4886324"/>
          </a:xfrm>
          <a:solidFill>
            <a:srgbClr val="5DB0EE"/>
          </a:solidFill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1CF5F2DC-170A-47DF-B95F-D571119AADD0}"/>
                </a:ext>
              </a:extLst>
            </p:cNvPr>
            <p:cNvSpPr/>
            <p:nvPr/>
          </p:nvSpPr>
          <p:spPr>
            <a:xfrm>
              <a:off x="-7542790" y="2018167"/>
              <a:ext cx="4200505" cy="4629054"/>
            </a:xfrm>
            <a:custGeom>
              <a:avLst/>
              <a:gdLst>
                <a:gd name="connsiteX0" fmla="*/ 600075 w 4200505"/>
                <a:gd name="connsiteY0" fmla="*/ 1885855 h 4629054"/>
                <a:gd name="connsiteX1" fmla="*/ 85725 w 4200505"/>
                <a:gd name="connsiteY1" fmla="*/ 1885855 h 4629054"/>
                <a:gd name="connsiteX2" fmla="*/ 0 w 4200505"/>
                <a:gd name="connsiteY2" fmla="*/ 1971580 h 4629054"/>
                <a:gd name="connsiteX3" fmla="*/ 0 w 4200505"/>
                <a:gd name="connsiteY3" fmla="*/ 4543330 h 4629054"/>
                <a:gd name="connsiteX4" fmla="*/ 85725 w 4200505"/>
                <a:gd name="connsiteY4" fmla="*/ 4629055 h 4629054"/>
                <a:gd name="connsiteX5" fmla="*/ 600075 w 4200505"/>
                <a:gd name="connsiteY5" fmla="*/ 4629055 h 4629054"/>
                <a:gd name="connsiteX6" fmla="*/ 685800 w 4200505"/>
                <a:gd name="connsiteY6" fmla="*/ 4543330 h 4629054"/>
                <a:gd name="connsiteX7" fmla="*/ 685800 w 4200505"/>
                <a:gd name="connsiteY7" fmla="*/ 4457605 h 4629054"/>
                <a:gd name="connsiteX8" fmla="*/ 2772592 w 4200505"/>
                <a:gd name="connsiteY8" fmla="*/ 4457605 h 4629054"/>
                <a:gd name="connsiteX9" fmla="*/ 4100006 w 4200505"/>
                <a:gd name="connsiteY9" fmla="*/ 3907780 h 4629054"/>
                <a:gd name="connsiteX10" fmla="*/ 4200506 w 4200505"/>
                <a:gd name="connsiteY10" fmla="*/ 3665261 h 4629054"/>
                <a:gd name="connsiteX11" fmla="*/ 4200506 w 4200505"/>
                <a:gd name="connsiteY11" fmla="*/ 2057354 h 4629054"/>
                <a:gd name="connsiteX12" fmla="*/ 3857605 w 4200505"/>
                <a:gd name="connsiteY12" fmla="*/ 1714454 h 4629054"/>
                <a:gd name="connsiteX13" fmla="*/ 3771880 w 4200505"/>
                <a:gd name="connsiteY13" fmla="*/ 1714454 h 4629054"/>
                <a:gd name="connsiteX14" fmla="*/ 3625119 w 4200505"/>
                <a:gd name="connsiteY14" fmla="*/ 1748744 h 4629054"/>
                <a:gd name="connsiteX15" fmla="*/ 3828567 w 4200505"/>
                <a:gd name="connsiteY15" fmla="*/ 691044 h 4629054"/>
                <a:gd name="connsiteX16" fmla="*/ 3828567 w 4200505"/>
                <a:gd name="connsiteY16" fmla="*/ 690966 h 4629054"/>
                <a:gd name="connsiteX17" fmla="*/ 3941812 w 4200505"/>
                <a:gd name="connsiteY17" fmla="*/ 101876 h 4629054"/>
                <a:gd name="connsiteX18" fmla="*/ 3923707 w 4200505"/>
                <a:gd name="connsiteY18" fmla="*/ 31076 h 4629054"/>
                <a:gd name="connsiteX19" fmla="*/ 3857616 w 4200505"/>
                <a:gd name="connsiteY19" fmla="*/ 0 h 4629054"/>
                <a:gd name="connsiteX20" fmla="*/ 1800215 w 4200505"/>
                <a:gd name="connsiteY20" fmla="*/ 0 h 4629054"/>
                <a:gd name="connsiteX21" fmla="*/ 1734124 w 4200505"/>
                <a:gd name="connsiteY21" fmla="*/ 31114 h 4629054"/>
                <a:gd name="connsiteX22" fmla="*/ 1716019 w 4200505"/>
                <a:gd name="connsiteY22" fmla="*/ 101914 h 4629054"/>
                <a:gd name="connsiteX23" fmla="*/ 1829264 w 4200505"/>
                <a:gd name="connsiteY23" fmla="*/ 691005 h 4629054"/>
                <a:gd name="connsiteX24" fmla="*/ 1829264 w 4200505"/>
                <a:gd name="connsiteY24" fmla="*/ 691084 h 4629054"/>
                <a:gd name="connsiteX25" fmla="*/ 2032711 w 4200505"/>
                <a:gd name="connsiteY25" fmla="*/ 1748783 h 4629054"/>
                <a:gd name="connsiteX26" fmla="*/ 1885950 w 4200505"/>
                <a:gd name="connsiteY26" fmla="*/ 1714493 h 4629054"/>
                <a:gd name="connsiteX27" fmla="*/ 1426209 w 4200505"/>
                <a:gd name="connsiteY27" fmla="*/ 1714493 h 4629054"/>
                <a:gd name="connsiteX28" fmla="*/ 1286904 w 4200505"/>
                <a:gd name="connsiteY28" fmla="*/ 1744071 h 4629054"/>
                <a:gd name="connsiteX29" fmla="*/ 685800 w 4200505"/>
                <a:gd name="connsiteY29" fmla="*/ 2011200 h 4629054"/>
                <a:gd name="connsiteX30" fmla="*/ 685800 w 4200505"/>
                <a:gd name="connsiteY30" fmla="*/ 1971668 h 4629054"/>
                <a:gd name="connsiteX31" fmla="*/ 600075 w 4200505"/>
                <a:gd name="connsiteY31" fmla="*/ 1885943 h 4629054"/>
                <a:gd name="connsiteX32" fmla="*/ 514350 w 4200505"/>
                <a:gd name="connsiteY32" fmla="*/ 4457605 h 4629054"/>
                <a:gd name="connsiteX33" fmla="*/ 171450 w 4200505"/>
                <a:gd name="connsiteY33" fmla="*/ 4457605 h 4629054"/>
                <a:gd name="connsiteX34" fmla="*/ 171450 w 4200505"/>
                <a:gd name="connsiteY34" fmla="*/ 2057305 h 4629054"/>
                <a:gd name="connsiteX35" fmla="*/ 514350 w 4200505"/>
                <a:gd name="connsiteY35" fmla="*/ 2057305 h 4629054"/>
                <a:gd name="connsiteX36" fmla="*/ 3345039 w 4200505"/>
                <a:gd name="connsiteY36" fmla="*/ 2203870 h 4629054"/>
                <a:gd name="connsiteX37" fmla="*/ 3334477 w 4200505"/>
                <a:gd name="connsiteY37" fmla="*/ 2209611 h 4629054"/>
                <a:gd name="connsiteX38" fmla="*/ 3318782 w 4200505"/>
                <a:gd name="connsiteY38" fmla="*/ 2216881 h 4629054"/>
                <a:gd name="connsiteX39" fmla="*/ 3301559 w 4200505"/>
                <a:gd name="connsiteY39" fmla="*/ 2222279 h 4629054"/>
                <a:gd name="connsiteX40" fmla="*/ 3289391 w 4200505"/>
                <a:gd name="connsiteY40" fmla="*/ 2225532 h 4629054"/>
                <a:gd name="connsiteX41" fmla="*/ 3257511 w 4200505"/>
                <a:gd name="connsiteY41" fmla="*/ 2228745 h 4629054"/>
                <a:gd name="connsiteX42" fmla="*/ 2400261 w 4200505"/>
                <a:gd name="connsiteY42" fmla="*/ 2228745 h 4629054"/>
                <a:gd name="connsiteX43" fmla="*/ 2368273 w 4200505"/>
                <a:gd name="connsiteY43" fmla="*/ 2225493 h 4629054"/>
                <a:gd name="connsiteX44" fmla="*/ 2356105 w 4200505"/>
                <a:gd name="connsiteY44" fmla="*/ 2222240 h 4629054"/>
                <a:gd name="connsiteX45" fmla="*/ 2338882 w 4200505"/>
                <a:gd name="connsiteY45" fmla="*/ 2216842 h 4629054"/>
                <a:gd name="connsiteX46" fmla="*/ 2323187 w 4200505"/>
                <a:gd name="connsiteY46" fmla="*/ 2209572 h 4629054"/>
                <a:gd name="connsiteX47" fmla="*/ 2312625 w 4200505"/>
                <a:gd name="connsiteY47" fmla="*/ 2203831 h 4629054"/>
                <a:gd name="connsiteX48" fmla="*/ 2294795 w 4200505"/>
                <a:gd name="connsiteY48" fmla="*/ 2191467 h 4629054"/>
                <a:gd name="connsiteX49" fmla="*/ 2291885 w 4200505"/>
                <a:gd name="connsiteY49" fmla="*/ 2189057 h 4629054"/>
                <a:gd name="connsiteX50" fmla="*/ 2012588 w 4200505"/>
                <a:gd name="connsiteY50" fmla="*/ 736827 h 4629054"/>
                <a:gd name="connsiteX51" fmla="*/ 2479863 w 4200505"/>
                <a:gd name="connsiteY51" fmla="*/ 171309 h 4629054"/>
                <a:gd name="connsiteX52" fmla="*/ 3177684 w 4200505"/>
                <a:gd name="connsiteY52" fmla="*/ 171309 h 4629054"/>
                <a:gd name="connsiteX53" fmla="*/ 3644959 w 4200505"/>
                <a:gd name="connsiteY53" fmla="*/ 736827 h 4629054"/>
                <a:gd name="connsiteX54" fmla="*/ 3365662 w 4200505"/>
                <a:gd name="connsiteY54" fmla="*/ 2189057 h 4629054"/>
                <a:gd name="connsiteX55" fmla="*/ 3362752 w 4200505"/>
                <a:gd name="connsiteY55" fmla="*/ 2191467 h 4629054"/>
                <a:gd name="connsiteX56" fmla="*/ 3345029 w 4200505"/>
                <a:gd name="connsiteY56" fmla="*/ 2203870 h 4629054"/>
                <a:gd name="connsiteX57" fmla="*/ 3753873 w 4200505"/>
                <a:gd name="connsiteY57" fmla="*/ 171355 h 4629054"/>
                <a:gd name="connsiteX58" fmla="*/ 3677759 w 4200505"/>
                <a:gd name="connsiteY58" fmla="*/ 567414 h 4629054"/>
                <a:gd name="connsiteX59" fmla="*/ 3350545 w 4200505"/>
                <a:gd name="connsiteY59" fmla="*/ 171355 h 4629054"/>
                <a:gd name="connsiteX60" fmla="*/ 2307325 w 4200505"/>
                <a:gd name="connsiteY60" fmla="*/ 171355 h 4629054"/>
                <a:gd name="connsiteX61" fmla="*/ 1980120 w 4200505"/>
                <a:gd name="connsiteY61" fmla="*/ 567414 h 4629054"/>
                <a:gd name="connsiteX62" fmla="*/ 1903889 w 4200505"/>
                <a:gd name="connsiteY62" fmla="*/ 171355 h 4629054"/>
                <a:gd name="connsiteX63" fmla="*/ 1356620 w 4200505"/>
                <a:gd name="connsiteY63" fmla="*/ 1900551 h 4629054"/>
                <a:gd name="connsiteX64" fmla="*/ 1426160 w 4200505"/>
                <a:gd name="connsiteY64" fmla="*/ 1885816 h 4629054"/>
                <a:gd name="connsiteX65" fmla="*/ 1885901 w 4200505"/>
                <a:gd name="connsiteY65" fmla="*/ 1885816 h 4629054"/>
                <a:gd name="connsiteX66" fmla="*/ 2057351 w 4200505"/>
                <a:gd name="connsiteY66" fmla="*/ 2057266 h 4629054"/>
                <a:gd name="connsiteX67" fmla="*/ 2147700 w 4200505"/>
                <a:gd name="connsiteY67" fmla="*/ 2287195 h 4629054"/>
                <a:gd name="connsiteX68" fmla="*/ 2150532 w 4200505"/>
                <a:gd name="connsiteY68" fmla="*/ 2291212 h 4629054"/>
                <a:gd name="connsiteX69" fmla="*/ 2152334 w 4200505"/>
                <a:gd name="connsiteY69" fmla="*/ 2292750 h 4629054"/>
                <a:gd name="connsiteX70" fmla="*/ 2197342 w 4200505"/>
                <a:gd name="connsiteY70" fmla="*/ 2332007 h 4629054"/>
                <a:gd name="connsiteX71" fmla="*/ 2205151 w 4200505"/>
                <a:gd name="connsiteY71" fmla="*/ 2338444 h 4629054"/>
                <a:gd name="connsiteX72" fmla="*/ 2252030 w 4200505"/>
                <a:gd name="connsiteY72" fmla="*/ 2364925 h 4629054"/>
                <a:gd name="connsiteX73" fmla="*/ 2265580 w 4200505"/>
                <a:gd name="connsiteY73" fmla="*/ 2372313 h 4629054"/>
                <a:gd name="connsiteX74" fmla="*/ 2312381 w 4200505"/>
                <a:gd name="connsiteY74" fmla="*/ 2387234 h 4629054"/>
                <a:gd name="connsiteX75" fmla="*/ 2330976 w 4200505"/>
                <a:gd name="connsiteY75" fmla="*/ 2393053 h 4629054"/>
                <a:gd name="connsiteX76" fmla="*/ 2400251 w 4200505"/>
                <a:gd name="connsiteY76" fmla="*/ 2400166 h 4629054"/>
                <a:gd name="connsiteX77" fmla="*/ 3257501 w 4200505"/>
                <a:gd name="connsiteY77" fmla="*/ 2400166 h 4629054"/>
                <a:gd name="connsiteX78" fmla="*/ 3326845 w 4200505"/>
                <a:gd name="connsiteY78" fmla="*/ 2393053 h 4629054"/>
                <a:gd name="connsiteX79" fmla="*/ 3345440 w 4200505"/>
                <a:gd name="connsiteY79" fmla="*/ 2387234 h 4629054"/>
                <a:gd name="connsiteX80" fmla="*/ 3392251 w 4200505"/>
                <a:gd name="connsiteY80" fmla="*/ 2372313 h 4629054"/>
                <a:gd name="connsiteX81" fmla="*/ 3405791 w 4200505"/>
                <a:gd name="connsiteY81" fmla="*/ 2364925 h 4629054"/>
                <a:gd name="connsiteX82" fmla="*/ 3452680 w 4200505"/>
                <a:gd name="connsiteY82" fmla="*/ 2338444 h 4629054"/>
                <a:gd name="connsiteX83" fmla="*/ 3460478 w 4200505"/>
                <a:gd name="connsiteY83" fmla="*/ 2332007 h 4629054"/>
                <a:gd name="connsiteX84" fmla="*/ 3505486 w 4200505"/>
                <a:gd name="connsiteY84" fmla="*/ 2292750 h 4629054"/>
                <a:gd name="connsiteX85" fmla="*/ 3507289 w 4200505"/>
                <a:gd name="connsiteY85" fmla="*/ 2291212 h 4629054"/>
                <a:gd name="connsiteX86" fmla="*/ 3510120 w 4200505"/>
                <a:gd name="connsiteY86" fmla="*/ 2287195 h 4629054"/>
                <a:gd name="connsiteX87" fmla="*/ 3600401 w 4200505"/>
                <a:gd name="connsiteY87" fmla="*/ 2057266 h 4629054"/>
                <a:gd name="connsiteX88" fmla="*/ 3771851 w 4200505"/>
                <a:gd name="connsiteY88" fmla="*/ 1885816 h 4629054"/>
                <a:gd name="connsiteX89" fmla="*/ 3857576 w 4200505"/>
                <a:gd name="connsiteY89" fmla="*/ 1885816 h 4629054"/>
                <a:gd name="connsiteX90" fmla="*/ 4029026 w 4200505"/>
                <a:gd name="connsiteY90" fmla="*/ 2057266 h 4629054"/>
                <a:gd name="connsiteX91" fmla="*/ 4029026 w 4200505"/>
                <a:gd name="connsiteY91" fmla="*/ 2362702 h 4629054"/>
                <a:gd name="connsiteX92" fmla="*/ 3279623 w 4200505"/>
                <a:gd name="connsiteY92" fmla="*/ 2726763 h 4629054"/>
                <a:gd name="connsiteX93" fmla="*/ 2559533 w 4200505"/>
                <a:gd name="connsiteY93" fmla="*/ 2829633 h 4629054"/>
                <a:gd name="connsiteX94" fmla="*/ 2583791 w 4200505"/>
                <a:gd name="connsiteY94" fmla="*/ 2999281 h 4629054"/>
                <a:gd name="connsiteX95" fmla="*/ 3303803 w 4200505"/>
                <a:gd name="connsiteY95" fmla="*/ 2896411 h 4629054"/>
                <a:gd name="connsiteX96" fmla="*/ 4028948 w 4200505"/>
                <a:gd name="connsiteY96" fmla="*/ 2587801 h 4629054"/>
                <a:gd name="connsiteX97" fmla="*/ 4028948 w 4200505"/>
                <a:gd name="connsiteY97" fmla="*/ 2791248 h 4629054"/>
                <a:gd name="connsiteX98" fmla="*/ 3279545 w 4200505"/>
                <a:gd name="connsiteY98" fmla="*/ 3155310 h 4629054"/>
                <a:gd name="connsiteX99" fmla="*/ 2559455 w 4200505"/>
                <a:gd name="connsiteY99" fmla="*/ 3258180 h 4629054"/>
                <a:gd name="connsiteX100" fmla="*/ 2583722 w 4200505"/>
                <a:gd name="connsiteY100" fmla="*/ 3427828 h 4629054"/>
                <a:gd name="connsiteX101" fmla="*/ 3303734 w 4200505"/>
                <a:gd name="connsiteY101" fmla="*/ 3324958 h 4629054"/>
                <a:gd name="connsiteX102" fmla="*/ 4028879 w 4200505"/>
                <a:gd name="connsiteY102" fmla="*/ 3016348 h 4629054"/>
                <a:gd name="connsiteX103" fmla="*/ 4028879 w 4200505"/>
                <a:gd name="connsiteY103" fmla="*/ 3219795 h 4629054"/>
                <a:gd name="connsiteX104" fmla="*/ 3279476 w 4200505"/>
                <a:gd name="connsiteY104" fmla="*/ 3583857 h 4629054"/>
                <a:gd name="connsiteX105" fmla="*/ 2559386 w 4200505"/>
                <a:gd name="connsiteY105" fmla="*/ 3686727 h 4629054"/>
                <a:gd name="connsiteX106" fmla="*/ 2583644 w 4200505"/>
                <a:gd name="connsiteY106" fmla="*/ 3856374 h 4629054"/>
                <a:gd name="connsiteX107" fmla="*/ 3303655 w 4200505"/>
                <a:gd name="connsiteY107" fmla="*/ 3753504 h 4629054"/>
                <a:gd name="connsiteX108" fmla="*/ 4028801 w 4200505"/>
                <a:gd name="connsiteY108" fmla="*/ 3444894 h 4629054"/>
                <a:gd name="connsiteX109" fmla="*/ 4028801 w 4200505"/>
                <a:gd name="connsiteY109" fmla="*/ 3665026 h 4629054"/>
                <a:gd name="connsiteX110" fmla="*/ 3978561 w 4200505"/>
                <a:gd name="connsiteY110" fmla="*/ 3786344 h 4629054"/>
                <a:gd name="connsiteX111" fmla="*/ 2772533 w 4200505"/>
                <a:gd name="connsiteY111" fmla="*/ 4286116 h 4629054"/>
                <a:gd name="connsiteX112" fmla="*/ 685741 w 4200505"/>
                <a:gd name="connsiteY112" fmla="*/ 4286116 h 4629054"/>
                <a:gd name="connsiteX113" fmla="*/ 685741 w 4200505"/>
                <a:gd name="connsiteY113" fmla="*/ 2198737 h 4629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4200505" h="4629054">
                  <a:moveTo>
                    <a:pt x="600075" y="1885855"/>
                  </a:moveTo>
                  <a:lnTo>
                    <a:pt x="85725" y="1885855"/>
                  </a:lnTo>
                  <a:cubicBezTo>
                    <a:pt x="38424" y="1885855"/>
                    <a:pt x="0" y="1924279"/>
                    <a:pt x="0" y="1971580"/>
                  </a:cubicBezTo>
                  <a:lnTo>
                    <a:pt x="0" y="4543330"/>
                  </a:lnTo>
                  <a:cubicBezTo>
                    <a:pt x="0" y="4590631"/>
                    <a:pt x="38424" y="4629055"/>
                    <a:pt x="85725" y="4629055"/>
                  </a:cubicBezTo>
                  <a:lnTo>
                    <a:pt x="600075" y="4629055"/>
                  </a:lnTo>
                  <a:cubicBezTo>
                    <a:pt x="647376" y="4629055"/>
                    <a:pt x="685800" y="4590631"/>
                    <a:pt x="685800" y="4543330"/>
                  </a:cubicBezTo>
                  <a:lnTo>
                    <a:pt x="685800" y="4457605"/>
                  </a:lnTo>
                  <a:lnTo>
                    <a:pt x="2772592" y="4457605"/>
                  </a:lnTo>
                  <a:cubicBezTo>
                    <a:pt x="3274088" y="4457605"/>
                    <a:pt x="3745497" y="4262309"/>
                    <a:pt x="4100006" y="3907780"/>
                  </a:cubicBezTo>
                  <a:cubicBezTo>
                    <a:pt x="4164834" y="3843030"/>
                    <a:pt x="4200506" y="3756884"/>
                    <a:pt x="4200506" y="3665261"/>
                  </a:cubicBezTo>
                  <a:lnTo>
                    <a:pt x="4200506" y="2057354"/>
                  </a:lnTo>
                  <a:cubicBezTo>
                    <a:pt x="4200506" y="1868259"/>
                    <a:pt x="4046700" y="1714454"/>
                    <a:pt x="3857605" y="1714454"/>
                  </a:cubicBezTo>
                  <a:lnTo>
                    <a:pt x="3771880" y="1714454"/>
                  </a:lnTo>
                  <a:cubicBezTo>
                    <a:pt x="3719142" y="1714454"/>
                    <a:pt x="3669775" y="1727386"/>
                    <a:pt x="3625119" y="1748744"/>
                  </a:cubicBezTo>
                  <a:lnTo>
                    <a:pt x="3828567" y="691044"/>
                  </a:lnTo>
                  <a:lnTo>
                    <a:pt x="3828567" y="690966"/>
                  </a:lnTo>
                  <a:lnTo>
                    <a:pt x="3941812" y="101876"/>
                  </a:lnTo>
                  <a:cubicBezTo>
                    <a:pt x="3946711" y="76770"/>
                    <a:pt x="3940009" y="50785"/>
                    <a:pt x="3923707" y="31076"/>
                  </a:cubicBezTo>
                  <a:cubicBezTo>
                    <a:pt x="3907404" y="11328"/>
                    <a:pt x="3883186" y="0"/>
                    <a:pt x="3857616" y="0"/>
                  </a:cubicBezTo>
                  <a:lnTo>
                    <a:pt x="1800215" y="0"/>
                  </a:lnTo>
                  <a:cubicBezTo>
                    <a:pt x="1774655" y="0"/>
                    <a:pt x="1750426" y="11405"/>
                    <a:pt x="1734124" y="31114"/>
                  </a:cubicBezTo>
                  <a:cubicBezTo>
                    <a:pt x="1717821" y="50823"/>
                    <a:pt x="1711159" y="76809"/>
                    <a:pt x="1716019" y="101914"/>
                  </a:cubicBezTo>
                  <a:lnTo>
                    <a:pt x="1829264" y="691005"/>
                  </a:lnTo>
                  <a:lnTo>
                    <a:pt x="1829264" y="691084"/>
                  </a:lnTo>
                  <a:lnTo>
                    <a:pt x="2032711" y="1748783"/>
                  </a:lnTo>
                  <a:cubicBezTo>
                    <a:pt x="1988056" y="1727425"/>
                    <a:pt x="1938688" y="1714493"/>
                    <a:pt x="1885950" y="1714493"/>
                  </a:cubicBezTo>
                  <a:lnTo>
                    <a:pt x="1426209" y="1714493"/>
                  </a:lnTo>
                  <a:cubicBezTo>
                    <a:pt x="1377880" y="1714493"/>
                    <a:pt x="1330961" y="1724447"/>
                    <a:pt x="1286904" y="1744071"/>
                  </a:cubicBezTo>
                  <a:lnTo>
                    <a:pt x="685800" y="2011200"/>
                  </a:lnTo>
                  <a:lnTo>
                    <a:pt x="685800" y="1971668"/>
                  </a:lnTo>
                  <a:cubicBezTo>
                    <a:pt x="685800" y="1924368"/>
                    <a:pt x="647385" y="1885943"/>
                    <a:pt x="600075" y="1885943"/>
                  </a:cubicBezTo>
                  <a:close/>
                  <a:moveTo>
                    <a:pt x="514350" y="4457605"/>
                  </a:moveTo>
                  <a:lnTo>
                    <a:pt x="171450" y="4457605"/>
                  </a:lnTo>
                  <a:lnTo>
                    <a:pt x="171450" y="2057305"/>
                  </a:lnTo>
                  <a:lnTo>
                    <a:pt x="514350" y="2057305"/>
                  </a:lnTo>
                  <a:close/>
                  <a:moveTo>
                    <a:pt x="3345039" y="2203870"/>
                  </a:moveTo>
                  <a:cubicBezTo>
                    <a:pt x="3341590" y="2205937"/>
                    <a:pt x="3338112" y="2207740"/>
                    <a:pt x="3334477" y="2209611"/>
                  </a:cubicBezTo>
                  <a:cubicBezTo>
                    <a:pt x="3329344" y="2212247"/>
                    <a:pt x="3324180" y="2214735"/>
                    <a:pt x="3318782" y="2216881"/>
                  </a:cubicBezTo>
                  <a:cubicBezTo>
                    <a:pt x="3313198" y="2219026"/>
                    <a:pt x="3307378" y="2220672"/>
                    <a:pt x="3301559" y="2222279"/>
                  </a:cubicBezTo>
                  <a:cubicBezTo>
                    <a:pt x="3297542" y="2223386"/>
                    <a:pt x="3293486" y="2224768"/>
                    <a:pt x="3289391" y="2225532"/>
                  </a:cubicBezTo>
                  <a:cubicBezTo>
                    <a:pt x="3279094" y="2227442"/>
                    <a:pt x="3268494" y="2228745"/>
                    <a:pt x="3257511" y="2228745"/>
                  </a:cubicBezTo>
                  <a:lnTo>
                    <a:pt x="2400261" y="2228745"/>
                  </a:lnTo>
                  <a:cubicBezTo>
                    <a:pt x="2389278" y="2228745"/>
                    <a:pt x="2378678" y="2227442"/>
                    <a:pt x="2368273" y="2225493"/>
                  </a:cubicBezTo>
                  <a:cubicBezTo>
                    <a:pt x="2364139" y="2224728"/>
                    <a:pt x="2360122" y="2223347"/>
                    <a:pt x="2356105" y="2222240"/>
                  </a:cubicBezTo>
                  <a:cubicBezTo>
                    <a:pt x="2350286" y="2220711"/>
                    <a:pt x="2344427" y="2219066"/>
                    <a:pt x="2338882" y="2216842"/>
                  </a:cubicBezTo>
                  <a:cubicBezTo>
                    <a:pt x="2333484" y="2214775"/>
                    <a:pt x="2328321" y="2212218"/>
                    <a:pt x="2323187" y="2209572"/>
                  </a:cubicBezTo>
                  <a:cubicBezTo>
                    <a:pt x="2319591" y="2207770"/>
                    <a:pt x="2316074" y="2205898"/>
                    <a:pt x="2312625" y="2203831"/>
                  </a:cubicBezTo>
                  <a:cubicBezTo>
                    <a:pt x="2306463" y="2200040"/>
                    <a:pt x="2300536" y="2196023"/>
                    <a:pt x="2294795" y="2191467"/>
                  </a:cubicBezTo>
                  <a:cubicBezTo>
                    <a:pt x="2293756" y="2190703"/>
                    <a:pt x="2292806" y="2189821"/>
                    <a:pt x="2291885" y="2189057"/>
                  </a:cubicBezTo>
                  <a:lnTo>
                    <a:pt x="2012588" y="736827"/>
                  </a:lnTo>
                  <a:cubicBezTo>
                    <a:pt x="2264100" y="654893"/>
                    <a:pt x="2446797" y="433961"/>
                    <a:pt x="2479863" y="171309"/>
                  </a:cubicBezTo>
                  <a:lnTo>
                    <a:pt x="3177684" y="171309"/>
                  </a:lnTo>
                  <a:cubicBezTo>
                    <a:pt x="3210788" y="433882"/>
                    <a:pt x="3393446" y="654883"/>
                    <a:pt x="3644959" y="736827"/>
                  </a:cubicBezTo>
                  <a:lnTo>
                    <a:pt x="3365662" y="2189057"/>
                  </a:lnTo>
                  <a:cubicBezTo>
                    <a:pt x="3364702" y="2189821"/>
                    <a:pt x="3363673" y="2190703"/>
                    <a:pt x="3362752" y="2191467"/>
                  </a:cubicBezTo>
                  <a:cubicBezTo>
                    <a:pt x="3357128" y="2196101"/>
                    <a:pt x="3351191" y="2200196"/>
                    <a:pt x="3345029" y="2203870"/>
                  </a:cubicBezTo>
                  <a:close/>
                  <a:moveTo>
                    <a:pt x="3753873" y="171355"/>
                  </a:moveTo>
                  <a:lnTo>
                    <a:pt x="3677759" y="567414"/>
                  </a:lnTo>
                  <a:cubicBezTo>
                    <a:pt x="3506309" y="503465"/>
                    <a:pt x="3380974" y="351916"/>
                    <a:pt x="3350545" y="171355"/>
                  </a:cubicBezTo>
                  <a:close/>
                  <a:moveTo>
                    <a:pt x="2307325" y="171355"/>
                  </a:moveTo>
                  <a:cubicBezTo>
                    <a:pt x="2276905" y="351799"/>
                    <a:pt x="2151570" y="503459"/>
                    <a:pt x="1980120" y="567414"/>
                  </a:cubicBezTo>
                  <a:lnTo>
                    <a:pt x="1903889" y="171355"/>
                  </a:lnTo>
                  <a:close/>
                  <a:moveTo>
                    <a:pt x="1356620" y="1900551"/>
                  </a:moveTo>
                  <a:cubicBezTo>
                    <a:pt x="1378586" y="1890793"/>
                    <a:pt x="1401893" y="1885816"/>
                    <a:pt x="1426160" y="1885816"/>
                  </a:cubicBezTo>
                  <a:lnTo>
                    <a:pt x="1885901" y="1885816"/>
                  </a:lnTo>
                  <a:cubicBezTo>
                    <a:pt x="1980463" y="1885816"/>
                    <a:pt x="2057351" y="1962704"/>
                    <a:pt x="2057351" y="2057266"/>
                  </a:cubicBezTo>
                  <a:cubicBezTo>
                    <a:pt x="2057351" y="2145979"/>
                    <a:pt x="2092141" y="2226227"/>
                    <a:pt x="2147700" y="2287195"/>
                  </a:cubicBezTo>
                  <a:cubicBezTo>
                    <a:pt x="2148739" y="2288498"/>
                    <a:pt x="2149425" y="2290026"/>
                    <a:pt x="2150532" y="2291212"/>
                  </a:cubicBezTo>
                  <a:cubicBezTo>
                    <a:pt x="2151031" y="2291829"/>
                    <a:pt x="2151727" y="2292172"/>
                    <a:pt x="2152334" y="2292750"/>
                  </a:cubicBezTo>
                  <a:cubicBezTo>
                    <a:pt x="2166031" y="2307250"/>
                    <a:pt x="2181226" y="2320114"/>
                    <a:pt x="2197342" y="2332007"/>
                  </a:cubicBezTo>
                  <a:cubicBezTo>
                    <a:pt x="2199978" y="2334074"/>
                    <a:pt x="2202388" y="2336563"/>
                    <a:pt x="2205151" y="2338444"/>
                  </a:cubicBezTo>
                  <a:cubicBezTo>
                    <a:pt x="2219886" y="2348662"/>
                    <a:pt x="2235767" y="2357039"/>
                    <a:pt x="2252030" y="2364925"/>
                  </a:cubicBezTo>
                  <a:cubicBezTo>
                    <a:pt x="2256664" y="2367140"/>
                    <a:pt x="2260867" y="2370245"/>
                    <a:pt x="2265580" y="2372313"/>
                  </a:cubicBezTo>
                  <a:cubicBezTo>
                    <a:pt x="2280501" y="2378739"/>
                    <a:pt x="2296421" y="2382943"/>
                    <a:pt x="2312381" y="2387234"/>
                  </a:cubicBezTo>
                  <a:cubicBezTo>
                    <a:pt x="2318660" y="2388958"/>
                    <a:pt x="2324549" y="2391672"/>
                    <a:pt x="2330976" y="2393053"/>
                  </a:cubicBezTo>
                  <a:cubicBezTo>
                    <a:pt x="2353254" y="2397677"/>
                    <a:pt x="2376522" y="2400166"/>
                    <a:pt x="2400251" y="2400166"/>
                  </a:cubicBezTo>
                  <a:lnTo>
                    <a:pt x="3257501" y="2400166"/>
                  </a:lnTo>
                  <a:cubicBezTo>
                    <a:pt x="3281230" y="2400166"/>
                    <a:pt x="3304498" y="2397677"/>
                    <a:pt x="3326845" y="2393053"/>
                  </a:cubicBezTo>
                  <a:cubicBezTo>
                    <a:pt x="3333272" y="2391750"/>
                    <a:pt x="3339209" y="2388919"/>
                    <a:pt x="3345440" y="2387234"/>
                  </a:cubicBezTo>
                  <a:cubicBezTo>
                    <a:pt x="3361400" y="2382943"/>
                    <a:pt x="3377320" y="2378739"/>
                    <a:pt x="3392251" y="2372313"/>
                  </a:cubicBezTo>
                  <a:cubicBezTo>
                    <a:pt x="3396954" y="2370245"/>
                    <a:pt x="3401166" y="2367179"/>
                    <a:pt x="3405791" y="2364925"/>
                  </a:cubicBezTo>
                  <a:cubicBezTo>
                    <a:pt x="3422093" y="2357039"/>
                    <a:pt x="3437945" y="2348731"/>
                    <a:pt x="3452680" y="2338444"/>
                  </a:cubicBezTo>
                  <a:cubicBezTo>
                    <a:pt x="3455433" y="2336445"/>
                    <a:pt x="3457804" y="2333996"/>
                    <a:pt x="3460478" y="2332007"/>
                  </a:cubicBezTo>
                  <a:cubicBezTo>
                    <a:pt x="3476595" y="2320114"/>
                    <a:pt x="3491672" y="2307250"/>
                    <a:pt x="3505486" y="2292750"/>
                  </a:cubicBezTo>
                  <a:cubicBezTo>
                    <a:pt x="3505986" y="2292133"/>
                    <a:pt x="3506672" y="2291790"/>
                    <a:pt x="3507289" y="2291212"/>
                  </a:cubicBezTo>
                  <a:cubicBezTo>
                    <a:pt x="3508396" y="2290026"/>
                    <a:pt x="3509082" y="2288380"/>
                    <a:pt x="3510120" y="2287195"/>
                  </a:cubicBezTo>
                  <a:cubicBezTo>
                    <a:pt x="3565611" y="2226227"/>
                    <a:pt x="3600401" y="2145979"/>
                    <a:pt x="3600401" y="2057266"/>
                  </a:cubicBezTo>
                  <a:cubicBezTo>
                    <a:pt x="3600401" y="1962704"/>
                    <a:pt x="3677279" y="1885816"/>
                    <a:pt x="3771851" y="1885816"/>
                  </a:cubicBezTo>
                  <a:lnTo>
                    <a:pt x="3857576" y="1885816"/>
                  </a:lnTo>
                  <a:cubicBezTo>
                    <a:pt x="3952138" y="1885816"/>
                    <a:pt x="4029026" y="1962704"/>
                    <a:pt x="4029026" y="2057266"/>
                  </a:cubicBezTo>
                  <a:lnTo>
                    <a:pt x="4029026" y="2362702"/>
                  </a:lnTo>
                  <a:cubicBezTo>
                    <a:pt x="3824050" y="2557459"/>
                    <a:pt x="3559684" y="2686811"/>
                    <a:pt x="3279623" y="2726763"/>
                  </a:cubicBezTo>
                  <a:lnTo>
                    <a:pt x="2559533" y="2829633"/>
                  </a:lnTo>
                  <a:lnTo>
                    <a:pt x="2583791" y="2999281"/>
                  </a:lnTo>
                  <a:lnTo>
                    <a:pt x="3303803" y="2896411"/>
                  </a:lnTo>
                  <a:cubicBezTo>
                    <a:pt x="3567483" y="2858790"/>
                    <a:pt x="3818652" y="2750335"/>
                    <a:pt x="4028948" y="2587801"/>
                  </a:cubicBezTo>
                  <a:lnTo>
                    <a:pt x="4028948" y="2791248"/>
                  </a:lnTo>
                  <a:cubicBezTo>
                    <a:pt x="3823972" y="2986006"/>
                    <a:pt x="3559606" y="3115357"/>
                    <a:pt x="3279545" y="3155310"/>
                  </a:cubicBezTo>
                  <a:lnTo>
                    <a:pt x="2559455" y="3258180"/>
                  </a:lnTo>
                  <a:lnTo>
                    <a:pt x="2583722" y="3427828"/>
                  </a:lnTo>
                  <a:lnTo>
                    <a:pt x="3303734" y="3324958"/>
                  </a:lnTo>
                  <a:cubicBezTo>
                    <a:pt x="3567414" y="3287336"/>
                    <a:pt x="3818584" y="3178882"/>
                    <a:pt x="4028879" y="3016348"/>
                  </a:cubicBezTo>
                  <a:lnTo>
                    <a:pt x="4028879" y="3219795"/>
                  </a:lnTo>
                  <a:cubicBezTo>
                    <a:pt x="3823903" y="3414552"/>
                    <a:pt x="3559537" y="3543904"/>
                    <a:pt x="3279476" y="3583857"/>
                  </a:cubicBezTo>
                  <a:lnTo>
                    <a:pt x="2559386" y="3686727"/>
                  </a:lnTo>
                  <a:lnTo>
                    <a:pt x="2583644" y="3856374"/>
                  </a:lnTo>
                  <a:lnTo>
                    <a:pt x="3303655" y="3753504"/>
                  </a:lnTo>
                  <a:cubicBezTo>
                    <a:pt x="3567336" y="3715883"/>
                    <a:pt x="3818505" y="3607428"/>
                    <a:pt x="4028801" y="3444894"/>
                  </a:cubicBezTo>
                  <a:lnTo>
                    <a:pt x="4028801" y="3665026"/>
                  </a:lnTo>
                  <a:cubicBezTo>
                    <a:pt x="4028801" y="3710798"/>
                    <a:pt x="4010970" y="3753925"/>
                    <a:pt x="3978561" y="3786344"/>
                  </a:cubicBezTo>
                  <a:cubicBezTo>
                    <a:pt x="3656637" y="4108650"/>
                    <a:pt x="3228276" y="4286116"/>
                    <a:pt x="2772533" y="4286116"/>
                  </a:cubicBezTo>
                  <a:lnTo>
                    <a:pt x="685741" y="4286116"/>
                  </a:lnTo>
                  <a:lnTo>
                    <a:pt x="685741" y="2198737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2C408080-5AEE-4A03-974D-6DA258D5019B}"/>
                </a:ext>
              </a:extLst>
            </p:cNvPr>
            <p:cNvSpPr/>
            <p:nvPr/>
          </p:nvSpPr>
          <p:spPr>
            <a:xfrm>
              <a:off x="-5142490" y="3303947"/>
              <a:ext cx="857250" cy="857250"/>
            </a:xfrm>
            <a:custGeom>
              <a:avLst/>
              <a:gdLst>
                <a:gd name="connsiteX0" fmla="*/ 428625 w 857250"/>
                <a:gd name="connsiteY0" fmla="*/ 0 h 857250"/>
                <a:gd name="connsiteX1" fmla="*/ 0 w 857250"/>
                <a:gd name="connsiteY1" fmla="*/ 428625 h 857250"/>
                <a:gd name="connsiteX2" fmla="*/ 428625 w 857250"/>
                <a:gd name="connsiteY2" fmla="*/ 857250 h 857250"/>
                <a:gd name="connsiteX3" fmla="*/ 857250 w 857250"/>
                <a:gd name="connsiteY3" fmla="*/ 428625 h 857250"/>
                <a:gd name="connsiteX4" fmla="*/ 428625 w 857250"/>
                <a:gd name="connsiteY4" fmla="*/ 0 h 857250"/>
                <a:gd name="connsiteX5" fmla="*/ 428625 w 857250"/>
                <a:gd name="connsiteY5" fmla="*/ 685800 h 857250"/>
                <a:gd name="connsiteX6" fmla="*/ 171450 w 857250"/>
                <a:gd name="connsiteY6" fmla="*/ 428625 h 857250"/>
                <a:gd name="connsiteX7" fmla="*/ 428625 w 857250"/>
                <a:gd name="connsiteY7" fmla="*/ 171450 h 857250"/>
                <a:gd name="connsiteX8" fmla="*/ 685800 w 857250"/>
                <a:gd name="connsiteY8" fmla="*/ 428625 h 857250"/>
                <a:gd name="connsiteX9" fmla="*/ 428625 w 857250"/>
                <a:gd name="connsiteY9" fmla="*/ 685800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7250" h="857250">
                  <a:moveTo>
                    <a:pt x="428625" y="0"/>
                  </a:moveTo>
                  <a:cubicBezTo>
                    <a:pt x="192269" y="0"/>
                    <a:pt x="0" y="192269"/>
                    <a:pt x="0" y="428625"/>
                  </a:cubicBezTo>
                  <a:cubicBezTo>
                    <a:pt x="0" y="664981"/>
                    <a:pt x="192269" y="857250"/>
                    <a:pt x="428625" y="857250"/>
                  </a:cubicBezTo>
                  <a:cubicBezTo>
                    <a:pt x="664981" y="857250"/>
                    <a:pt x="857250" y="664981"/>
                    <a:pt x="857250" y="428625"/>
                  </a:cubicBezTo>
                  <a:cubicBezTo>
                    <a:pt x="857250" y="192269"/>
                    <a:pt x="664981" y="0"/>
                    <a:pt x="428625" y="0"/>
                  </a:cubicBezTo>
                  <a:close/>
                  <a:moveTo>
                    <a:pt x="428625" y="685800"/>
                  </a:moveTo>
                  <a:cubicBezTo>
                    <a:pt x="286831" y="685800"/>
                    <a:pt x="171450" y="570419"/>
                    <a:pt x="171450" y="428625"/>
                  </a:cubicBezTo>
                  <a:cubicBezTo>
                    <a:pt x="171450" y="286831"/>
                    <a:pt x="286831" y="171450"/>
                    <a:pt x="428625" y="171450"/>
                  </a:cubicBezTo>
                  <a:cubicBezTo>
                    <a:pt x="570419" y="171450"/>
                    <a:pt x="685800" y="286831"/>
                    <a:pt x="685800" y="428625"/>
                  </a:cubicBezTo>
                  <a:cubicBezTo>
                    <a:pt x="685800" y="570419"/>
                    <a:pt x="570419" y="685800"/>
                    <a:pt x="428625" y="68580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D5CCBBCF-8EB5-4E60-AC76-0AC0BC08B7DA}"/>
                </a:ext>
              </a:extLst>
            </p:cNvPr>
            <p:cNvSpPr/>
            <p:nvPr/>
          </p:nvSpPr>
          <p:spPr>
            <a:xfrm>
              <a:off x="-3768930" y="2085182"/>
              <a:ext cx="510215" cy="1580249"/>
            </a:xfrm>
            <a:custGeom>
              <a:avLst/>
              <a:gdLst>
                <a:gd name="connsiteX0" fmla="*/ 0 w 510215"/>
                <a:gd name="connsiteY0" fmla="*/ 1543050 h 1580249"/>
                <a:gd name="connsiteX1" fmla="*/ 342861 w 510215"/>
                <a:gd name="connsiteY1" fmla="*/ 0 h 1580249"/>
                <a:gd name="connsiteX2" fmla="*/ 510216 w 510215"/>
                <a:gd name="connsiteY2" fmla="*/ 37199 h 1580249"/>
                <a:gd name="connsiteX3" fmla="*/ 167355 w 510215"/>
                <a:gd name="connsiteY3" fmla="*/ 1580250 h 1580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0215" h="1580249">
                  <a:moveTo>
                    <a:pt x="0" y="1543050"/>
                  </a:moveTo>
                  <a:lnTo>
                    <a:pt x="342861" y="0"/>
                  </a:lnTo>
                  <a:lnTo>
                    <a:pt x="510216" y="37199"/>
                  </a:lnTo>
                  <a:lnTo>
                    <a:pt x="167355" y="1580250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4BC5098F-0DCD-45D3-85F3-2486096617F3}"/>
                </a:ext>
              </a:extLst>
            </p:cNvPr>
            <p:cNvSpPr/>
            <p:nvPr/>
          </p:nvSpPr>
          <p:spPr>
            <a:xfrm>
              <a:off x="-6256887" y="1760897"/>
              <a:ext cx="857261" cy="1905740"/>
            </a:xfrm>
            <a:custGeom>
              <a:avLst/>
              <a:gdLst>
                <a:gd name="connsiteX0" fmla="*/ 597794 w 857261"/>
                <a:gd name="connsiteY0" fmla="*/ 1866160 h 1905740"/>
                <a:gd name="connsiteX1" fmla="*/ 194269 w 857261"/>
                <a:gd name="connsiteY1" fmla="*/ 171450 h 1905740"/>
                <a:gd name="connsiteX2" fmla="*/ 857262 w 857261"/>
                <a:gd name="connsiteY2" fmla="*/ 171450 h 1905740"/>
                <a:gd name="connsiteX3" fmla="*/ 857262 w 857261"/>
                <a:gd name="connsiteY3" fmla="*/ 0 h 1905740"/>
                <a:gd name="connsiteX4" fmla="*/ 85737 w 857261"/>
                <a:gd name="connsiteY4" fmla="*/ 0 h 1905740"/>
                <a:gd name="connsiteX5" fmla="*/ 18460 w 857261"/>
                <a:gd name="connsiteY5" fmla="*/ 32568 h 1905740"/>
                <a:gd name="connsiteX6" fmla="*/ 2343 w 857261"/>
                <a:gd name="connsiteY6" fmla="*/ 105510 h 1905740"/>
                <a:gd name="connsiteX7" fmla="*/ 430968 w 857261"/>
                <a:gd name="connsiteY7" fmla="*/ 1905740 h 190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7261" h="1905740">
                  <a:moveTo>
                    <a:pt x="597794" y="1866160"/>
                  </a:moveTo>
                  <a:lnTo>
                    <a:pt x="194269" y="171450"/>
                  </a:lnTo>
                  <a:lnTo>
                    <a:pt x="857262" y="171450"/>
                  </a:lnTo>
                  <a:lnTo>
                    <a:pt x="857262" y="0"/>
                  </a:lnTo>
                  <a:lnTo>
                    <a:pt x="85737" y="0"/>
                  </a:lnTo>
                  <a:cubicBezTo>
                    <a:pt x="59520" y="0"/>
                    <a:pt x="34723" y="12017"/>
                    <a:pt x="18460" y="32568"/>
                  </a:cubicBezTo>
                  <a:cubicBezTo>
                    <a:pt x="2157" y="53157"/>
                    <a:pt x="-3741" y="80061"/>
                    <a:pt x="2343" y="105510"/>
                  </a:cubicBezTo>
                  <a:lnTo>
                    <a:pt x="430968" y="1905740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47" name="Group 746">
            <a:extLst>
              <a:ext uri="{FF2B5EF4-FFF2-40B4-BE49-F238E27FC236}">
                <a16:creationId xmlns:a16="http://schemas.microsoft.com/office/drawing/2014/main" id="{D3376CCD-CC26-4964-34AE-6E4628A50AE9}"/>
              </a:ext>
            </a:extLst>
          </p:cNvPr>
          <p:cNvGrpSpPr/>
          <p:nvPr/>
        </p:nvGrpSpPr>
        <p:grpSpPr>
          <a:xfrm>
            <a:off x="899217" y="1663448"/>
            <a:ext cx="2280302" cy="2919650"/>
            <a:chOff x="-5378690" y="1905630"/>
            <a:chExt cx="2456781" cy="3145610"/>
          </a:xfrm>
        </p:grpSpPr>
        <p:grpSp>
          <p:nvGrpSpPr>
            <p:cNvPr id="746" name="Group 745">
              <a:extLst>
                <a:ext uri="{FF2B5EF4-FFF2-40B4-BE49-F238E27FC236}">
                  <a16:creationId xmlns:a16="http://schemas.microsoft.com/office/drawing/2014/main" id="{B179F052-0131-CAB7-E684-A4A6D3AD47DF}"/>
                </a:ext>
              </a:extLst>
            </p:cNvPr>
            <p:cNvGrpSpPr/>
            <p:nvPr/>
          </p:nvGrpSpPr>
          <p:grpSpPr>
            <a:xfrm>
              <a:off x="-5378690" y="1905630"/>
              <a:ext cx="2456781" cy="2457597"/>
              <a:chOff x="-5378690" y="1905630"/>
              <a:chExt cx="2456781" cy="2457597"/>
            </a:xfrm>
          </p:grpSpPr>
          <p:grpSp>
            <p:nvGrpSpPr>
              <p:cNvPr id="414" name="Graphic 9">
                <a:extLst>
                  <a:ext uri="{FF2B5EF4-FFF2-40B4-BE49-F238E27FC236}">
                    <a16:creationId xmlns:a16="http://schemas.microsoft.com/office/drawing/2014/main" id="{D93B674A-97D0-6204-E9F3-D2DD644EC392}"/>
                  </a:ext>
                </a:extLst>
              </p:cNvPr>
              <p:cNvGrpSpPr/>
              <p:nvPr/>
            </p:nvGrpSpPr>
            <p:grpSpPr>
              <a:xfrm>
                <a:off x="-5378690" y="1905922"/>
                <a:ext cx="2456781" cy="2457305"/>
                <a:chOff x="-5378690" y="1905922"/>
                <a:chExt cx="2456781" cy="2457305"/>
              </a:xfrm>
            </p:grpSpPr>
            <p:sp>
              <p:nvSpPr>
                <p:cNvPr id="415" name="Freeform: Shape 414">
                  <a:extLst>
                    <a:ext uri="{FF2B5EF4-FFF2-40B4-BE49-F238E27FC236}">
                      <a16:creationId xmlns:a16="http://schemas.microsoft.com/office/drawing/2014/main" id="{D739BB18-C21A-86C7-85CB-6620839D455D}"/>
                    </a:ext>
                  </a:extLst>
                </p:cNvPr>
                <p:cNvSpPr/>
                <p:nvPr/>
              </p:nvSpPr>
              <p:spPr>
                <a:xfrm>
                  <a:off x="-5280072" y="1905922"/>
                  <a:ext cx="2358163" cy="2457305"/>
                </a:xfrm>
                <a:custGeom>
                  <a:avLst/>
                  <a:gdLst>
                    <a:gd name="connsiteX0" fmla="*/ 1169093 w 2358163"/>
                    <a:gd name="connsiteY0" fmla="*/ 2453213 h 2457305"/>
                    <a:gd name="connsiteX1" fmla="*/ 1170539 w 2358163"/>
                    <a:gd name="connsiteY1" fmla="*/ 2452650 h 2457305"/>
                    <a:gd name="connsiteX2" fmla="*/ 1184195 w 2358163"/>
                    <a:gd name="connsiteY2" fmla="*/ 2448553 h 2457305"/>
                    <a:gd name="connsiteX3" fmla="*/ 1167406 w 2358163"/>
                    <a:gd name="connsiteY3" fmla="*/ 2449839 h 2457305"/>
                    <a:gd name="connsiteX4" fmla="*/ 1161462 w 2358163"/>
                    <a:gd name="connsiteY4" fmla="*/ 2450000 h 2457305"/>
                    <a:gd name="connsiteX5" fmla="*/ 1161543 w 2358163"/>
                    <a:gd name="connsiteY5" fmla="*/ 2449678 h 2457305"/>
                    <a:gd name="connsiteX6" fmla="*/ 1163952 w 2358163"/>
                    <a:gd name="connsiteY6" fmla="*/ 2448875 h 2457305"/>
                    <a:gd name="connsiteX7" fmla="*/ 1134552 w 2358163"/>
                    <a:gd name="connsiteY7" fmla="*/ 2452008 h 2457305"/>
                    <a:gd name="connsiteX8" fmla="*/ 1153269 w 2358163"/>
                    <a:gd name="connsiteY8" fmla="*/ 2452168 h 2457305"/>
                    <a:gd name="connsiteX9" fmla="*/ 1161623 w 2358163"/>
                    <a:gd name="connsiteY9" fmla="*/ 2452811 h 2457305"/>
                    <a:gd name="connsiteX10" fmla="*/ 1150698 w 2358163"/>
                    <a:gd name="connsiteY10" fmla="*/ 2454739 h 2457305"/>
                    <a:gd name="connsiteX11" fmla="*/ 1169334 w 2358163"/>
                    <a:gd name="connsiteY11" fmla="*/ 2453293 h 2457305"/>
                    <a:gd name="connsiteX12" fmla="*/ 1169093 w 2358163"/>
                    <a:gd name="connsiteY12" fmla="*/ 2453213 h 2457305"/>
                    <a:gd name="connsiteX13" fmla="*/ 1106598 w 2358163"/>
                    <a:gd name="connsiteY13" fmla="*/ 2454096 h 2457305"/>
                    <a:gd name="connsiteX14" fmla="*/ 1105634 w 2358163"/>
                    <a:gd name="connsiteY14" fmla="*/ 2454096 h 2457305"/>
                    <a:gd name="connsiteX15" fmla="*/ 1106598 w 2358163"/>
                    <a:gd name="connsiteY15" fmla="*/ 2454096 h 2457305"/>
                    <a:gd name="connsiteX16" fmla="*/ 1106598 w 2358163"/>
                    <a:gd name="connsiteY16" fmla="*/ 2454096 h 2457305"/>
                    <a:gd name="connsiteX17" fmla="*/ 1097762 w 2358163"/>
                    <a:gd name="connsiteY17" fmla="*/ 2455221 h 2457305"/>
                    <a:gd name="connsiteX18" fmla="*/ 1101779 w 2358163"/>
                    <a:gd name="connsiteY18" fmla="*/ 2454739 h 2457305"/>
                    <a:gd name="connsiteX19" fmla="*/ 1100252 w 2358163"/>
                    <a:gd name="connsiteY19" fmla="*/ 2454498 h 2457305"/>
                    <a:gd name="connsiteX20" fmla="*/ 1091015 w 2358163"/>
                    <a:gd name="connsiteY20" fmla="*/ 2454819 h 2457305"/>
                    <a:gd name="connsiteX21" fmla="*/ 1091015 w 2358163"/>
                    <a:gd name="connsiteY21" fmla="*/ 2454900 h 2457305"/>
                    <a:gd name="connsiteX22" fmla="*/ 1097762 w 2358163"/>
                    <a:gd name="connsiteY22" fmla="*/ 2455221 h 2457305"/>
                    <a:gd name="connsiteX23" fmla="*/ 1066675 w 2358163"/>
                    <a:gd name="connsiteY23" fmla="*/ 2455703 h 2457305"/>
                    <a:gd name="connsiteX24" fmla="*/ 1071093 w 2358163"/>
                    <a:gd name="connsiteY24" fmla="*/ 2455622 h 2457305"/>
                    <a:gd name="connsiteX25" fmla="*/ 1082500 w 2358163"/>
                    <a:gd name="connsiteY25" fmla="*/ 2454498 h 2457305"/>
                    <a:gd name="connsiteX26" fmla="*/ 1080090 w 2358163"/>
                    <a:gd name="connsiteY26" fmla="*/ 2453775 h 2457305"/>
                    <a:gd name="connsiteX27" fmla="*/ 1065952 w 2358163"/>
                    <a:gd name="connsiteY27" fmla="*/ 2455783 h 2457305"/>
                    <a:gd name="connsiteX28" fmla="*/ 1066675 w 2358163"/>
                    <a:gd name="connsiteY28" fmla="*/ 2455703 h 2457305"/>
                    <a:gd name="connsiteX29" fmla="*/ 1317058 w 2358163"/>
                    <a:gd name="connsiteY29" fmla="*/ 2377303 h 2457305"/>
                    <a:gd name="connsiteX30" fmla="*/ 1309908 w 2358163"/>
                    <a:gd name="connsiteY30" fmla="*/ 2376339 h 2457305"/>
                    <a:gd name="connsiteX31" fmla="*/ 1230544 w 2358163"/>
                    <a:gd name="connsiteY31" fmla="*/ 2351598 h 2457305"/>
                    <a:gd name="connsiteX32" fmla="*/ 1317058 w 2358163"/>
                    <a:gd name="connsiteY32" fmla="*/ 2377303 h 2457305"/>
                    <a:gd name="connsiteX33" fmla="*/ 740383 w 2358163"/>
                    <a:gd name="connsiteY33" fmla="*/ 2393850 h 2457305"/>
                    <a:gd name="connsiteX34" fmla="*/ 636519 w 2358163"/>
                    <a:gd name="connsiteY34" fmla="*/ 2353847 h 2457305"/>
                    <a:gd name="connsiteX35" fmla="*/ 448150 w 2358163"/>
                    <a:gd name="connsiteY35" fmla="*/ 2250706 h 2457305"/>
                    <a:gd name="connsiteX36" fmla="*/ 286128 w 2358163"/>
                    <a:gd name="connsiteY36" fmla="*/ 2121779 h 2457305"/>
                    <a:gd name="connsiteX37" fmla="*/ 211022 w 2358163"/>
                    <a:gd name="connsiteY37" fmla="*/ 2044423 h 2457305"/>
                    <a:gd name="connsiteX38" fmla="*/ 531450 w 2358163"/>
                    <a:gd name="connsiteY38" fmla="*/ 1653949 h 2457305"/>
                    <a:gd name="connsiteX39" fmla="*/ 1228295 w 2358163"/>
                    <a:gd name="connsiteY39" fmla="*/ 2350875 h 2457305"/>
                    <a:gd name="connsiteX40" fmla="*/ 1228456 w 2358163"/>
                    <a:gd name="connsiteY40" fmla="*/ 2351598 h 2457305"/>
                    <a:gd name="connsiteX41" fmla="*/ 1264603 w 2358163"/>
                    <a:gd name="connsiteY41" fmla="*/ 2369511 h 2457305"/>
                    <a:gd name="connsiteX42" fmla="*/ 1258820 w 2358163"/>
                    <a:gd name="connsiteY42" fmla="*/ 2369029 h 2457305"/>
                    <a:gd name="connsiteX43" fmla="*/ 1265005 w 2358163"/>
                    <a:gd name="connsiteY43" fmla="*/ 2371921 h 2457305"/>
                    <a:gd name="connsiteX44" fmla="*/ 1110615 w 2358163"/>
                    <a:gd name="connsiteY44" fmla="*/ 2347983 h 2457305"/>
                    <a:gd name="connsiteX45" fmla="*/ 1046754 w 2358163"/>
                    <a:gd name="connsiteY45" fmla="*/ 2347260 h 2457305"/>
                    <a:gd name="connsiteX46" fmla="*/ 982893 w 2358163"/>
                    <a:gd name="connsiteY46" fmla="*/ 2330873 h 2457305"/>
                    <a:gd name="connsiteX47" fmla="*/ 911642 w 2358163"/>
                    <a:gd name="connsiteY47" fmla="*/ 2283721 h 2457305"/>
                    <a:gd name="connsiteX48" fmla="*/ 916542 w 2358163"/>
                    <a:gd name="connsiteY48" fmla="*/ 2275286 h 2457305"/>
                    <a:gd name="connsiteX49" fmla="*/ 873085 w 2358163"/>
                    <a:gd name="connsiteY49" fmla="*/ 2247654 h 2457305"/>
                    <a:gd name="connsiteX50" fmla="*/ 817578 w 2358163"/>
                    <a:gd name="connsiteY50" fmla="*/ 2277937 h 2457305"/>
                    <a:gd name="connsiteX51" fmla="*/ 808260 w 2358163"/>
                    <a:gd name="connsiteY51" fmla="*/ 2258819 h 2457305"/>
                    <a:gd name="connsiteX52" fmla="*/ 794203 w 2358163"/>
                    <a:gd name="connsiteY52" fmla="*/ 2260425 h 2457305"/>
                    <a:gd name="connsiteX53" fmla="*/ 791954 w 2358163"/>
                    <a:gd name="connsiteY53" fmla="*/ 2266209 h 2457305"/>
                    <a:gd name="connsiteX54" fmla="*/ 795729 w 2358163"/>
                    <a:gd name="connsiteY54" fmla="*/ 2273439 h 2457305"/>
                    <a:gd name="connsiteX55" fmla="*/ 754199 w 2358163"/>
                    <a:gd name="connsiteY55" fmla="*/ 2276411 h 2457305"/>
                    <a:gd name="connsiteX56" fmla="*/ 746649 w 2358163"/>
                    <a:gd name="connsiteY56" fmla="*/ 2271591 h 2457305"/>
                    <a:gd name="connsiteX57" fmla="*/ 667606 w 2358163"/>
                    <a:gd name="connsiteY57" fmla="*/ 2336094 h 2457305"/>
                    <a:gd name="connsiteX58" fmla="*/ 710421 w 2358163"/>
                    <a:gd name="connsiteY58" fmla="*/ 2351437 h 2457305"/>
                    <a:gd name="connsiteX59" fmla="*/ 684234 w 2358163"/>
                    <a:gd name="connsiteY59" fmla="*/ 2349027 h 2457305"/>
                    <a:gd name="connsiteX60" fmla="*/ 754922 w 2358163"/>
                    <a:gd name="connsiteY60" fmla="*/ 2385817 h 2457305"/>
                    <a:gd name="connsiteX61" fmla="*/ 697247 w 2358163"/>
                    <a:gd name="connsiteY61" fmla="*/ 2369832 h 2457305"/>
                    <a:gd name="connsiteX62" fmla="*/ 708573 w 2358163"/>
                    <a:gd name="connsiteY62" fmla="*/ 2378588 h 2457305"/>
                    <a:gd name="connsiteX63" fmla="*/ 662465 w 2358163"/>
                    <a:gd name="connsiteY63" fmla="*/ 2357301 h 2457305"/>
                    <a:gd name="connsiteX64" fmla="*/ 740383 w 2358163"/>
                    <a:gd name="connsiteY64" fmla="*/ 2393850 h 2457305"/>
                    <a:gd name="connsiteX65" fmla="*/ 1202751 w 2358163"/>
                    <a:gd name="connsiteY65" fmla="*/ 2452891 h 2457305"/>
                    <a:gd name="connsiteX66" fmla="*/ 1174074 w 2358163"/>
                    <a:gd name="connsiteY66" fmla="*/ 2456667 h 2457305"/>
                    <a:gd name="connsiteX67" fmla="*/ 1152948 w 2358163"/>
                    <a:gd name="connsiteY67" fmla="*/ 2457229 h 2457305"/>
                    <a:gd name="connsiteX68" fmla="*/ 1075511 w 2358163"/>
                    <a:gd name="connsiteY68" fmla="*/ 2456265 h 2457305"/>
                    <a:gd name="connsiteX69" fmla="*/ 981608 w 2358163"/>
                    <a:gd name="connsiteY69" fmla="*/ 2448474 h 2457305"/>
                    <a:gd name="connsiteX70" fmla="*/ 950119 w 2358163"/>
                    <a:gd name="connsiteY70" fmla="*/ 2444216 h 2457305"/>
                    <a:gd name="connsiteX71" fmla="*/ 948834 w 2358163"/>
                    <a:gd name="connsiteY71" fmla="*/ 2444055 h 2457305"/>
                    <a:gd name="connsiteX72" fmla="*/ 943291 w 2358163"/>
                    <a:gd name="connsiteY72" fmla="*/ 2443252 h 2457305"/>
                    <a:gd name="connsiteX73" fmla="*/ 1006831 w 2358163"/>
                    <a:gd name="connsiteY73" fmla="*/ 2451044 h 2457305"/>
                    <a:gd name="connsiteX74" fmla="*/ 959518 w 2358163"/>
                    <a:gd name="connsiteY74" fmla="*/ 2443332 h 2457305"/>
                    <a:gd name="connsiteX75" fmla="*/ 1009160 w 2358163"/>
                    <a:gd name="connsiteY75" fmla="*/ 2448393 h 2457305"/>
                    <a:gd name="connsiteX76" fmla="*/ 952770 w 2358163"/>
                    <a:gd name="connsiteY76" fmla="*/ 2441083 h 2457305"/>
                    <a:gd name="connsiteX77" fmla="*/ 1201867 w 2358163"/>
                    <a:gd name="connsiteY77" fmla="*/ 2440681 h 2457305"/>
                    <a:gd name="connsiteX78" fmla="*/ 1198493 w 2358163"/>
                    <a:gd name="connsiteY78" fmla="*/ 2439396 h 2457305"/>
                    <a:gd name="connsiteX79" fmla="*/ 1199136 w 2358163"/>
                    <a:gd name="connsiteY79" fmla="*/ 2437709 h 2457305"/>
                    <a:gd name="connsiteX80" fmla="*/ 1208936 w 2358163"/>
                    <a:gd name="connsiteY80" fmla="*/ 2436103 h 2457305"/>
                    <a:gd name="connsiteX81" fmla="*/ 1207169 w 2358163"/>
                    <a:gd name="connsiteY81" fmla="*/ 2435782 h 2457305"/>
                    <a:gd name="connsiteX82" fmla="*/ 1233356 w 2358163"/>
                    <a:gd name="connsiteY82" fmla="*/ 2430882 h 2457305"/>
                    <a:gd name="connsiteX83" fmla="*/ 1264925 w 2358163"/>
                    <a:gd name="connsiteY83" fmla="*/ 2413049 h 2457305"/>
                    <a:gd name="connsiteX84" fmla="*/ 1262434 w 2358163"/>
                    <a:gd name="connsiteY84" fmla="*/ 2414896 h 2457305"/>
                    <a:gd name="connsiteX85" fmla="*/ 1288220 w 2358163"/>
                    <a:gd name="connsiteY85" fmla="*/ 2400116 h 2457305"/>
                    <a:gd name="connsiteX86" fmla="*/ 1255044 w 2358163"/>
                    <a:gd name="connsiteY86" fmla="*/ 2431203 h 2457305"/>
                    <a:gd name="connsiteX87" fmla="*/ 1214479 w 2358163"/>
                    <a:gd name="connsiteY87" fmla="*/ 2449919 h 2457305"/>
                    <a:gd name="connsiteX88" fmla="*/ 1198895 w 2358163"/>
                    <a:gd name="connsiteY88" fmla="*/ 2453454 h 2457305"/>
                    <a:gd name="connsiteX89" fmla="*/ 1202831 w 2358163"/>
                    <a:gd name="connsiteY89" fmla="*/ 2453052 h 2457305"/>
                    <a:gd name="connsiteX90" fmla="*/ 1202751 w 2358163"/>
                    <a:gd name="connsiteY90" fmla="*/ 2452891 h 2457305"/>
                    <a:gd name="connsiteX91" fmla="*/ 1317058 w 2358163"/>
                    <a:gd name="connsiteY91" fmla="*/ 2377303 h 2457305"/>
                    <a:gd name="connsiteX92" fmla="*/ 531370 w 2358163"/>
                    <a:gd name="connsiteY92" fmla="*/ 1653869 h 2457305"/>
                    <a:gd name="connsiteX93" fmla="*/ 2009645 w 2358163"/>
                    <a:gd name="connsiteY93" fmla="*/ 1468472 h 2457305"/>
                    <a:gd name="connsiteX94" fmla="*/ 2251513 w 2358163"/>
                    <a:gd name="connsiteY94" fmla="*/ 1592739 h 2457305"/>
                    <a:gd name="connsiteX95" fmla="*/ 2045150 w 2358163"/>
                    <a:gd name="connsiteY95" fmla="*/ 1938712 h 2457305"/>
                    <a:gd name="connsiteX96" fmla="*/ 2023381 w 2358163"/>
                    <a:gd name="connsiteY96" fmla="*/ 1964095 h 2457305"/>
                    <a:gd name="connsiteX97" fmla="*/ 1953737 w 2358163"/>
                    <a:gd name="connsiteY97" fmla="*/ 2037274 h 2457305"/>
                    <a:gd name="connsiteX98" fmla="*/ 1732192 w 2358163"/>
                    <a:gd name="connsiteY98" fmla="*/ 1766729 h 2457305"/>
                    <a:gd name="connsiteX99" fmla="*/ 1712110 w 2358163"/>
                    <a:gd name="connsiteY99" fmla="*/ 1799745 h 2457305"/>
                    <a:gd name="connsiteX100" fmla="*/ 1638450 w 2358163"/>
                    <a:gd name="connsiteY100" fmla="*/ 1784562 h 2457305"/>
                    <a:gd name="connsiteX101" fmla="*/ 1654194 w 2358163"/>
                    <a:gd name="connsiteY101" fmla="*/ 1793720 h 2457305"/>
                    <a:gd name="connsiteX102" fmla="*/ 1443735 w 2358163"/>
                    <a:gd name="connsiteY102" fmla="*/ 1768577 h 2457305"/>
                    <a:gd name="connsiteX103" fmla="*/ 1325572 w 2358163"/>
                    <a:gd name="connsiteY103" fmla="*/ 1804644 h 2457305"/>
                    <a:gd name="connsiteX104" fmla="*/ 1182267 w 2358163"/>
                    <a:gd name="connsiteY104" fmla="*/ 1867782 h 2457305"/>
                    <a:gd name="connsiteX105" fmla="*/ 1109811 w 2358163"/>
                    <a:gd name="connsiteY105" fmla="*/ 1949396 h 2457305"/>
                    <a:gd name="connsiteX106" fmla="*/ 1023700 w 2358163"/>
                    <a:gd name="connsiteY106" fmla="*/ 1997994 h 2457305"/>
                    <a:gd name="connsiteX107" fmla="*/ 1039123 w 2358163"/>
                    <a:gd name="connsiteY107" fmla="*/ 2012453 h 2457305"/>
                    <a:gd name="connsiteX108" fmla="*/ 1047396 w 2358163"/>
                    <a:gd name="connsiteY108" fmla="*/ 2009722 h 2457305"/>
                    <a:gd name="connsiteX109" fmla="*/ 1046111 w 2358163"/>
                    <a:gd name="connsiteY109" fmla="*/ 2019281 h 2457305"/>
                    <a:gd name="connsiteX110" fmla="*/ 1054064 w 2358163"/>
                    <a:gd name="connsiteY110" fmla="*/ 2026189 h 2457305"/>
                    <a:gd name="connsiteX111" fmla="*/ 1082741 w 2358163"/>
                    <a:gd name="connsiteY111" fmla="*/ 2013578 h 2457305"/>
                    <a:gd name="connsiteX112" fmla="*/ 1077841 w 2358163"/>
                    <a:gd name="connsiteY112" fmla="*/ 2022976 h 2457305"/>
                    <a:gd name="connsiteX113" fmla="*/ 1085070 w 2358163"/>
                    <a:gd name="connsiteY113" fmla="*/ 2031732 h 2457305"/>
                    <a:gd name="connsiteX114" fmla="*/ 1097762 w 2358163"/>
                    <a:gd name="connsiteY114" fmla="*/ 2030848 h 2457305"/>
                    <a:gd name="connsiteX115" fmla="*/ 1163390 w 2358163"/>
                    <a:gd name="connsiteY115" fmla="*/ 2071253 h 2457305"/>
                    <a:gd name="connsiteX116" fmla="*/ 1184034 w 2358163"/>
                    <a:gd name="connsiteY116" fmla="*/ 2171904 h 2457305"/>
                    <a:gd name="connsiteX117" fmla="*/ 1184034 w 2358163"/>
                    <a:gd name="connsiteY117" fmla="*/ 2171904 h 2457305"/>
                    <a:gd name="connsiteX118" fmla="*/ 1184034 w 2358163"/>
                    <a:gd name="connsiteY118" fmla="*/ 2171904 h 2457305"/>
                    <a:gd name="connsiteX119" fmla="*/ 1184034 w 2358163"/>
                    <a:gd name="connsiteY119" fmla="*/ 2171904 h 2457305"/>
                    <a:gd name="connsiteX120" fmla="*/ 1184034 w 2358163"/>
                    <a:gd name="connsiteY120" fmla="*/ 2171904 h 2457305"/>
                    <a:gd name="connsiteX121" fmla="*/ 1184034 w 2358163"/>
                    <a:gd name="connsiteY121" fmla="*/ 2171904 h 2457305"/>
                    <a:gd name="connsiteX122" fmla="*/ 1184034 w 2358163"/>
                    <a:gd name="connsiteY122" fmla="*/ 2171904 h 2457305"/>
                    <a:gd name="connsiteX123" fmla="*/ 1184034 w 2358163"/>
                    <a:gd name="connsiteY123" fmla="*/ 2171904 h 2457305"/>
                    <a:gd name="connsiteX124" fmla="*/ 1184034 w 2358163"/>
                    <a:gd name="connsiteY124" fmla="*/ 2171904 h 2457305"/>
                    <a:gd name="connsiteX125" fmla="*/ 1175198 w 2358163"/>
                    <a:gd name="connsiteY125" fmla="*/ 2172868 h 2457305"/>
                    <a:gd name="connsiteX126" fmla="*/ 1168210 w 2358163"/>
                    <a:gd name="connsiteY126" fmla="*/ 2189496 h 2457305"/>
                    <a:gd name="connsiteX127" fmla="*/ 1248618 w 2358163"/>
                    <a:gd name="connsiteY127" fmla="*/ 2238174 h 2457305"/>
                    <a:gd name="connsiteX128" fmla="*/ 1244120 w 2358163"/>
                    <a:gd name="connsiteY128" fmla="*/ 2246689 h 2457305"/>
                    <a:gd name="connsiteX129" fmla="*/ 1272475 w 2358163"/>
                    <a:gd name="connsiteY129" fmla="*/ 2333042 h 2457305"/>
                    <a:gd name="connsiteX130" fmla="*/ 1317058 w 2358163"/>
                    <a:gd name="connsiteY130" fmla="*/ 2377303 h 2457305"/>
                    <a:gd name="connsiteX131" fmla="*/ 2251513 w 2358163"/>
                    <a:gd name="connsiteY131" fmla="*/ 1592739 h 2457305"/>
                    <a:gd name="connsiteX132" fmla="*/ 2320434 w 2358163"/>
                    <a:gd name="connsiteY132" fmla="*/ 976623 h 2457305"/>
                    <a:gd name="connsiteX133" fmla="*/ 2234242 w 2358163"/>
                    <a:gd name="connsiteY133" fmla="*/ 693226 h 2457305"/>
                    <a:gd name="connsiteX134" fmla="*/ 2231833 w 2358163"/>
                    <a:gd name="connsiteY134" fmla="*/ 687844 h 2457305"/>
                    <a:gd name="connsiteX135" fmla="*/ 2234644 w 2358163"/>
                    <a:gd name="connsiteY135" fmla="*/ 692584 h 2457305"/>
                    <a:gd name="connsiteX136" fmla="*/ 2234323 w 2358163"/>
                    <a:gd name="connsiteY136" fmla="*/ 691620 h 2457305"/>
                    <a:gd name="connsiteX137" fmla="*/ 2234162 w 2358163"/>
                    <a:gd name="connsiteY137" fmla="*/ 691138 h 2457305"/>
                    <a:gd name="connsiteX138" fmla="*/ 2234483 w 2358163"/>
                    <a:gd name="connsiteY138" fmla="*/ 691539 h 2457305"/>
                    <a:gd name="connsiteX139" fmla="*/ 2232636 w 2358163"/>
                    <a:gd name="connsiteY139" fmla="*/ 686399 h 2457305"/>
                    <a:gd name="connsiteX140" fmla="*/ 2291034 w 2358163"/>
                    <a:gd name="connsiteY140" fmla="*/ 826330 h 2457305"/>
                    <a:gd name="connsiteX141" fmla="*/ 2342525 w 2358163"/>
                    <a:gd name="connsiteY141" fmla="*/ 1030925 h 2457305"/>
                    <a:gd name="connsiteX142" fmla="*/ 2354172 w 2358163"/>
                    <a:gd name="connsiteY142" fmla="*/ 1335288 h 2457305"/>
                    <a:gd name="connsiteX143" fmla="*/ 2319390 w 2358163"/>
                    <a:gd name="connsiteY143" fmla="*/ 1537554 h 2457305"/>
                    <a:gd name="connsiteX144" fmla="*/ 2260510 w 2358163"/>
                    <a:gd name="connsiteY144" fmla="*/ 1710098 h 2457305"/>
                    <a:gd name="connsiteX145" fmla="*/ 2251513 w 2358163"/>
                    <a:gd name="connsiteY145" fmla="*/ 1592739 h 2457305"/>
                    <a:gd name="connsiteX146" fmla="*/ 1199377 w 2358163"/>
                    <a:gd name="connsiteY146" fmla="*/ 207483 h 2457305"/>
                    <a:gd name="connsiteX147" fmla="*/ 1199216 w 2358163"/>
                    <a:gd name="connsiteY147" fmla="*/ 208527 h 2457305"/>
                    <a:gd name="connsiteX148" fmla="*/ 1198895 w 2358163"/>
                    <a:gd name="connsiteY148" fmla="*/ 206117 h 2457305"/>
                    <a:gd name="connsiteX149" fmla="*/ 1199216 w 2358163"/>
                    <a:gd name="connsiteY149" fmla="*/ 206599 h 2457305"/>
                    <a:gd name="connsiteX150" fmla="*/ 1199377 w 2358163"/>
                    <a:gd name="connsiteY150" fmla="*/ 207483 h 2457305"/>
                    <a:gd name="connsiteX151" fmla="*/ 342117 w 2358163"/>
                    <a:gd name="connsiteY151" fmla="*/ 490478 h 2457305"/>
                    <a:gd name="connsiteX152" fmla="*/ 461886 w 2358163"/>
                    <a:gd name="connsiteY152" fmla="*/ 242426 h 2457305"/>
                    <a:gd name="connsiteX153" fmla="*/ 462047 w 2358163"/>
                    <a:gd name="connsiteY153" fmla="*/ 242506 h 2457305"/>
                    <a:gd name="connsiteX154" fmla="*/ 486707 w 2358163"/>
                    <a:gd name="connsiteY154" fmla="*/ 234313 h 2457305"/>
                    <a:gd name="connsiteX155" fmla="*/ 480361 w 2358163"/>
                    <a:gd name="connsiteY155" fmla="*/ 238811 h 2457305"/>
                    <a:gd name="connsiteX156" fmla="*/ 478192 w 2358163"/>
                    <a:gd name="connsiteY156" fmla="*/ 242908 h 2457305"/>
                    <a:gd name="connsiteX157" fmla="*/ 483976 w 2358163"/>
                    <a:gd name="connsiteY157" fmla="*/ 243389 h 2457305"/>
                    <a:gd name="connsiteX158" fmla="*/ 476265 w 2358163"/>
                    <a:gd name="connsiteY158" fmla="*/ 249816 h 2457305"/>
                    <a:gd name="connsiteX159" fmla="*/ 563179 w 2358163"/>
                    <a:gd name="connsiteY159" fmla="*/ 201378 h 2457305"/>
                    <a:gd name="connsiteX160" fmla="*/ 560770 w 2358163"/>
                    <a:gd name="connsiteY160" fmla="*/ 202422 h 2457305"/>
                    <a:gd name="connsiteX161" fmla="*/ 561734 w 2358163"/>
                    <a:gd name="connsiteY161" fmla="*/ 198727 h 2457305"/>
                    <a:gd name="connsiteX162" fmla="*/ 570489 w 2358163"/>
                    <a:gd name="connsiteY162" fmla="*/ 197442 h 2457305"/>
                    <a:gd name="connsiteX163" fmla="*/ 568722 w 2358163"/>
                    <a:gd name="connsiteY163" fmla="*/ 203868 h 2457305"/>
                    <a:gd name="connsiteX164" fmla="*/ 571694 w 2358163"/>
                    <a:gd name="connsiteY164" fmla="*/ 208688 h 2457305"/>
                    <a:gd name="connsiteX165" fmla="*/ 608404 w 2358163"/>
                    <a:gd name="connsiteY165" fmla="*/ 196799 h 2457305"/>
                    <a:gd name="connsiteX166" fmla="*/ 604548 w 2358163"/>
                    <a:gd name="connsiteY166" fmla="*/ 198888 h 2457305"/>
                    <a:gd name="connsiteX167" fmla="*/ 610814 w 2358163"/>
                    <a:gd name="connsiteY167" fmla="*/ 198245 h 2457305"/>
                    <a:gd name="connsiteX168" fmla="*/ 559886 w 2358163"/>
                    <a:gd name="connsiteY168" fmla="*/ 235598 h 2457305"/>
                    <a:gd name="connsiteX169" fmla="*/ 561091 w 2358163"/>
                    <a:gd name="connsiteY169" fmla="*/ 240257 h 2457305"/>
                    <a:gd name="connsiteX170" fmla="*/ 731788 w 2358163"/>
                    <a:gd name="connsiteY170" fmla="*/ 217524 h 2457305"/>
                    <a:gd name="connsiteX171" fmla="*/ 732029 w 2358163"/>
                    <a:gd name="connsiteY171" fmla="*/ 213025 h 2457305"/>
                    <a:gd name="connsiteX172" fmla="*/ 776932 w 2358163"/>
                    <a:gd name="connsiteY172" fmla="*/ 214713 h 2457305"/>
                    <a:gd name="connsiteX173" fmla="*/ 788098 w 2358163"/>
                    <a:gd name="connsiteY173" fmla="*/ 218970 h 2457305"/>
                    <a:gd name="connsiteX174" fmla="*/ 786250 w 2358163"/>
                    <a:gd name="connsiteY174" fmla="*/ 228449 h 2457305"/>
                    <a:gd name="connsiteX175" fmla="*/ 776290 w 2358163"/>
                    <a:gd name="connsiteY175" fmla="*/ 242827 h 2457305"/>
                    <a:gd name="connsiteX176" fmla="*/ 775245 w 2358163"/>
                    <a:gd name="connsiteY176" fmla="*/ 244434 h 2457305"/>
                    <a:gd name="connsiteX177" fmla="*/ 775245 w 2358163"/>
                    <a:gd name="connsiteY177" fmla="*/ 244434 h 2457305"/>
                    <a:gd name="connsiteX178" fmla="*/ 775245 w 2358163"/>
                    <a:gd name="connsiteY178" fmla="*/ 244434 h 2457305"/>
                    <a:gd name="connsiteX179" fmla="*/ 775245 w 2358163"/>
                    <a:gd name="connsiteY179" fmla="*/ 244434 h 2457305"/>
                    <a:gd name="connsiteX180" fmla="*/ 775245 w 2358163"/>
                    <a:gd name="connsiteY180" fmla="*/ 244434 h 2457305"/>
                    <a:gd name="connsiteX181" fmla="*/ 775245 w 2358163"/>
                    <a:gd name="connsiteY181" fmla="*/ 244434 h 2457305"/>
                    <a:gd name="connsiteX182" fmla="*/ 775245 w 2358163"/>
                    <a:gd name="connsiteY182" fmla="*/ 244434 h 2457305"/>
                    <a:gd name="connsiteX183" fmla="*/ 775245 w 2358163"/>
                    <a:gd name="connsiteY183" fmla="*/ 244434 h 2457305"/>
                    <a:gd name="connsiteX184" fmla="*/ 822719 w 2358163"/>
                    <a:gd name="connsiteY184" fmla="*/ 271986 h 2457305"/>
                    <a:gd name="connsiteX185" fmla="*/ 846336 w 2358163"/>
                    <a:gd name="connsiteY185" fmla="*/ 268211 h 2457305"/>
                    <a:gd name="connsiteX186" fmla="*/ 878467 w 2358163"/>
                    <a:gd name="connsiteY186" fmla="*/ 284839 h 2457305"/>
                    <a:gd name="connsiteX187" fmla="*/ 770024 w 2358163"/>
                    <a:gd name="connsiteY187" fmla="*/ 196478 h 2457305"/>
                    <a:gd name="connsiteX188" fmla="*/ 751227 w 2358163"/>
                    <a:gd name="connsiteY188" fmla="*/ 184831 h 2457305"/>
                    <a:gd name="connsiteX189" fmla="*/ 751227 w 2358163"/>
                    <a:gd name="connsiteY189" fmla="*/ 184750 h 2457305"/>
                    <a:gd name="connsiteX190" fmla="*/ 751227 w 2358163"/>
                    <a:gd name="connsiteY190" fmla="*/ 184670 h 2457305"/>
                    <a:gd name="connsiteX191" fmla="*/ 751227 w 2358163"/>
                    <a:gd name="connsiteY191" fmla="*/ 184590 h 2457305"/>
                    <a:gd name="connsiteX192" fmla="*/ 751227 w 2358163"/>
                    <a:gd name="connsiteY192" fmla="*/ 184509 h 2457305"/>
                    <a:gd name="connsiteX193" fmla="*/ 751227 w 2358163"/>
                    <a:gd name="connsiteY193" fmla="*/ 184429 h 2457305"/>
                    <a:gd name="connsiteX194" fmla="*/ 751227 w 2358163"/>
                    <a:gd name="connsiteY194" fmla="*/ 184349 h 2457305"/>
                    <a:gd name="connsiteX195" fmla="*/ 751227 w 2358163"/>
                    <a:gd name="connsiteY195" fmla="*/ 184268 h 2457305"/>
                    <a:gd name="connsiteX196" fmla="*/ 751227 w 2358163"/>
                    <a:gd name="connsiteY196" fmla="*/ 184188 h 2457305"/>
                    <a:gd name="connsiteX197" fmla="*/ 821595 w 2358163"/>
                    <a:gd name="connsiteY197" fmla="*/ 187883 h 2457305"/>
                    <a:gd name="connsiteX198" fmla="*/ 818783 w 2358163"/>
                    <a:gd name="connsiteY198" fmla="*/ 184188 h 2457305"/>
                    <a:gd name="connsiteX199" fmla="*/ 823522 w 2358163"/>
                    <a:gd name="connsiteY199" fmla="*/ 183224 h 2457305"/>
                    <a:gd name="connsiteX200" fmla="*/ 820470 w 2358163"/>
                    <a:gd name="connsiteY200" fmla="*/ 178485 h 2457305"/>
                    <a:gd name="connsiteX201" fmla="*/ 823362 w 2358163"/>
                    <a:gd name="connsiteY201" fmla="*/ 174629 h 2457305"/>
                    <a:gd name="connsiteX202" fmla="*/ 897424 w 2358163"/>
                    <a:gd name="connsiteY202" fmla="*/ 189007 h 2457305"/>
                    <a:gd name="connsiteX203" fmla="*/ 959759 w 2358163"/>
                    <a:gd name="connsiteY203" fmla="*/ 179448 h 2457305"/>
                    <a:gd name="connsiteX204" fmla="*/ 941926 w 2358163"/>
                    <a:gd name="connsiteY204" fmla="*/ 180814 h 2457305"/>
                    <a:gd name="connsiteX205" fmla="*/ 965864 w 2358163"/>
                    <a:gd name="connsiteY205" fmla="*/ 173504 h 2457305"/>
                    <a:gd name="connsiteX206" fmla="*/ 965944 w 2358163"/>
                    <a:gd name="connsiteY206" fmla="*/ 173183 h 2457305"/>
                    <a:gd name="connsiteX207" fmla="*/ 1199136 w 2358163"/>
                    <a:gd name="connsiteY207" fmla="*/ 205796 h 2457305"/>
                    <a:gd name="connsiteX208" fmla="*/ 1198895 w 2358163"/>
                    <a:gd name="connsiteY208" fmla="*/ 205475 h 2457305"/>
                    <a:gd name="connsiteX209" fmla="*/ 1189015 w 2358163"/>
                    <a:gd name="connsiteY209" fmla="*/ 204109 h 2457305"/>
                    <a:gd name="connsiteX210" fmla="*/ 1193352 w 2358163"/>
                    <a:gd name="connsiteY210" fmla="*/ 205394 h 2457305"/>
                    <a:gd name="connsiteX211" fmla="*/ 1186284 w 2358163"/>
                    <a:gd name="connsiteY211" fmla="*/ 212062 h 2457305"/>
                    <a:gd name="connsiteX212" fmla="*/ 1159052 w 2358163"/>
                    <a:gd name="connsiteY212" fmla="*/ 253752 h 2457305"/>
                    <a:gd name="connsiteX213" fmla="*/ 1202670 w 2358163"/>
                    <a:gd name="connsiteY213" fmla="*/ 283232 h 2457305"/>
                    <a:gd name="connsiteX214" fmla="*/ 1140657 w 2358163"/>
                    <a:gd name="connsiteY214" fmla="*/ 289578 h 2457305"/>
                    <a:gd name="connsiteX215" fmla="*/ 1109811 w 2358163"/>
                    <a:gd name="connsiteY215" fmla="*/ 218167 h 2457305"/>
                    <a:gd name="connsiteX216" fmla="*/ 1110454 w 2358163"/>
                    <a:gd name="connsiteY216" fmla="*/ 213427 h 2457305"/>
                    <a:gd name="connsiteX217" fmla="*/ 1106679 w 2358163"/>
                    <a:gd name="connsiteY217" fmla="*/ 211017 h 2457305"/>
                    <a:gd name="connsiteX218" fmla="*/ 1090051 w 2358163"/>
                    <a:gd name="connsiteY218" fmla="*/ 276726 h 2457305"/>
                    <a:gd name="connsiteX219" fmla="*/ 1125556 w 2358163"/>
                    <a:gd name="connsiteY219" fmla="*/ 277047 h 2457305"/>
                    <a:gd name="connsiteX220" fmla="*/ 1124833 w 2358163"/>
                    <a:gd name="connsiteY220" fmla="*/ 291345 h 2457305"/>
                    <a:gd name="connsiteX221" fmla="*/ 342117 w 2358163"/>
                    <a:gd name="connsiteY221" fmla="*/ 490478 h 2457305"/>
                    <a:gd name="connsiteX222" fmla="*/ 342117 w 2358163"/>
                    <a:gd name="connsiteY222" fmla="*/ 490478 h 2457305"/>
                    <a:gd name="connsiteX223" fmla="*/ 0 w 2358163"/>
                    <a:gd name="connsiteY223" fmla="*/ 746163 h 2457305"/>
                    <a:gd name="connsiteX224" fmla="*/ 58880 w 2358163"/>
                    <a:gd name="connsiteY224" fmla="*/ 626795 h 2457305"/>
                    <a:gd name="connsiteX225" fmla="*/ 133023 w 2358163"/>
                    <a:gd name="connsiteY225" fmla="*/ 510721 h 2457305"/>
                    <a:gd name="connsiteX226" fmla="*/ 133505 w 2358163"/>
                    <a:gd name="connsiteY226" fmla="*/ 509998 h 2457305"/>
                    <a:gd name="connsiteX227" fmla="*/ 173428 w 2358163"/>
                    <a:gd name="connsiteY227" fmla="*/ 461400 h 2457305"/>
                    <a:gd name="connsiteX228" fmla="*/ 185477 w 2358163"/>
                    <a:gd name="connsiteY228" fmla="*/ 448146 h 2457305"/>
                    <a:gd name="connsiteX229" fmla="*/ 177123 w 2358163"/>
                    <a:gd name="connsiteY229" fmla="*/ 460436 h 2457305"/>
                    <a:gd name="connsiteX230" fmla="*/ 194233 w 2358163"/>
                    <a:gd name="connsiteY230" fmla="*/ 445736 h 2457305"/>
                    <a:gd name="connsiteX231" fmla="*/ 191181 w 2358163"/>
                    <a:gd name="connsiteY231" fmla="*/ 447021 h 2457305"/>
                    <a:gd name="connsiteX232" fmla="*/ 207246 w 2358163"/>
                    <a:gd name="connsiteY232" fmla="*/ 432482 h 2457305"/>
                    <a:gd name="connsiteX233" fmla="*/ 203390 w 2358163"/>
                    <a:gd name="connsiteY233" fmla="*/ 439952 h 2457305"/>
                    <a:gd name="connsiteX234" fmla="*/ 206684 w 2358163"/>
                    <a:gd name="connsiteY234" fmla="*/ 439791 h 2457305"/>
                    <a:gd name="connsiteX235" fmla="*/ 197205 w 2358163"/>
                    <a:gd name="connsiteY235" fmla="*/ 457062 h 2457305"/>
                    <a:gd name="connsiteX236" fmla="*/ 213592 w 2358163"/>
                    <a:gd name="connsiteY236" fmla="*/ 460114 h 2457305"/>
                    <a:gd name="connsiteX237" fmla="*/ 212468 w 2358163"/>
                    <a:gd name="connsiteY237" fmla="*/ 464050 h 2457305"/>
                    <a:gd name="connsiteX238" fmla="*/ 213431 w 2358163"/>
                    <a:gd name="connsiteY238" fmla="*/ 464613 h 2457305"/>
                    <a:gd name="connsiteX239" fmla="*/ 250061 w 2358163"/>
                    <a:gd name="connsiteY239" fmla="*/ 451600 h 2457305"/>
                    <a:gd name="connsiteX240" fmla="*/ 229577 w 2358163"/>
                    <a:gd name="connsiteY240" fmla="*/ 455215 h 2457305"/>
                    <a:gd name="connsiteX241" fmla="*/ 216404 w 2358163"/>
                    <a:gd name="connsiteY241" fmla="*/ 449913 h 2457305"/>
                    <a:gd name="connsiteX242" fmla="*/ 224677 w 2358163"/>
                    <a:gd name="connsiteY242" fmla="*/ 436819 h 2457305"/>
                    <a:gd name="connsiteX243" fmla="*/ 225963 w 2358163"/>
                    <a:gd name="connsiteY243" fmla="*/ 430152 h 2457305"/>
                    <a:gd name="connsiteX244" fmla="*/ 240261 w 2358163"/>
                    <a:gd name="connsiteY244" fmla="*/ 421155 h 2457305"/>
                    <a:gd name="connsiteX245" fmla="*/ 239297 w 2358163"/>
                    <a:gd name="connsiteY245" fmla="*/ 424690 h 2457305"/>
                    <a:gd name="connsiteX246" fmla="*/ 266850 w 2358163"/>
                    <a:gd name="connsiteY246" fmla="*/ 407982 h 2457305"/>
                    <a:gd name="connsiteX247" fmla="*/ 286209 w 2358163"/>
                    <a:gd name="connsiteY247" fmla="*/ 378501 h 2457305"/>
                    <a:gd name="connsiteX248" fmla="*/ 317858 w 2358163"/>
                    <a:gd name="connsiteY248" fmla="*/ 361954 h 2457305"/>
                    <a:gd name="connsiteX249" fmla="*/ 314564 w 2358163"/>
                    <a:gd name="connsiteY249" fmla="*/ 360909 h 2457305"/>
                    <a:gd name="connsiteX250" fmla="*/ 303399 w 2358163"/>
                    <a:gd name="connsiteY250" fmla="*/ 368782 h 2457305"/>
                    <a:gd name="connsiteX251" fmla="*/ 335932 w 2358163"/>
                    <a:gd name="connsiteY251" fmla="*/ 342595 h 2457305"/>
                    <a:gd name="connsiteX252" fmla="*/ 335691 w 2358163"/>
                    <a:gd name="connsiteY252" fmla="*/ 338096 h 2457305"/>
                    <a:gd name="connsiteX253" fmla="*/ 331353 w 2358163"/>
                    <a:gd name="connsiteY253" fmla="*/ 337052 h 2457305"/>
                    <a:gd name="connsiteX254" fmla="*/ 331273 w 2358163"/>
                    <a:gd name="connsiteY254" fmla="*/ 336972 h 2457305"/>
                    <a:gd name="connsiteX255" fmla="*/ 332959 w 2358163"/>
                    <a:gd name="connsiteY255" fmla="*/ 335285 h 2457305"/>
                    <a:gd name="connsiteX256" fmla="*/ 332959 w 2358163"/>
                    <a:gd name="connsiteY256" fmla="*/ 334883 h 2457305"/>
                    <a:gd name="connsiteX257" fmla="*/ 335289 w 2358163"/>
                    <a:gd name="connsiteY257" fmla="*/ 332232 h 2457305"/>
                    <a:gd name="connsiteX258" fmla="*/ 333441 w 2358163"/>
                    <a:gd name="connsiteY258" fmla="*/ 329501 h 2457305"/>
                    <a:gd name="connsiteX259" fmla="*/ 313761 w 2358163"/>
                    <a:gd name="connsiteY259" fmla="*/ 338418 h 2457305"/>
                    <a:gd name="connsiteX260" fmla="*/ 334245 w 2358163"/>
                    <a:gd name="connsiteY260" fmla="*/ 318577 h 2457305"/>
                    <a:gd name="connsiteX261" fmla="*/ 340671 w 2358163"/>
                    <a:gd name="connsiteY261" fmla="*/ 313757 h 2457305"/>
                    <a:gd name="connsiteX262" fmla="*/ 338502 w 2358163"/>
                    <a:gd name="connsiteY262" fmla="*/ 316649 h 2457305"/>
                    <a:gd name="connsiteX263" fmla="*/ 382281 w 2358163"/>
                    <a:gd name="connsiteY263" fmla="*/ 286847 h 2457305"/>
                    <a:gd name="connsiteX264" fmla="*/ 378666 w 2358163"/>
                    <a:gd name="connsiteY264" fmla="*/ 288534 h 2457305"/>
                    <a:gd name="connsiteX265" fmla="*/ 398186 w 2358163"/>
                    <a:gd name="connsiteY265" fmla="*/ 274396 h 2457305"/>
                    <a:gd name="connsiteX266" fmla="*/ 373284 w 2358163"/>
                    <a:gd name="connsiteY266" fmla="*/ 280501 h 2457305"/>
                    <a:gd name="connsiteX267" fmla="*/ 373445 w 2358163"/>
                    <a:gd name="connsiteY267" fmla="*/ 280421 h 2457305"/>
                    <a:gd name="connsiteX268" fmla="*/ 344286 w 2358163"/>
                    <a:gd name="connsiteY268" fmla="*/ 300181 h 2457305"/>
                    <a:gd name="connsiteX269" fmla="*/ 363323 w 2358163"/>
                    <a:gd name="connsiteY269" fmla="*/ 284437 h 2457305"/>
                    <a:gd name="connsiteX270" fmla="*/ 362520 w 2358163"/>
                    <a:gd name="connsiteY270" fmla="*/ 285000 h 2457305"/>
                    <a:gd name="connsiteX271" fmla="*/ 343804 w 2358163"/>
                    <a:gd name="connsiteY271" fmla="*/ 299218 h 2457305"/>
                    <a:gd name="connsiteX272" fmla="*/ 368705 w 2358163"/>
                    <a:gd name="connsiteY272" fmla="*/ 279457 h 2457305"/>
                    <a:gd name="connsiteX273" fmla="*/ 424453 w 2358163"/>
                    <a:gd name="connsiteY273" fmla="*/ 240096 h 2457305"/>
                    <a:gd name="connsiteX274" fmla="*/ 423569 w 2358163"/>
                    <a:gd name="connsiteY274" fmla="*/ 240417 h 2457305"/>
                    <a:gd name="connsiteX275" fmla="*/ 427746 w 2358163"/>
                    <a:gd name="connsiteY275" fmla="*/ 234714 h 2457305"/>
                    <a:gd name="connsiteX276" fmla="*/ 414171 w 2358163"/>
                    <a:gd name="connsiteY276" fmla="*/ 241703 h 2457305"/>
                    <a:gd name="connsiteX277" fmla="*/ 411681 w 2358163"/>
                    <a:gd name="connsiteY277" fmla="*/ 240417 h 2457305"/>
                    <a:gd name="connsiteX278" fmla="*/ 419151 w 2358163"/>
                    <a:gd name="connsiteY278" fmla="*/ 231662 h 2457305"/>
                    <a:gd name="connsiteX279" fmla="*/ 417063 w 2358163"/>
                    <a:gd name="connsiteY279" fmla="*/ 232786 h 2457305"/>
                    <a:gd name="connsiteX280" fmla="*/ 405415 w 2358163"/>
                    <a:gd name="connsiteY280" fmla="*/ 239534 h 2457305"/>
                    <a:gd name="connsiteX281" fmla="*/ 410878 w 2358163"/>
                    <a:gd name="connsiteY281" fmla="*/ 235116 h 2457305"/>
                    <a:gd name="connsiteX282" fmla="*/ 385333 w 2358163"/>
                    <a:gd name="connsiteY282" fmla="*/ 251583 h 2457305"/>
                    <a:gd name="connsiteX283" fmla="*/ 640134 w 2358163"/>
                    <a:gd name="connsiteY283" fmla="*/ 101771 h 2457305"/>
                    <a:gd name="connsiteX284" fmla="*/ 342117 w 2358163"/>
                    <a:gd name="connsiteY284" fmla="*/ 490478 h 2457305"/>
                    <a:gd name="connsiteX285" fmla="*/ 957831 w 2358163"/>
                    <a:gd name="connsiteY285" fmla="*/ 45220 h 2457305"/>
                    <a:gd name="connsiteX286" fmla="*/ 957831 w 2358163"/>
                    <a:gd name="connsiteY286" fmla="*/ 45220 h 2457305"/>
                    <a:gd name="connsiteX287" fmla="*/ 957831 w 2358163"/>
                    <a:gd name="connsiteY287" fmla="*/ 45220 h 2457305"/>
                    <a:gd name="connsiteX288" fmla="*/ 957831 w 2358163"/>
                    <a:gd name="connsiteY288" fmla="*/ 45220 h 2457305"/>
                    <a:gd name="connsiteX289" fmla="*/ 959277 w 2358163"/>
                    <a:gd name="connsiteY289" fmla="*/ 44738 h 2457305"/>
                    <a:gd name="connsiteX290" fmla="*/ 961606 w 2358163"/>
                    <a:gd name="connsiteY290" fmla="*/ 44016 h 2457305"/>
                    <a:gd name="connsiteX291" fmla="*/ 960964 w 2358163"/>
                    <a:gd name="connsiteY291" fmla="*/ 44257 h 2457305"/>
                    <a:gd name="connsiteX292" fmla="*/ 959277 w 2358163"/>
                    <a:gd name="connsiteY292" fmla="*/ 44738 h 2457305"/>
                    <a:gd name="connsiteX293" fmla="*/ 959277 w 2358163"/>
                    <a:gd name="connsiteY293" fmla="*/ 44738 h 2457305"/>
                    <a:gd name="connsiteX294" fmla="*/ 1014542 w 2358163"/>
                    <a:gd name="connsiteY294" fmla="*/ 26102 h 2457305"/>
                    <a:gd name="connsiteX295" fmla="*/ 1051092 w 2358163"/>
                    <a:gd name="connsiteY295" fmla="*/ 22086 h 2457305"/>
                    <a:gd name="connsiteX296" fmla="*/ 1034142 w 2358163"/>
                    <a:gd name="connsiteY296" fmla="*/ 21604 h 2457305"/>
                    <a:gd name="connsiteX297" fmla="*/ 1025547 w 2358163"/>
                    <a:gd name="connsiteY297" fmla="*/ 21443 h 2457305"/>
                    <a:gd name="connsiteX298" fmla="*/ 1013096 w 2358163"/>
                    <a:gd name="connsiteY298" fmla="*/ 26022 h 2457305"/>
                    <a:gd name="connsiteX299" fmla="*/ 1014542 w 2358163"/>
                    <a:gd name="connsiteY299" fmla="*/ 26102 h 2457305"/>
                    <a:gd name="connsiteX300" fmla="*/ 1034223 w 2358163"/>
                    <a:gd name="connsiteY300" fmla="*/ 18150 h 2457305"/>
                    <a:gd name="connsiteX301" fmla="*/ 1040087 w 2358163"/>
                    <a:gd name="connsiteY301" fmla="*/ 19676 h 2457305"/>
                    <a:gd name="connsiteX302" fmla="*/ 1034223 w 2358163"/>
                    <a:gd name="connsiteY302" fmla="*/ 18150 h 2457305"/>
                    <a:gd name="connsiteX303" fmla="*/ 938873 w 2358163"/>
                    <a:gd name="connsiteY303" fmla="*/ 25540 h 2457305"/>
                    <a:gd name="connsiteX304" fmla="*/ 954377 w 2358163"/>
                    <a:gd name="connsiteY304" fmla="*/ 24817 h 2457305"/>
                    <a:gd name="connsiteX305" fmla="*/ 977913 w 2358163"/>
                    <a:gd name="connsiteY305" fmla="*/ 18551 h 2457305"/>
                    <a:gd name="connsiteX306" fmla="*/ 954939 w 2358163"/>
                    <a:gd name="connsiteY306" fmla="*/ 21925 h 2457305"/>
                    <a:gd name="connsiteX307" fmla="*/ 937187 w 2358163"/>
                    <a:gd name="connsiteY307" fmla="*/ 25299 h 2457305"/>
                    <a:gd name="connsiteX308" fmla="*/ 938873 w 2358163"/>
                    <a:gd name="connsiteY308" fmla="*/ 25540 h 2457305"/>
                    <a:gd name="connsiteX309" fmla="*/ 987392 w 2358163"/>
                    <a:gd name="connsiteY309" fmla="*/ 16383 h 2457305"/>
                    <a:gd name="connsiteX310" fmla="*/ 1007474 w 2358163"/>
                    <a:gd name="connsiteY310" fmla="*/ 12527 h 2457305"/>
                    <a:gd name="connsiteX311" fmla="*/ 1010847 w 2358163"/>
                    <a:gd name="connsiteY311" fmla="*/ 14375 h 2457305"/>
                    <a:gd name="connsiteX312" fmla="*/ 1007232 w 2358163"/>
                    <a:gd name="connsiteY312" fmla="*/ 16624 h 2457305"/>
                    <a:gd name="connsiteX313" fmla="*/ 1029965 w 2358163"/>
                    <a:gd name="connsiteY313" fmla="*/ 15017 h 2457305"/>
                    <a:gd name="connsiteX314" fmla="*/ 1059767 w 2358163"/>
                    <a:gd name="connsiteY314" fmla="*/ 9796 h 2457305"/>
                    <a:gd name="connsiteX315" fmla="*/ 1056795 w 2358163"/>
                    <a:gd name="connsiteY315" fmla="*/ 9474 h 2457305"/>
                    <a:gd name="connsiteX316" fmla="*/ 1056393 w 2358163"/>
                    <a:gd name="connsiteY316" fmla="*/ 9474 h 2457305"/>
                    <a:gd name="connsiteX317" fmla="*/ 1013257 w 2358163"/>
                    <a:gd name="connsiteY317" fmla="*/ 9956 h 2457305"/>
                    <a:gd name="connsiteX318" fmla="*/ 984178 w 2358163"/>
                    <a:gd name="connsiteY318" fmla="*/ 16302 h 2457305"/>
                    <a:gd name="connsiteX319" fmla="*/ 987392 w 2358163"/>
                    <a:gd name="connsiteY319" fmla="*/ 16383 h 2457305"/>
                    <a:gd name="connsiteX320" fmla="*/ 464697 w 2358163"/>
                    <a:gd name="connsiteY320" fmla="*/ 238811 h 2457305"/>
                    <a:gd name="connsiteX321" fmla="*/ 639893 w 2358163"/>
                    <a:gd name="connsiteY321" fmla="*/ 101852 h 2457305"/>
                    <a:gd name="connsiteX322" fmla="*/ 722390 w 2358163"/>
                    <a:gd name="connsiteY322" fmla="*/ 69399 h 2457305"/>
                    <a:gd name="connsiteX323" fmla="*/ 792998 w 2358163"/>
                    <a:gd name="connsiteY323" fmla="*/ 46907 h 2457305"/>
                    <a:gd name="connsiteX324" fmla="*/ 856698 w 2358163"/>
                    <a:gd name="connsiteY324" fmla="*/ 30601 h 2457305"/>
                    <a:gd name="connsiteX325" fmla="*/ 917105 w 2358163"/>
                    <a:gd name="connsiteY325" fmla="*/ 18391 h 2457305"/>
                    <a:gd name="connsiteX326" fmla="*/ 977109 w 2358163"/>
                    <a:gd name="connsiteY326" fmla="*/ 9394 h 2457305"/>
                    <a:gd name="connsiteX327" fmla="*/ 1039364 w 2358163"/>
                    <a:gd name="connsiteY327" fmla="*/ 3209 h 2457305"/>
                    <a:gd name="connsiteX328" fmla="*/ 1107080 w 2358163"/>
                    <a:gd name="connsiteY328" fmla="*/ 76 h 2457305"/>
                    <a:gd name="connsiteX329" fmla="*/ 1184516 w 2358163"/>
                    <a:gd name="connsiteY329" fmla="*/ 1040 h 2457305"/>
                    <a:gd name="connsiteX330" fmla="*/ 1233998 w 2358163"/>
                    <a:gd name="connsiteY330" fmla="*/ 4253 h 2457305"/>
                    <a:gd name="connsiteX331" fmla="*/ 1233115 w 2358163"/>
                    <a:gd name="connsiteY331" fmla="*/ 4173 h 2457305"/>
                    <a:gd name="connsiteX332" fmla="*/ 1238095 w 2358163"/>
                    <a:gd name="connsiteY332" fmla="*/ 4735 h 2457305"/>
                    <a:gd name="connsiteX333" fmla="*/ 1233276 w 2358163"/>
                    <a:gd name="connsiteY333" fmla="*/ 4334 h 2457305"/>
                    <a:gd name="connsiteX334" fmla="*/ 1238095 w 2358163"/>
                    <a:gd name="connsiteY334" fmla="*/ 4976 h 2457305"/>
                    <a:gd name="connsiteX335" fmla="*/ 1235203 w 2358163"/>
                    <a:gd name="connsiteY335" fmla="*/ 4735 h 2457305"/>
                    <a:gd name="connsiteX336" fmla="*/ 1383569 w 2358163"/>
                    <a:gd name="connsiteY336" fmla="*/ 29074 h 2457305"/>
                    <a:gd name="connsiteX337" fmla="*/ 1303402 w 2358163"/>
                    <a:gd name="connsiteY337" fmla="*/ 14937 h 2457305"/>
                    <a:gd name="connsiteX338" fmla="*/ 1293682 w 2358163"/>
                    <a:gd name="connsiteY338" fmla="*/ 14615 h 2457305"/>
                    <a:gd name="connsiteX339" fmla="*/ 1304526 w 2358163"/>
                    <a:gd name="connsiteY339" fmla="*/ 18551 h 2457305"/>
                    <a:gd name="connsiteX340" fmla="*/ 1162265 w 2358163"/>
                    <a:gd name="connsiteY340" fmla="*/ 16061 h 2457305"/>
                    <a:gd name="connsiteX341" fmla="*/ 1173913 w 2358163"/>
                    <a:gd name="connsiteY341" fmla="*/ 20479 h 2457305"/>
                    <a:gd name="connsiteX342" fmla="*/ 1169495 w 2358163"/>
                    <a:gd name="connsiteY342" fmla="*/ 22809 h 2457305"/>
                    <a:gd name="connsiteX343" fmla="*/ 1179375 w 2358163"/>
                    <a:gd name="connsiteY343" fmla="*/ 21443 h 2457305"/>
                    <a:gd name="connsiteX344" fmla="*/ 1178974 w 2358163"/>
                    <a:gd name="connsiteY344" fmla="*/ 26183 h 2457305"/>
                    <a:gd name="connsiteX345" fmla="*/ 1174395 w 2358163"/>
                    <a:gd name="connsiteY345" fmla="*/ 25058 h 2457305"/>
                    <a:gd name="connsiteX346" fmla="*/ 1177929 w 2358163"/>
                    <a:gd name="connsiteY346" fmla="*/ 28030 h 2457305"/>
                    <a:gd name="connsiteX347" fmla="*/ 1119933 w 2358163"/>
                    <a:gd name="connsiteY347" fmla="*/ 30681 h 2457305"/>
                    <a:gd name="connsiteX348" fmla="*/ 1064828 w 2358163"/>
                    <a:gd name="connsiteY348" fmla="*/ 36224 h 2457305"/>
                    <a:gd name="connsiteX349" fmla="*/ 1062016 w 2358163"/>
                    <a:gd name="connsiteY349" fmla="*/ 31806 h 2457305"/>
                    <a:gd name="connsiteX350" fmla="*/ 1056634 w 2358163"/>
                    <a:gd name="connsiteY350" fmla="*/ 31404 h 2457305"/>
                    <a:gd name="connsiteX351" fmla="*/ 1066113 w 2358163"/>
                    <a:gd name="connsiteY351" fmla="*/ 30520 h 2457305"/>
                    <a:gd name="connsiteX352" fmla="*/ 989801 w 2358163"/>
                    <a:gd name="connsiteY352" fmla="*/ 37830 h 2457305"/>
                    <a:gd name="connsiteX353" fmla="*/ 1010526 w 2358163"/>
                    <a:gd name="connsiteY353" fmla="*/ 35581 h 2457305"/>
                    <a:gd name="connsiteX354" fmla="*/ 985785 w 2358163"/>
                    <a:gd name="connsiteY354" fmla="*/ 38955 h 2457305"/>
                    <a:gd name="connsiteX355" fmla="*/ 990605 w 2358163"/>
                    <a:gd name="connsiteY355" fmla="*/ 40561 h 2457305"/>
                    <a:gd name="connsiteX356" fmla="*/ 822880 w 2358163"/>
                    <a:gd name="connsiteY356" fmla="*/ 103056 h 2457305"/>
                    <a:gd name="connsiteX357" fmla="*/ 573702 w 2358163"/>
                    <a:gd name="connsiteY357" fmla="*/ 176557 h 2457305"/>
                    <a:gd name="connsiteX358" fmla="*/ 577397 w 2358163"/>
                    <a:gd name="connsiteY358" fmla="*/ 172942 h 2457305"/>
                    <a:gd name="connsiteX359" fmla="*/ 516429 w 2358163"/>
                    <a:gd name="connsiteY359" fmla="*/ 214793 h 2457305"/>
                    <a:gd name="connsiteX360" fmla="*/ 518517 w 2358163"/>
                    <a:gd name="connsiteY360" fmla="*/ 210053 h 2457305"/>
                    <a:gd name="connsiteX361" fmla="*/ 466304 w 2358163"/>
                    <a:gd name="connsiteY361" fmla="*/ 237847 h 2457305"/>
                    <a:gd name="connsiteX362" fmla="*/ 464697 w 2358163"/>
                    <a:gd name="connsiteY362" fmla="*/ 238811 h 2457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</a:cxnLst>
                  <a:rect l="l" t="t" r="r" b="b"/>
                  <a:pathLst>
                    <a:path w="2358163" h="2457305">
                      <a:moveTo>
                        <a:pt x="1169093" y="2453213"/>
                      </a:moveTo>
                      <a:cubicBezTo>
                        <a:pt x="1169254" y="2452891"/>
                        <a:pt x="1169254" y="2452891"/>
                        <a:pt x="1170539" y="2452650"/>
                      </a:cubicBezTo>
                      <a:cubicBezTo>
                        <a:pt x="1170620" y="2452650"/>
                        <a:pt x="1181946" y="2450321"/>
                        <a:pt x="1184195" y="2448553"/>
                      </a:cubicBezTo>
                      <a:cubicBezTo>
                        <a:pt x="1183552" y="2447831"/>
                        <a:pt x="1180500" y="2448232"/>
                        <a:pt x="1167406" y="2449839"/>
                      </a:cubicBezTo>
                      <a:cubicBezTo>
                        <a:pt x="1162667" y="2450401"/>
                        <a:pt x="1162667" y="2450401"/>
                        <a:pt x="1161462" y="2450000"/>
                      </a:cubicBezTo>
                      <a:cubicBezTo>
                        <a:pt x="1161462" y="2449919"/>
                        <a:pt x="1161543" y="2449759"/>
                        <a:pt x="1161543" y="2449678"/>
                      </a:cubicBezTo>
                      <a:cubicBezTo>
                        <a:pt x="1162185" y="2449357"/>
                        <a:pt x="1162426" y="2449277"/>
                        <a:pt x="1163952" y="2448875"/>
                      </a:cubicBezTo>
                      <a:cubicBezTo>
                        <a:pt x="1138810" y="2451204"/>
                        <a:pt x="1138810" y="2451204"/>
                        <a:pt x="1134552" y="2452008"/>
                      </a:cubicBezTo>
                      <a:cubicBezTo>
                        <a:pt x="1144995" y="2451285"/>
                        <a:pt x="1148369" y="2451446"/>
                        <a:pt x="1153269" y="2452168"/>
                      </a:cubicBezTo>
                      <a:cubicBezTo>
                        <a:pt x="1156000" y="2452570"/>
                        <a:pt x="1158089" y="2452811"/>
                        <a:pt x="1161623" y="2452811"/>
                      </a:cubicBezTo>
                      <a:cubicBezTo>
                        <a:pt x="1158008" y="2453454"/>
                        <a:pt x="1154313" y="2453855"/>
                        <a:pt x="1150698" y="2454739"/>
                      </a:cubicBezTo>
                      <a:cubicBezTo>
                        <a:pt x="1151662" y="2455060"/>
                        <a:pt x="1158972" y="2454498"/>
                        <a:pt x="1169334" y="2453293"/>
                      </a:cubicBezTo>
                      <a:cubicBezTo>
                        <a:pt x="1169334" y="2453213"/>
                        <a:pt x="1169174" y="2453213"/>
                        <a:pt x="1169093" y="2453213"/>
                      </a:cubicBezTo>
                      <a:moveTo>
                        <a:pt x="1106598" y="2454096"/>
                      </a:moveTo>
                      <a:cubicBezTo>
                        <a:pt x="1106277" y="2454096"/>
                        <a:pt x="1105956" y="2454096"/>
                        <a:pt x="1105634" y="2454096"/>
                      </a:cubicBezTo>
                      <a:cubicBezTo>
                        <a:pt x="1106036" y="2454176"/>
                        <a:pt x="1106357" y="2454176"/>
                        <a:pt x="1106598" y="2454096"/>
                      </a:cubicBezTo>
                      <a:cubicBezTo>
                        <a:pt x="1106679" y="2454096"/>
                        <a:pt x="1106679" y="2454096"/>
                        <a:pt x="1106598" y="2454096"/>
                      </a:cubicBezTo>
                      <a:moveTo>
                        <a:pt x="1097762" y="2455221"/>
                      </a:moveTo>
                      <a:cubicBezTo>
                        <a:pt x="1101216" y="2454980"/>
                        <a:pt x="1101618" y="2454819"/>
                        <a:pt x="1101779" y="2454739"/>
                      </a:cubicBezTo>
                      <a:cubicBezTo>
                        <a:pt x="1101698" y="2454578"/>
                        <a:pt x="1101618" y="2454578"/>
                        <a:pt x="1100252" y="2454498"/>
                      </a:cubicBezTo>
                      <a:cubicBezTo>
                        <a:pt x="1095674" y="2454176"/>
                        <a:pt x="1091015" y="2454819"/>
                        <a:pt x="1091015" y="2454819"/>
                      </a:cubicBezTo>
                      <a:cubicBezTo>
                        <a:pt x="1091015" y="2454819"/>
                        <a:pt x="1091015" y="2454900"/>
                        <a:pt x="1091015" y="2454900"/>
                      </a:cubicBezTo>
                      <a:cubicBezTo>
                        <a:pt x="1091256" y="2454900"/>
                        <a:pt x="1095513" y="2455382"/>
                        <a:pt x="1097762" y="2455221"/>
                      </a:cubicBezTo>
                      <a:moveTo>
                        <a:pt x="1066675" y="2455703"/>
                      </a:moveTo>
                      <a:cubicBezTo>
                        <a:pt x="1068924" y="2455783"/>
                        <a:pt x="1070129" y="2455703"/>
                        <a:pt x="1071093" y="2455622"/>
                      </a:cubicBezTo>
                      <a:cubicBezTo>
                        <a:pt x="1071575" y="2455622"/>
                        <a:pt x="1082500" y="2454498"/>
                        <a:pt x="1082500" y="2454498"/>
                      </a:cubicBezTo>
                      <a:cubicBezTo>
                        <a:pt x="1082339" y="2454096"/>
                        <a:pt x="1081215" y="2453855"/>
                        <a:pt x="1080090" y="2453775"/>
                      </a:cubicBezTo>
                      <a:cubicBezTo>
                        <a:pt x="1075913" y="2453454"/>
                        <a:pt x="1070129" y="2454739"/>
                        <a:pt x="1065952" y="2455783"/>
                      </a:cubicBezTo>
                      <a:cubicBezTo>
                        <a:pt x="1066274" y="2455703"/>
                        <a:pt x="1066515" y="2455703"/>
                        <a:pt x="1066675" y="2455703"/>
                      </a:cubicBezTo>
                      <a:moveTo>
                        <a:pt x="1317058" y="2377303"/>
                      </a:moveTo>
                      <a:lnTo>
                        <a:pt x="1309908" y="2376339"/>
                      </a:lnTo>
                      <a:cubicBezTo>
                        <a:pt x="1279544" y="2371519"/>
                        <a:pt x="1257936" y="2366137"/>
                        <a:pt x="1230544" y="2351598"/>
                      </a:cubicBezTo>
                      <a:cubicBezTo>
                        <a:pt x="1259302" y="2362201"/>
                        <a:pt x="1288139" y="2370796"/>
                        <a:pt x="1317058" y="2377303"/>
                      </a:cubicBezTo>
                      <a:moveTo>
                        <a:pt x="740383" y="2393850"/>
                      </a:moveTo>
                      <a:cubicBezTo>
                        <a:pt x="709055" y="2382363"/>
                        <a:pt x="667285" y="2366699"/>
                        <a:pt x="636519" y="2353847"/>
                      </a:cubicBezTo>
                      <a:cubicBezTo>
                        <a:pt x="546873" y="2310872"/>
                        <a:pt x="528156" y="2301875"/>
                        <a:pt x="448150" y="2250706"/>
                      </a:cubicBezTo>
                      <a:cubicBezTo>
                        <a:pt x="356335" y="2184596"/>
                        <a:pt x="346776" y="2177688"/>
                        <a:pt x="286128" y="2121779"/>
                      </a:cubicBezTo>
                      <a:cubicBezTo>
                        <a:pt x="263476" y="2098725"/>
                        <a:pt x="232630" y="2068442"/>
                        <a:pt x="211022" y="2044423"/>
                      </a:cubicBezTo>
                      <a:cubicBezTo>
                        <a:pt x="115110" y="1937186"/>
                        <a:pt x="225641" y="1787053"/>
                        <a:pt x="531450" y="1653949"/>
                      </a:cubicBezTo>
                      <a:cubicBezTo>
                        <a:pt x="706806" y="1987631"/>
                        <a:pt x="963454" y="2252553"/>
                        <a:pt x="1228295" y="2350875"/>
                      </a:cubicBezTo>
                      <a:lnTo>
                        <a:pt x="1228456" y="2351598"/>
                      </a:lnTo>
                      <a:cubicBezTo>
                        <a:pt x="1228616" y="2351758"/>
                        <a:pt x="1245003" y="2365334"/>
                        <a:pt x="1264603" y="2369511"/>
                      </a:cubicBezTo>
                      <a:cubicBezTo>
                        <a:pt x="1262836" y="2369350"/>
                        <a:pt x="1260587" y="2369189"/>
                        <a:pt x="1258820" y="2369029"/>
                      </a:cubicBezTo>
                      <a:cubicBezTo>
                        <a:pt x="1260667" y="2369913"/>
                        <a:pt x="1263157" y="2371037"/>
                        <a:pt x="1265005" y="2371921"/>
                      </a:cubicBezTo>
                      <a:cubicBezTo>
                        <a:pt x="1145477" y="2364370"/>
                        <a:pt x="1110936" y="2348143"/>
                        <a:pt x="1110615" y="2347983"/>
                      </a:cubicBezTo>
                      <a:cubicBezTo>
                        <a:pt x="1096156" y="2340914"/>
                        <a:pt x="1081215" y="2333604"/>
                        <a:pt x="1046754" y="2347260"/>
                      </a:cubicBezTo>
                      <a:cubicBezTo>
                        <a:pt x="1026431" y="2338023"/>
                        <a:pt x="1002814" y="2341557"/>
                        <a:pt x="982893" y="2330873"/>
                      </a:cubicBezTo>
                      <a:cubicBezTo>
                        <a:pt x="957670" y="2317378"/>
                        <a:pt x="939195" y="2293762"/>
                        <a:pt x="911642" y="2283721"/>
                      </a:cubicBezTo>
                      <a:cubicBezTo>
                        <a:pt x="913088" y="2281231"/>
                        <a:pt x="915096" y="2277856"/>
                        <a:pt x="916542" y="2275286"/>
                      </a:cubicBezTo>
                      <a:cubicBezTo>
                        <a:pt x="910518" y="2263799"/>
                        <a:pt x="908750" y="2260345"/>
                        <a:pt x="873085" y="2247654"/>
                      </a:cubicBezTo>
                      <a:cubicBezTo>
                        <a:pt x="863606" y="2308863"/>
                        <a:pt x="817980" y="2278419"/>
                        <a:pt x="817578" y="2277937"/>
                      </a:cubicBezTo>
                      <a:cubicBezTo>
                        <a:pt x="813240" y="2272957"/>
                        <a:pt x="809706" y="2262996"/>
                        <a:pt x="808260" y="2258819"/>
                      </a:cubicBezTo>
                      <a:cubicBezTo>
                        <a:pt x="804003" y="2258738"/>
                        <a:pt x="798299" y="2259381"/>
                        <a:pt x="794203" y="2260425"/>
                      </a:cubicBezTo>
                      <a:cubicBezTo>
                        <a:pt x="793560" y="2262193"/>
                        <a:pt x="792596" y="2264522"/>
                        <a:pt x="791954" y="2266209"/>
                      </a:cubicBezTo>
                      <a:cubicBezTo>
                        <a:pt x="793078" y="2268378"/>
                        <a:pt x="794604" y="2271270"/>
                        <a:pt x="795729" y="2273439"/>
                      </a:cubicBezTo>
                      <a:cubicBezTo>
                        <a:pt x="754762" y="2253758"/>
                        <a:pt x="754440" y="2267896"/>
                        <a:pt x="754199" y="2276411"/>
                      </a:cubicBezTo>
                      <a:cubicBezTo>
                        <a:pt x="751950" y="2274965"/>
                        <a:pt x="748898" y="2273037"/>
                        <a:pt x="746649" y="2271591"/>
                      </a:cubicBezTo>
                      <a:cubicBezTo>
                        <a:pt x="708975" y="2279222"/>
                        <a:pt x="702709" y="2325331"/>
                        <a:pt x="667606" y="2336094"/>
                      </a:cubicBezTo>
                      <a:cubicBezTo>
                        <a:pt x="680057" y="2343324"/>
                        <a:pt x="680057" y="2343324"/>
                        <a:pt x="710421" y="2351437"/>
                      </a:cubicBezTo>
                      <a:cubicBezTo>
                        <a:pt x="701263" y="2355052"/>
                        <a:pt x="701263" y="2355052"/>
                        <a:pt x="684234" y="2349027"/>
                      </a:cubicBezTo>
                      <a:cubicBezTo>
                        <a:pt x="707127" y="2362603"/>
                        <a:pt x="733394" y="2369511"/>
                        <a:pt x="754922" y="2385817"/>
                      </a:cubicBezTo>
                      <a:cubicBezTo>
                        <a:pt x="745363" y="2388067"/>
                        <a:pt x="742231" y="2388789"/>
                        <a:pt x="697247" y="2369832"/>
                      </a:cubicBezTo>
                      <a:cubicBezTo>
                        <a:pt x="700460" y="2372724"/>
                        <a:pt x="704958" y="2376258"/>
                        <a:pt x="708573" y="2378588"/>
                      </a:cubicBezTo>
                      <a:cubicBezTo>
                        <a:pt x="693150" y="2371680"/>
                        <a:pt x="678048" y="2363968"/>
                        <a:pt x="662465" y="2357301"/>
                      </a:cubicBezTo>
                      <a:cubicBezTo>
                        <a:pt x="681342" y="2368386"/>
                        <a:pt x="710180" y="2383889"/>
                        <a:pt x="740383" y="2393850"/>
                      </a:cubicBezTo>
                      <a:moveTo>
                        <a:pt x="1202751" y="2452891"/>
                      </a:moveTo>
                      <a:cubicBezTo>
                        <a:pt x="1193192" y="2455140"/>
                        <a:pt x="1183633" y="2456346"/>
                        <a:pt x="1174074" y="2456667"/>
                      </a:cubicBezTo>
                      <a:lnTo>
                        <a:pt x="1152948" y="2457229"/>
                      </a:lnTo>
                      <a:cubicBezTo>
                        <a:pt x="1104028" y="2457390"/>
                        <a:pt x="1102100" y="2457390"/>
                        <a:pt x="1075511" y="2456265"/>
                      </a:cubicBezTo>
                      <a:cubicBezTo>
                        <a:pt x="1018318" y="2452650"/>
                        <a:pt x="1014864" y="2452490"/>
                        <a:pt x="981608" y="2448474"/>
                      </a:cubicBezTo>
                      <a:lnTo>
                        <a:pt x="950119" y="2444216"/>
                      </a:lnTo>
                      <a:lnTo>
                        <a:pt x="948834" y="2444055"/>
                      </a:lnTo>
                      <a:cubicBezTo>
                        <a:pt x="946986" y="2443814"/>
                        <a:pt x="945139" y="2443493"/>
                        <a:pt x="943291" y="2443252"/>
                      </a:cubicBezTo>
                      <a:cubicBezTo>
                        <a:pt x="982492" y="2449116"/>
                        <a:pt x="1004662" y="2451044"/>
                        <a:pt x="1006831" y="2451044"/>
                      </a:cubicBezTo>
                      <a:cubicBezTo>
                        <a:pt x="991649" y="2445099"/>
                        <a:pt x="975262" y="2445983"/>
                        <a:pt x="959518" y="2443332"/>
                      </a:cubicBezTo>
                      <a:cubicBezTo>
                        <a:pt x="974539" y="2445180"/>
                        <a:pt x="991649" y="2447268"/>
                        <a:pt x="1009160" y="2448393"/>
                      </a:cubicBezTo>
                      <a:cubicBezTo>
                        <a:pt x="990444" y="2445341"/>
                        <a:pt x="971487" y="2443814"/>
                        <a:pt x="952770" y="2441083"/>
                      </a:cubicBezTo>
                      <a:cubicBezTo>
                        <a:pt x="1010606" y="2446144"/>
                        <a:pt x="1119852" y="2452811"/>
                        <a:pt x="1201867" y="2440681"/>
                      </a:cubicBezTo>
                      <a:cubicBezTo>
                        <a:pt x="1201064" y="2439959"/>
                        <a:pt x="1199538" y="2439396"/>
                        <a:pt x="1198493" y="2439396"/>
                      </a:cubicBezTo>
                      <a:cubicBezTo>
                        <a:pt x="1198654" y="2438914"/>
                        <a:pt x="1198895" y="2438191"/>
                        <a:pt x="1199136" y="2437709"/>
                      </a:cubicBezTo>
                      <a:cubicBezTo>
                        <a:pt x="1202349" y="2437067"/>
                        <a:pt x="1205723" y="2436906"/>
                        <a:pt x="1208936" y="2436103"/>
                      </a:cubicBezTo>
                      <a:cubicBezTo>
                        <a:pt x="1208374" y="2436022"/>
                        <a:pt x="1207651" y="2435862"/>
                        <a:pt x="1207169" y="2435782"/>
                      </a:cubicBezTo>
                      <a:cubicBezTo>
                        <a:pt x="1210944" y="2430882"/>
                        <a:pt x="1229018" y="2425821"/>
                        <a:pt x="1233356" y="2430882"/>
                      </a:cubicBezTo>
                      <a:cubicBezTo>
                        <a:pt x="1237292" y="2426303"/>
                        <a:pt x="1242031" y="2423973"/>
                        <a:pt x="1264925" y="2413049"/>
                      </a:cubicBezTo>
                      <a:cubicBezTo>
                        <a:pt x="1264202" y="2413611"/>
                        <a:pt x="1263157" y="2414334"/>
                        <a:pt x="1262434" y="2414896"/>
                      </a:cubicBezTo>
                      <a:cubicBezTo>
                        <a:pt x="1277697" y="2405177"/>
                        <a:pt x="1283802" y="2401963"/>
                        <a:pt x="1288220" y="2400116"/>
                      </a:cubicBezTo>
                      <a:cubicBezTo>
                        <a:pt x="1259623" y="2421403"/>
                        <a:pt x="1254562" y="2425660"/>
                        <a:pt x="1255044" y="2431203"/>
                      </a:cubicBezTo>
                      <a:cubicBezTo>
                        <a:pt x="1241630" y="2439476"/>
                        <a:pt x="1228054" y="2445662"/>
                        <a:pt x="1214479" y="2449919"/>
                      </a:cubicBezTo>
                      <a:cubicBezTo>
                        <a:pt x="1209257" y="2451044"/>
                        <a:pt x="1204116" y="2452249"/>
                        <a:pt x="1198895" y="2453454"/>
                      </a:cubicBezTo>
                      <a:cubicBezTo>
                        <a:pt x="1200100" y="2453293"/>
                        <a:pt x="1201626" y="2453132"/>
                        <a:pt x="1202831" y="2453052"/>
                      </a:cubicBezTo>
                      <a:cubicBezTo>
                        <a:pt x="1202670" y="2452891"/>
                        <a:pt x="1202751" y="2452891"/>
                        <a:pt x="1202751" y="2452891"/>
                      </a:cubicBezTo>
                      <a:moveTo>
                        <a:pt x="1317058" y="2377303"/>
                      </a:moveTo>
                      <a:cubicBezTo>
                        <a:pt x="1021611" y="2310711"/>
                        <a:pt x="726326" y="2024743"/>
                        <a:pt x="531370" y="1653869"/>
                      </a:cubicBezTo>
                      <a:cubicBezTo>
                        <a:pt x="964900" y="1465178"/>
                        <a:pt x="1626722" y="1382119"/>
                        <a:pt x="2009645" y="1468472"/>
                      </a:cubicBezTo>
                      <a:cubicBezTo>
                        <a:pt x="2136242" y="1496988"/>
                        <a:pt x="2216490" y="1540446"/>
                        <a:pt x="2251513" y="1592739"/>
                      </a:cubicBezTo>
                      <a:cubicBezTo>
                        <a:pt x="2202111" y="1717569"/>
                        <a:pt x="2132146" y="1834526"/>
                        <a:pt x="2045150" y="1938712"/>
                      </a:cubicBezTo>
                      <a:cubicBezTo>
                        <a:pt x="2035832" y="1947066"/>
                        <a:pt x="2033583" y="1949074"/>
                        <a:pt x="2023381" y="1964095"/>
                      </a:cubicBezTo>
                      <a:cubicBezTo>
                        <a:pt x="2001211" y="1989318"/>
                        <a:pt x="1977996" y="2013738"/>
                        <a:pt x="1953737" y="2037274"/>
                      </a:cubicBezTo>
                      <a:cubicBezTo>
                        <a:pt x="2145962" y="1770666"/>
                        <a:pt x="1736450" y="1766649"/>
                        <a:pt x="1732192" y="1766729"/>
                      </a:cubicBezTo>
                      <a:cubicBezTo>
                        <a:pt x="1718376" y="1766971"/>
                        <a:pt x="1713637" y="1774682"/>
                        <a:pt x="1712110" y="1799745"/>
                      </a:cubicBezTo>
                      <a:cubicBezTo>
                        <a:pt x="1681265" y="1788579"/>
                        <a:pt x="1664235" y="1784000"/>
                        <a:pt x="1638450" y="1784562"/>
                      </a:cubicBezTo>
                      <a:cubicBezTo>
                        <a:pt x="1643350" y="1786972"/>
                        <a:pt x="1649696" y="1790587"/>
                        <a:pt x="1654194" y="1793720"/>
                      </a:cubicBezTo>
                      <a:cubicBezTo>
                        <a:pt x="1533943" y="1770666"/>
                        <a:pt x="1444056" y="1768497"/>
                        <a:pt x="1443735" y="1768577"/>
                      </a:cubicBezTo>
                      <a:lnTo>
                        <a:pt x="1325572" y="1804644"/>
                      </a:lnTo>
                      <a:lnTo>
                        <a:pt x="1182267" y="1867782"/>
                      </a:lnTo>
                      <a:cubicBezTo>
                        <a:pt x="1114711" y="1904331"/>
                        <a:pt x="1111739" y="1931482"/>
                        <a:pt x="1109811" y="1949396"/>
                      </a:cubicBezTo>
                      <a:cubicBezTo>
                        <a:pt x="1065149" y="1923369"/>
                        <a:pt x="1024664" y="1979197"/>
                        <a:pt x="1023700" y="1997994"/>
                      </a:cubicBezTo>
                      <a:cubicBezTo>
                        <a:pt x="1028519" y="2002171"/>
                        <a:pt x="1034785" y="2007874"/>
                        <a:pt x="1039123" y="2012453"/>
                      </a:cubicBezTo>
                      <a:cubicBezTo>
                        <a:pt x="1041613" y="2011650"/>
                        <a:pt x="1044906" y="2010525"/>
                        <a:pt x="1047396" y="2009722"/>
                      </a:cubicBezTo>
                      <a:cubicBezTo>
                        <a:pt x="1046995" y="2012614"/>
                        <a:pt x="1046513" y="2016389"/>
                        <a:pt x="1046111" y="2019281"/>
                      </a:cubicBezTo>
                      <a:cubicBezTo>
                        <a:pt x="1048521" y="2021369"/>
                        <a:pt x="1051654" y="2024101"/>
                        <a:pt x="1054064" y="2026189"/>
                      </a:cubicBezTo>
                      <a:cubicBezTo>
                        <a:pt x="1066675" y="2025064"/>
                        <a:pt x="1066675" y="2025064"/>
                        <a:pt x="1082741" y="2013578"/>
                      </a:cubicBezTo>
                      <a:cubicBezTo>
                        <a:pt x="1081295" y="2016389"/>
                        <a:pt x="1079287" y="2020165"/>
                        <a:pt x="1077841" y="2022976"/>
                      </a:cubicBezTo>
                      <a:cubicBezTo>
                        <a:pt x="1080010" y="2025627"/>
                        <a:pt x="1082902" y="2029081"/>
                        <a:pt x="1085070" y="2031732"/>
                      </a:cubicBezTo>
                      <a:cubicBezTo>
                        <a:pt x="1088846" y="2031491"/>
                        <a:pt x="1093987" y="2031089"/>
                        <a:pt x="1097762" y="2030848"/>
                      </a:cubicBezTo>
                      <a:cubicBezTo>
                        <a:pt x="1112784" y="2046994"/>
                        <a:pt x="1162989" y="2071173"/>
                        <a:pt x="1163390" y="2071253"/>
                      </a:cubicBezTo>
                      <a:cubicBezTo>
                        <a:pt x="1174716" y="2103866"/>
                        <a:pt x="1170379" y="2139693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1384" y="2172225"/>
                        <a:pt x="1177849" y="2172547"/>
                        <a:pt x="1175198" y="2172868"/>
                      </a:cubicBezTo>
                      <a:cubicBezTo>
                        <a:pt x="1173511" y="2178009"/>
                        <a:pt x="1170700" y="2184676"/>
                        <a:pt x="1168210" y="2189496"/>
                      </a:cubicBezTo>
                      <a:cubicBezTo>
                        <a:pt x="1197208" y="2186042"/>
                        <a:pt x="1197208" y="2186042"/>
                        <a:pt x="1248618" y="2238174"/>
                      </a:cubicBezTo>
                      <a:cubicBezTo>
                        <a:pt x="1247252" y="2240745"/>
                        <a:pt x="1245405" y="2244119"/>
                        <a:pt x="1244120" y="2246689"/>
                      </a:cubicBezTo>
                      <a:cubicBezTo>
                        <a:pt x="1244521" y="2247252"/>
                        <a:pt x="1276331" y="2323563"/>
                        <a:pt x="1272475" y="2333042"/>
                      </a:cubicBezTo>
                      <a:cubicBezTo>
                        <a:pt x="1274725" y="2336416"/>
                        <a:pt x="1296976" y="2367262"/>
                        <a:pt x="1317058" y="2377303"/>
                      </a:cubicBezTo>
                      <a:moveTo>
                        <a:pt x="2251513" y="1592739"/>
                      </a:moveTo>
                      <a:cubicBezTo>
                        <a:pt x="2327664" y="1400193"/>
                        <a:pt x="2354975" y="1188770"/>
                        <a:pt x="2320434" y="976623"/>
                      </a:cubicBezTo>
                      <a:cubicBezTo>
                        <a:pt x="2304047" y="875892"/>
                        <a:pt x="2274647" y="781025"/>
                        <a:pt x="2234242" y="693226"/>
                      </a:cubicBezTo>
                      <a:cubicBezTo>
                        <a:pt x="2233519" y="691620"/>
                        <a:pt x="2232556" y="689451"/>
                        <a:pt x="2231833" y="687844"/>
                      </a:cubicBezTo>
                      <a:cubicBezTo>
                        <a:pt x="2232636" y="689290"/>
                        <a:pt x="2233760" y="691138"/>
                        <a:pt x="2234644" y="692584"/>
                      </a:cubicBezTo>
                      <a:cubicBezTo>
                        <a:pt x="2234564" y="692262"/>
                        <a:pt x="2234403" y="691861"/>
                        <a:pt x="2234323" y="691620"/>
                      </a:cubicBezTo>
                      <a:lnTo>
                        <a:pt x="2234162" y="691138"/>
                      </a:lnTo>
                      <a:lnTo>
                        <a:pt x="2234483" y="691539"/>
                      </a:lnTo>
                      <a:cubicBezTo>
                        <a:pt x="2233921" y="690013"/>
                        <a:pt x="2233198" y="687925"/>
                        <a:pt x="2232636" y="686399"/>
                      </a:cubicBezTo>
                      <a:cubicBezTo>
                        <a:pt x="2251111" y="728008"/>
                        <a:pt x="2275210" y="783676"/>
                        <a:pt x="2291034" y="826330"/>
                      </a:cubicBezTo>
                      <a:cubicBezTo>
                        <a:pt x="2327583" y="948027"/>
                        <a:pt x="2329833" y="955256"/>
                        <a:pt x="2342525" y="1030925"/>
                      </a:cubicBezTo>
                      <a:cubicBezTo>
                        <a:pt x="2352806" y="1115189"/>
                        <a:pt x="2364454" y="1210780"/>
                        <a:pt x="2354172" y="1335288"/>
                      </a:cubicBezTo>
                      <a:cubicBezTo>
                        <a:pt x="2338428" y="1460278"/>
                        <a:pt x="2337785" y="1465098"/>
                        <a:pt x="2319390" y="1537554"/>
                      </a:cubicBezTo>
                      <a:cubicBezTo>
                        <a:pt x="2303565" y="1589928"/>
                        <a:pt x="2280110" y="1659010"/>
                        <a:pt x="2260510" y="1710098"/>
                      </a:cubicBezTo>
                      <a:cubicBezTo>
                        <a:pt x="2278343" y="1668248"/>
                        <a:pt x="2275531" y="1628405"/>
                        <a:pt x="2251513" y="1592739"/>
                      </a:cubicBezTo>
                      <a:moveTo>
                        <a:pt x="1199377" y="207483"/>
                      </a:moveTo>
                      <a:cubicBezTo>
                        <a:pt x="1199377" y="207804"/>
                        <a:pt x="1199216" y="208206"/>
                        <a:pt x="1199216" y="208527"/>
                      </a:cubicBezTo>
                      <a:cubicBezTo>
                        <a:pt x="1199136" y="207804"/>
                        <a:pt x="1198975" y="206840"/>
                        <a:pt x="1198895" y="206117"/>
                      </a:cubicBezTo>
                      <a:cubicBezTo>
                        <a:pt x="1198975" y="206278"/>
                        <a:pt x="1199136" y="206439"/>
                        <a:pt x="1199216" y="206599"/>
                      </a:cubicBezTo>
                      <a:cubicBezTo>
                        <a:pt x="1199216" y="206840"/>
                        <a:pt x="1199377" y="207242"/>
                        <a:pt x="1199377" y="207483"/>
                      </a:cubicBezTo>
                      <a:moveTo>
                        <a:pt x="342117" y="490478"/>
                      </a:moveTo>
                      <a:cubicBezTo>
                        <a:pt x="368946" y="392800"/>
                        <a:pt x="409512" y="309098"/>
                        <a:pt x="461886" y="242426"/>
                      </a:cubicBezTo>
                      <a:lnTo>
                        <a:pt x="462047" y="242506"/>
                      </a:lnTo>
                      <a:cubicBezTo>
                        <a:pt x="468071" y="242827"/>
                        <a:pt x="469758" y="242908"/>
                        <a:pt x="486707" y="234313"/>
                      </a:cubicBezTo>
                      <a:cubicBezTo>
                        <a:pt x="484860" y="235758"/>
                        <a:pt x="482289" y="237606"/>
                        <a:pt x="480361" y="238811"/>
                      </a:cubicBezTo>
                      <a:cubicBezTo>
                        <a:pt x="479719" y="240016"/>
                        <a:pt x="478835" y="241703"/>
                        <a:pt x="478192" y="242908"/>
                      </a:cubicBezTo>
                      <a:cubicBezTo>
                        <a:pt x="479960" y="243068"/>
                        <a:pt x="482209" y="243229"/>
                        <a:pt x="483976" y="243389"/>
                      </a:cubicBezTo>
                      <a:cubicBezTo>
                        <a:pt x="481647" y="245237"/>
                        <a:pt x="478514" y="247808"/>
                        <a:pt x="476265" y="249816"/>
                      </a:cubicBezTo>
                      <a:cubicBezTo>
                        <a:pt x="485422" y="246281"/>
                        <a:pt x="562456" y="201780"/>
                        <a:pt x="563179" y="201378"/>
                      </a:cubicBezTo>
                      <a:cubicBezTo>
                        <a:pt x="562456" y="201699"/>
                        <a:pt x="561493" y="202101"/>
                        <a:pt x="560770" y="202422"/>
                      </a:cubicBezTo>
                      <a:lnTo>
                        <a:pt x="561734" y="198727"/>
                      </a:lnTo>
                      <a:cubicBezTo>
                        <a:pt x="564384" y="198486"/>
                        <a:pt x="567839" y="197924"/>
                        <a:pt x="570489" y="197442"/>
                      </a:cubicBezTo>
                      <a:cubicBezTo>
                        <a:pt x="569927" y="199370"/>
                        <a:pt x="569204" y="201940"/>
                        <a:pt x="568722" y="203868"/>
                      </a:cubicBezTo>
                      <a:cubicBezTo>
                        <a:pt x="569606" y="205314"/>
                        <a:pt x="570811" y="207242"/>
                        <a:pt x="571694" y="208688"/>
                      </a:cubicBezTo>
                      <a:cubicBezTo>
                        <a:pt x="582137" y="207403"/>
                        <a:pt x="585270" y="207001"/>
                        <a:pt x="608404" y="196799"/>
                      </a:cubicBezTo>
                      <a:cubicBezTo>
                        <a:pt x="607280" y="197442"/>
                        <a:pt x="605673" y="198245"/>
                        <a:pt x="604548" y="198888"/>
                      </a:cubicBezTo>
                      <a:cubicBezTo>
                        <a:pt x="606396" y="198727"/>
                        <a:pt x="608886" y="198486"/>
                        <a:pt x="610814" y="198245"/>
                      </a:cubicBezTo>
                      <a:cubicBezTo>
                        <a:pt x="560127" y="235196"/>
                        <a:pt x="560127" y="235196"/>
                        <a:pt x="559886" y="235598"/>
                      </a:cubicBezTo>
                      <a:cubicBezTo>
                        <a:pt x="560288" y="237044"/>
                        <a:pt x="560770" y="238891"/>
                        <a:pt x="561091" y="240257"/>
                      </a:cubicBezTo>
                      <a:cubicBezTo>
                        <a:pt x="615152" y="211580"/>
                        <a:pt x="675478" y="229734"/>
                        <a:pt x="731788" y="217524"/>
                      </a:cubicBezTo>
                      <a:cubicBezTo>
                        <a:pt x="731868" y="216158"/>
                        <a:pt x="731949" y="214391"/>
                        <a:pt x="732029" y="213025"/>
                      </a:cubicBezTo>
                      <a:cubicBezTo>
                        <a:pt x="774040" y="205153"/>
                        <a:pt x="774362" y="206037"/>
                        <a:pt x="776932" y="214713"/>
                      </a:cubicBezTo>
                      <a:cubicBezTo>
                        <a:pt x="780386" y="215516"/>
                        <a:pt x="785045" y="217042"/>
                        <a:pt x="788098" y="218970"/>
                      </a:cubicBezTo>
                      <a:cubicBezTo>
                        <a:pt x="788098" y="221862"/>
                        <a:pt x="787696" y="225958"/>
                        <a:pt x="786250" y="228449"/>
                      </a:cubicBezTo>
                      <a:cubicBezTo>
                        <a:pt x="780145" y="235517"/>
                        <a:pt x="780145" y="235517"/>
                        <a:pt x="776290" y="242827"/>
                      </a:cubicBezTo>
                      <a:cubicBezTo>
                        <a:pt x="775245" y="244434"/>
                        <a:pt x="775245" y="244434"/>
                        <a:pt x="775245" y="244434"/>
                      </a:cubicBezTo>
                      <a:cubicBezTo>
                        <a:pt x="775245" y="244434"/>
                        <a:pt x="775245" y="244434"/>
                        <a:pt x="775245" y="244434"/>
                      </a:cubicBezTo>
                      <a:lnTo>
                        <a:pt x="775245" y="244434"/>
                      </a:lnTo>
                      <a:lnTo>
                        <a:pt x="775245" y="244434"/>
                      </a:lnTo>
                      <a:lnTo>
                        <a:pt x="775245" y="244434"/>
                      </a:lnTo>
                      <a:lnTo>
                        <a:pt x="775245" y="244434"/>
                      </a:lnTo>
                      <a:lnTo>
                        <a:pt x="775245" y="244434"/>
                      </a:lnTo>
                      <a:lnTo>
                        <a:pt x="775245" y="244434"/>
                      </a:lnTo>
                      <a:cubicBezTo>
                        <a:pt x="798540" y="253591"/>
                        <a:pt x="807457" y="258732"/>
                        <a:pt x="822719" y="271986"/>
                      </a:cubicBezTo>
                      <a:cubicBezTo>
                        <a:pt x="830350" y="269175"/>
                        <a:pt x="838704" y="270942"/>
                        <a:pt x="846336" y="268211"/>
                      </a:cubicBezTo>
                      <a:cubicBezTo>
                        <a:pt x="852441" y="278493"/>
                        <a:pt x="854449" y="281947"/>
                        <a:pt x="878467" y="284839"/>
                      </a:cubicBezTo>
                      <a:cubicBezTo>
                        <a:pt x="895898" y="255037"/>
                        <a:pt x="924977" y="205153"/>
                        <a:pt x="770024" y="196478"/>
                      </a:cubicBezTo>
                      <a:cubicBezTo>
                        <a:pt x="770024" y="188847"/>
                        <a:pt x="768819" y="184349"/>
                        <a:pt x="751227" y="184831"/>
                      </a:cubicBezTo>
                      <a:cubicBezTo>
                        <a:pt x="751227" y="184831"/>
                        <a:pt x="751227" y="184750"/>
                        <a:pt x="751227" y="184750"/>
                      </a:cubicBezTo>
                      <a:cubicBezTo>
                        <a:pt x="751227" y="184750"/>
                        <a:pt x="751227" y="184670"/>
                        <a:pt x="751227" y="184670"/>
                      </a:cubicBezTo>
                      <a:cubicBezTo>
                        <a:pt x="751227" y="184670"/>
                        <a:pt x="751227" y="184590"/>
                        <a:pt x="751227" y="184590"/>
                      </a:cubicBezTo>
                      <a:cubicBezTo>
                        <a:pt x="751227" y="184590"/>
                        <a:pt x="751227" y="184509"/>
                        <a:pt x="751227" y="184509"/>
                      </a:cubicBezTo>
                      <a:cubicBezTo>
                        <a:pt x="751227" y="184509"/>
                        <a:pt x="751227" y="184429"/>
                        <a:pt x="751227" y="184429"/>
                      </a:cubicBezTo>
                      <a:cubicBezTo>
                        <a:pt x="751227" y="184429"/>
                        <a:pt x="751227" y="184349"/>
                        <a:pt x="751227" y="184349"/>
                      </a:cubicBezTo>
                      <a:cubicBezTo>
                        <a:pt x="751227" y="184349"/>
                        <a:pt x="751227" y="184349"/>
                        <a:pt x="751227" y="184268"/>
                      </a:cubicBezTo>
                      <a:cubicBezTo>
                        <a:pt x="751227" y="184268"/>
                        <a:pt x="751227" y="184268"/>
                        <a:pt x="751227" y="184188"/>
                      </a:cubicBezTo>
                      <a:cubicBezTo>
                        <a:pt x="778940" y="180412"/>
                        <a:pt x="788821" y="180975"/>
                        <a:pt x="821595" y="187883"/>
                      </a:cubicBezTo>
                      <a:cubicBezTo>
                        <a:pt x="820791" y="186758"/>
                        <a:pt x="819667" y="185312"/>
                        <a:pt x="818783" y="184188"/>
                      </a:cubicBezTo>
                      <a:cubicBezTo>
                        <a:pt x="820229" y="183867"/>
                        <a:pt x="822076" y="183545"/>
                        <a:pt x="823522" y="183224"/>
                      </a:cubicBezTo>
                      <a:cubicBezTo>
                        <a:pt x="822639" y="181778"/>
                        <a:pt x="821354" y="179850"/>
                        <a:pt x="820470" y="178485"/>
                      </a:cubicBezTo>
                      <a:cubicBezTo>
                        <a:pt x="821354" y="177360"/>
                        <a:pt x="822478" y="175834"/>
                        <a:pt x="823362" y="174629"/>
                      </a:cubicBezTo>
                      <a:cubicBezTo>
                        <a:pt x="880716" y="166757"/>
                        <a:pt x="902806" y="171014"/>
                        <a:pt x="897424" y="189007"/>
                      </a:cubicBezTo>
                      <a:cubicBezTo>
                        <a:pt x="925459" y="186035"/>
                        <a:pt x="940962" y="183384"/>
                        <a:pt x="959759" y="179448"/>
                      </a:cubicBezTo>
                      <a:cubicBezTo>
                        <a:pt x="953814" y="179850"/>
                        <a:pt x="947870" y="180332"/>
                        <a:pt x="941926" y="180814"/>
                      </a:cubicBezTo>
                      <a:cubicBezTo>
                        <a:pt x="951003" y="176155"/>
                        <a:pt x="955662" y="174709"/>
                        <a:pt x="965864" y="173504"/>
                      </a:cubicBezTo>
                      <a:cubicBezTo>
                        <a:pt x="965864" y="173424"/>
                        <a:pt x="965864" y="173263"/>
                        <a:pt x="965944" y="173183"/>
                      </a:cubicBezTo>
                      <a:cubicBezTo>
                        <a:pt x="975583" y="169568"/>
                        <a:pt x="1191505" y="147398"/>
                        <a:pt x="1199136" y="205796"/>
                      </a:cubicBezTo>
                      <a:cubicBezTo>
                        <a:pt x="1199056" y="205716"/>
                        <a:pt x="1198975" y="205555"/>
                        <a:pt x="1198895" y="205475"/>
                      </a:cubicBezTo>
                      <a:cubicBezTo>
                        <a:pt x="1196003" y="204591"/>
                        <a:pt x="1191987" y="204109"/>
                        <a:pt x="1189015" y="204109"/>
                      </a:cubicBezTo>
                      <a:cubicBezTo>
                        <a:pt x="1190300" y="204511"/>
                        <a:pt x="1192067" y="204993"/>
                        <a:pt x="1193352" y="205394"/>
                      </a:cubicBezTo>
                      <a:cubicBezTo>
                        <a:pt x="1190782" y="206760"/>
                        <a:pt x="1187810" y="209571"/>
                        <a:pt x="1186284" y="212062"/>
                      </a:cubicBezTo>
                      <a:cubicBezTo>
                        <a:pt x="1155357" y="211339"/>
                        <a:pt x="1116800" y="210375"/>
                        <a:pt x="1159052" y="253752"/>
                      </a:cubicBezTo>
                      <a:cubicBezTo>
                        <a:pt x="1172306" y="267327"/>
                        <a:pt x="1187087" y="275039"/>
                        <a:pt x="1202670" y="283232"/>
                      </a:cubicBezTo>
                      <a:cubicBezTo>
                        <a:pt x="1182107" y="285160"/>
                        <a:pt x="1161382" y="287249"/>
                        <a:pt x="1140657" y="289578"/>
                      </a:cubicBezTo>
                      <a:cubicBezTo>
                        <a:pt x="1120575" y="220175"/>
                        <a:pt x="1120575" y="220175"/>
                        <a:pt x="1109811" y="218167"/>
                      </a:cubicBezTo>
                      <a:cubicBezTo>
                        <a:pt x="1109972" y="216721"/>
                        <a:pt x="1110213" y="214793"/>
                        <a:pt x="1110454" y="213427"/>
                      </a:cubicBezTo>
                      <a:cubicBezTo>
                        <a:pt x="1109329" y="212704"/>
                        <a:pt x="1107803" y="211740"/>
                        <a:pt x="1106679" y="211017"/>
                      </a:cubicBezTo>
                      <a:cubicBezTo>
                        <a:pt x="1106277" y="234554"/>
                        <a:pt x="1102260" y="250539"/>
                        <a:pt x="1090051" y="276726"/>
                      </a:cubicBezTo>
                      <a:cubicBezTo>
                        <a:pt x="1114310" y="270862"/>
                        <a:pt x="1117603" y="272709"/>
                        <a:pt x="1125556" y="277047"/>
                      </a:cubicBezTo>
                      <a:cubicBezTo>
                        <a:pt x="1126520" y="281224"/>
                        <a:pt x="1125957" y="287249"/>
                        <a:pt x="1124833" y="291345"/>
                      </a:cubicBezTo>
                      <a:cubicBezTo>
                        <a:pt x="849308" y="324119"/>
                        <a:pt x="565429" y="393282"/>
                        <a:pt x="342117" y="490478"/>
                      </a:cubicBezTo>
                      <a:moveTo>
                        <a:pt x="342117" y="490478"/>
                      </a:moveTo>
                      <a:cubicBezTo>
                        <a:pt x="150374" y="573939"/>
                        <a:pt x="35425" y="664067"/>
                        <a:pt x="0" y="746163"/>
                      </a:cubicBezTo>
                      <a:cubicBezTo>
                        <a:pt x="17110" y="710095"/>
                        <a:pt x="39923" y="661898"/>
                        <a:pt x="58880" y="626795"/>
                      </a:cubicBezTo>
                      <a:cubicBezTo>
                        <a:pt x="80408" y="591531"/>
                        <a:pt x="109567" y="544700"/>
                        <a:pt x="133023" y="510721"/>
                      </a:cubicBezTo>
                      <a:lnTo>
                        <a:pt x="133505" y="509998"/>
                      </a:lnTo>
                      <a:cubicBezTo>
                        <a:pt x="146036" y="493129"/>
                        <a:pt x="161700" y="478911"/>
                        <a:pt x="173428" y="461400"/>
                      </a:cubicBezTo>
                      <a:cubicBezTo>
                        <a:pt x="177284" y="456821"/>
                        <a:pt x="182023" y="453126"/>
                        <a:pt x="185477" y="448146"/>
                      </a:cubicBezTo>
                      <a:cubicBezTo>
                        <a:pt x="183148" y="452965"/>
                        <a:pt x="182907" y="453447"/>
                        <a:pt x="177123" y="460436"/>
                      </a:cubicBezTo>
                      <a:cubicBezTo>
                        <a:pt x="191181" y="450314"/>
                        <a:pt x="191181" y="450314"/>
                        <a:pt x="194233" y="445736"/>
                      </a:cubicBezTo>
                      <a:cubicBezTo>
                        <a:pt x="193269" y="446137"/>
                        <a:pt x="192064" y="446619"/>
                        <a:pt x="191181" y="447021"/>
                      </a:cubicBezTo>
                      <a:cubicBezTo>
                        <a:pt x="193028" y="440595"/>
                        <a:pt x="197285" y="432964"/>
                        <a:pt x="207246" y="432482"/>
                      </a:cubicBezTo>
                      <a:cubicBezTo>
                        <a:pt x="206282" y="434811"/>
                        <a:pt x="204836" y="437864"/>
                        <a:pt x="203390" y="439952"/>
                      </a:cubicBezTo>
                      <a:cubicBezTo>
                        <a:pt x="204354" y="439872"/>
                        <a:pt x="205720" y="439791"/>
                        <a:pt x="206684" y="439791"/>
                      </a:cubicBezTo>
                      <a:cubicBezTo>
                        <a:pt x="198571" y="450716"/>
                        <a:pt x="198249" y="452162"/>
                        <a:pt x="197205" y="457062"/>
                      </a:cubicBezTo>
                      <a:cubicBezTo>
                        <a:pt x="202667" y="459552"/>
                        <a:pt x="204274" y="459873"/>
                        <a:pt x="213592" y="460114"/>
                      </a:cubicBezTo>
                      <a:cubicBezTo>
                        <a:pt x="213271" y="461319"/>
                        <a:pt x="212789" y="462846"/>
                        <a:pt x="212468" y="464050"/>
                      </a:cubicBezTo>
                      <a:cubicBezTo>
                        <a:pt x="212789" y="464211"/>
                        <a:pt x="213190" y="464452"/>
                        <a:pt x="213431" y="464613"/>
                      </a:cubicBezTo>
                      <a:cubicBezTo>
                        <a:pt x="224838" y="457946"/>
                        <a:pt x="238413" y="457544"/>
                        <a:pt x="250061" y="451600"/>
                      </a:cubicBezTo>
                      <a:cubicBezTo>
                        <a:pt x="247009" y="448387"/>
                        <a:pt x="247009" y="448387"/>
                        <a:pt x="229577" y="455215"/>
                      </a:cubicBezTo>
                      <a:cubicBezTo>
                        <a:pt x="218331" y="449752"/>
                        <a:pt x="218331" y="449752"/>
                        <a:pt x="216404" y="449913"/>
                      </a:cubicBezTo>
                      <a:cubicBezTo>
                        <a:pt x="219777" y="445977"/>
                        <a:pt x="221223" y="440755"/>
                        <a:pt x="224677" y="436819"/>
                      </a:cubicBezTo>
                      <a:cubicBezTo>
                        <a:pt x="224517" y="434811"/>
                        <a:pt x="225079" y="432000"/>
                        <a:pt x="225963" y="430152"/>
                      </a:cubicBezTo>
                      <a:cubicBezTo>
                        <a:pt x="227007" y="429911"/>
                        <a:pt x="227007" y="429911"/>
                        <a:pt x="240261" y="421155"/>
                      </a:cubicBezTo>
                      <a:cubicBezTo>
                        <a:pt x="239940" y="422200"/>
                        <a:pt x="239618" y="423645"/>
                        <a:pt x="239297" y="424690"/>
                      </a:cubicBezTo>
                      <a:cubicBezTo>
                        <a:pt x="249499" y="420754"/>
                        <a:pt x="256969" y="412400"/>
                        <a:pt x="266850" y="407982"/>
                      </a:cubicBezTo>
                      <a:cubicBezTo>
                        <a:pt x="269822" y="395852"/>
                        <a:pt x="280505" y="388864"/>
                        <a:pt x="286209" y="378501"/>
                      </a:cubicBezTo>
                      <a:cubicBezTo>
                        <a:pt x="292474" y="383000"/>
                        <a:pt x="293438" y="383642"/>
                        <a:pt x="317858" y="361954"/>
                      </a:cubicBezTo>
                      <a:cubicBezTo>
                        <a:pt x="316894" y="361632"/>
                        <a:pt x="315609" y="361231"/>
                        <a:pt x="314564" y="360909"/>
                      </a:cubicBezTo>
                      <a:cubicBezTo>
                        <a:pt x="310869" y="363560"/>
                        <a:pt x="306853" y="365729"/>
                        <a:pt x="303399" y="368782"/>
                      </a:cubicBezTo>
                      <a:cubicBezTo>
                        <a:pt x="312717" y="358178"/>
                        <a:pt x="326212" y="352716"/>
                        <a:pt x="335932" y="342595"/>
                      </a:cubicBezTo>
                      <a:cubicBezTo>
                        <a:pt x="335851" y="341229"/>
                        <a:pt x="335771" y="339462"/>
                        <a:pt x="335691" y="338096"/>
                      </a:cubicBezTo>
                      <a:cubicBezTo>
                        <a:pt x="334405" y="337775"/>
                        <a:pt x="332638" y="337373"/>
                        <a:pt x="331353" y="337052"/>
                      </a:cubicBezTo>
                      <a:cubicBezTo>
                        <a:pt x="331353" y="337052"/>
                        <a:pt x="331353" y="336972"/>
                        <a:pt x="331273" y="336972"/>
                      </a:cubicBezTo>
                      <a:lnTo>
                        <a:pt x="332959" y="335285"/>
                      </a:lnTo>
                      <a:lnTo>
                        <a:pt x="332959" y="334883"/>
                      </a:lnTo>
                      <a:cubicBezTo>
                        <a:pt x="333682" y="334080"/>
                        <a:pt x="334566" y="333036"/>
                        <a:pt x="335289" y="332232"/>
                      </a:cubicBezTo>
                      <a:cubicBezTo>
                        <a:pt x="334727" y="331429"/>
                        <a:pt x="334004" y="330304"/>
                        <a:pt x="333441" y="329501"/>
                      </a:cubicBezTo>
                      <a:cubicBezTo>
                        <a:pt x="320669" y="338177"/>
                        <a:pt x="320669" y="338177"/>
                        <a:pt x="313761" y="338418"/>
                      </a:cubicBezTo>
                      <a:cubicBezTo>
                        <a:pt x="314163" y="337534"/>
                        <a:pt x="323079" y="316327"/>
                        <a:pt x="334245" y="318577"/>
                      </a:cubicBezTo>
                      <a:cubicBezTo>
                        <a:pt x="336173" y="317211"/>
                        <a:pt x="338743" y="315283"/>
                        <a:pt x="340671" y="313757"/>
                      </a:cubicBezTo>
                      <a:cubicBezTo>
                        <a:pt x="340028" y="314641"/>
                        <a:pt x="339145" y="315765"/>
                        <a:pt x="338502" y="316649"/>
                      </a:cubicBezTo>
                      <a:cubicBezTo>
                        <a:pt x="358905" y="305644"/>
                        <a:pt x="371276" y="295924"/>
                        <a:pt x="382281" y="286847"/>
                      </a:cubicBezTo>
                      <a:cubicBezTo>
                        <a:pt x="381156" y="287329"/>
                        <a:pt x="379710" y="287972"/>
                        <a:pt x="378666" y="288534"/>
                      </a:cubicBezTo>
                      <a:cubicBezTo>
                        <a:pt x="384369" y="282750"/>
                        <a:pt x="394009" y="282349"/>
                        <a:pt x="398186" y="274396"/>
                      </a:cubicBezTo>
                      <a:cubicBezTo>
                        <a:pt x="387904" y="274637"/>
                        <a:pt x="373364" y="280421"/>
                        <a:pt x="373284" y="280501"/>
                      </a:cubicBezTo>
                      <a:cubicBezTo>
                        <a:pt x="371999" y="281224"/>
                        <a:pt x="372722" y="280822"/>
                        <a:pt x="373445" y="280421"/>
                      </a:cubicBezTo>
                      <a:cubicBezTo>
                        <a:pt x="363645" y="289578"/>
                        <a:pt x="363645" y="289578"/>
                        <a:pt x="344286" y="300181"/>
                      </a:cubicBezTo>
                      <a:cubicBezTo>
                        <a:pt x="348864" y="295844"/>
                        <a:pt x="351033" y="293916"/>
                        <a:pt x="363323" y="284437"/>
                      </a:cubicBezTo>
                      <a:cubicBezTo>
                        <a:pt x="363082" y="284598"/>
                        <a:pt x="362761" y="284839"/>
                        <a:pt x="362520" y="285000"/>
                      </a:cubicBezTo>
                      <a:cubicBezTo>
                        <a:pt x="356255" y="289739"/>
                        <a:pt x="350069" y="294398"/>
                        <a:pt x="343804" y="299218"/>
                      </a:cubicBezTo>
                      <a:cubicBezTo>
                        <a:pt x="351756" y="292229"/>
                        <a:pt x="361074" y="286927"/>
                        <a:pt x="368705" y="279457"/>
                      </a:cubicBezTo>
                      <a:cubicBezTo>
                        <a:pt x="375051" y="275119"/>
                        <a:pt x="382923" y="269657"/>
                        <a:pt x="424453" y="240096"/>
                      </a:cubicBezTo>
                      <a:cubicBezTo>
                        <a:pt x="424212" y="240176"/>
                        <a:pt x="423810" y="240337"/>
                        <a:pt x="423569" y="240417"/>
                      </a:cubicBezTo>
                      <a:cubicBezTo>
                        <a:pt x="424453" y="238490"/>
                        <a:pt x="426140" y="236160"/>
                        <a:pt x="427746" y="234714"/>
                      </a:cubicBezTo>
                      <a:cubicBezTo>
                        <a:pt x="420276" y="238972"/>
                        <a:pt x="419794" y="239132"/>
                        <a:pt x="414171" y="241703"/>
                      </a:cubicBezTo>
                      <a:cubicBezTo>
                        <a:pt x="413448" y="241301"/>
                        <a:pt x="412484" y="240819"/>
                        <a:pt x="411681" y="240417"/>
                      </a:cubicBezTo>
                      <a:cubicBezTo>
                        <a:pt x="416742" y="235276"/>
                        <a:pt x="416742" y="235276"/>
                        <a:pt x="419151" y="231662"/>
                      </a:cubicBezTo>
                      <a:cubicBezTo>
                        <a:pt x="418509" y="231983"/>
                        <a:pt x="417705" y="232465"/>
                        <a:pt x="417063" y="232786"/>
                      </a:cubicBezTo>
                      <a:cubicBezTo>
                        <a:pt x="408709" y="237204"/>
                        <a:pt x="408709" y="237204"/>
                        <a:pt x="405415" y="239534"/>
                      </a:cubicBezTo>
                      <a:cubicBezTo>
                        <a:pt x="407022" y="238168"/>
                        <a:pt x="409191" y="236401"/>
                        <a:pt x="410878" y="235116"/>
                      </a:cubicBezTo>
                      <a:cubicBezTo>
                        <a:pt x="402283" y="238650"/>
                        <a:pt x="402283" y="238650"/>
                        <a:pt x="385333" y="251583"/>
                      </a:cubicBezTo>
                      <a:cubicBezTo>
                        <a:pt x="483976" y="180412"/>
                        <a:pt x="536430" y="149566"/>
                        <a:pt x="640134" y="101771"/>
                      </a:cubicBezTo>
                      <a:cubicBezTo>
                        <a:pt x="498355" y="163463"/>
                        <a:pt x="394250" y="300663"/>
                        <a:pt x="342117" y="490478"/>
                      </a:cubicBezTo>
                      <a:moveTo>
                        <a:pt x="957831" y="45220"/>
                      </a:moveTo>
                      <a:lnTo>
                        <a:pt x="957831" y="45220"/>
                      </a:lnTo>
                      <a:cubicBezTo>
                        <a:pt x="957831" y="45220"/>
                        <a:pt x="957911" y="45220"/>
                        <a:pt x="957831" y="45220"/>
                      </a:cubicBezTo>
                      <a:cubicBezTo>
                        <a:pt x="957911" y="45220"/>
                        <a:pt x="957831" y="45220"/>
                        <a:pt x="957831" y="45220"/>
                      </a:cubicBezTo>
                      <a:moveTo>
                        <a:pt x="959277" y="44738"/>
                      </a:moveTo>
                      <a:cubicBezTo>
                        <a:pt x="960080" y="44498"/>
                        <a:pt x="960883" y="44257"/>
                        <a:pt x="961606" y="44016"/>
                      </a:cubicBezTo>
                      <a:cubicBezTo>
                        <a:pt x="961365" y="44016"/>
                        <a:pt x="961205" y="44176"/>
                        <a:pt x="960964" y="44257"/>
                      </a:cubicBezTo>
                      <a:cubicBezTo>
                        <a:pt x="960401" y="44417"/>
                        <a:pt x="959839" y="44578"/>
                        <a:pt x="959277" y="44738"/>
                      </a:cubicBezTo>
                      <a:cubicBezTo>
                        <a:pt x="959277" y="44738"/>
                        <a:pt x="959277" y="44738"/>
                        <a:pt x="959277" y="44738"/>
                      </a:cubicBezTo>
                      <a:moveTo>
                        <a:pt x="1014542" y="26102"/>
                      </a:moveTo>
                      <a:cubicBezTo>
                        <a:pt x="1026913" y="26504"/>
                        <a:pt x="1038801" y="22728"/>
                        <a:pt x="1051092" y="22086"/>
                      </a:cubicBezTo>
                      <a:cubicBezTo>
                        <a:pt x="1044264" y="22327"/>
                        <a:pt x="1041131" y="22166"/>
                        <a:pt x="1034142" y="21604"/>
                      </a:cubicBezTo>
                      <a:cubicBezTo>
                        <a:pt x="1030206" y="21283"/>
                        <a:pt x="1028118" y="21202"/>
                        <a:pt x="1025547" y="21443"/>
                      </a:cubicBezTo>
                      <a:cubicBezTo>
                        <a:pt x="1020647" y="21925"/>
                        <a:pt x="1016229" y="24255"/>
                        <a:pt x="1013096" y="26022"/>
                      </a:cubicBezTo>
                      <a:cubicBezTo>
                        <a:pt x="1013418" y="26022"/>
                        <a:pt x="1014060" y="26102"/>
                        <a:pt x="1014542" y="26102"/>
                      </a:cubicBezTo>
                      <a:moveTo>
                        <a:pt x="1034223" y="18150"/>
                      </a:moveTo>
                      <a:cubicBezTo>
                        <a:pt x="1036151" y="18712"/>
                        <a:pt x="1038159" y="19114"/>
                        <a:pt x="1040087" y="19676"/>
                      </a:cubicBezTo>
                      <a:cubicBezTo>
                        <a:pt x="1038159" y="19194"/>
                        <a:pt x="1036231" y="18632"/>
                        <a:pt x="1034223" y="18150"/>
                      </a:cubicBezTo>
                      <a:moveTo>
                        <a:pt x="938873" y="25540"/>
                      </a:moveTo>
                      <a:cubicBezTo>
                        <a:pt x="945059" y="26102"/>
                        <a:pt x="951405" y="25219"/>
                        <a:pt x="954377" y="24817"/>
                      </a:cubicBezTo>
                      <a:cubicBezTo>
                        <a:pt x="963213" y="23371"/>
                        <a:pt x="976627" y="19756"/>
                        <a:pt x="977913" y="18551"/>
                      </a:cubicBezTo>
                      <a:cubicBezTo>
                        <a:pt x="977109" y="17025"/>
                        <a:pt x="977109" y="17025"/>
                        <a:pt x="954939" y="21925"/>
                      </a:cubicBezTo>
                      <a:cubicBezTo>
                        <a:pt x="944175" y="24335"/>
                        <a:pt x="944175" y="24335"/>
                        <a:pt x="937187" y="25299"/>
                      </a:cubicBezTo>
                      <a:cubicBezTo>
                        <a:pt x="937669" y="25379"/>
                        <a:pt x="938391" y="25540"/>
                        <a:pt x="938873" y="25540"/>
                      </a:cubicBezTo>
                      <a:moveTo>
                        <a:pt x="987392" y="16383"/>
                      </a:moveTo>
                      <a:cubicBezTo>
                        <a:pt x="1003618" y="16463"/>
                        <a:pt x="1008518" y="15981"/>
                        <a:pt x="1007474" y="12527"/>
                      </a:cubicBezTo>
                      <a:cubicBezTo>
                        <a:pt x="1010687" y="13973"/>
                        <a:pt x="1010687" y="13973"/>
                        <a:pt x="1010847" y="14375"/>
                      </a:cubicBezTo>
                      <a:cubicBezTo>
                        <a:pt x="1010285" y="15258"/>
                        <a:pt x="1009803" y="15419"/>
                        <a:pt x="1007232" y="16624"/>
                      </a:cubicBezTo>
                      <a:cubicBezTo>
                        <a:pt x="1011891" y="16463"/>
                        <a:pt x="1022736" y="15981"/>
                        <a:pt x="1029965" y="15017"/>
                      </a:cubicBezTo>
                      <a:cubicBezTo>
                        <a:pt x="1040006" y="13732"/>
                        <a:pt x="1049806" y="11242"/>
                        <a:pt x="1059767" y="9796"/>
                      </a:cubicBezTo>
                      <a:cubicBezTo>
                        <a:pt x="1059285" y="9233"/>
                        <a:pt x="1059285" y="9233"/>
                        <a:pt x="1056795" y="9474"/>
                      </a:cubicBezTo>
                      <a:cubicBezTo>
                        <a:pt x="1056715" y="9474"/>
                        <a:pt x="1056554" y="9474"/>
                        <a:pt x="1056393" y="9474"/>
                      </a:cubicBezTo>
                      <a:cubicBezTo>
                        <a:pt x="1053582" y="6181"/>
                        <a:pt x="1013659" y="9956"/>
                        <a:pt x="1013257" y="9956"/>
                      </a:cubicBezTo>
                      <a:cubicBezTo>
                        <a:pt x="1003296" y="10920"/>
                        <a:pt x="993898" y="14294"/>
                        <a:pt x="984178" y="16302"/>
                      </a:cubicBezTo>
                      <a:cubicBezTo>
                        <a:pt x="985223" y="16383"/>
                        <a:pt x="986428" y="16383"/>
                        <a:pt x="987392" y="16383"/>
                      </a:cubicBezTo>
                      <a:moveTo>
                        <a:pt x="464697" y="238811"/>
                      </a:moveTo>
                      <a:cubicBezTo>
                        <a:pt x="513537" y="177681"/>
                        <a:pt x="572497" y="131171"/>
                        <a:pt x="639893" y="101852"/>
                      </a:cubicBezTo>
                      <a:cubicBezTo>
                        <a:pt x="694034" y="79440"/>
                        <a:pt x="694034" y="79440"/>
                        <a:pt x="722390" y="69399"/>
                      </a:cubicBezTo>
                      <a:cubicBezTo>
                        <a:pt x="769221" y="53735"/>
                        <a:pt x="769221" y="53735"/>
                        <a:pt x="792998" y="46907"/>
                      </a:cubicBezTo>
                      <a:cubicBezTo>
                        <a:pt x="835411" y="35420"/>
                        <a:pt x="835411" y="35420"/>
                        <a:pt x="856698" y="30601"/>
                      </a:cubicBezTo>
                      <a:cubicBezTo>
                        <a:pt x="896942" y="22006"/>
                        <a:pt x="896942" y="22006"/>
                        <a:pt x="917105" y="18391"/>
                      </a:cubicBezTo>
                      <a:cubicBezTo>
                        <a:pt x="956305" y="11965"/>
                        <a:pt x="957027" y="11884"/>
                        <a:pt x="977109" y="9394"/>
                      </a:cubicBezTo>
                      <a:cubicBezTo>
                        <a:pt x="1017675" y="4815"/>
                        <a:pt x="1018478" y="4735"/>
                        <a:pt x="1039364" y="3209"/>
                      </a:cubicBezTo>
                      <a:cubicBezTo>
                        <a:pt x="1083303" y="558"/>
                        <a:pt x="1084106" y="478"/>
                        <a:pt x="1107080" y="76"/>
                      </a:cubicBezTo>
                      <a:cubicBezTo>
                        <a:pt x="1156000" y="-85"/>
                        <a:pt x="1157928" y="-85"/>
                        <a:pt x="1184516" y="1040"/>
                      </a:cubicBezTo>
                      <a:cubicBezTo>
                        <a:pt x="1199377" y="2004"/>
                        <a:pt x="1219138" y="3048"/>
                        <a:pt x="1233998" y="4253"/>
                      </a:cubicBezTo>
                      <a:lnTo>
                        <a:pt x="1233115" y="4173"/>
                      </a:lnTo>
                      <a:cubicBezTo>
                        <a:pt x="1234641" y="4334"/>
                        <a:pt x="1236569" y="4574"/>
                        <a:pt x="1238095" y="4735"/>
                      </a:cubicBezTo>
                      <a:cubicBezTo>
                        <a:pt x="1236649" y="4574"/>
                        <a:pt x="1234721" y="4414"/>
                        <a:pt x="1233276" y="4334"/>
                      </a:cubicBezTo>
                      <a:cubicBezTo>
                        <a:pt x="1234721" y="4574"/>
                        <a:pt x="1236649" y="4815"/>
                        <a:pt x="1238095" y="4976"/>
                      </a:cubicBezTo>
                      <a:cubicBezTo>
                        <a:pt x="1237211" y="4896"/>
                        <a:pt x="1236087" y="4815"/>
                        <a:pt x="1235203" y="4735"/>
                      </a:cubicBezTo>
                      <a:cubicBezTo>
                        <a:pt x="1284203" y="10679"/>
                        <a:pt x="1311194" y="13973"/>
                        <a:pt x="1383569" y="29074"/>
                      </a:cubicBezTo>
                      <a:cubicBezTo>
                        <a:pt x="1356900" y="23773"/>
                        <a:pt x="1329910" y="20479"/>
                        <a:pt x="1303402" y="14937"/>
                      </a:cubicBezTo>
                      <a:cubicBezTo>
                        <a:pt x="1300510" y="15258"/>
                        <a:pt x="1296574" y="15097"/>
                        <a:pt x="1293682" y="14615"/>
                      </a:cubicBezTo>
                      <a:cubicBezTo>
                        <a:pt x="1296895" y="15820"/>
                        <a:pt x="1301233" y="17427"/>
                        <a:pt x="1304526" y="18551"/>
                      </a:cubicBezTo>
                      <a:cubicBezTo>
                        <a:pt x="1251671" y="10358"/>
                        <a:pt x="1170379" y="13089"/>
                        <a:pt x="1162265" y="16061"/>
                      </a:cubicBezTo>
                      <a:cubicBezTo>
                        <a:pt x="1165720" y="17507"/>
                        <a:pt x="1170379" y="19194"/>
                        <a:pt x="1173913" y="20479"/>
                      </a:cubicBezTo>
                      <a:cubicBezTo>
                        <a:pt x="1172628" y="21202"/>
                        <a:pt x="1170861" y="22086"/>
                        <a:pt x="1169495" y="22809"/>
                      </a:cubicBezTo>
                      <a:cubicBezTo>
                        <a:pt x="1172467" y="22648"/>
                        <a:pt x="1176403" y="22086"/>
                        <a:pt x="1179375" y="21443"/>
                      </a:cubicBezTo>
                      <a:cubicBezTo>
                        <a:pt x="1179295" y="22889"/>
                        <a:pt x="1179134" y="24737"/>
                        <a:pt x="1178974" y="26183"/>
                      </a:cubicBezTo>
                      <a:cubicBezTo>
                        <a:pt x="1177608" y="25861"/>
                        <a:pt x="1175761" y="25379"/>
                        <a:pt x="1174395" y="25058"/>
                      </a:cubicBezTo>
                      <a:cubicBezTo>
                        <a:pt x="1175439" y="25942"/>
                        <a:pt x="1176885" y="27147"/>
                        <a:pt x="1177929" y="28030"/>
                      </a:cubicBezTo>
                      <a:cubicBezTo>
                        <a:pt x="1159615" y="48353"/>
                        <a:pt x="1139131" y="26825"/>
                        <a:pt x="1119933" y="30681"/>
                      </a:cubicBezTo>
                      <a:cubicBezTo>
                        <a:pt x="1101779" y="34296"/>
                        <a:pt x="1083143" y="33894"/>
                        <a:pt x="1064828" y="36224"/>
                      </a:cubicBezTo>
                      <a:cubicBezTo>
                        <a:pt x="1063944" y="34858"/>
                        <a:pt x="1062820" y="33091"/>
                        <a:pt x="1062016" y="31806"/>
                      </a:cubicBezTo>
                      <a:cubicBezTo>
                        <a:pt x="1060410" y="31725"/>
                        <a:pt x="1058241" y="31565"/>
                        <a:pt x="1056634" y="31404"/>
                      </a:cubicBezTo>
                      <a:cubicBezTo>
                        <a:pt x="1059446" y="30922"/>
                        <a:pt x="1063221" y="30520"/>
                        <a:pt x="1066113" y="30520"/>
                      </a:cubicBezTo>
                      <a:cubicBezTo>
                        <a:pt x="1060249" y="28753"/>
                        <a:pt x="1022736" y="28592"/>
                        <a:pt x="989801" y="37830"/>
                      </a:cubicBezTo>
                      <a:cubicBezTo>
                        <a:pt x="999200" y="35983"/>
                        <a:pt x="1001369" y="35742"/>
                        <a:pt x="1010526" y="35581"/>
                      </a:cubicBezTo>
                      <a:cubicBezTo>
                        <a:pt x="1004341" y="37027"/>
                        <a:pt x="1002091" y="37589"/>
                        <a:pt x="985785" y="38955"/>
                      </a:cubicBezTo>
                      <a:cubicBezTo>
                        <a:pt x="987231" y="39437"/>
                        <a:pt x="989159" y="40079"/>
                        <a:pt x="990605" y="40561"/>
                      </a:cubicBezTo>
                      <a:cubicBezTo>
                        <a:pt x="827378" y="85625"/>
                        <a:pt x="827378" y="85625"/>
                        <a:pt x="822880" y="103056"/>
                      </a:cubicBezTo>
                      <a:cubicBezTo>
                        <a:pt x="678932" y="111973"/>
                        <a:pt x="605030" y="152940"/>
                        <a:pt x="573702" y="176557"/>
                      </a:cubicBezTo>
                      <a:cubicBezTo>
                        <a:pt x="574827" y="175512"/>
                        <a:pt x="576353" y="174067"/>
                        <a:pt x="577397" y="172942"/>
                      </a:cubicBezTo>
                      <a:cubicBezTo>
                        <a:pt x="542374" y="192381"/>
                        <a:pt x="541411" y="193265"/>
                        <a:pt x="516429" y="214793"/>
                      </a:cubicBezTo>
                      <a:cubicBezTo>
                        <a:pt x="517071" y="213347"/>
                        <a:pt x="517874" y="211499"/>
                        <a:pt x="518517" y="210053"/>
                      </a:cubicBezTo>
                      <a:cubicBezTo>
                        <a:pt x="497953" y="213347"/>
                        <a:pt x="483976" y="229171"/>
                        <a:pt x="466304" y="237847"/>
                      </a:cubicBezTo>
                      <a:cubicBezTo>
                        <a:pt x="466625" y="237285"/>
                        <a:pt x="465179" y="238490"/>
                        <a:pt x="464697" y="238811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6" name="Freeform: Shape 415">
                  <a:extLst>
                    <a:ext uri="{FF2B5EF4-FFF2-40B4-BE49-F238E27FC236}">
                      <a16:creationId xmlns:a16="http://schemas.microsoft.com/office/drawing/2014/main" id="{18AC97A3-9F4C-E689-E85B-F1F69A57E525}"/>
                    </a:ext>
                  </a:extLst>
                </p:cNvPr>
                <p:cNvSpPr/>
                <p:nvPr/>
              </p:nvSpPr>
              <p:spPr>
                <a:xfrm>
                  <a:off x="-5378690" y="2189636"/>
                  <a:ext cx="2433669" cy="2172952"/>
                </a:xfrm>
                <a:custGeom>
                  <a:avLst/>
                  <a:gdLst>
                    <a:gd name="connsiteX0" fmla="*/ 2052355 w 2433669"/>
                    <a:gd name="connsiteY0" fmla="*/ 1753480 h 2172952"/>
                    <a:gd name="connsiteX1" fmla="*/ 2121999 w 2433669"/>
                    <a:gd name="connsiteY1" fmla="*/ 1680301 h 2172952"/>
                    <a:gd name="connsiteX2" fmla="*/ 2121035 w 2433669"/>
                    <a:gd name="connsiteY2" fmla="*/ 1681827 h 2172952"/>
                    <a:gd name="connsiteX3" fmla="*/ 2106576 w 2433669"/>
                    <a:gd name="connsiteY3" fmla="*/ 1707452 h 2172952"/>
                    <a:gd name="connsiteX4" fmla="*/ 2103363 w 2433669"/>
                    <a:gd name="connsiteY4" fmla="*/ 1709621 h 2172952"/>
                    <a:gd name="connsiteX5" fmla="*/ 2028498 w 2433669"/>
                    <a:gd name="connsiteY5" fmla="*/ 1784085 h 2172952"/>
                    <a:gd name="connsiteX6" fmla="*/ 2052355 w 2433669"/>
                    <a:gd name="connsiteY6" fmla="*/ 1753480 h 2172952"/>
                    <a:gd name="connsiteX7" fmla="*/ 1290765 w 2433669"/>
                    <a:gd name="connsiteY7" fmla="*/ 2172149 h 2172952"/>
                    <a:gd name="connsiteX8" fmla="*/ 1272692 w 2433669"/>
                    <a:gd name="connsiteY8" fmla="*/ 2172952 h 2172952"/>
                    <a:gd name="connsiteX9" fmla="*/ 1301369 w 2433669"/>
                    <a:gd name="connsiteY9" fmla="*/ 2169177 h 2172952"/>
                    <a:gd name="connsiteX10" fmla="*/ 1301770 w 2433669"/>
                    <a:gd name="connsiteY10" fmla="*/ 2169258 h 2172952"/>
                    <a:gd name="connsiteX11" fmla="*/ 1301770 w 2433669"/>
                    <a:gd name="connsiteY11" fmla="*/ 2169418 h 2172952"/>
                    <a:gd name="connsiteX12" fmla="*/ 1301529 w 2433669"/>
                    <a:gd name="connsiteY12" fmla="*/ 2169579 h 2172952"/>
                    <a:gd name="connsiteX13" fmla="*/ 1304100 w 2433669"/>
                    <a:gd name="connsiteY13" fmla="*/ 2169177 h 2172952"/>
                    <a:gd name="connsiteX14" fmla="*/ 1290765 w 2433669"/>
                    <a:gd name="connsiteY14" fmla="*/ 2172149 h 2172952"/>
                    <a:gd name="connsiteX15" fmla="*/ 1457848 w 2433669"/>
                    <a:gd name="connsiteY15" fmla="*/ 2151425 h 2172952"/>
                    <a:gd name="connsiteX16" fmla="*/ 1469897 w 2433669"/>
                    <a:gd name="connsiteY16" fmla="*/ 2149256 h 2172952"/>
                    <a:gd name="connsiteX17" fmla="*/ 1381536 w 2433669"/>
                    <a:gd name="connsiteY17" fmla="*/ 2164197 h 2172952"/>
                    <a:gd name="connsiteX18" fmla="*/ 1342175 w 2433669"/>
                    <a:gd name="connsiteY18" fmla="*/ 2168454 h 2172952"/>
                    <a:gd name="connsiteX19" fmla="*/ 1344103 w 2433669"/>
                    <a:gd name="connsiteY19" fmla="*/ 2168294 h 2172952"/>
                    <a:gd name="connsiteX20" fmla="*/ 1352297 w 2433669"/>
                    <a:gd name="connsiteY20" fmla="*/ 2166446 h 2172952"/>
                    <a:gd name="connsiteX21" fmla="*/ 1312936 w 2433669"/>
                    <a:gd name="connsiteY21" fmla="*/ 2165964 h 2172952"/>
                    <a:gd name="connsiteX22" fmla="*/ 1353502 w 2433669"/>
                    <a:gd name="connsiteY22" fmla="*/ 2147247 h 2172952"/>
                    <a:gd name="connsiteX23" fmla="*/ 1372620 w 2433669"/>
                    <a:gd name="connsiteY23" fmla="*/ 2146685 h 2172952"/>
                    <a:gd name="connsiteX24" fmla="*/ 1382661 w 2433669"/>
                    <a:gd name="connsiteY24" fmla="*/ 2142990 h 2172952"/>
                    <a:gd name="connsiteX25" fmla="*/ 1384026 w 2433669"/>
                    <a:gd name="connsiteY25" fmla="*/ 2156887 h 2172952"/>
                    <a:gd name="connsiteX26" fmla="*/ 1388926 w 2433669"/>
                    <a:gd name="connsiteY26" fmla="*/ 2156887 h 2172952"/>
                    <a:gd name="connsiteX27" fmla="*/ 1395031 w 2433669"/>
                    <a:gd name="connsiteY27" fmla="*/ 2156324 h 2172952"/>
                    <a:gd name="connsiteX28" fmla="*/ 1400895 w 2433669"/>
                    <a:gd name="connsiteY28" fmla="*/ 2157048 h 2172952"/>
                    <a:gd name="connsiteX29" fmla="*/ 1457848 w 2433669"/>
                    <a:gd name="connsiteY29" fmla="*/ 2151425 h 2172952"/>
                    <a:gd name="connsiteX30" fmla="*/ 2143768 w 2433669"/>
                    <a:gd name="connsiteY30" fmla="*/ 1654998 h 2172952"/>
                    <a:gd name="connsiteX31" fmla="*/ 2350131 w 2433669"/>
                    <a:gd name="connsiteY31" fmla="*/ 1309025 h 2172952"/>
                    <a:gd name="connsiteX32" fmla="*/ 2358967 w 2433669"/>
                    <a:gd name="connsiteY32" fmla="*/ 1426464 h 2172952"/>
                    <a:gd name="connsiteX33" fmla="*/ 2350131 w 2433669"/>
                    <a:gd name="connsiteY33" fmla="*/ 1446627 h 2172952"/>
                    <a:gd name="connsiteX34" fmla="*/ 2250604 w 2433669"/>
                    <a:gd name="connsiteY34" fmla="*/ 1626722 h 2172952"/>
                    <a:gd name="connsiteX35" fmla="*/ 2118947 w 2433669"/>
                    <a:gd name="connsiteY35" fmla="*/ 1791555 h 2172952"/>
                    <a:gd name="connsiteX36" fmla="*/ 2088342 w 2433669"/>
                    <a:gd name="connsiteY36" fmla="*/ 1822642 h 2172952"/>
                    <a:gd name="connsiteX37" fmla="*/ 2086976 w 2433669"/>
                    <a:gd name="connsiteY37" fmla="*/ 1823927 h 2172952"/>
                    <a:gd name="connsiteX38" fmla="*/ 2191804 w 2433669"/>
                    <a:gd name="connsiteY38" fmla="*/ 1671626 h 2172952"/>
                    <a:gd name="connsiteX39" fmla="*/ 2180558 w 2433669"/>
                    <a:gd name="connsiteY39" fmla="*/ 1685281 h 2172952"/>
                    <a:gd name="connsiteX40" fmla="*/ 2143768 w 2433669"/>
                    <a:gd name="connsiteY40" fmla="*/ 1654998 h 2172952"/>
                    <a:gd name="connsiteX41" fmla="*/ 629988 w 2433669"/>
                    <a:gd name="connsiteY41" fmla="*/ 1370154 h 2172952"/>
                    <a:gd name="connsiteX42" fmla="*/ 309559 w 2433669"/>
                    <a:gd name="connsiteY42" fmla="*/ 1760629 h 2172952"/>
                    <a:gd name="connsiteX43" fmla="*/ 248269 w 2433669"/>
                    <a:gd name="connsiteY43" fmla="*/ 1686004 h 2172952"/>
                    <a:gd name="connsiteX44" fmla="*/ 139023 w 2433669"/>
                    <a:gd name="connsiteY44" fmla="*/ 1513299 h 2172952"/>
                    <a:gd name="connsiteX45" fmla="*/ 59338 w 2433669"/>
                    <a:gd name="connsiteY45" fmla="*/ 1322440 h 2172952"/>
                    <a:gd name="connsiteX46" fmla="*/ 16121 w 2433669"/>
                    <a:gd name="connsiteY46" fmla="*/ 1142666 h 2172952"/>
                    <a:gd name="connsiteX47" fmla="*/ 56 w 2433669"/>
                    <a:gd name="connsiteY47" fmla="*/ 932206 h 2172952"/>
                    <a:gd name="connsiteX48" fmla="*/ 19415 w 2433669"/>
                    <a:gd name="connsiteY48" fmla="*/ 726647 h 2172952"/>
                    <a:gd name="connsiteX49" fmla="*/ 72431 w 2433669"/>
                    <a:gd name="connsiteY49" fmla="*/ 529201 h 2172952"/>
                    <a:gd name="connsiteX50" fmla="*/ 98698 w 2433669"/>
                    <a:gd name="connsiteY50" fmla="*/ 462448 h 2172952"/>
                    <a:gd name="connsiteX51" fmla="*/ 440815 w 2433669"/>
                    <a:gd name="connsiteY51" fmla="*/ 206764 h 2172952"/>
                    <a:gd name="connsiteX52" fmla="*/ 424910 w 2433669"/>
                    <a:gd name="connsiteY52" fmla="*/ 763758 h 2172952"/>
                    <a:gd name="connsiteX53" fmla="*/ 629988 w 2433669"/>
                    <a:gd name="connsiteY53" fmla="*/ 1370154 h 2172952"/>
                    <a:gd name="connsiteX54" fmla="*/ 954111 w 2433669"/>
                    <a:gd name="connsiteY54" fmla="*/ 1199056 h 2172952"/>
                    <a:gd name="connsiteX55" fmla="*/ 967606 w 2433669"/>
                    <a:gd name="connsiteY55" fmla="*/ 1200100 h 2172952"/>
                    <a:gd name="connsiteX56" fmla="*/ 962706 w 2433669"/>
                    <a:gd name="connsiteY56" fmla="*/ 1197208 h 2172952"/>
                    <a:gd name="connsiteX57" fmla="*/ 955155 w 2433669"/>
                    <a:gd name="connsiteY57" fmla="*/ 1197289 h 2172952"/>
                    <a:gd name="connsiteX58" fmla="*/ 956762 w 2433669"/>
                    <a:gd name="connsiteY58" fmla="*/ 1196566 h 2172952"/>
                    <a:gd name="connsiteX59" fmla="*/ 953790 w 2433669"/>
                    <a:gd name="connsiteY59" fmla="*/ 1198895 h 2172952"/>
                    <a:gd name="connsiteX60" fmla="*/ 954111 w 2433669"/>
                    <a:gd name="connsiteY60" fmla="*/ 1199056 h 2172952"/>
                    <a:gd name="connsiteX61" fmla="*/ 974193 w 2433669"/>
                    <a:gd name="connsiteY61" fmla="*/ 1171343 h 2172952"/>
                    <a:gd name="connsiteX62" fmla="*/ 975960 w 2433669"/>
                    <a:gd name="connsiteY62" fmla="*/ 1172066 h 2172952"/>
                    <a:gd name="connsiteX63" fmla="*/ 977727 w 2433669"/>
                    <a:gd name="connsiteY63" fmla="*/ 1171182 h 2172952"/>
                    <a:gd name="connsiteX64" fmla="*/ 974193 w 2433669"/>
                    <a:gd name="connsiteY64" fmla="*/ 1171343 h 2172952"/>
                    <a:gd name="connsiteX65" fmla="*/ 967526 w 2433669"/>
                    <a:gd name="connsiteY65" fmla="*/ 1167085 h 2172952"/>
                    <a:gd name="connsiteX66" fmla="*/ 968650 w 2433669"/>
                    <a:gd name="connsiteY66" fmla="*/ 1165318 h 2172952"/>
                    <a:gd name="connsiteX67" fmla="*/ 967526 w 2433669"/>
                    <a:gd name="connsiteY67" fmla="*/ 1165077 h 2172952"/>
                    <a:gd name="connsiteX68" fmla="*/ 967285 w 2433669"/>
                    <a:gd name="connsiteY68" fmla="*/ 1167246 h 2172952"/>
                    <a:gd name="connsiteX69" fmla="*/ 967526 w 2433669"/>
                    <a:gd name="connsiteY69" fmla="*/ 1167085 h 2172952"/>
                    <a:gd name="connsiteX70" fmla="*/ 1320808 w 2433669"/>
                    <a:gd name="connsiteY70" fmla="*/ 1066997 h 2172952"/>
                    <a:gd name="connsiteX71" fmla="*/ 1321852 w 2433669"/>
                    <a:gd name="connsiteY71" fmla="*/ 1068362 h 2172952"/>
                    <a:gd name="connsiteX72" fmla="*/ 1322174 w 2433669"/>
                    <a:gd name="connsiteY72" fmla="*/ 1068362 h 2172952"/>
                    <a:gd name="connsiteX73" fmla="*/ 1322977 w 2433669"/>
                    <a:gd name="connsiteY73" fmla="*/ 1068362 h 2172952"/>
                    <a:gd name="connsiteX74" fmla="*/ 1325306 w 2433669"/>
                    <a:gd name="connsiteY74" fmla="*/ 1066595 h 2172952"/>
                    <a:gd name="connsiteX75" fmla="*/ 1321210 w 2433669"/>
                    <a:gd name="connsiteY75" fmla="*/ 1064988 h 2172952"/>
                    <a:gd name="connsiteX76" fmla="*/ 1320808 w 2433669"/>
                    <a:gd name="connsiteY76" fmla="*/ 1066997 h 2172952"/>
                    <a:gd name="connsiteX77" fmla="*/ 1318720 w 2433669"/>
                    <a:gd name="connsiteY77" fmla="*/ 1064426 h 2172952"/>
                    <a:gd name="connsiteX78" fmla="*/ 1318800 w 2433669"/>
                    <a:gd name="connsiteY78" fmla="*/ 1064667 h 2172952"/>
                    <a:gd name="connsiteX79" fmla="*/ 1321290 w 2433669"/>
                    <a:gd name="connsiteY79" fmla="*/ 1063061 h 2172952"/>
                    <a:gd name="connsiteX80" fmla="*/ 1320165 w 2433669"/>
                    <a:gd name="connsiteY80" fmla="*/ 1062016 h 2172952"/>
                    <a:gd name="connsiteX81" fmla="*/ 1318720 w 2433669"/>
                    <a:gd name="connsiteY81" fmla="*/ 1064426 h 2172952"/>
                    <a:gd name="connsiteX82" fmla="*/ 1305224 w 2433669"/>
                    <a:gd name="connsiteY82" fmla="*/ 1058321 h 2172952"/>
                    <a:gd name="connsiteX83" fmla="*/ 1306269 w 2433669"/>
                    <a:gd name="connsiteY83" fmla="*/ 1057036 h 2172952"/>
                    <a:gd name="connsiteX84" fmla="*/ 1304341 w 2433669"/>
                    <a:gd name="connsiteY84" fmla="*/ 1056875 h 2172952"/>
                    <a:gd name="connsiteX85" fmla="*/ 1303939 w 2433669"/>
                    <a:gd name="connsiteY85" fmla="*/ 1057518 h 2172952"/>
                    <a:gd name="connsiteX86" fmla="*/ 1305224 w 2433669"/>
                    <a:gd name="connsiteY86" fmla="*/ 1058321 h 2172952"/>
                    <a:gd name="connsiteX87" fmla="*/ 824462 w 2433669"/>
                    <a:gd name="connsiteY87" fmla="*/ 1133749 h 2172952"/>
                    <a:gd name="connsiteX88" fmla="*/ 828237 w 2433669"/>
                    <a:gd name="connsiteY88" fmla="*/ 1134713 h 2172952"/>
                    <a:gd name="connsiteX89" fmla="*/ 823980 w 2433669"/>
                    <a:gd name="connsiteY89" fmla="*/ 1132705 h 2172952"/>
                    <a:gd name="connsiteX90" fmla="*/ 824462 w 2433669"/>
                    <a:gd name="connsiteY90" fmla="*/ 1133749 h 2172952"/>
                    <a:gd name="connsiteX91" fmla="*/ 1299682 w 2433669"/>
                    <a:gd name="connsiteY91" fmla="*/ 1049244 h 2172952"/>
                    <a:gd name="connsiteX92" fmla="*/ 1300084 w 2433669"/>
                    <a:gd name="connsiteY92" fmla="*/ 1052136 h 2172952"/>
                    <a:gd name="connsiteX93" fmla="*/ 1302493 w 2433669"/>
                    <a:gd name="connsiteY93" fmla="*/ 1048682 h 2172952"/>
                    <a:gd name="connsiteX94" fmla="*/ 1301610 w 2433669"/>
                    <a:gd name="connsiteY94" fmla="*/ 1047397 h 2172952"/>
                    <a:gd name="connsiteX95" fmla="*/ 1312293 w 2433669"/>
                    <a:gd name="connsiteY95" fmla="*/ 1065310 h 2172952"/>
                    <a:gd name="connsiteX96" fmla="*/ 1318077 w 2433669"/>
                    <a:gd name="connsiteY96" fmla="*/ 1061534 h 2172952"/>
                    <a:gd name="connsiteX97" fmla="*/ 1320567 w 2433669"/>
                    <a:gd name="connsiteY97" fmla="*/ 1057357 h 2172952"/>
                    <a:gd name="connsiteX98" fmla="*/ 1326993 w 2433669"/>
                    <a:gd name="connsiteY98" fmla="*/ 1062177 h 2172952"/>
                    <a:gd name="connsiteX99" fmla="*/ 1325547 w 2433669"/>
                    <a:gd name="connsiteY99" fmla="*/ 1064346 h 2172952"/>
                    <a:gd name="connsiteX100" fmla="*/ 1346031 w 2433669"/>
                    <a:gd name="connsiteY100" fmla="*/ 1064506 h 2172952"/>
                    <a:gd name="connsiteX101" fmla="*/ 1341613 w 2433669"/>
                    <a:gd name="connsiteY101" fmla="*/ 1063382 h 2172952"/>
                    <a:gd name="connsiteX102" fmla="*/ 1358562 w 2433669"/>
                    <a:gd name="connsiteY102" fmla="*/ 1043541 h 2172952"/>
                    <a:gd name="connsiteX103" fmla="*/ 1354064 w 2433669"/>
                    <a:gd name="connsiteY103" fmla="*/ 1048200 h 2172952"/>
                    <a:gd name="connsiteX104" fmla="*/ 1355911 w 2433669"/>
                    <a:gd name="connsiteY104" fmla="*/ 1042497 h 2172952"/>
                    <a:gd name="connsiteX105" fmla="*/ 1357839 w 2433669"/>
                    <a:gd name="connsiteY105" fmla="*/ 1043059 h 2172952"/>
                    <a:gd name="connsiteX106" fmla="*/ 1364748 w 2433669"/>
                    <a:gd name="connsiteY106" fmla="*/ 1018720 h 2172952"/>
                    <a:gd name="connsiteX107" fmla="*/ 1322977 w 2433669"/>
                    <a:gd name="connsiteY107" fmla="*/ 1030769 h 2172952"/>
                    <a:gd name="connsiteX108" fmla="*/ 1305465 w 2433669"/>
                    <a:gd name="connsiteY108" fmla="*/ 1030287 h 2172952"/>
                    <a:gd name="connsiteX109" fmla="*/ 1299682 w 2433669"/>
                    <a:gd name="connsiteY109" fmla="*/ 1049244 h 2172952"/>
                    <a:gd name="connsiteX110" fmla="*/ 1299200 w 2433669"/>
                    <a:gd name="connsiteY110" fmla="*/ 1026511 h 2172952"/>
                    <a:gd name="connsiteX111" fmla="*/ 1300405 w 2433669"/>
                    <a:gd name="connsiteY111" fmla="*/ 1025306 h 2172952"/>
                    <a:gd name="connsiteX112" fmla="*/ 1297995 w 2433669"/>
                    <a:gd name="connsiteY112" fmla="*/ 1025547 h 2172952"/>
                    <a:gd name="connsiteX113" fmla="*/ 1299200 w 2433669"/>
                    <a:gd name="connsiteY113" fmla="*/ 1026511 h 2172952"/>
                    <a:gd name="connsiteX114" fmla="*/ 821088 w 2433669"/>
                    <a:gd name="connsiteY114" fmla="*/ 1141380 h 2172952"/>
                    <a:gd name="connsiteX115" fmla="*/ 826068 w 2433669"/>
                    <a:gd name="connsiteY115" fmla="*/ 1146120 h 2172952"/>
                    <a:gd name="connsiteX116" fmla="*/ 859404 w 2433669"/>
                    <a:gd name="connsiteY116" fmla="*/ 1163230 h 2172952"/>
                    <a:gd name="connsiteX117" fmla="*/ 858440 w 2433669"/>
                    <a:gd name="connsiteY117" fmla="*/ 1164997 h 2172952"/>
                    <a:gd name="connsiteX118" fmla="*/ 862055 w 2433669"/>
                    <a:gd name="connsiteY118" fmla="*/ 1165639 h 2172952"/>
                    <a:gd name="connsiteX119" fmla="*/ 854665 w 2433669"/>
                    <a:gd name="connsiteY119" fmla="*/ 1172066 h 2172952"/>
                    <a:gd name="connsiteX120" fmla="*/ 864786 w 2433669"/>
                    <a:gd name="connsiteY120" fmla="*/ 1170941 h 2172952"/>
                    <a:gd name="connsiteX121" fmla="*/ 862617 w 2433669"/>
                    <a:gd name="connsiteY121" fmla="*/ 1170620 h 2172952"/>
                    <a:gd name="connsiteX122" fmla="*/ 871694 w 2433669"/>
                    <a:gd name="connsiteY122" fmla="*/ 1166684 h 2172952"/>
                    <a:gd name="connsiteX123" fmla="*/ 870168 w 2433669"/>
                    <a:gd name="connsiteY123" fmla="*/ 1170379 h 2172952"/>
                    <a:gd name="connsiteX124" fmla="*/ 888242 w 2433669"/>
                    <a:gd name="connsiteY124" fmla="*/ 1171262 h 2172952"/>
                    <a:gd name="connsiteX125" fmla="*/ 972104 w 2433669"/>
                    <a:gd name="connsiteY125" fmla="*/ 1176966 h 2172952"/>
                    <a:gd name="connsiteX126" fmla="*/ 977245 w 2433669"/>
                    <a:gd name="connsiteY126" fmla="*/ 1177126 h 2172952"/>
                    <a:gd name="connsiteX127" fmla="*/ 975317 w 2433669"/>
                    <a:gd name="connsiteY127" fmla="*/ 1175038 h 2172952"/>
                    <a:gd name="connsiteX128" fmla="*/ 979736 w 2433669"/>
                    <a:gd name="connsiteY128" fmla="*/ 1175198 h 2172952"/>
                    <a:gd name="connsiteX129" fmla="*/ 969614 w 2433669"/>
                    <a:gd name="connsiteY129" fmla="*/ 1173512 h 2172952"/>
                    <a:gd name="connsiteX130" fmla="*/ 972827 w 2433669"/>
                    <a:gd name="connsiteY130" fmla="*/ 1171664 h 2172952"/>
                    <a:gd name="connsiteX131" fmla="*/ 968972 w 2433669"/>
                    <a:gd name="connsiteY131" fmla="*/ 1170781 h 2172952"/>
                    <a:gd name="connsiteX132" fmla="*/ 973631 w 2433669"/>
                    <a:gd name="connsiteY132" fmla="*/ 1169817 h 2172952"/>
                    <a:gd name="connsiteX133" fmla="*/ 969695 w 2433669"/>
                    <a:gd name="connsiteY133" fmla="*/ 1168531 h 2172952"/>
                    <a:gd name="connsiteX134" fmla="*/ 970176 w 2433669"/>
                    <a:gd name="connsiteY134" fmla="*/ 1166764 h 2172952"/>
                    <a:gd name="connsiteX135" fmla="*/ 965598 w 2433669"/>
                    <a:gd name="connsiteY135" fmla="*/ 1169576 h 2172952"/>
                    <a:gd name="connsiteX136" fmla="*/ 965999 w 2433669"/>
                    <a:gd name="connsiteY136" fmla="*/ 1168692 h 2172952"/>
                    <a:gd name="connsiteX137" fmla="*/ 965517 w 2433669"/>
                    <a:gd name="connsiteY137" fmla="*/ 1167969 h 2172952"/>
                    <a:gd name="connsiteX138" fmla="*/ 964393 w 2433669"/>
                    <a:gd name="connsiteY138" fmla="*/ 1167969 h 2172952"/>
                    <a:gd name="connsiteX139" fmla="*/ 966642 w 2433669"/>
                    <a:gd name="connsiteY139" fmla="*/ 1165238 h 2172952"/>
                    <a:gd name="connsiteX140" fmla="*/ 964473 w 2433669"/>
                    <a:gd name="connsiteY140" fmla="*/ 1163872 h 2172952"/>
                    <a:gd name="connsiteX141" fmla="*/ 962224 w 2433669"/>
                    <a:gd name="connsiteY141" fmla="*/ 1164997 h 2172952"/>
                    <a:gd name="connsiteX142" fmla="*/ 963108 w 2433669"/>
                    <a:gd name="connsiteY142" fmla="*/ 1162989 h 2172952"/>
                    <a:gd name="connsiteX143" fmla="*/ 958449 w 2433669"/>
                    <a:gd name="connsiteY143" fmla="*/ 1161784 h 2172952"/>
                    <a:gd name="connsiteX144" fmla="*/ 958047 w 2433669"/>
                    <a:gd name="connsiteY144" fmla="*/ 1163953 h 2172952"/>
                    <a:gd name="connsiteX145" fmla="*/ 948890 w 2433669"/>
                    <a:gd name="connsiteY145" fmla="*/ 1161543 h 2172952"/>
                    <a:gd name="connsiteX146" fmla="*/ 923104 w 2433669"/>
                    <a:gd name="connsiteY146" fmla="*/ 1156000 h 2172952"/>
                    <a:gd name="connsiteX147" fmla="*/ 909770 w 2433669"/>
                    <a:gd name="connsiteY147" fmla="*/ 1153510 h 2172952"/>
                    <a:gd name="connsiteX148" fmla="*/ 909449 w 2433669"/>
                    <a:gd name="connsiteY148" fmla="*/ 1152385 h 2172952"/>
                    <a:gd name="connsiteX149" fmla="*/ 908163 w 2433669"/>
                    <a:gd name="connsiteY149" fmla="*/ 1152546 h 2172952"/>
                    <a:gd name="connsiteX150" fmla="*/ 908886 w 2433669"/>
                    <a:gd name="connsiteY150" fmla="*/ 1152064 h 2172952"/>
                    <a:gd name="connsiteX151" fmla="*/ 898283 w 2433669"/>
                    <a:gd name="connsiteY151" fmla="*/ 1150939 h 2172952"/>
                    <a:gd name="connsiteX152" fmla="*/ 899729 w 2433669"/>
                    <a:gd name="connsiteY152" fmla="*/ 1149413 h 2172952"/>
                    <a:gd name="connsiteX153" fmla="*/ 894106 w 2433669"/>
                    <a:gd name="connsiteY153" fmla="*/ 1150618 h 2172952"/>
                    <a:gd name="connsiteX154" fmla="*/ 894427 w 2433669"/>
                    <a:gd name="connsiteY154" fmla="*/ 1148931 h 2172952"/>
                    <a:gd name="connsiteX155" fmla="*/ 892017 w 2433669"/>
                    <a:gd name="connsiteY155" fmla="*/ 1150056 h 2172952"/>
                    <a:gd name="connsiteX156" fmla="*/ 886153 w 2433669"/>
                    <a:gd name="connsiteY156" fmla="*/ 1146762 h 2172952"/>
                    <a:gd name="connsiteX157" fmla="*/ 886153 w 2433669"/>
                    <a:gd name="connsiteY157" fmla="*/ 1149494 h 2172952"/>
                    <a:gd name="connsiteX158" fmla="*/ 878844 w 2433669"/>
                    <a:gd name="connsiteY158" fmla="*/ 1144674 h 2172952"/>
                    <a:gd name="connsiteX159" fmla="*/ 841170 w 2433669"/>
                    <a:gd name="connsiteY159" fmla="*/ 1124672 h 2172952"/>
                    <a:gd name="connsiteX160" fmla="*/ 824462 w 2433669"/>
                    <a:gd name="connsiteY160" fmla="*/ 1135918 h 2172952"/>
                    <a:gd name="connsiteX161" fmla="*/ 829683 w 2433669"/>
                    <a:gd name="connsiteY161" fmla="*/ 1140015 h 2172952"/>
                    <a:gd name="connsiteX162" fmla="*/ 824703 w 2433669"/>
                    <a:gd name="connsiteY162" fmla="*/ 1138328 h 2172952"/>
                    <a:gd name="connsiteX163" fmla="*/ 824863 w 2433669"/>
                    <a:gd name="connsiteY163" fmla="*/ 1137123 h 2172952"/>
                    <a:gd name="connsiteX164" fmla="*/ 821248 w 2433669"/>
                    <a:gd name="connsiteY164" fmla="*/ 1138007 h 2172952"/>
                    <a:gd name="connsiteX165" fmla="*/ 821088 w 2433669"/>
                    <a:gd name="connsiteY165" fmla="*/ 1138649 h 2172952"/>
                    <a:gd name="connsiteX166" fmla="*/ 819642 w 2433669"/>
                    <a:gd name="connsiteY166" fmla="*/ 1138971 h 2172952"/>
                    <a:gd name="connsiteX167" fmla="*/ 825425 w 2433669"/>
                    <a:gd name="connsiteY167" fmla="*/ 1140898 h 2172952"/>
                    <a:gd name="connsiteX168" fmla="*/ 819963 w 2433669"/>
                    <a:gd name="connsiteY168" fmla="*/ 1140979 h 2172952"/>
                    <a:gd name="connsiteX169" fmla="*/ 821088 w 2433669"/>
                    <a:gd name="connsiteY169" fmla="*/ 1141380 h 2172952"/>
                    <a:gd name="connsiteX170" fmla="*/ 1295746 w 2433669"/>
                    <a:gd name="connsiteY170" fmla="*/ 1025628 h 2172952"/>
                    <a:gd name="connsiteX171" fmla="*/ 1296147 w 2433669"/>
                    <a:gd name="connsiteY171" fmla="*/ 1024985 h 2172952"/>
                    <a:gd name="connsiteX172" fmla="*/ 1294862 w 2433669"/>
                    <a:gd name="connsiteY172" fmla="*/ 1025708 h 2172952"/>
                    <a:gd name="connsiteX173" fmla="*/ 1295746 w 2433669"/>
                    <a:gd name="connsiteY173" fmla="*/ 1025628 h 2172952"/>
                    <a:gd name="connsiteX174" fmla="*/ 1363382 w 2433669"/>
                    <a:gd name="connsiteY174" fmla="*/ 1016390 h 2172952"/>
                    <a:gd name="connsiteX175" fmla="*/ 1364025 w 2433669"/>
                    <a:gd name="connsiteY175" fmla="*/ 1017675 h 2172952"/>
                    <a:gd name="connsiteX176" fmla="*/ 1364667 w 2433669"/>
                    <a:gd name="connsiteY176" fmla="*/ 1015908 h 2172952"/>
                    <a:gd name="connsiteX177" fmla="*/ 1363221 w 2433669"/>
                    <a:gd name="connsiteY177" fmla="*/ 1015346 h 2172952"/>
                    <a:gd name="connsiteX178" fmla="*/ 1363382 w 2433669"/>
                    <a:gd name="connsiteY178" fmla="*/ 1016390 h 2172952"/>
                    <a:gd name="connsiteX179" fmla="*/ 1296308 w 2433669"/>
                    <a:gd name="connsiteY179" fmla="*/ 1024824 h 2172952"/>
                    <a:gd name="connsiteX180" fmla="*/ 1299521 w 2433669"/>
                    <a:gd name="connsiteY180" fmla="*/ 1023138 h 2172952"/>
                    <a:gd name="connsiteX181" fmla="*/ 1300485 w 2433669"/>
                    <a:gd name="connsiteY181" fmla="*/ 1022575 h 2172952"/>
                    <a:gd name="connsiteX182" fmla="*/ 1296308 w 2433669"/>
                    <a:gd name="connsiteY182" fmla="*/ 1024583 h 2172952"/>
                    <a:gd name="connsiteX183" fmla="*/ 1296147 w 2433669"/>
                    <a:gd name="connsiteY183" fmla="*/ 1024905 h 2172952"/>
                    <a:gd name="connsiteX184" fmla="*/ 1296308 w 2433669"/>
                    <a:gd name="connsiteY184" fmla="*/ 1024824 h 2172952"/>
                    <a:gd name="connsiteX185" fmla="*/ 1296308 w 2433669"/>
                    <a:gd name="connsiteY185" fmla="*/ 1020728 h 2172952"/>
                    <a:gd name="connsiteX186" fmla="*/ 1298638 w 2433669"/>
                    <a:gd name="connsiteY186" fmla="*/ 1020647 h 2172952"/>
                    <a:gd name="connsiteX187" fmla="*/ 1305546 w 2433669"/>
                    <a:gd name="connsiteY187" fmla="*/ 1014703 h 2172952"/>
                    <a:gd name="connsiteX188" fmla="*/ 1302011 w 2433669"/>
                    <a:gd name="connsiteY188" fmla="*/ 1013016 h 2172952"/>
                    <a:gd name="connsiteX189" fmla="*/ 1295826 w 2433669"/>
                    <a:gd name="connsiteY189" fmla="*/ 1017836 h 2172952"/>
                    <a:gd name="connsiteX190" fmla="*/ 1296951 w 2433669"/>
                    <a:gd name="connsiteY190" fmla="*/ 1019443 h 2172952"/>
                    <a:gd name="connsiteX191" fmla="*/ 1295906 w 2433669"/>
                    <a:gd name="connsiteY191" fmla="*/ 1020728 h 2172952"/>
                    <a:gd name="connsiteX192" fmla="*/ 1296308 w 2433669"/>
                    <a:gd name="connsiteY192" fmla="*/ 1020728 h 2172952"/>
                    <a:gd name="connsiteX193" fmla="*/ 1353180 w 2433669"/>
                    <a:gd name="connsiteY193" fmla="*/ 988114 h 2172952"/>
                    <a:gd name="connsiteX194" fmla="*/ 1348843 w 2433669"/>
                    <a:gd name="connsiteY194" fmla="*/ 989079 h 2172952"/>
                    <a:gd name="connsiteX195" fmla="*/ 1353180 w 2433669"/>
                    <a:gd name="connsiteY195" fmla="*/ 988114 h 2172952"/>
                    <a:gd name="connsiteX196" fmla="*/ 779639 w 2433669"/>
                    <a:gd name="connsiteY196" fmla="*/ 1077439 h 2172952"/>
                    <a:gd name="connsiteX197" fmla="*/ 778032 w 2433669"/>
                    <a:gd name="connsiteY197" fmla="*/ 1075592 h 2172952"/>
                    <a:gd name="connsiteX198" fmla="*/ 776586 w 2433669"/>
                    <a:gd name="connsiteY198" fmla="*/ 1079930 h 2172952"/>
                    <a:gd name="connsiteX199" fmla="*/ 779639 w 2433669"/>
                    <a:gd name="connsiteY199" fmla="*/ 1077439 h 2172952"/>
                    <a:gd name="connsiteX200" fmla="*/ 1490380 w 2433669"/>
                    <a:gd name="connsiteY200" fmla="*/ 931805 h 2172952"/>
                    <a:gd name="connsiteX201" fmla="*/ 1505803 w 2433669"/>
                    <a:gd name="connsiteY201" fmla="*/ 937428 h 2172952"/>
                    <a:gd name="connsiteX202" fmla="*/ 1491826 w 2433669"/>
                    <a:gd name="connsiteY202" fmla="*/ 931323 h 2172952"/>
                    <a:gd name="connsiteX203" fmla="*/ 1492630 w 2433669"/>
                    <a:gd name="connsiteY203" fmla="*/ 932528 h 2172952"/>
                    <a:gd name="connsiteX204" fmla="*/ 1490380 w 2433669"/>
                    <a:gd name="connsiteY204" fmla="*/ 931805 h 2172952"/>
                    <a:gd name="connsiteX205" fmla="*/ 1490380 w 2433669"/>
                    <a:gd name="connsiteY205" fmla="*/ 931805 h 2172952"/>
                    <a:gd name="connsiteX206" fmla="*/ 793294 w 2433669"/>
                    <a:gd name="connsiteY206" fmla="*/ 1060490 h 2172952"/>
                    <a:gd name="connsiteX207" fmla="*/ 793294 w 2433669"/>
                    <a:gd name="connsiteY207" fmla="*/ 1060490 h 2172952"/>
                    <a:gd name="connsiteX208" fmla="*/ 793294 w 2433669"/>
                    <a:gd name="connsiteY208" fmla="*/ 1060490 h 2172952"/>
                    <a:gd name="connsiteX209" fmla="*/ 793294 w 2433669"/>
                    <a:gd name="connsiteY209" fmla="*/ 1060490 h 2172952"/>
                    <a:gd name="connsiteX210" fmla="*/ 793294 w 2433669"/>
                    <a:gd name="connsiteY210" fmla="*/ 1060490 h 2172952"/>
                    <a:gd name="connsiteX211" fmla="*/ 793294 w 2433669"/>
                    <a:gd name="connsiteY211" fmla="*/ 1060490 h 2172952"/>
                    <a:gd name="connsiteX212" fmla="*/ 793375 w 2433669"/>
                    <a:gd name="connsiteY212" fmla="*/ 1060490 h 2172952"/>
                    <a:gd name="connsiteX213" fmla="*/ 793455 w 2433669"/>
                    <a:gd name="connsiteY213" fmla="*/ 1060490 h 2172952"/>
                    <a:gd name="connsiteX214" fmla="*/ 793455 w 2433669"/>
                    <a:gd name="connsiteY214" fmla="*/ 1060490 h 2172952"/>
                    <a:gd name="connsiteX215" fmla="*/ 793455 w 2433669"/>
                    <a:gd name="connsiteY215" fmla="*/ 1060490 h 2172952"/>
                    <a:gd name="connsiteX216" fmla="*/ 793455 w 2433669"/>
                    <a:gd name="connsiteY216" fmla="*/ 1060490 h 2172952"/>
                    <a:gd name="connsiteX217" fmla="*/ 793455 w 2433669"/>
                    <a:gd name="connsiteY217" fmla="*/ 1060490 h 2172952"/>
                    <a:gd name="connsiteX218" fmla="*/ 793455 w 2433669"/>
                    <a:gd name="connsiteY218" fmla="*/ 1060490 h 2172952"/>
                    <a:gd name="connsiteX219" fmla="*/ 793455 w 2433669"/>
                    <a:gd name="connsiteY219" fmla="*/ 1060490 h 2172952"/>
                    <a:gd name="connsiteX220" fmla="*/ 793455 w 2433669"/>
                    <a:gd name="connsiteY220" fmla="*/ 1060490 h 2172952"/>
                    <a:gd name="connsiteX221" fmla="*/ 793455 w 2433669"/>
                    <a:gd name="connsiteY221" fmla="*/ 1060490 h 2172952"/>
                    <a:gd name="connsiteX222" fmla="*/ 793294 w 2433669"/>
                    <a:gd name="connsiteY222" fmla="*/ 1060490 h 2172952"/>
                    <a:gd name="connsiteX223" fmla="*/ 793294 w 2433669"/>
                    <a:gd name="connsiteY223" fmla="*/ 1060490 h 2172952"/>
                    <a:gd name="connsiteX224" fmla="*/ 734093 w 2433669"/>
                    <a:gd name="connsiteY224" fmla="*/ 1115756 h 2172952"/>
                    <a:gd name="connsiteX225" fmla="*/ 748552 w 2433669"/>
                    <a:gd name="connsiteY225" fmla="*/ 1133348 h 2172952"/>
                    <a:gd name="connsiteX226" fmla="*/ 764296 w 2433669"/>
                    <a:gd name="connsiteY226" fmla="*/ 1134954 h 2172952"/>
                    <a:gd name="connsiteX227" fmla="*/ 815063 w 2433669"/>
                    <a:gd name="connsiteY227" fmla="*/ 1125797 h 2172952"/>
                    <a:gd name="connsiteX228" fmla="*/ 793937 w 2433669"/>
                    <a:gd name="connsiteY228" fmla="*/ 1096798 h 2172952"/>
                    <a:gd name="connsiteX229" fmla="*/ 794740 w 2433669"/>
                    <a:gd name="connsiteY229" fmla="*/ 1089489 h 2172952"/>
                    <a:gd name="connsiteX230" fmla="*/ 796668 w 2433669"/>
                    <a:gd name="connsiteY230" fmla="*/ 1085633 h 2172952"/>
                    <a:gd name="connsiteX231" fmla="*/ 794901 w 2433669"/>
                    <a:gd name="connsiteY231" fmla="*/ 1087641 h 2172952"/>
                    <a:gd name="connsiteX232" fmla="*/ 790884 w 2433669"/>
                    <a:gd name="connsiteY232" fmla="*/ 1086838 h 2172952"/>
                    <a:gd name="connsiteX233" fmla="*/ 801568 w 2433669"/>
                    <a:gd name="connsiteY233" fmla="*/ 1074628 h 2172952"/>
                    <a:gd name="connsiteX234" fmla="*/ 798435 w 2433669"/>
                    <a:gd name="connsiteY234" fmla="*/ 1076877 h 2172952"/>
                    <a:gd name="connsiteX235" fmla="*/ 798837 w 2433669"/>
                    <a:gd name="connsiteY235" fmla="*/ 1070531 h 2172952"/>
                    <a:gd name="connsiteX236" fmla="*/ 798998 w 2433669"/>
                    <a:gd name="connsiteY236" fmla="*/ 1071736 h 2172952"/>
                    <a:gd name="connsiteX237" fmla="*/ 804139 w 2433669"/>
                    <a:gd name="connsiteY237" fmla="*/ 1065149 h 2172952"/>
                    <a:gd name="connsiteX238" fmla="*/ 803576 w 2433669"/>
                    <a:gd name="connsiteY238" fmla="*/ 1071736 h 2172952"/>
                    <a:gd name="connsiteX239" fmla="*/ 806870 w 2433669"/>
                    <a:gd name="connsiteY239" fmla="*/ 1055590 h 2172952"/>
                    <a:gd name="connsiteX240" fmla="*/ 812091 w 2433669"/>
                    <a:gd name="connsiteY240" fmla="*/ 1056715 h 2172952"/>
                    <a:gd name="connsiteX241" fmla="*/ 820124 w 2433669"/>
                    <a:gd name="connsiteY241" fmla="*/ 1039043 h 2172952"/>
                    <a:gd name="connsiteX242" fmla="*/ 813858 w 2433669"/>
                    <a:gd name="connsiteY242" fmla="*/ 1040488 h 2172952"/>
                    <a:gd name="connsiteX243" fmla="*/ 811609 w 2433669"/>
                    <a:gd name="connsiteY243" fmla="*/ 1049164 h 2172952"/>
                    <a:gd name="connsiteX244" fmla="*/ 808155 w 2433669"/>
                    <a:gd name="connsiteY244" fmla="*/ 1048280 h 2172952"/>
                    <a:gd name="connsiteX245" fmla="*/ 791607 w 2433669"/>
                    <a:gd name="connsiteY245" fmla="*/ 1067157 h 2172952"/>
                    <a:gd name="connsiteX246" fmla="*/ 794901 w 2433669"/>
                    <a:gd name="connsiteY246" fmla="*/ 1065952 h 2172952"/>
                    <a:gd name="connsiteX247" fmla="*/ 790724 w 2433669"/>
                    <a:gd name="connsiteY247" fmla="*/ 1084187 h 2172952"/>
                    <a:gd name="connsiteX248" fmla="*/ 778835 w 2433669"/>
                    <a:gd name="connsiteY248" fmla="*/ 1083544 h 2172952"/>
                    <a:gd name="connsiteX249" fmla="*/ 778996 w 2433669"/>
                    <a:gd name="connsiteY249" fmla="*/ 1081375 h 2172952"/>
                    <a:gd name="connsiteX250" fmla="*/ 774578 w 2433669"/>
                    <a:gd name="connsiteY250" fmla="*/ 1086597 h 2172952"/>
                    <a:gd name="connsiteX251" fmla="*/ 766465 w 2433669"/>
                    <a:gd name="connsiteY251" fmla="*/ 1104430 h 2172952"/>
                    <a:gd name="connsiteX252" fmla="*/ 733129 w 2433669"/>
                    <a:gd name="connsiteY252" fmla="*/ 1113346 h 2172952"/>
                    <a:gd name="connsiteX253" fmla="*/ 734093 w 2433669"/>
                    <a:gd name="connsiteY253" fmla="*/ 1115756 h 2172952"/>
                    <a:gd name="connsiteX254" fmla="*/ 1349807 w 2433669"/>
                    <a:gd name="connsiteY254" fmla="*/ 986026 h 2172952"/>
                    <a:gd name="connsiteX255" fmla="*/ 1349807 w 2433669"/>
                    <a:gd name="connsiteY255" fmla="*/ 986026 h 2172952"/>
                    <a:gd name="connsiteX256" fmla="*/ 1349807 w 2433669"/>
                    <a:gd name="connsiteY256" fmla="*/ 986026 h 2172952"/>
                    <a:gd name="connsiteX257" fmla="*/ 1349726 w 2433669"/>
                    <a:gd name="connsiteY257" fmla="*/ 986026 h 2172952"/>
                    <a:gd name="connsiteX258" fmla="*/ 1349726 w 2433669"/>
                    <a:gd name="connsiteY258" fmla="*/ 986026 h 2172952"/>
                    <a:gd name="connsiteX259" fmla="*/ 1349726 w 2433669"/>
                    <a:gd name="connsiteY259" fmla="*/ 986026 h 2172952"/>
                    <a:gd name="connsiteX260" fmla="*/ 1349726 w 2433669"/>
                    <a:gd name="connsiteY260" fmla="*/ 986026 h 2172952"/>
                    <a:gd name="connsiteX261" fmla="*/ 1349646 w 2433669"/>
                    <a:gd name="connsiteY261" fmla="*/ 986026 h 2172952"/>
                    <a:gd name="connsiteX262" fmla="*/ 1349726 w 2433669"/>
                    <a:gd name="connsiteY262" fmla="*/ 986026 h 2172952"/>
                    <a:gd name="connsiteX263" fmla="*/ 1349646 w 2433669"/>
                    <a:gd name="connsiteY263" fmla="*/ 986026 h 2172952"/>
                    <a:gd name="connsiteX264" fmla="*/ 1349646 w 2433669"/>
                    <a:gd name="connsiteY264" fmla="*/ 986026 h 2172952"/>
                    <a:gd name="connsiteX265" fmla="*/ 1349646 w 2433669"/>
                    <a:gd name="connsiteY265" fmla="*/ 986026 h 2172952"/>
                    <a:gd name="connsiteX266" fmla="*/ 1349566 w 2433669"/>
                    <a:gd name="connsiteY266" fmla="*/ 986026 h 2172952"/>
                    <a:gd name="connsiteX267" fmla="*/ 1349405 w 2433669"/>
                    <a:gd name="connsiteY267" fmla="*/ 986026 h 2172952"/>
                    <a:gd name="connsiteX268" fmla="*/ 1349566 w 2433669"/>
                    <a:gd name="connsiteY268" fmla="*/ 986026 h 2172952"/>
                    <a:gd name="connsiteX269" fmla="*/ 1349405 w 2433669"/>
                    <a:gd name="connsiteY269" fmla="*/ 986026 h 2172952"/>
                    <a:gd name="connsiteX270" fmla="*/ 1349325 w 2433669"/>
                    <a:gd name="connsiteY270" fmla="*/ 986026 h 2172952"/>
                    <a:gd name="connsiteX271" fmla="*/ 1349405 w 2433669"/>
                    <a:gd name="connsiteY271" fmla="*/ 986026 h 2172952"/>
                    <a:gd name="connsiteX272" fmla="*/ 1349325 w 2433669"/>
                    <a:gd name="connsiteY272" fmla="*/ 986026 h 2172952"/>
                    <a:gd name="connsiteX273" fmla="*/ 1349164 w 2433669"/>
                    <a:gd name="connsiteY273" fmla="*/ 986026 h 2172952"/>
                    <a:gd name="connsiteX274" fmla="*/ 1349325 w 2433669"/>
                    <a:gd name="connsiteY274" fmla="*/ 986026 h 2172952"/>
                    <a:gd name="connsiteX275" fmla="*/ 1349164 w 2433669"/>
                    <a:gd name="connsiteY275" fmla="*/ 986106 h 2172952"/>
                    <a:gd name="connsiteX276" fmla="*/ 1349003 w 2433669"/>
                    <a:gd name="connsiteY276" fmla="*/ 986106 h 2172952"/>
                    <a:gd name="connsiteX277" fmla="*/ 1349164 w 2433669"/>
                    <a:gd name="connsiteY277" fmla="*/ 986106 h 2172952"/>
                    <a:gd name="connsiteX278" fmla="*/ 1349003 w 2433669"/>
                    <a:gd name="connsiteY278" fmla="*/ 986106 h 2172952"/>
                    <a:gd name="connsiteX279" fmla="*/ 1348762 w 2433669"/>
                    <a:gd name="connsiteY279" fmla="*/ 986106 h 2172952"/>
                    <a:gd name="connsiteX280" fmla="*/ 1349003 w 2433669"/>
                    <a:gd name="connsiteY280" fmla="*/ 986106 h 2172952"/>
                    <a:gd name="connsiteX281" fmla="*/ 1348762 w 2433669"/>
                    <a:gd name="connsiteY281" fmla="*/ 986106 h 2172952"/>
                    <a:gd name="connsiteX282" fmla="*/ 1348602 w 2433669"/>
                    <a:gd name="connsiteY282" fmla="*/ 986106 h 2172952"/>
                    <a:gd name="connsiteX283" fmla="*/ 1348762 w 2433669"/>
                    <a:gd name="connsiteY283" fmla="*/ 986106 h 2172952"/>
                    <a:gd name="connsiteX284" fmla="*/ 1348602 w 2433669"/>
                    <a:gd name="connsiteY284" fmla="*/ 986187 h 2172952"/>
                    <a:gd name="connsiteX285" fmla="*/ 1348280 w 2433669"/>
                    <a:gd name="connsiteY285" fmla="*/ 986267 h 2172952"/>
                    <a:gd name="connsiteX286" fmla="*/ 1348602 w 2433669"/>
                    <a:gd name="connsiteY286" fmla="*/ 986187 h 2172952"/>
                    <a:gd name="connsiteX287" fmla="*/ 1348280 w 2433669"/>
                    <a:gd name="connsiteY287" fmla="*/ 986187 h 2172952"/>
                    <a:gd name="connsiteX288" fmla="*/ 1348120 w 2433669"/>
                    <a:gd name="connsiteY288" fmla="*/ 986187 h 2172952"/>
                    <a:gd name="connsiteX289" fmla="*/ 1348280 w 2433669"/>
                    <a:gd name="connsiteY289" fmla="*/ 986187 h 2172952"/>
                    <a:gd name="connsiteX290" fmla="*/ 1348200 w 2433669"/>
                    <a:gd name="connsiteY290" fmla="*/ 986187 h 2172952"/>
                    <a:gd name="connsiteX291" fmla="*/ 1347798 w 2433669"/>
                    <a:gd name="connsiteY291" fmla="*/ 986267 h 2172952"/>
                    <a:gd name="connsiteX292" fmla="*/ 1348200 w 2433669"/>
                    <a:gd name="connsiteY292" fmla="*/ 986187 h 2172952"/>
                    <a:gd name="connsiteX293" fmla="*/ 1347718 w 2433669"/>
                    <a:gd name="connsiteY293" fmla="*/ 986267 h 2172952"/>
                    <a:gd name="connsiteX294" fmla="*/ 1347638 w 2433669"/>
                    <a:gd name="connsiteY294" fmla="*/ 986267 h 2172952"/>
                    <a:gd name="connsiteX295" fmla="*/ 1347718 w 2433669"/>
                    <a:gd name="connsiteY295" fmla="*/ 986267 h 2172952"/>
                    <a:gd name="connsiteX296" fmla="*/ 1179431 w 2433669"/>
                    <a:gd name="connsiteY296" fmla="*/ 896059 h 2172952"/>
                    <a:gd name="connsiteX297" fmla="*/ 1205618 w 2433669"/>
                    <a:gd name="connsiteY297" fmla="*/ 926262 h 2172952"/>
                    <a:gd name="connsiteX298" fmla="*/ 1225941 w 2433669"/>
                    <a:gd name="connsiteY298" fmla="*/ 941203 h 2172952"/>
                    <a:gd name="connsiteX299" fmla="*/ 1228431 w 2433669"/>
                    <a:gd name="connsiteY299" fmla="*/ 941123 h 2172952"/>
                    <a:gd name="connsiteX300" fmla="*/ 1346513 w 2433669"/>
                    <a:gd name="connsiteY300" fmla="*/ 986669 h 2172952"/>
                    <a:gd name="connsiteX301" fmla="*/ 1347638 w 2433669"/>
                    <a:gd name="connsiteY301" fmla="*/ 986347 h 2172952"/>
                    <a:gd name="connsiteX302" fmla="*/ 1347075 w 2433669"/>
                    <a:gd name="connsiteY302" fmla="*/ 986428 h 2172952"/>
                    <a:gd name="connsiteX303" fmla="*/ 1359767 w 2433669"/>
                    <a:gd name="connsiteY303" fmla="*/ 984500 h 2172952"/>
                    <a:gd name="connsiteX304" fmla="*/ 1355188 w 2433669"/>
                    <a:gd name="connsiteY304" fmla="*/ 982411 h 2172952"/>
                    <a:gd name="connsiteX305" fmla="*/ 1362739 w 2433669"/>
                    <a:gd name="connsiteY305" fmla="*/ 980564 h 2172952"/>
                    <a:gd name="connsiteX306" fmla="*/ 1466282 w 2433669"/>
                    <a:gd name="connsiteY306" fmla="*/ 932849 h 2172952"/>
                    <a:gd name="connsiteX307" fmla="*/ 1462507 w 2433669"/>
                    <a:gd name="connsiteY307" fmla="*/ 932769 h 2172952"/>
                    <a:gd name="connsiteX308" fmla="*/ 1481143 w 2433669"/>
                    <a:gd name="connsiteY308" fmla="*/ 931885 h 2172952"/>
                    <a:gd name="connsiteX309" fmla="*/ 1481223 w 2433669"/>
                    <a:gd name="connsiteY309" fmla="*/ 911482 h 2172952"/>
                    <a:gd name="connsiteX310" fmla="*/ 1505562 w 2433669"/>
                    <a:gd name="connsiteY310" fmla="*/ 924495 h 2172952"/>
                    <a:gd name="connsiteX311" fmla="*/ 1484999 w 2433669"/>
                    <a:gd name="connsiteY311" fmla="*/ 889070 h 2172952"/>
                    <a:gd name="connsiteX312" fmla="*/ 1522753 w 2433669"/>
                    <a:gd name="connsiteY312" fmla="*/ 919515 h 2172952"/>
                    <a:gd name="connsiteX313" fmla="*/ 1538417 w 2433669"/>
                    <a:gd name="connsiteY313" fmla="*/ 912767 h 2172952"/>
                    <a:gd name="connsiteX314" fmla="*/ 1763737 w 2433669"/>
                    <a:gd name="connsiteY314" fmla="*/ 889472 h 2172952"/>
                    <a:gd name="connsiteX315" fmla="*/ 1902463 w 2433669"/>
                    <a:gd name="connsiteY315" fmla="*/ 893809 h 2172952"/>
                    <a:gd name="connsiteX316" fmla="*/ 1933309 w 2433669"/>
                    <a:gd name="connsiteY316" fmla="*/ 798139 h 2172952"/>
                    <a:gd name="connsiteX317" fmla="*/ 1924955 w 2433669"/>
                    <a:gd name="connsiteY317" fmla="*/ 794845 h 2172952"/>
                    <a:gd name="connsiteX318" fmla="*/ 1923348 w 2433669"/>
                    <a:gd name="connsiteY318" fmla="*/ 797095 h 2172952"/>
                    <a:gd name="connsiteX319" fmla="*/ 1921822 w 2433669"/>
                    <a:gd name="connsiteY319" fmla="*/ 795167 h 2172952"/>
                    <a:gd name="connsiteX320" fmla="*/ 1921822 w 2433669"/>
                    <a:gd name="connsiteY320" fmla="*/ 795167 h 2172952"/>
                    <a:gd name="connsiteX321" fmla="*/ 1921822 w 2433669"/>
                    <a:gd name="connsiteY321" fmla="*/ 795167 h 2172952"/>
                    <a:gd name="connsiteX322" fmla="*/ 1921822 w 2433669"/>
                    <a:gd name="connsiteY322" fmla="*/ 795167 h 2172952"/>
                    <a:gd name="connsiteX323" fmla="*/ 1921822 w 2433669"/>
                    <a:gd name="connsiteY323" fmla="*/ 795167 h 2172952"/>
                    <a:gd name="connsiteX324" fmla="*/ 1921822 w 2433669"/>
                    <a:gd name="connsiteY324" fmla="*/ 795167 h 2172952"/>
                    <a:gd name="connsiteX325" fmla="*/ 1921822 w 2433669"/>
                    <a:gd name="connsiteY325" fmla="*/ 795167 h 2172952"/>
                    <a:gd name="connsiteX326" fmla="*/ 1921822 w 2433669"/>
                    <a:gd name="connsiteY326" fmla="*/ 795167 h 2172952"/>
                    <a:gd name="connsiteX327" fmla="*/ 1915396 w 2433669"/>
                    <a:gd name="connsiteY327" fmla="*/ 741829 h 2172952"/>
                    <a:gd name="connsiteX328" fmla="*/ 1915476 w 2433669"/>
                    <a:gd name="connsiteY328" fmla="*/ 750103 h 2172952"/>
                    <a:gd name="connsiteX329" fmla="*/ 1749599 w 2433669"/>
                    <a:gd name="connsiteY329" fmla="*/ 686242 h 2172952"/>
                    <a:gd name="connsiteX330" fmla="*/ 1735943 w 2433669"/>
                    <a:gd name="connsiteY330" fmla="*/ 675960 h 2172952"/>
                    <a:gd name="connsiteX331" fmla="*/ 1738514 w 2433669"/>
                    <a:gd name="connsiteY331" fmla="*/ 672827 h 2172952"/>
                    <a:gd name="connsiteX332" fmla="*/ 1736345 w 2433669"/>
                    <a:gd name="connsiteY332" fmla="*/ 668972 h 2172952"/>
                    <a:gd name="connsiteX333" fmla="*/ 1722368 w 2433669"/>
                    <a:gd name="connsiteY333" fmla="*/ 669052 h 2172952"/>
                    <a:gd name="connsiteX334" fmla="*/ 1719797 w 2433669"/>
                    <a:gd name="connsiteY334" fmla="*/ 666240 h 2172952"/>
                    <a:gd name="connsiteX335" fmla="*/ 1722127 w 2433669"/>
                    <a:gd name="connsiteY335" fmla="*/ 662304 h 2172952"/>
                    <a:gd name="connsiteX336" fmla="*/ 1710720 w 2433669"/>
                    <a:gd name="connsiteY336" fmla="*/ 658931 h 2172952"/>
                    <a:gd name="connsiteX337" fmla="*/ 1713451 w 2433669"/>
                    <a:gd name="connsiteY337" fmla="*/ 656119 h 2172952"/>
                    <a:gd name="connsiteX338" fmla="*/ 1697225 w 2433669"/>
                    <a:gd name="connsiteY338" fmla="*/ 647926 h 2172952"/>
                    <a:gd name="connsiteX339" fmla="*/ 1695618 w 2433669"/>
                    <a:gd name="connsiteY339" fmla="*/ 647042 h 2172952"/>
                    <a:gd name="connsiteX340" fmla="*/ 1691843 w 2433669"/>
                    <a:gd name="connsiteY340" fmla="*/ 648327 h 2172952"/>
                    <a:gd name="connsiteX341" fmla="*/ 1652000 w 2433669"/>
                    <a:gd name="connsiteY341" fmla="*/ 658609 h 2172952"/>
                    <a:gd name="connsiteX342" fmla="*/ 1650314 w 2433669"/>
                    <a:gd name="connsiteY342" fmla="*/ 657404 h 2172952"/>
                    <a:gd name="connsiteX343" fmla="*/ 1629669 w 2433669"/>
                    <a:gd name="connsiteY343" fmla="*/ 657404 h 2172952"/>
                    <a:gd name="connsiteX344" fmla="*/ 1627099 w 2433669"/>
                    <a:gd name="connsiteY344" fmla="*/ 654352 h 2172952"/>
                    <a:gd name="connsiteX345" fmla="*/ 1622841 w 2433669"/>
                    <a:gd name="connsiteY345" fmla="*/ 656199 h 2172952"/>
                    <a:gd name="connsiteX346" fmla="*/ 1619548 w 2433669"/>
                    <a:gd name="connsiteY346" fmla="*/ 654030 h 2172952"/>
                    <a:gd name="connsiteX347" fmla="*/ 1621315 w 2433669"/>
                    <a:gd name="connsiteY347" fmla="*/ 651540 h 2172952"/>
                    <a:gd name="connsiteX348" fmla="*/ 1593602 w 2433669"/>
                    <a:gd name="connsiteY348" fmla="*/ 627844 h 2172952"/>
                    <a:gd name="connsiteX349" fmla="*/ 1593120 w 2433669"/>
                    <a:gd name="connsiteY349" fmla="*/ 625594 h 2172952"/>
                    <a:gd name="connsiteX350" fmla="*/ 1559784 w 2433669"/>
                    <a:gd name="connsiteY350" fmla="*/ 624470 h 2172952"/>
                    <a:gd name="connsiteX351" fmla="*/ 1562997 w 2433669"/>
                    <a:gd name="connsiteY351" fmla="*/ 615312 h 2172952"/>
                    <a:gd name="connsiteX352" fmla="*/ 1491987 w 2433669"/>
                    <a:gd name="connsiteY352" fmla="*/ 625594 h 2172952"/>
                    <a:gd name="connsiteX353" fmla="*/ 1493995 w 2433669"/>
                    <a:gd name="connsiteY353" fmla="*/ 626880 h 2172952"/>
                    <a:gd name="connsiteX354" fmla="*/ 1492790 w 2433669"/>
                    <a:gd name="connsiteY354" fmla="*/ 630735 h 2172952"/>
                    <a:gd name="connsiteX355" fmla="*/ 1488854 w 2433669"/>
                    <a:gd name="connsiteY355" fmla="*/ 631137 h 2172952"/>
                    <a:gd name="connsiteX356" fmla="*/ 1372700 w 2433669"/>
                    <a:gd name="connsiteY356" fmla="*/ 648568 h 2172952"/>
                    <a:gd name="connsiteX357" fmla="*/ 1375511 w 2433669"/>
                    <a:gd name="connsiteY357" fmla="*/ 644873 h 2172952"/>
                    <a:gd name="connsiteX358" fmla="*/ 1372138 w 2433669"/>
                    <a:gd name="connsiteY358" fmla="*/ 638768 h 2172952"/>
                    <a:gd name="connsiteX359" fmla="*/ 1370451 w 2433669"/>
                    <a:gd name="connsiteY359" fmla="*/ 639893 h 2172952"/>
                    <a:gd name="connsiteX360" fmla="*/ 1355108 w 2433669"/>
                    <a:gd name="connsiteY360" fmla="*/ 626076 h 2172952"/>
                    <a:gd name="connsiteX361" fmla="*/ 1245219 w 2433669"/>
                    <a:gd name="connsiteY361" fmla="*/ 759421 h 2172952"/>
                    <a:gd name="connsiteX362" fmla="*/ 1230038 w 2433669"/>
                    <a:gd name="connsiteY362" fmla="*/ 785929 h 2172952"/>
                    <a:gd name="connsiteX363" fmla="*/ 1227146 w 2433669"/>
                    <a:gd name="connsiteY363" fmla="*/ 788500 h 2172952"/>
                    <a:gd name="connsiteX364" fmla="*/ 1225941 w 2433669"/>
                    <a:gd name="connsiteY364" fmla="*/ 784885 h 2172952"/>
                    <a:gd name="connsiteX365" fmla="*/ 1179431 w 2433669"/>
                    <a:gd name="connsiteY365" fmla="*/ 896059 h 2172952"/>
                    <a:gd name="connsiteX366" fmla="*/ 1902383 w 2433669"/>
                    <a:gd name="connsiteY366" fmla="*/ 584386 h 2172952"/>
                    <a:gd name="connsiteX367" fmla="*/ 2046330 w 2433669"/>
                    <a:gd name="connsiteY367" fmla="*/ 576353 h 2172952"/>
                    <a:gd name="connsiteX368" fmla="*/ 2041832 w 2433669"/>
                    <a:gd name="connsiteY368" fmla="*/ 574104 h 2172952"/>
                    <a:gd name="connsiteX369" fmla="*/ 2018698 w 2433669"/>
                    <a:gd name="connsiteY369" fmla="*/ 565107 h 2172952"/>
                    <a:gd name="connsiteX370" fmla="*/ 2017975 w 2433669"/>
                    <a:gd name="connsiteY370" fmla="*/ 563822 h 2172952"/>
                    <a:gd name="connsiteX371" fmla="*/ 1893707 w 2433669"/>
                    <a:gd name="connsiteY371" fmla="*/ 584547 h 2172952"/>
                    <a:gd name="connsiteX372" fmla="*/ 1902383 w 2433669"/>
                    <a:gd name="connsiteY372" fmla="*/ 584386 h 2172952"/>
                    <a:gd name="connsiteX373" fmla="*/ 1727750 w 2433669"/>
                    <a:gd name="connsiteY373" fmla="*/ 487912 h 2172952"/>
                    <a:gd name="connsiteX374" fmla="*/ 1738514 w 2433669"/>
                    <a:gd name="connsiteY374" fmla="*/ 493294 h 2172952"/>
                    <a:gd name="connsiteX375" fmla="*/ 1728473 w 2433669"/>
                    <a:gd name="connsiteY375" fmla="*/ 486707 h 2172952"/>
                    <a:gd name="connsiteX376" fmla="*/ 1727428 w 2433669"/>
                    <a:gd name="connsiteY376" fmla="*/ 487671 h 2172952"/>
                    <a:gd name="connsiteX377" fmla="*/ 1727750 w 2433669"/>
                    <a:gd name="connsiteY377" fmla="*/ 487912 h 2172952"/>
                    <a:gd name="connsiteX378" fmla="*/ 1428769 w 2433669"/>
                    <a:gd name="connsiteY378" fmla="*/ 584145 h 2172952"/>
                    <a:gd name="connsiteX379" fmla="*/ 1446441 w 2433669"/>
                    <a:gd name="connsiteY379" fmla="*/ 583181 h 2172952"/>
                    <a:gd name="connsiteX380" fmla="*/ 1426279 w 2433669"/>
                    <a:gd name="connsiteY380" fmla="*/ 584306 h 2172952"/>
                    <a:gd name="connsiteX381" fmla="*/ 1428769 w 2433669"/>
                    <a:gd name="connsiteY381" fmla="*/ 584145 h 2172952"/>
                    <a:gd name="connsiteX382" fmla="*/ 1186500 w 2433669"/>
                    <a:gd name="connsiteY382" fmla="*/ 643186 h 2172952"/>
                    <a:gd name="connsiteX383" fmla="*/ 1194211 w 2433669"/>
                    <a:gd name="connsiteY383" fmla="*/ 642865 h 2172952"/>
                    <a:gd name="connsiteX384" fmla="*/ 1190918 w 2433669"/>
                    <a:gd name="connsiteY384" fmla="*/ 645355 h 2172952"/>
                    <a:gd name="connsiteX385" fmla="*/ 1235018 w 2433669"/>
                    <a:gd name="connsiteY385" fmla="*/ 634430 h 2172952"/>
                    <a:gd name="connsiteX386" fmla="*/ 1303216 w 2433669"/>
                    <a:gd name="connsiteY386" fmla="*/ 595150 h 2172952"/>
                    <a:gd name="connsiteX387" fmla="*/ 1325869 w 2433669"/>
                    <a:gd name="connsiteY387" fmla="*/ 591053 h 2172952"/>
                    <a:gd name="connsiteX388" fmla="*/ 1327716 w 2433669"/>
                    <a:gd name="connsiteY388" fmla="*/ 590170 h 2172952"/>
                    <a:gd name="connsiteX389" fmla="*/ 1322736 w 2433669"/>
                    <a:gd name="connsiteY389" fmla="*/ 596435 h 2172952"/>
                    <a:gd name="connsiteX390" fmla="*/ 1324744 w 2433669"/>
                    <a:gd name="connsiteY390" fmla="*/ 596194 h 2172952"/>
                    <a:gd name="connsiteX391" fmla="*/ 1331411 w 2433669"/>
                    <a:gd name="connsiteY391" fmla="*/ 596034 h 2172952"/>
                    <a:gd name="connsiteX392" fmla="*/ 1329966 w 2433669"/>
                    <a:gd name="connsiteY392" fmla="*/ 598604 h 2172952"/>
                    <a:gd name="connsiteX393" fmla="*/ 1358723 w 2433669"/>
                    <a:gd name="connsiteY393" fmla="*/ 595230 h 2172952"/>
                    <a:gd name="connsiteX394" fmla="*/ 1352779 w 2433669"/>
                    <a:gd name="connsiteY394" fmla="*/ 608404 h 2172952"/>
                    <a:gd name="connsiteX395" fmla="*/ 1400654 w 2433669"/>
                    <a:gd name="connsiteY395" fmla="*/ 587519 h 2172952"/>
                    <a:gd name="connsiteX396" fmla="*/ 1418326 w 2433669"/>
                    <a:gd name="connsiteY396" fmla="*/ 586394 h 2172952"/>
                    <a:gd name="connsiteX397" fmla="*/ 1427082 w 2433669"/>
                    <a:gd name="connsiteY397" fmla="*/ 577960 h 2172952"/>
                    <a:gd name="connsiteX398" fmla="*/ 1419531 w 2433669"/>
                    <a:gd name="connsiteY398" fmla="*/ 577076 h 2172952"/>
                    <a:gd name="connsiteX399" fmla="*/ 1428849 w 2433669"/>
                    <a:gd name="connsiteY399" fmla="*/ 573622 h 2172952"/>
                    <a:gd name="connsiteX400" fmla="*/ 1424833 w 2433669"/>
                    <a:gd name="connsiteY400" fmla="*/ 572658 h 2172952"/>
                    <a:gd name="connsiteX401" fmla="*/ 1432303 w 2433669"/>
                    <a:gd name="connsiteY401" fmla="*/ 560127 h 2172952"/>
                    <a:gd name="connsiteX402" fmla="*/ 1435838 w 2433669"/>
                    <a:gd name="connsiteY402" fmla="*/ 559404 h 2172952"/>
                    <a:gd name="connsiteX403" fmla="*/ 1432705 w 2433669"/>
                    <a:gd name="connsiteY403" fmla="*/ 558119 h 2172952"/>
                    <a:gd name="connsiteX404" fmla="*/ 1515041 w 2433669"/>
                    <a:gd name="connsiteY404" fmla="*/ 530245 h 2172952"/>
                    <a:gd name="connsiteX405" fmla="*/ 1518335 w 2433669"/>
                    <a:gd name="connsiteY405" fmla="*/ 520927 h 2172952"/>
                    <a:gd name="connsiteX406" fmla="*/ 1539220 w 2433669"/>
                    <a:gd name="connsiteY406" fmla="*/ 529281 h 2172952"/>
                    <a:gd name="connsiteX407" fmla="*/ 1555205 w 2433669"/>
                    <a:gd name="connsiteY407" fmla="*/ 515706 h 2172952"/>
                    <a:gd name="connsiteX408" fmla="*/ 1516728 w 2433669"/>
                    <a:gd name="connsiteY408" fmla="*/ 513456 h 2172952"/>
                    <a:gd name="connsiteX409" fmla="*/ 1518094 w 2433669"/>
                    <a:gd name="connsiteY409" fmla="*/ 512252 h 2172952"/>
                    <a:gd name="connsiteX410" fmla="*/ 1515041 w 2433669"/>
                    <a:gd name="connsiteY410" fmla="*/ 510163 h 2172952"/>
                    <a:gd name="connsiteX411" fmla="*/ 1533597 w 2433669"/>
                    <a:gd name="connsiteY411" fmla="*/ 511448 h 2172952"/>
                    <a:gd name="connsiteX412" fmla="*/ 1553679 w 2433669"/>
                    <a:gd name="connsiteY412" fmla="*/ 501729 h 2172952"/>
                    <a:gd name="connsiteX413" fmla="*/ 1568861 w 2433669"/>
                    <a:gd name="connsiteY413" fmla="*/ 498194 h 2172952"/>
                    <a:gd name="connsiteX414" fmla="*/ 1567897 w 2433669"/>
                    <a:gd name="connsiteY414" fmla="*/ 495624 h 2172952"/>
                    <a:gd name="connsiteX415" fmla="*/ 1505723 w 2433669"/>
                    <a:gd name="connsiteY415" fmla="*/ 519401 h 2172952"/>
                    <a:gd name="connsiteX416" fmla="*/ 1502430 w 2433669"/>
                    <a:gd name="connsiteY416" fmla="*/ 516509 h 2172952"/>
                    <a:gd name="connsiteX417" fmla="*/ 1498976 w 2433669"/>
                    <a:gd name="connsiteY417" fmla="*/ 519481 h 2172952"/>
                    <a:gd name="connsiteX418" fmla="*/ 1420575 w 2433669"/>
                    <a:gd name="connsiteY418" fmla="*/ 515224 h 2172952"/>
                    <a:gd name="connsiteX419" fmla="*/ 1334384 w 2433669"/>
                    <a:gd name="connsiteY419" fmla="*/ 537957 h 2172952"/>
                    <a:gd name="connsiteX420" fmla="*/ 1185696 w 2433669"/>
                    <a:gd name="connsiteY420" fmla="*/ 643347 h 2172952"/>
                    <a:gd name="connsiteX421" fmla="*/ 1186500 w 2433669"/>
                    <a:gd name="connsiteY421" fmla="*/ 643186 h 2172952"/>
                    <a:gd name="connsiteX422" fmla="*/ 1737469 w 2433669"/>
                    <a:gd name="connsiteY422" fmla="*/ 529361 h 2172952"/>
                    <a:gd name="connsiteX423" fmla="*/ 1782533 w 2433669"/>
                    <a:gd name="connsiteY423" fmla="*/ 543419 h 2172952"/>
                    <a:gd name="connsiteX424" fmla="*/ 1803178 w 2433669"/>
                    <a:gd name="connsiteY424" fmla="*/ 518758 h 2172952"/>
                    <a:gd name="connsiteX425" fmla="*/ 1786791 w 2433669"/>
                    <a:gd name="connsiteY425" fmla="*/ 487671 h 2172952"/>
                    <a:gd name="connsiteX426" fmla="*/ 1784622 w 2433669"/>
                    <a:gd name="connsiteY426" fmla="*/ 489599 h 2172952"/>
                    <a:gd name="connsiteX427" fmla="*/ 1774019 w 2433669"/>
                    <a:gd name="connsiteY427" fmla="*/ 484378 h 2172952"/>
                    <a:gd name="connsiteX428" fmla="*/ 1776027 w 2433669"/>
                    <a:gd name="connsiteY428" fmla="*/ 476827 h 2172952"/>
                    <a:gd name="connsiteX429" fmla="*/ 1752089 w 2433669"/>
                    <a:gd name="connsiteY429" fmla="*/ 472168 h 2172952"/>
                    <a:gd name="connsiteX430" fmla="*/ 1774019 w 2433669"/>
                    <a:gd name="connsiteY430" fmla="*/ 484378 h 2172952"/>
                    <a:gd name="connsiteX431" fmla="*/ 1738514 w 2433669"/>
                    <a:gd name="connsiteY431" fmla="*/ 493214 h 2172952"/>
                    <a:gd name="connsiteX432" fmla="*/ 1737309 w 2433669"/>
                    <a:gd name="connsiteY432" fmla="*/ 528478 h 2172952"/>
                    <a:gd name="connsiteX433" fmla="*/ 1737469 w 2433669"/>
                    <a:gd name="connsiteY433" fmla="*/ 529361 h 2172952"/>
                    <a:gd name="connsiteX434" fmla="*/ 1682043 w 2433669"/>
                    <a:gd name="connsiteY434" fmla="*/ 463171 h 2172952"/>
                    <a:gd name="connsiteX435" fmla="*/ 1752089 w 2433669"/>
                    <a:gd name="connsiteY435" fmla="*/ 472168 h 2172952"/>
                    <a:gd name="connsiteX436" fmla="*/ 1678348 w 2433669"/>
                    <a:gd name="connsiteY436" fmla="*/ 462609 h 2172952"/>
                    <a:gd name="connsiteX437" fmla="*/ 1682043 w 2433669"/>
                    <a:gd name="connsiteY437" fmla="*/ 463171 h 2172952"/>
                    <a:gd name="connsiteX438" fmla="*/ 2038458 w 2433669"/>
                    <a:gd name="connsiteY438" fmla="*/ 545668 h 2172952"/>
                    <a:gd name="connsiteX439" fmla="*/ 2056291 w 2433669"/>
                    <a:gd name="connsiteY439" fmla="*/ 565107 h 2172952"/>
                    <a:gd name="connsiteX440" fmla="*/ 2171642 w 2433669"/>
                    <a:gd name="connsiteY440" fmla="*/ 476024 h 2172952"/>
                    <a:gd name="connsiteX441" fmla="*/ 2138788 w 2433669"/>
                    <a:gd name="connsiteY441" fmla="*/ 471284 h 2172952"/>
                    <a:gd name="connsiteX442" fmla="*/ 2122963 w 2433669"/>
                    <a:gd name="connsiteY442" fmla="*/ 476104 h 2172952"/>
                    <a:gd name="connsiteX443" fmla="*/ 2115171 w 2433669"/>
                    <a:gd name="connsiteY443" fmla="*/ 480040 h 2172952"/>
                    <a:gd name="connsiteX444" fmla="*/ 2100231 w 2433669"/>
                    <a:gd name="connsiteY444" fmla="*/ 490804 h 2172952"/>
                    <a:gd name="connsiteX445" fmla="*/ 2092519 w 2433669"/>
                    <a:gd name="connsiteY445" fmla="*/ 491768 h 2172952"/>
                    <a:gd name="connsiteX446" fmla="*/ 2078462 w 2433669"/>
                    <a:gd name="connsiteY446" fmla="*/ 505263 h 2172952"/>
                    <a:gd name="connsiteX447" fmla="*/ 2062316 w 2433669"/>
                    <a:gd name="connsiteY447" fmla="*/ 503576 h 2172952"/>
                    <a:gd name="connsiteX448" fmla="*/ 2066332 w 2433669"/>
                    <a:gd name="connsiteY448" fmla="*/ 509440 h 2172952"/>
                    <a:gd name="connsiteX449" fmla="*/ 2038458 w 2433669"/>
                    <a:gd name="connsiteY449" fmla="*/ 545668 h 2172952"/>
                    <a:gd name="connsiteX450" fmla="*/ 1801169 w 2433669"/>
                    <a:gd name="connsiteY450" fmla="*/ 469758 h 2172952"/>
                    <a:gd name="connsiteX451" fmla="*/ 1816271 w 2433669"/>
                    <a:gd name="connsiteY451" fmla="*/ 468874 h 2172952"/>
                    <a:gd name="connsiteX452" fmla="*/ 1841815 w 2433669"/>
                    <a:gd name="connsiteY452" fmla="*/ 493776 h 2172952"/>
                    <a:gd name="connsiteX453" fmla="*/ 1851615 w 2433669"/>
                    <a:gd name="connsiteY453" fmla="*/ 502532 h 2172952"/>
                    <a:gd name="connsiteX454" fmla="*/ 1849045 w 2433669"/>
                    <a:gd name="connsiteY454" fmla="*/ 502371 h 2172952"/>
                    <a:gd name="connsiteX455" fmla="*/ 1851615 w 2433669"/>
                    <a:gd name="connsiteY455" fmla="*/ 506548 h 2172952"/>
                    <a:gd name="connsiteX456" fmla="*/ 1848161 w 2433669"/>
                    <a:gd name="connsiteY456" fmla="*/ 509199 h 2172952"/>
                    <a:gd name="connsiteX457" fmla="*/ 1852660 w 2433669"/>
                    <a:gd name="connsiteY457" fmla="*/ 511850 h 2172952"/>
                    <a:gd name="connsiteX458" fmla="*/ 1851294 w 2433669"/>
                    <a:gd name="connsiteY458" fmla="*/ 511448 h 2172952"/>
                    <a:gd name="connsiteX459" fmla="*/ 1855792 w 2433669"/>
                    <a:gd name="connsiteY459" fmla="*/ 515706 h 2172952"/>
                    <a:gd name="connsiteX460" fmla="*/ 1854347 w 2433669"/>
                    <a:gd name="connsiteY460" fmla="*/ 517714 h 2172952"/>
                    <a:gd name="connsiteX461" fmla="*/ 1885915 w 2433669"/>
                    <a:gd name="connsiteY461" fmla="*/ 522453 h 2172952"/>
                    <a:gd name="connsiteX462" fmla="*/ 1888968 w 2433669"/>
                    <a:gd name="connsiteY462" fmla="*/ 523417 h 2172952"/>
                    <a:gd name="connsiteX463" fmla="*/ 1889129 w 2433669"/>
                    <a:gd name="connsiteY463" fmla="*/ 521570 h 2172952"/>
                    <a:gd name="connsiteX464" fmla="*/ 1906479 w 2433669"/>
                    <a:gd name="connsiteY464" fmla="*/ 522293 h 2172952"/>
                    <a:gd name="connsiteX465" fmla="*/ 1911379 w 2433669"/>
                    <a:gd name="connsiteY465" fmla="*/ 519160 h 2172952"/>
                    <a:gd name="connsiteX466" fmla="*/ 1971866 w 2433669"/>
                    <a:gd name="connsiteY466" fmla="*/ 478996 h 2172952"/>
                    <a:gd name="connsiteX467" fmla="*/ 1969938 w 2433669"/>
                    <a:gd name="connsiteY467" fmla="*/ 478193 h 2172952"/>
                    <a:gd name="connsiteX468" fmla="*/ 1972107 w 2433669"/>
                    <a:gd name="connsiteY468" fmla="*/ 478594 h 2172952"/>
                    <a:gd name="connsiteX469" fmla="*/ 1960058 w 2433669"/>
                    <a:gd name="connsiteY469" fmla="*/ 468633 h 2172952"/>
                    <a:gd name="connsiteX470" fmla="*/ 1957327 w 2433669"/>
                    <a:gd name="connsiteY470" fmla="*/ 469517 h 2172952"/>
                    <a:gd name="connsiteX471" fmla="*/ 1934193 w 2433669"/>
                    <a:gd name="connsiteY471" fmla="*/ 472971 h 2172952"/>
                    <a:gd name="connsiteX472" fmla="*/ 1931702 w 2433669"/>
                    <a:gd name="connsiteY472" fmla="*/ 461484 h 2172952"/>
                    <a:gd name="connsiteX473" fmla="*/ 1859407 w 2433669"/>
                    <a:gd name="connsiteY473" fmla="*/ 428068 h 2172952"/>
                    <a:gd name="connsiteX474" fmla="*/ 1859969 w 2433669"/>
                    <a:gd name="connsiteY474" fmla="*/ 429353 h 2172952"/>
                    <a:gd name="connsiteX475" fmla="*/ 1848161 w 2433669"/>
                    <a:gd name="connsiteY475" fmla="*/ 421079 h 2172952"/>
                    <a:gd name="connsiteX476" fmla="*/ 1824545 w 2433669"/>
                    <a:gd name="connsiteY476" fmla="*/ 409110 h 2172952"/>
                    <a:gd name="connsiteX477" fmla="*/ 1812255 w 2433669"/>
                    <a:gd name="connsiteY477" fmla="*/ 414252 h 2172952"/>
                    <a:gd name="connsiteX478" fmla="*/ 1813299 w 2433669"/>
                    <a:gd name="connsiteY478" fmla="*/ 416340 h 2172952"/>
                    <a:gd name="connsiteX479" fmla="*/ 1803820 w 2433669"/>
                    <a:gd name="connsiteY479" fmla="*/ 414171 h 2172952"/>
                    <a:gd name="connsiteX480" fmla="*/ 1820609 w 2433669"/>
                    <a:gd name="connsiteY480" fmla="*/ 441001 h 2172952"/>
                    <a:gd name="connsiteX481" fmla="*/ 1825750 w 2433669"/>
                    <a:gd name="connsiteY481" fmla="*/ 441483 h 2172952"/>
                    <a:gd name="connsiteX482" fmla="*/ 1817315 w 2433669"/>
                    <a:gd name="connsiteY482" fmla="*/ 448471 h 2172952"/>
                    <a:gd name="connsiteX483" fmla="*/ 1818681 w 2433669"/>
                    <a:gd name="connsiteY483" fmla="*/ 448712 h 2172952"/>
                    <a:gd name="connsiteX484" fmla="*/ 1816351 w 2433669"/>
                    <a:gd name="connsiteY484" fmla="*/ 449114 h 2172952"/>
                    <a:gd name="connsiteX485" fmla="*/ 1817637 w 2433669"/>
                    <a:gd name="connsiteY485" fmla="*/ 449837 h 2172952"/>
                    <a:gd name="connsiteX486" fmla="*/ 1816592 w 2433669"/>
                    <a:gd name="connsiteY486" fmla="*/ 458512 h 2172952"/>
                    <a:gd name="connsiteX487" fmla="*/ 1800286 w 2433669"/>
                    <a:gd name="connsiteY487" fmla="*/ 468955 h 2172952"/>
                    <a:gd name="connsiteX488" fmla="*/ 1801169 w 2433669"/>
                    <a:gd name="connsiteY488" fmla="*/ 469758 h 2172952"/>
                    <a:gd name="connsiteX489" fmla="*/ 2314626 w 2433669"/>
                    <a:gd name="connsiteY489" fmla="*/ 512252 h 2172952"/>
                    <a:gd name="connsiteX490" fmla="*/ 2328683 w 2433669"/>
                    <a:gd name="connsiteY490" fmla="*/ 512412 h 2172952"/>
                    <a:gd name="connsiteX491" fmla="*/ 2327639 w 2433669"/>
                    <a:gd name="connsiteY491" fmla="*/ 509681 h 2172952"/>
                    <a:gd name="connsiteX492" fmla="*/ 2328282 w 2433669"/>
                    <a:gd name="connsiteY492" fmla="*/ 512492 h 2172952"/>
                    <a:gd name="connsiteX493" fmla="*/ 2321052 w 2433669"/>
                    <a:gd name="connsiteY493" fmla="*/ 493937 h 2172952"/>
                    <a:gd name="connsiteX494" fmla="*/ 2318723 w 2433669"/>
                    <a:gd name="connsiteY494" fmla="*/ 493294 h 2172952"/>
                    <a:gd name="connsiteX495" fmla="*/ 2314626 w 2433669"/>
                    <a:gd name="connsiteY495" fmla="*/ 512252 h 2172952"/>
                    <a:gd name="connsiteX496" fmla="*/ 1642602 w 2433669"/>
                    <a:gd name="connsiteY496" fmla="*/ 397945 h 2172952"/>
                    <a:gd name="connsiteX497" fmla="*/ 1649831 w 2433669"/>
                    <a:gd name="connsiteY497" fmla="*/ 410235 h 2172952"/>
                    <a:gd name="connsiteX498" fmla="*/ 1654571 w 2433669"/>
                    <a:gd name="connsiteY498" fmla="*/ 398989 h 2172952"/>
                    <a:gd name="connsiteX499" fmla="*/ 1676741 w 2433669"/>
                    <a:gd name="connsiteY499" fmla="*/ 411922 h 2172952"/>
                    <a:gd name="connsiteX500" fmla="*/ 1687345 w 2433669"/>
                    <a:gd name="connsiteY500" fmla="*/ 408869 h 2172952"/>
                    <a:gd name="connsiteX501" fmla="*/ 1705659 w 2433669"/>
                    <a:gd name="connsiteY501" fmla="*/ 394651 h 2172952"/>
                    <a:gd name="connsiteX502" fmla="*/ 1724296 w 2433669"/>
                    <a:gd name="connsiteY502" fmla="*/ 393527 h 2172952"/>
                    <a:gd name="connsiteX503" fmla="*/ 1697466 w 2433669"/>
                    <a:gd name="connsiteY503" fmla="*/ 391117 h 2172952"/>
                    <a:gd name="connsiteX504" fmla="*/ 1652643 w 2433669"/>
                    <a:gd name="connsiteY504" fmla="*/ 374007 h 2172952"/>
                    <a:gd name="connsiteX505" fmla="*/ 1642923 w 2433669"/>
                    <a:gd name="connsiteY505" fmla="*/ 378264 h 2172952"/>
                    <a:gd name="connsiteX506" fmla="*/ 1642602 w 2433669"/>
                    <a:gd name="connsiteY506" fmla="*/ 397945 h 2172952"/>
                    <a:gd name="connsiteX507" fmla="*/ 1673287 w 2433669"/>
                    <a:gd name="connsiteY507" fmla="*/ 339787 h 2172952"/>
                    <a:gd name="connsiteX508" fmla="*/ 1675697 w 2433669"/>
                    <a:gd name="connsiteY508" fmla="*/ 342759 h 2172952"/>
                    <a:gd name="connsiteX509" fmla="*/ 1736104 w 2433669"/>
                    <a:gd name="connsiteY509" fmla="*/ 330148 h 2172952"/>
                    <a:gd name="connsiteX510" fmla="*/ 1734176 w 2433669"/>
                    <a:gd name="connsiteY510" fmla="*/ 318822 h 2172952"/>
                    <a:gd name="connsiteX511" fmla="*/ 1737309 w 2433669"/>
                    <a:gd name="connsiteY511" fmla="*/ 319143 h 2172952"/>
                    <a:gd name="connsiteX512" fmla="*/ 1742610 w 2433669"/>
                    <a:gd name="connsiteY512" fmla="*/ 307576 h 2172952"/>
                    <a:gd name="connsiteX513" fmla="*/ 1741566 w 2433669"/>
                    <a:gd name="connsiteY513" fmla="*/ 305086 h 2172952"/>
                    <a:gd name="connsiteX514" fmla="*/ 1726384 w 2433669"/>
                    <a:gd name="connsiteY514" fmla="*/ 289261 h 2172952"/>
                    <a:gd name="connsiteX515" fmla="*/ 1693932 w 2433669"/>
                    <a:gd name="connsiteY515" fmla="*/ 280666 h 2172952"/>
                    <a:gd name="connsiteX516" fmla="*/ 1702527 w 2433669"/>
                    <a:gd name="connsiteY516" fmla="*/ 296973 h 2172952"/>
                    <a:gd name="connsiteX517" fmla="*/ 1705097 w 2433669"/>
                    <a:gd name="connsiteY517" fmla="*/ 327819 h 2172952"/>
                    <a:gd name="connsiteX518" fmla="*/ 1679553 w 2433669"/>
                    <a:gd name="connsiteY518" fmla="*/ 337056 h 2172952"/>
                    <a:gd name="connsiteX519" fmla="*/ 1672886 w 2433669"/>
                    <a:gd name="connsiteY519" fmla="*/ 337940 h 2172952"/>
                    <a:gd name="connsiteX520" fmla="*/ 1673287 w 2433669"/>
                    <a:gd name="connsiteY520" fmla="*/ 339787 h 2172952"/>
                    <a:gd name="connsiteX521" fmla="*/ 1891458 w 2433669"/>
                    <a:gd name="connsiteY521" fmla="*/ 279461 h 2172952"/>
                    <a:gd name="connsiteX522" fmla="*/ 1907845 w 2433669"/>
                    <a:gd name="connsiteY522" fmla="*/ 291751 h 2172952"/>
                    <a:gd name="connsiteX523" fmla="*/ 1926722 w 2433669"/>
                    <a:gd name="connsiteY523" fmla="*/ 291992 h 2172952"/>
                    <a:gd name="connsiteX524" fmla="*/ 1920215 w 2433669"/>
                    <a:gd name="connsiteY524" fmla="*/ 281951 h 2172952"/>
                    <a:gd name="connsiteX525" fmla="*/ 1916199 w 2433669"/>
                    <a:gd name="connsiteY525" fmla="*/ 280023 h 2172952"/>
                    <a:gd name="connsiteX526" fmla="*/ 1917806 w 2433669"/>
                    <a:gd name="connsiteY526" fmla="*/ 280104 h 2172952"/>
                    <a:gd name="connsiteX527" fmla="*/ 1897081 w 2433669"/>
                    <a:gd name="connsiteY527" fmla="*/ 275927 h 2172952"/>
                    <a:gd name="connsiteX528" fmla="*/ 1896760 w 2433669"/>
                    <a:gd name="connsiteY528" fmla="*/ 275043 h 2172952"/>
                    <a:gd name="connsiteX529" fmla="*/ 1891458 w 2433669"/>
                    <a:gd name="connsiteY529" fmla="*/ 279461 h 2172952"/>
                    <a:gd name="connsiteX530" fmla="*/ 1684373 w 2433669"/>
                    <a:gd name="connsiteY530" fmla="*/ 216725 h 2172952"/>
                    <a:gd name="connsiteX531" fmla="*/ 1708712 w 2433669"/>
                    <a:gd name="connsiteY531" fmla="*/ 245482 h 2172952"/>
                    <a:gd name="connsiteX532" fmla="*/ 1715941 w 2433669"/>
                    <a:gd name="connsiteY532" fmla="*/ 239297 h 2172952"/>
                    <a:gd name="connsiteX533" fmla="*/ 1716102 w 2433669"/>
                    <a:gd name="connsiteY533" fmla="*/ 239217 h 2172952"/>
                    <a:gd name="connsiteX534" fmla="*/ 1715941 w 2433669"/>
                    <a:gd name="connsiteY534" fmla="*/ 239297 h 2172952"/>
                    <a:gd name="connsiteX535" fmla="*/ 1718110 w 2433669"/>
                    <a:gd name="connsiteY535" fmla="*/ 232549 h 2172952"/>
                    <a:gd name="connsiteX536" fmla="*/ 1684132 w 2433669"/>
                    <a:gd name="connsiteY536" fmla="*/ 215681 h 2172952"/>
                    <a:gd name="connsiteX537" fmla="*/ 1684373 w 2433669"/>
                    <a:gd name="connsiteY537" fmla="*/ 216725 h 2172952"/>
                    <a:gd name="connsiteX538" fmla="*/ 1469977 w 2433669"/>
                    <a:gd name="connsiteY538" fmla="*/ 137120 h 2172952"/>
                    <a:gd name="connsiteX539" fmla="*/ 1497931 w 2433669"/>
                    <a:gd name="connsiteY539" fmla="*/ 154631 h 2172952"/>
                    <a:gd name="connsiteX540" fmla="*/ 1498574 w 2433669"/>
                    <a:gd name="connsiteY540" fmla="*/ 148526 h 2172952"/>
                    <a:gd name="connsiteX541" fmla="*/ 1506607 w 2433669"/>
                    <a:gd name="connsiteY541" fmla="*/ 150133 h 2172952"/>
                    <a:gd name="connsiteX542" fmla="*/ 1493513 w 2433669"/>
                    <a:gd name="connsiteY542" fmla="*/ 138084 h 2172952"/>
                    <a:gd name="connsiteX543" fmla="*/ 1496003 w 2433669"/>
                    <a:gd name="connsiteY543" fmla="*/ 137602 h 2172952"/>
                    <a:gd name="connsiteX544" fmla="*/ 1509740 w 2433669"/>
                    <a:gd name="connsiteY544" fmla="*/ 137843 h 2172952"/>
                    <a:gd name="connsiteX545" fmla="*/ 1509740 w 2433669"/>
                    <a:gd name="connsiteY545" fmla="*/ 132782 h 2172952"/>
                    <a:gd name="connsiteX546" fmla="*/ 1504679 w 2433669"/>
                    <a:gd name="connsiteY546" fmla="*/ 135192 h 2172952"/>
                    <a:gd name="connsiteX547" fmla="*/ 1510061 w 2433669"/>
                    <a:gd name="connsiteY547" fmla="*/ 129810 h 2172952"/>
                    <a:gd name="connsiteX548" fmla="*/ 1505723 w 2433669"/>
                    <a:gd name="connsiteY548" fmla="*/ 130212 h 2172952"/>
                    <a:gd name="connsiteX549" fmla="*/ 1474636 w 2433669"/>
                    <a:gd name="connsiteY549" fmla="*/ 132139 h 2172952"/>
                    <a:gd name="connsiteX550" fmla="*/ 1468130 w 2433669"/>
                    <a:gd name="connsiteY550" fmla="*/ 132702 h 2172952"/>
                    <a:gd name="connsiteX551" fmla="*/ 1469977 w 2433669"/>
                    <a:gd name="connsiteY551" fmla="*/ 137120 h 2172952"/>
                    <a:gd name="connsiteX552" fmla="*/ 1271005 w 2433669"/>
                    <a:gd name="connsiteY552" fmla="*/ 85308 h 2172952"/>
                    <a:gd name="connsiteX553" fmla="*/ 1314623 w 2433669"/>
                    <a:gd name="connsiteY553" fmla="*/ 122259 h 2172952"/>
                    <a:gd name="connsiteX554" fmla="*/ 1333339 w 2433669"/>
                    <a:gd name="connsiteY554" fmla="*/ 126597 h 2172952"/>
                    <a:gd name="connsiteX555" fmla="*/ 1332054 w 2433669"/>
                    <a:gd name="connsiteY555" fmla="*/ 124267 h 2172952"/>
                    <a:gd name="connsiteX556" fmla="*/ 1346674 w 2433669"/>
                    <a:gd name="connsiteY556" fmla="*/ 127480 h 2172952"/>
                    <a:gd name="connsiteX557" fmla="*/ 1367800 w 2433669"/>
                    <a:gd name="connsiteY557" fmla="*/ 125713 h 2172952"/>
                    <a:gd name="connsiteX558" fmla="*/ 1366515 w 2433669"/>
                    <a:gd name="connsiteY558" fmla="*/ 124508 h 2172952"/>
                    <a:gd name="connsiteX559" fmla="*/ 1369648 w 2433669"/>
                    <a:gd name="connsiteY559" fmla="*/ 120813 h 2172952"/>
                    <a:gd name="connsiteX560" fmla="*/ 1414471 w 2433669"/>
                    <a:gd name="connsiteY560" fmla="*/ 126758 h 2172952"/>
                    <a:gd name="connsiteX561" fmla="*/ 1414230 w 2433669"/>
                    <a:gd name="connsiteY561" fmla="*/ 129489 h 2172952"/>
                    <a:gd name="connsiteX562" fmla="*/ 1425797 w 2433669"/>
                    <a:gd name="connsiteY562" fmla="*/ 135433 h 2172952"/>
                    <a:gd name="connsiteX563" fmla="*/ 1456080 w 2433669"/>
                    <a:gd name="connsiteY563" fmla="*/ 138646 h 2172952"/>
                    <a:gd name="connsiteX564" fmla="*/ 1454313 w 2433669"/>
                    <a:gd name="connsiteY564" fmla="*/ 137281 h 2172952"/>
                    <a:gd name="connsiteX565" fmla="*/ 1458249 w 2433669"/>
                    <a:gd name="connsiteY565" fmla="*/ 136879 h 2172952"/>
                    <a:gd name="connsiteX566" fmla="*/ 1458089 w 2433669"/>
                    <a:gd name="connsiteY566" fmla="*/ 131497 h 2172952"/>
                    <a:gd name="connsiteX567" fmla="*/ 1465479 w 2433669"/>
                    <a:gd name="connsiteY567" fmla="*/ 131979 h 2172952"/>
                    <a:gd name="connsiteX568" fmla="*/ 1446200 w 2433669"/>
                    <a:gd name="connsiteY568" fmla="*/ 126838 h 2172952"/>
                    <a:gd name="connsiteX569" fmla="*/ 1483954 w 2433669"/>
                    <a:gd name="connsiteY569" fmla="*/ 124428 h 2172952"/>
                    <a:gd name="connsiteX570" fmla="*/ 1422664 w 2433669"/>
                    <a:gd name="connsiteY570" fmla="*/ 112620 h 2172952"/>
                    <a:gd name="connsiteX571" fmla="*/ 1374789 w 2433669"/>
                    <a:gd name="connsiteY571" fmla="*/ 107559 h 2172952"/>
                    <a:gd name="connsiteX572" fmla="*/ 1367318 w 2433669"/>
                    <a:gd name="connsiteY572" fmla="*/ 104346 h 2172952"/>
                    <a:gd name="connsiteX573" fmla="*/ 1354225 w 2433669"/>
                    <a:gd name="connsiteY573" fmla="*/ 95751 h 2172952"/>
                    <a:gd name="connsiteX574" fmla="*/ 1349726 w 2433669"/>
                    <a:gd name="connsiteY574" fmla="*/ 94144 h 2172952"/>
                    <a:gd name="connsiteX575" fmla="*/ 1278556 w 2433669"/>
                    <a:gd name="connsiteY575" fmla="*/ 62656 h 2172952"/>
                    <a:gd name="connsiteX576" fmla="*/ 1266828 w 2433669"/>
                    <a:gd name="connsiteY576" fmla="*/ 62817 h 2172952"/>
                    <a:gd name="connsiteX577" fmla="*/ 1271005 w 2433669"/>
                    <a:gd name="connsiteY577" fmla="*/ 85308 h 2172952"/>
                    <a:gd name="connsiteX578" fmla="*/ 1191400 w 2433669"/>
                    <a:gd name="connsiteY578" fmla="*/ 51651 h 2172952"/>
                    <a:gd name="connsiteX579" fmla="*/ 1271165 w 2433669"/>
                    <a:gd name="connsiteY579" fmla="*/ 57997 h 2172952"/>
                    <a:gd name="connsiteX580" fmla="*/ 1286026 w 2433669"/>
                    <a:gd name="connsiteY580" fmla="*/ 57997 h 2172952"/>
                    <a:gd name="connsiteX581" fmla="*/ 1286749 w 2433669"/>
                    <a:gd name="connsiteY581" fmla="*/ 47715 h 2172952"/>
                    <a:gd name="connsiteX582" fmla="*/ 1259277 w 2433669"/>
                    <a:gd name="connsiteY582" fmla="*/ 35184 h 2172952"/>
                    <a:gd name="connsiteX583" fmla="*/ 1251324 w 2433669"/>
                    <a:gd name="connsiteY583" fmla="*/ 21206 h 2172952"/>
                    <a:gd name="connsiteX584" fmla="*/ 1246103 w 2433669"/>
                    <a:gd name="connsiteY584" fmla="*/ 20644 h 2172952"/>
                    <a:gd name="connsiteX585" fmla="*/ 1201923 w 2433669"/>
                    <a:gd name="connsiteY585" fmla="*/ 40967 h 2172952"/>
                    <a:gd name="connsiteX586" fmla="*/ 1181921 w 2433669"/>
                    <a:gd name="connsiteY586" fmla="*/ 51570 h 2172952"/>
                    <a:gd name="connsiteX587" fmla="*/ 1191400 w 2433669"/>
                    <a:gd name="connsiteY587" fmla="*/ 51651 h 2172952"/>
                    <a:gd name="connsiteX588" fmla="*/ 2320410 w 2433669"/>
                    <a:gd name="connsiteY588" fmla="*/ 401238 h 2172952"/>
                    <a:gd name="connsiteX589" fmla="*/ 2320088 w 2433669"/>
                    <a:gd name="connsiteY589" fmla="*/ 400837 h 2172952"/>
                    <a:gd name="connsiteX590" fmla="*/ 2320570 w 2433669"/>
                    <a:gd name="connsiteY590" fmla="*/ 401399 h 2172952"/>
                    <a:gd name="connsiteX591" fmla="*/ 2320410 w 2433669"/>
                    <a:gd name="connsiteY591" fmla="*/ 401238 h 2172952"/>
                    <a:gd name="connsiteX592" fmla="*/ 424830 w 2433669"/>
                    <a:gd name="connsiteY592" fmla="*/ 763839 h 2172952"/>
                    <a:gd name="connsiteX593" fmla="*/ 440735 w 2433669"/>
                    <a:gd name="connsiteY593" fmla="*/ 206845 h 2172952"/>
                    <a:gd name="connsiteX594" fmla="*/ 1223049 w 2433669"/>
                    <a:gd name="connsiteY594" fmla="*/ 8113 h 2172952"/>
                    <a:gd name="connsiteX595" fmla="*/ 1218069 w 2433669"/>
                    <a:gd name="connsiteY595" fmla="*/ 18395 h 2172952"/>
                    <a:gd name="connsiteX596" fmla="*/ 1226744 w 2433669"/>
                    <a:gd name="connsiteY596" fmla="*/ 10844 h 2172952"/>
                    <a:gd name="connsiteX597" fmla="*/ 1238552 w 2433669"/>
                    <a:gd name="connsiteY597" fmla="*/ 13816 h 2172952"/>
                    <a:gd name="connsiteX598" fmla="*/ 1300967 w 2433669"/>
                    <a:gd name="connsiteY598" fmla="*/ 0 h 2172952"/>
                    <a:gd name="connsiteX599" fmla="*/ 1524761 w 2433669"/>
                    <a:gd name="connsiteY599" fmla="*/ 66592 h 2172952"/>
                    <a:gd name="connsiteX600" fmla="*/ 1503635 w 2433669"/>
                    <a:gd name="connsiteY600" fmla="*/ 104507 h 2172952"/>
                    <a:gd name="connsiteX601" fmla="*/ 1558017 w 2433669"/>
                    <a:gd name="connsiteY601" fmla="*/ 116877 h 2172952"/>
                    <a:gd name="connsiteX602" fmla="*/ 1561872 w 2433669"/>
                    <a:gd name="connsiteY602" fmla="*/ 113825 h 2172952"/>
                    <a:gd name="connsiteX603" fmla="*/ 1559543 w 2433669"/>
                    <a:gd name="connsiteY603" fmla="*/ 113182 h 2172952"/>
                    <a:gd name="connsiteX604" fmla="*/ 1556008 w 2433669"/>
                    <a:gd name="connsiteY604" fmla="*/ 92699 h 2172952"/>
                    <a:gd name="connsiteX605" fmla="*/ 1545646 w 2433669"/>
                    <a:gd name="connsiteY605" fmla="*/ 88923 h 2172952"/>
                    <a:gd name="connsiteX606" fmla="*/ 1577376 w 2433669"/>
                    <a:gd name="connsiteY606" fmla="*/ 78802 h 2172952"/>
                    <a:gd name="connsiteX607" fmla="*/ 1567576 w 2433669"/>
                    <a:gd name="connsiteY607" fmla="*/ 73821 h 2172952"/>
                    <a:gd name="connsiteX608" fmla="*/ 1570467 w 2433669"/>
                    <a:gd name="connsiteY608" fmla="*/ 63700 h 2172952"/>
                    <a:gd name="connsiteX609" fmla="*/ 1632400 w 2433669"/>
                    <a:gd name="connsiteY609" fmla="*/ 71170 h 2172952"/>
                    <a:gd name="connsiteX610" fmla="*/ 1632320 w 2433669"/>
                    <a:gd name="connsiteY610" fmla="*/ 64182 h 2172952"/>
                    <a:gd name="connsiteX611" fmla="*/ 1613925 w 2433669"/>
                    <a:gd name="connsiteY611" fmla="*/ 51169 h 2172952"/>
                    <a:gd name="connsiteX612" fmla="*/ 1698751 w 2433669"/>
                    <a:gd name="connsiteY612" fmla="*/ 74705 h 2172952"/>
                    <a:gd name="connsiteX613" fmla="*/ 1623163 w 2433669"/>
                    <a:gd name="connsiteY613" fmla="*/ 85630 h 2172952"/>
                    <a:gd name="connsiteX614" fmla="*/ 1678669 w 2433669"/>
                    <a:gd name="connsiteY614" fmla="*/ 117439 h 2172952"/>
                    <a:gd name="connsiteX615" fmla="*/ 1664291 w 2433669"/>
                    <a:gd name="connsiteY615" fmla="*/ 139369 h 2172952"/>
                    <a:gd name="connsiteX616" fmla="*/ 1685818 w 2433669"/>
                    <a:gd name="connsiteY616" fmla="*/ 142743 h 2172952"/>
                    <a:gd name="connsiteX617" fmla="*/ 1669431 w 2433669"/>
                    <a:gd name="connsiteY617" fmla="*/ 146197 h 2172952"/>
                    <a:gd name="connsiteX618" fmla="*/ 1690879 w 2433669"/>
                    <a:gd name="connsiteY618" fmla="*/ 160254 h 2172952"/>
                    <a:gd name="connsiteX619" fmla="*/ 1667182 w 2433669"/>
                    <a:gd name="connsiteY619" fmla="*/ 160977 h 2172952"/>
                    <a:gd name="connsiteX620" fmla="*/ 1677705 w 2433669"/>
                    <a:gd name="connsiteY620" fmla="*/ 180577 h 2172952"/>
                    <a:gd name="connsiteX621" fmla="*/ 1709676 w 2433669"/>
                    <a:gd name="connsiteY621" fmla="*/ 196964 h 2172952"/>
                    <a:gd name="connsiteX622" fmla="*/ 1710238 w 2433669"/>
                    <a:gd name="connsiteY622" fmla="*/ 195358 h 2172952"/>
                    <a:gd name="connsiteX623" fmla="*/ 1753696 w 2433669"/>
                    <a:gd name="connsiteY623" fmla="*/ 220902 h 2172952"/>
                    <a:gd name="connsiteX624" fmla="*/ 1763335 w 2433669"/>
                    <a:gd name="connsiteY624" fmla="*/ 228212 h 2172952"/>
                    <a:gd name="connsiteX625" fmla="*/ 1765102 w 2433669"/>
                    <a:gd name="connsiteY625" fmla="*/ 230300 h 2172952"/>
                    <a:gd name="connsiteX626" fmla="*/ 1903347 w 2433669"/>
                    <a:gd name="connsiteY626" fmla="*/ 272392 h 2172952"/>
                    <a:gd name="connsiteX627" fmla="*/ 1899330 w 2433669"/>
                    <a:gd name="connsiteY627" fmla="*/ 261227 h 2172952"/>
                    <a:gd name="connsiteX628" fmla="*/ 1901820 w 2433669"/>
                    <a:gd name="connsiteY628" fmla="*/ 260745 h 2172952"/>
                    <a:gd name="connsiteX629" fmla="*/ 1905114 w 2433669"/>
                    <a:gd name="connsiteY629" fmla="*/ 259781 h 2172952"/>
                    <a:gd name="connsiteX630" fmla="*/ 1968493 w 2433669"/>
                    <a:gd name="connsiteY630" fmla="*/ 307174 h 2172952"/>
                    <a:gd name="connsiteX631" fmla="*/ 1970179 w 2433669"/>
                    <a:gd name="connsiteY631" fmla="*/ 307014 h 2172952"/>
                    <a:gd name="connsiteX632" fmla="*/ 1935397 w 2433669"/>
                    <a:gd name="connsiteY632" fmla="*/ 343000 h 2172952"/>
                    <a:gd name="connsiteX633" fmla="*/ 1935719 w 2433669"/>
                    <a:gd name="connsiteY633" fmla="*/ 342117 h 2172952"/>
                    <a:gd name="connsiteX634" fmla="*/ 1936361 w 2433669"/>
                    <a:gd name="connsiteY634" fmla="*/ 353443 h 2172952"/>
                    <a:gd name="connsiteX635" fmla="*/ 1937647 w 2433669"/>
                    <a:gd name="connsiteY635" fmla="*/ 353604 h 2172952"/>
                    <a:gd name="connsiteX636" fmla="*/ 1940699 w 2433669"/>
                    <a:gd name="connsiteY636" fmla="*/ 357460 h 2172952"/>
                    <a:gd name="connsiteX637" fmla="*/ 1941743 w 2433669"/>
                    <a:gd name="connsiteY637" fmla="*/ 361717 h 2172952"/>
                    <a:gd name="connsiteX638" fmla="*/ 1988896 w 2433669"/>
                    <a:gd name="connsiteY638" fmla="*/ 383486 h 2172952"/>
                    <a:gd name="connsiteX639" fmla="*/ 2023437 w 2433669"/>
                    <a:gd name="connsiteY639" fmla="*/ 407745 h 2172952"/>
                    <a:gd name="connsiteX640" fmla="*/ 2021107 w 2433669"/>
                    <a:gd name="connsiteY640" fmla="*/ 405897 h 2172952"/>
                    <a:gd name="connsiteX641" fmla="*/ 2016288 w 2433669"/>
                    <a:gd name="connsiteY641" fmla="*/ 394973 h 2172952"/>
                    <a:gd name="connsiteX642" fmla="*/ 2037012 w 2433669"/>
                    <a:gd name="connsiteY642" fmla="*/ 387101 h 2172952"/>
                    <a:gd name="connsiteX643" fmla="*/ 2042876 w 2433669"/>
                    <a:gd name="connsiteY643" fmla="*/ 378425 h 2172952"/>
                    <a:gd name="connsiteX644" fmla="*/ 2043358 w 2433669"/>
                    <a:gd name="connsiteY644" fmla="*/ 379228 h 2172952"/>
                    <a:gd name="connsiteX645" fmla="*/ 2048178 w 2433669"/>
                    <a:gd name="connsiteY645" fmla="*/ 376015 h 2172952"/>
                    <a:gd name="connsiteX646" fmla="*/ 2052275 w 2433669"/>
                    <a:gd name="connsiteY646" fmla="*/ 374569 h 2172952"/>
                    <a:gd name="connsiteX647" fmla="*/ 2072758 w 2433669"/>
                    <a:gd name="connsiteY647" fmla="*/ 366135 h 2172952"/>
                    <a:gd name="connsiteX648" fmla="*/ 2092439 w 2433669"/>
                    <a:gd name="connsiteY648" fmla="*/ 432405 h 2172952"/>
                    <a:gd name="connsiteX649" fmla="*/ 2053239 w 2433669"/>
                    <a:gd name="connsiteY649" fmla="*/ 487832 h 2172952"/>
                    <a:gd name="connsiteX650" fmla="*/ 2097901 w 2433669"/>
                    <a:gd name="connsiteY650" fmla="*/ 469276 h 2172952"/>
                    <a:gd name="connsiteX651" fmla="*/ 2096535 w 2433669"/>
                    <a:gd name="connsiteY651" fmla="*/ 468312 h 2172952"/>
                    <a:gd name="connsiteX652" fmla="*/ 2120072 w 2433669"/>
                    <a:gd name="connsiteY652" fmla="*/ 427988 h 2172952"/>
                    <a:gd name="connsiteX653" fmla="*/ 2105693 w 2433669"/>
                    <a:gd name="connsiteY653" fmla="*/ 371196 h 2172952"/>
                    <a:gd name="connsiteX654" fmla="*/ 2108183 w 2433669"/>
                    <a:gd name="connsiteY654" fmla="*/ 373123 h 2172952"/>
                    <a:gd name="connsiteX655" fmla="*/ 2107862 w 2433669"/>
                    <a:gd name="connsiteY655" fmla="*/ 362761 h 2172952"/>
                    <a:gd name="connsiteX656" fmla="*/ 2106737 w 2433669"/>
                    <a:gd name="connsiteY656" fmla="*/ 362922 h 2172952"/>
                    <a:gd name="connsiteX657" fmla="*/ 2109629 w 2433669"/>
                    <a:gd name="connsiteY657" fmla="*/ 339948 h 2172952"/>
                    <a:gd name="connsiteX658" fmla="*/ 2147704 w 2433669"/>
                    <a:gd name="connsiteY658" fmla="*/ 361556 h 2172952"/>
                    <a:gd name="connsiteX659" fmla="*/ 2142483 w 2433669"/>
                    <a:gd name="connsiteY659" fmla="*/ 333200 h 2172952"/>
                    <a:gd name="connsiteX660" fmla="*/ 2144571 w 2433669"/>
                    <a:gd name="connsiteY660" fmla="*/ 322918 h 2172952"/>
                    <a:gd name="connsiteX661" fmla="*/ 2151239 w 2433669"/>
                    <a:gd name="connsiteY661" fmla="*/ 325569 h 2172952"/>
                    <a:gd name="connsiteX662" fmla="*/ 2152042 w 2433669"/>
                    <a:gd name="connsiteY662" fmla="*/ 322677 h 2172952"/>
                    <a:gd name="connsiteX663" fmla="*/ 2154693 w 2433669"/>
                    <a:gd name="connsiteY663" fmla="*/ 323240 h 2172952"/>
                    <a:gd name="connsiteX664" fmla="*/ 2157665 w 2433669"/>
                    <a:gd name="connsiteY664" fmla="*/ 305166 h 2172952"/>
                    <a:gd name="connsiteX665" fmla="*/ 2167465 w 2433669"/>
                    <a:gd name="connsiteY665" fmla="*/ 301551 h 2172952"/>
                    <a:gd name="connsiteX666" fmla="*/ 2167063 w 2433669"/>
                    <a:gd name="connsiteY666" fmla="*/ 298499 h 2172952"/>
                    <a:gd name="connsiteX667" fmla="*/ 2190519 w 2433669"/>
                    <a:gd name="connsiteY667" fmla="*/ 320428 h 2172952"/>
                    <a:gd name="connsiteX668" fmla="*/ 2191403 w 2433669"/>
                    <a:gd name="connsiteY668" fmla="*/ 320750 h 2172952"/>
                    <a:gd name="connsiteX669" fmla="*/ 2195178 w 2433669"/>
                    <a:gd name="connsiteY669" fmla="*/ 325409 h 2172952"/>
                    <a:gd name="connsiteX670" fmla="*/ 2226346 w 2433669"/>
                    <a:gd name="connsiteY670" fmla="*/ 352399 h 2172952"/>
                    <a:gd name="connsiteX671" fmla="*/ 2227470 w 2433669"/>
                    <a:gd name="connsiteY671" fmla="*/ 352559 h 2172952"/>
                    <a:gd name="connsiteX672" fmla="*/ 2306513 w 2433669"/>
                    <a:gd name="connsiteY672" fmla="*/ 449274 h 2172952"/>
                    <a:gd name="connsiteX673" fmla="*/ 2346355 w 2433669"/>
                    <a:gd name="connsiteY673" fmla="*/ 521007 h 2172952"/>
                    <a:gd name="connsiteX674" fmla="*/ 2344187 w 2433669"/>
                    <a:gd name="connsiteY674" fmla="*/ 471204 h 2172952"/>
                    <a:gd name="connsiteX675" fmla="*/ 2342660 w 2433669"/>
                    <a:gd name="connsiteY675" fmla="*/ 464617 h 2172952"/>
                    <a:gd name="connsiteX676" fmla="*/ 2342901 w 2433669"/>
                    <a:gd name="connsiteY676" fmla="*/ 463573 h 2172952"/>
                    <a:gd name="connsiteX677" fmla="*/ 2342178 w 2433669"/>
                    <a:gd name="connsiteY677" fmla="*/ 462287 h 2172952"/>
                    <a:gd name="connsiteX678" fmla="*/ 2324024 w 2433669"/>
                    <a:gd name="connsiteY678" fmla="*/ 406861 h 2172952"/>
                    <a:gd name="connsiteX679" fmla="*/ 2320650 w 2433669"/>
                    <a:gd name="connsiteY679" fmla="*/ 401801 h 2172952"/>
                    <a:gd name="connsiteX680" fmla="*/ 2322016 w 2433669"/>
                    <a:gd name="connsiteY680" fmla="*/ 401801 h 2172952"/>
                    <a:gd name="connsiteX681" fmla="*/ 2335029 w 2433669"/>
                    <a:gd name="connsiteY681" fmla="*/ 420196 h 2172952"/>
                    <a:gd name="connsiteX682" fmla="*/ 2330129 w 2433669"/>
                    <a:gd name="connsiteY682" fmla="*/ 408147 h 2172952"/>
                    <a:gd name="connsiteX683" fmla="*/ 2418892 w 2433669"/>
                    <a:gd name="connsiteY683" fmla="*/ 693070 h 2172952"/>
                    <a:gd name="connsiteX684" fmla="*/ 2349970 w 2433669"/>
                    <a:gd name="connsiteY684" fmla="*/ 1309186 h 2172952"/>
                    <a:gd name="connsiteX685" fmla="*/ 2108103 w 2433669"/>
                    <a:gd name="connsiteY685" fmla="*/ 1184918 h 2172952"/>
                    <a:gd name="connsiteX686" fmla="*/ 629827 w 2433669"/>
                    <a:gd name="connsiteY686" fmla="*/ 1370315 h 2172952"/>
                    <a:gd name="connsiteX687" fmla="*/ 424830 w 2433669"/>
                    <a:gd name="connsiteY687" fmla="*/ 763839 h 21729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</a:cxnLst>
                  <a:rect l="l" t="t" r="r" b="b"/>
                  <a:pathLst>
                    <a:path w="2433669" h="2172952">
                      <a:moveTo>
                        <a:pt x="2052355" y="1753480"/>
                      </a:moveTo>
                      <a:cubicBezTo>
                        <a:pt x="2076534" y="1729944"/>
                        <a:pt x="2099749" y="1705524"/>
                        <a:pt x="2121999" y="1680301"/>
                      </a:cubicBezTo>
                      <a:lnTo>
                        <a:pt x="2121035" y="1681827"/>
                      </a:lnTo>
                      <a:cubicBezTo>
                        <a:pt x="2115895" y="1690181"/>
                        <a:pt x="2113324" y="1699981"/>
                        <a:pt x="2106576" y="1707452"/>
                      </a:cubicBezTo>
                      <a:cubicBezTo>
                        <a:pt x="2105773" y="1708336"/>
                        <a:pt x="2104327" y="1708978"/>
                        <a:pt x="2103363" y="1709621"/>
                      </a:cubicBezTo>
                      <a:cubicBezTo>
                        <a:pt x="2092519" y="1716850"/>
                        <a:pt x="2063119" y="1746089"/>
                        <a:pt x="2028498" y="1784085"/>
                      </a:cubicBezTo>
                      <a:cubicBezTo>
                        <a:pt x="2036691" y="1774044"/>
                        <a:pt x="2043840" y="1763199"/>
                        <a:pt x="2052355" y="1753480"/>
                      </a:cubicBezTo>
                      <a:moveTo>
                        <a:pt x="1290765" y="2172149"/>
                      </a:moveTo>
                      <a:cubicBezTo>
                        <a:pt x="1285383" y="2172872"/>
                        <a:pt x="1278074" y="2172712"/>
                        <a:pt x="1272692" y="2172952"/>
                      </a:cubicBezTo>
                      <a:cubicBezTo>
                        <a:pt x="1282251" y="2172631"/>
                        <a:pt x="1291810" y="2171346"/>
                        <a:pt x="1301369" y="2169177"/>
                      </a:cubicBezTo>
                      <a:cubicBezTo>
                        <a:pt x="1301529" y="2169177"/>
                        <a:pt x="1301690" y="2169258"/>
                        <a:pt x="1301770" y="2169258"/>
                      </a:cubicBezTo>
                      <a:cubicBezTo>
                        <a:pt x="1301770" y="2169338"/>
                        <a:pt x="1301770" y="2169338"/>
                        <a:pt x="1301770" y="2169418"/>
                      </a:cubicBezTo>
                      <a:cubicBezTo>
                        <a:pt x="1301690" y="2169498"/>
                        <a:pt x="1301610" y="2169498"/>
                        <a:pt x="1301529" y="2169579"/>
                      </a:cubicBezTo>
                      <a:cubicBezTo>
                        <a:pt x="1302413" y="2169498"/>
                        <a:pt x="1303297" y="2169338"/>
                        <a:pt x="1304100" y="2169177"/>
                      </a:cubicBezTo>
                      <a:cubicBezTo>
                        <a:pt x="1299762" y="2170302"/>
                        <a:pt x="1294300" y="2171667"/>
                        <a:pt x="1290765" y="2172149"/>
                      </a:cubicBezTo>
                      <a:moveTo>
                        <a:pt x="1457848" y="2151425"/>
                      </a:moveTo>
                      <a:cubicBezTo>
                        <a:pt x="1461462" y="2150782"/>
                        <a:pt x="1466282" y="2149898"/>
                        <a:pt x="1469897" y="2149256"/>
                      </a:cubicBezTo>
                      <a:cubicBezTo>
                        <a:pt x="1434151" y="2156646"/>
                        <a:pt x="1425636" y="2158413"/>
                        <a:pt x="1381536" y="2164197"/>
                      </a:cubicBezTo>
                      <a:cubicBezTo>
                        <a:pt x="1369728" y="2165562"/>
                        <a:pt x="1353984" y="2167329"/>
                        <a:pt x="1342175" y="2168454"/>
                      </a:cubicBezTo>
                      <a:lnTo>
                        <a:pt x="1344103" y="2168294"/>
                      </a:lnTo>
                      <a:cubicBezTo>
                        <a:pt x="1348602" y="2167731"/>
                        <a:pt x="1349084" y="2167651"/>
                        <a:pt x="1352297" y="2166446"/>
                      </a:cubicBezTo>
                      <a:cubicBezTo>
                        <a:pt x="1339123" y="2168052"/>
                        <a:pt x="1326110" y="2163313"/>
                        <a:pt x="1312936" y="2165964"/>
                      </a:cubicBezTo>
                      <a:cubicBezTo>
                        <a:pt x="1326511" y="2161707"/>
                        <a:pt x="1340007" y="2155441"/>
                        <a:pt x="1353502" y="2147247"/>
                      </a:cubicBezTo>
                      <a:cubicBezTo>
                        <a:pt x="1353582" y="2147328"/>
                        <a:pt x="1364507" y="2154798"/>
                        <a:pt x="1372620" y="2146685"/>
                      </a:cubicBezTo>
                      <a:cubicBezTo>
                        <a:pt x="1380652" y="2138653"/>
                        <a:pt x="1381536" y="2140500"/>
                        <a:pt x="1382661" y="2142990"/>
                      </a:cubicBezTo>
                      <a:cubicBezTo>
                        <a:pt x="1376636" y="2151585"/>
                        <a:pt x="1374146" y="2155762"/>
                        <a:pt x="1384026" y="2156887"/>
                      </a:cubicBezTo>
                      <a:cubicBezTo>
                        <a:pt x="1385472" y="2157048"/>
                        <a:pt x="1387480" y="2157048"/>
                        <a:pt x="1388926" y="2156887"/>
                      </a:cubicBezTo>
                      <a:cubicBezTo>
                        <a:pt x="1390774" y="2156726"/>
                        <a:pt x="1393184" y="2156485"/>
                        <a:pt x="1395031" y="2156324"/>
                      </a:cubicBezTo>
                      <a:cubicBezTo>
                        <a:pt x="1396798" y="2156164"/>
                        <a:pt x="1399128" y="2156806"/>
                        <a:pt x="1400895" y="2157048"/>
                      </a:cubicBezTo>
                      <a:cubicBezTo>
                        <a:pt x="1402341" y="2157208"/>
                        <a:pt x="1416720" y="2158574"/>
                        <a:pt x="1457848" y="2151425"/>
                      </a:cubicBezTo>
                      <a:moveTo>
                        <a:pt x="2143768" y="1654998"/>
                      </a:moveTo>
                      <a:cubicBezTo>
                        <a:pt x="2230763" y="1550812"/>
                        <a:pt x="2300729" y="1433854"/>
                        <a:pt x="2350131" y="1309025"/>
                      </a:cubicBezTo>
                      <a:cubicBezTo>
                        <a:pt x="2374069" y="1344771"/>
                        <a:pt x="2376880" y="1384533"/>
                        <a:pt x="2358967" y="1426464"/>
                      </a:cubicBezTo>
                      <a:lnTo>
                        <a:pt x="2350131" y="1446627"/>
                      </a:lnTo>
                      <a:cubicBezTo>
                        <a:pt x="2298400" y="1551374"/>
                        <a:pt x="2294223" y="1559969"/>
                        <a:pt x="2250604" y="1626722"/>
                      </a:cubicBezTo>
                      <a:cubicBezTo>
                        <a:pt x="2186904" y="1715244"/>
                        <a:pt x="2178711" y="1726570"/>
                        <a:pt x="2118947" y="1791555"/>
                      </a:cubicBezTo>
                      <a:lnTo>
                        <a:pt x="2088342" y="1822642"/>
                      </a:lnTo>
                      <a:lnTo>
                        <a:pt x="2086976" y="1823927"/>
                      </a:lnTo>
                      <a:cubicBezTo>
                        <a:pt x="2203773" y="1687048"/>
                        <a:pt x="2196303" y="1677409"/>
                        <a:pt x="2191804" y="1671626"/>
                      </a:cubicBezTo>
                      <a:cubicBezTo>
                        <a:pt x="2187547" y="1674116"/>
                        <a:pt x="2186101" y="1674999"/>
                        <a:pt x="2180558" y="1685281"/>
                      </a:cubicBezTo>
                      <a:cubicBezTo>
                        <a:pt x="2183209" y="1662307"/>
                        <a:pt x="2173490" y="1637807"/>
                        <a:pt x="2143768" y="1654998"/>
                      </a:cubicBezTo>
                      <a:moveTo>
                        <a:pt x="629988" y="1370154"/>
                      </a:moveTo>
                      <a:cubicBezTo>
                        <a:pt x="324099" y="1503258"/>
                        <a:pt x="213648" y="1653471"/>
                        <a:pt x="309559" y="1760629"/>
                      </a:cubicBezTo>
                      <a:cubicBezTo>
                        <a:pt x="291164" y="1738217"/>
                        <a:pt x="265780" y="1709058"/>
                        <a:pt x="248269" y="1686004"/>
                      </a:cubicBezTo>
                      <a:cubicBezTo>
                        <a:pt x="178384" y="1585835"/>
                        <a:pt x="174207" y="1579811"/>
                        <a:pt x="139023" y="1513299"/>
                      </a:cubicBezTo>
                      <a:cubicBezTo>
                        <a:pt x="85926" y="1400759"/>
                        <a:pt x="82793" y="1394012"/>
                        <a:pt x="59338" y="1322440"/>
                      </a:cubicBezTo>
                      <a:cubicBezTo>
                        <a:pt x="44477" y="1269022"/>
                        <a:pt x="26885" y="1197048"/>
                        <a:pt x="16121" y="1142666"/>
                      </a:cubicBezTo>
                      <a:cubicBezTo>
                        <a:pt x="296" y="1012936"/>
                        <a:pt x="-266" y="1007875"/>
                        <a:pt x="56" y="932206"/>
                      </a:cubicBezTo>
                      <a:cubicBezTo>
                        <a:pt x="6321" y="805208"/>
                        <a:pt x="6562" y="800227"/>
                        <a:pt x="19415" y="726647"/>
                      </a:cubicBezTo>
                      <a:cubicBezTo>
                        <a:pt x="46324" y="604870"/>
                        <a:pt x="47369" y="600130"/>
                        <a:pt x="72431" y="529201"/>
                      </a:cubicBezTo>
                      <a:lnTo>
                        <a:pt x="98698" y="462448"/>
                      </a:lnTo>
                      <a:cubicBezTo>
                        <a:pt x="134123" y="380353"/>
                        <a:pt x="249072" y="290225"/>
                        <a:pt x="440815" y="206764"/>
                      </a:cubicBezTo>
                      <a:cubicBezTo>
                        <a:pt x="398322" y="361556"/>
                        <a:pt x="390369" y="551371"/>
                        <a:pt x="424910" y="763758"/>
                      </a:cubicBezTo>
                      <a:cubicBezTo>
                        <a:pt x="459371" y="975985"/>
                        <a:pt x="531987" y="1183793"/>
                        <a:pt x="629988" y="1370154"/>
                      </a:cubicBezTo>
                      <a:moveTo>
                        <a:pt x="954111" y="1199056"/>
                      </a:moveTo>
                      <a:cubicBezTo>
                        <a:pt x="956280" y="1200181"/>
                        <a:pt x="961019" y="1200984"/>
                        <a:pt x="967606" y="1200100"/>
                      </a:cubicBezTo>
                      <a:cubicBezTo>
                        <a:pt x="966321" y="1198735"/>
                        <a:pt x="965116" y="1198012"/>
                        <a:pt x="962706" y="1197208"/>
                      </a:cubicBezTo>
                      <a:cubicBezTo>
                        <a:pt x="961099" y="1192309"/>
                        <a:pt x="959413" y="1190782"/>
                        <a:pt x="955155" y="1197289"/>
                      </a:cubicBezTo>
                      <a:cubicBezTo>
                        <a:pt x="955637" y="1197048"/>
                        <a:pt x="956280" y="1196807"/>
                        <a:pt x="956762" y="1196566"/>
                      </a:cubicBezTo>
                      <a:cubicBezTo>
                        <a:pt x="956681" y="1197851"/>
                        <a:pt x="955637" y="1198654"/>
                        <a:pt x="953790" y="1198895"/>
                      </a:cubicBezTo>
                      <a:cubicBezTo>
                        <a:pt x="953870" y="1198895"/>
                        <a:pt x="954031" y="1198975"/>
                        <a:pt x="954111" y="1199056"/>
                      </a:cubicBezTo>
                      <a:moveTo>
                        <a:pt x="974193" y="1171343"/>
                      </a:moveTo>
                      <a:cubicBezTo>
                        <a:pt x="974354" y="1171584"/>
                        <a:pt x="975478" y="1171905"/>
                        <a:pt x="975960" y="1172066"/>
                      </a:cubicBezTo>
                      <a:cubicBezTo>
                        <a:pt x="976522" y="1171825"/>
                        <a:pt x="977245" y="1171423"/>
                        <a:pt x="977727" y="1171182"/>
                      </a:cubicBezTo>
                      <a:cubicBezTo>
                        <a:pt x="976040" y="1171102"/>
                        <a:pt x="974032" y="1171021"/>
                        <a:pt x="974193" y="1171343"/>
                      </a:cubicBezTo>
                      <a:moveTo>
                        <a:pt x="967526" y="1167085"/>
                      </a:moveTo>
                      <a:cubicBezTo>
                        <a:pt x="969373" y="1166282"/>
                        <a:pt x="969775" y="1165720"/>
                        <a:pt x="968650" y="1165318"/>
                      </a:cubicBezTo>
                      <a:cubicBezTo>
                        <a:pt x="968329" y="1165157"/>
                        <a:pt x="967927" y="1165157"/>
                        <a:pt x="967526" y="1165077"/>
                      </a:cubicBezTo>
                      <a:lnTo>
                        <a:pt x="967285" y="1167246"/>
                      </a:lnTo>
                      <a:cubicBezTo>
                        <a:pt x="967365" y="1167166"/>
                        <a:pt x="967445" y="1167085"/>
                        <a:pt x="967526" y="1167085"/>
                      </a:cubicBezTo>
                      <a:moveTo>
                        <a:pt x="1320808" y="1066997"/>
                      </a:moveTo>
                      <a:cubicBezTo>
                        <a:pt x="1321049" y="1067800"/>
                        <a:pt x="1321852" y="1068362"/>
                        <a:pt x="1321852" y="1068362"/>
                      </a:cubicBezTo>
                      <a:cubicBezTo>
                        <a:pt x="1321933" y="1068442"/>
                        <a:pt x="1322093" y="1068362"/>
                        <a:pt x="1322174" y="1068362"/>
                      </a:cubicBezTo>
                      <a:cubicBezTo>
                        <a:pt x="1322415" y="1068362"/>
                        <a:pt x="1322736" y="1068362"/>
                        <a:pt x="1322977" y="1068362"/>
                      </a:cubicBezTo>
                      <a:cubicBezTo>
                        <a:pt x="1324423" y="1068121"/>
                        <a:pt x="1325066" y="1067639"/>
                        <a:pt x="1325306" y="1066595"/>
                      </a:cubicBezTo>
                      <a:cubicBezTo>
                        <a:pt x="1323780" y="1066595"/>
                        <a:pt x="1322495" y="1066113"/>
                        <a:pt x="1321210" y="1064988"/>
                      </a:cubicBezTo>
                      <a:cubicBezTo>
                        <a:pt x="1320969" y="1065390"/>
                        <a:pt x="1320567" y="1066193"/>
                        <a:pt x="1320808" y="1066997"/>
                      </a:cubicBezTo>
                      <a:moveTo>
                        <a:pt x="1318720" y="1064426"/>
                      </a:moveTo>
                      <a:cubicBezTo>
                        <a:pt x="1318720" y="1064506"/>
                        <a:pt x="1318800" y="1064587"/>
                        <a:pt x="1318800" y="1064667"/>
                      </a:cubicBezTo>
                      <a:lnTo>
                        <a:pt x="1321290" y="1063061"/>
                      </a:lnTo>
                      <a:cubicBezTo>
                        <a:pt x="1320969" y="1062739"/>
                        <a:pt x="1320487" y="1062338"/>
                        <a:pt x="1320165" y="1062016"/>
                      </a:cubicBezTo>
                      <a:cubicBezTo>
                        <a:pt x="1319443" y="1062498"/>
                        <a:pt x="1318559" y="1063221"/>
                        <a:pt x="1318720" y="1064426"/>
                      </a:cubicBezTo>
                      <a:moveTo>
                        <a:pt x="1305224" y="1058321"/>
                      </a:moveTo>
                      <a:cubicBezTo>
                        <a:pt x="1305706" y="1058080"/>
                        <a:pt x="1307072" y="1057357"/>
                        <a:pt x="1306269" y="1057036"/>
                      </a:cubicBezTo>
                      <a:cubicBezTo>
                        <a:pt x="1305787" y="1056875"/>
                        <a:pt x="1304823" y="1056875"/>
                        <a:pt x="1304341" y="1056875"/>
                      </a:cubicBezTo>
                      <a:lnTo>
                        <a:pt x="1303939" y="1057518"/>
                      </a:lnTo>
                      <a:lnTo>
                        <a:pt x="1305224" y="1058321"/>
                      </a:lnTo>
                      <a:moveTo>
                        <a:pt x="824462" y="1133749"/>
                      </a:moveTo>
                      <a:cubicBezTo>
                        <a:pt x="825024" y="1134633"/>
                        <a:pt x="826229" y="1134954"/>
                        <a:pt x="828237" y="1134713"/>
                      </a:cubicBezTo>
                      <a:cubicBezTo>
                        <a:pt x="827675" y="1133187"/>
                        <a:pt x="826309" y="1132544"/>
                        <a:pt x="823980" y="1132705"/>
                      </a:cubicBezTo>
                      <a:cubicBezTo>
                        <a:pt x="824140" y="1133026"/>
                        <a:pt x="824301" y="1133428"/>
                        <a:pt x="824462" y="1133749"/>
                      </a:cubicBezTo>
                      <a:moveTo>
                        <a:pt x="1299682" y="1049244"/>
                      </a:moveTo>
                      <a:cubicBezTo>
                        <a:pt x="1299843" y="1050208"/>
                        <a:pt x="1299923" y="1051172"/>
                        <a:pt x="1300084" y="1052136"/>
                      </a:cubicBezTo>
                      <a:lnTo>
                        <a:pt x="1302493" y="1048682"/>
                      </a:lnTo>
                      <a:lnTo>
                        <a:pt x="1301610" y="1047397"/>
                      </a:lnTo>
                      <a:cubicBezTo>
                        <a:pt x="1304984" y="1051895"/>
                        <a:pt x="1310365" y="1061615"/>
                        <a:pt x="1312293" y="1065310"/>
                      </a:cubicBezTo>
                      <a:cubicBezTo>
                        <a:pt x="1311410" y="1060972"/>
                        <a:pt x="1312052" y="1058643"/>
                        <a:pt x="1318077" y="1061534"/>
                      </a:cubicBezTo>
                      <a:cubicBezTo>
                        <a:pt x="1318157" y="1059687"/>
                        <a:pt x="1318720" y="1058803"/>
                        <a:pt x="1320567" y="1057357"/>
                      </a:cubicBezTo>
                      <a:cubicBezTo>
                        <a:pt x="1320005" y="1061534"/>
                        <a:pt x="1320888" y="1064025"/>
                        <a:pt x="1326993" y="1062177"/>
                      </a:cubicBezTo>
                      <a:cubicBezTo>
                        <a:pt x="1326592" y="1062820"/>
                        <a:pt x="1326029" y="1063703"/>
                        <a:pt x="1325547" y="1064346"/>
                      </a:cubicBezTo>
                      <a:cubicBezTo>
                        <a:pt x="1332054" y="1071575"/>
                        <a:pt x="1345388" y="1067800"/>
                        <a:pt x="1346031" y="1064506"/>
                      </a:cubicBezTo>
                      <a:cubicBezTo>
                        <a:pt x="1346433" y="1062418"/>
                        <a:pt x="1342818" y="1063141"/>
                        <a:pt x="1341613" y="1063382"/>
                      </a:cubicBezTo>
                      <a:cubicBezTo>
                        <a:pt x="1352939" y="1058401"/>
                        <a:pt x="1357438" y="1053180"/>
                        <a:pt x="1358562" y="1043541"/>
                      </a:cubicBezTo>
                      <a:cubicBezTo>
                        <a:pt x="1355670" y="1045067"/>
                        <a:pt x="1354546" y="1046192"/>
                        <a:pt x="1354064" y="1048200"/>
                      </a:cubicBezTo>
                      <a:cubicBezTo>
                        <a:pt x="1352859" y="1046192"/>
                        <a:pt x="1353261" y="1044826"/>
                        <a:pt x="1355911" y="1042497"/>
                      </a:cubicBezTo>
                      <a:lnTo>
                        <a:pt x="1357839" y="1043059"/>
                      </a:lnTo>
                      <a:cubicBezTo>
                        <a:pt x="1364426" y="1034062"/>
                        <a:pt x="1366193" y="1027957"/>
                        <a:pt x="1364748" y="1018720"/>
                      </a:cubicBezTo>
                      <a:cubicBezTo>
                        <a:pt x="1348521" y="1024985"/>
                        <a:pt x="1328118" y="1032134"/>
                        <a:pt x="1322977" y="1030769"/>
                      </a:cubicBezTo>
                      <a:cubicBezTo>
                        <a:pt x="1315105" y="1028841"/>
                        <a:pt x="1308036" y="1029082"/>
                        <a:pt x="1305465" y="1030287"/>
                      </a:cubicBezTo>
                      <a:cubicBezTo>
                        <a:pt x="1297031" y="1034303"/>
                        <a:pt x="1298075" y="1040247"/>
                        <a:pt x="1299682" y="1049244"/>
                      </a:cubicBezTo>
                      <a:moveTo>
                        <a:pt x="1299200" y="1026511"/>
                      </a:moveTo>
                      <a:lnTo>
                        <a:pt x="1300405" y="1025306"/>
                      </a:lnTo>
                      <a:lnTo>
                        <a:pt x="1297995" y="1025547"/>
                      </a:lnTo>
                      <a:lnTo>
                        <a:pt x="1299200" y="1026511"/>
                      </a:lnTo>
                      <a:moveTo>
                        <a:pt x="821088" y="1141380"/>
                      </a:moveTo>
                      <a:cubicBezTo>
                        <a:pt x="824783" y="1143148"/>
                        <a:pt x="825827" y="1145316"/>
                        <a:pt x="826068" y="1146120"/>
                      </a:cubicBezTo>
                      <a:cubicBezTo>
                        <a:pt x="827835" y="1151341"/>
                        <a:pt x="837635" y="1158972"/>
                        <a:pt x="859404" y="1163230"/>
                      </a:cubicBezTo>
                      <a:cubicBezTo>
                        <a:pt x="859003" y="1163712"/>
                        <a:pt x="858601" y="1164435"/>
                        <a:pt x="858440" y="1164997"/>
                      </a:cubicBezTo>
                      <a:cubicBezTo>
                        <a:pt x="859324" y="1165720"/>
                        <a:pt x="859485" y="1165800"/>
                        <a:pt x="862055" y="1165639"/>
                      </a:cubicBezTo>
                      <a:cubicBezTo>
                        <a:pt x="856673" y="1169576"/>
                        <a:pt x="856030" y="1170218"/>
                        <a:pt x="854665" y="1172066"/>
                      </a:cubicBezTo>
                      <a:cubicBezTo>
                        <a:pt x="856111" y="1173190"/>
                        <a:pt x="856593" y="1173512"/>
                        <a:pt x="864786" y="1170941"/>
                      </a:cubicBezTo>
                      <a:cubicBezTo>
                        <a:pt x="864144" y="1170861"/>
                        <a:pt x="863260" y="1170700"/>
                        <a:pt x="862617" y="1170620"/>
                      </a:cubicBezTo>
                      <a:cubicBezTo>
                        <a:pt x="866232" y="1170700"/>
                        <a:pt x="868401" y="1170218"/>
                        <a:pt x="871694" y="1166684"/>
                      </a:cubicBezTo>
                      <a:cubicBezTo>
                        <a:pt x="871293" y="1167969"/>
                        <a:pt x="871212" y="1168290"/>
                        <a:pt x="870168" y="1170379"/>
                      </a:cubicBezTo>
                      <a:cubicBezTo>
                        <a:pt x="876193" y="1170620"/>
                        <a:pt x="882217" y="1170941"/>
                        <a:pt x="888242" y="1171262"/>
                      </a:cubicBezTo>
                      <a:cubicBezTo>
                        <a:pt x="889126" y="1177287"/>
                        <a:pt x="926719" y="1216005"/>
                        <a:pt x="972104" y="1176966"/>
                      </a:cubicBezTo>
                      <a:cubicBezTo>
                        <a:pt x="974354" y="1177528"/>
                        <a:pt x="974916" y="1177528"/>
                        <a:pt x="977245" y="1177126"/>
                      </a:cubicBezTo>
                      <a:cubicBezTo>
                        <a:pt x="976683" y="1176484"/>
                        <a:pt x="975880" y="1175680"/>
                        <a:pt x="975317" y="1175038"/>
                      </a:cubicBezTo>
                      <a:cubicBezTo>
                        <a:pt x="976763" y="1175680"/>
                        <a:pt x="977647" y="1175841"/>
                        <a:pt x="979736" y="1175198"/>
                      </a:cubicBezTo>
                      <a:cubicBezTo>
                        <a:pt x="978370" y="1172708"/>
                        <a:pt x="975880" y="1172307"/>
                        <a:pt x="969614" y="1173512"/>
                      </a:cubicBezTo>
                      <a:cubicBezTo>
                        <a:pt x="972104" y="1172628"/>
                        <a:pt x="972104" y="1172628"/>
                        <a:pt x="972827" y="1171664"/>
                      </a:cubicBezTo>
                      <a:cubicBezTo>
                        <a:pt x="971462" y="1171021"/>
                        <a:pt x="971462" y="1171021"/>
                        <a:pt x="968972" y="1170781"/>
                      </a:cubicBezTo>
                      <a:cubicBezTo>
                        <a:pt x="970337" y="1170459"/>
                        <a:pt x="972185" y="1170138"/>
                        <a:pt x="973631" y="1169817"/>
                      </a:cubicBezTo>
                      <a:cubicBezTo>
                        <a:pt x="973309" y="1168692"/>
                        <a:pt x="972988" y="1167326"/>
                        <a:pt x="969695" y="1168531"/>
                      </a:cubicBezTo>
                      <a:cubicBezTo>
                        <a:pt x="969855" y="1167969"/>
                        <a:pt x="970016" y="1167246"/>
                        <a:pt x="970176" y="1166764"/>
                      </a:cubicBezTo>
                      <a:cubicBezTo>
                        <a:pt x="968650" y="1167728"/>
                        <a:pt x="967124" y="1168692"/>
                        <a:pt x="965598" y="1169576"/>
                      </a:cubicBezTo>
                      <a:cubicBezTo>
                        <a:pt x="965758" y="1169335"/>
                        <a:pt x="965919" y="1168933"/>
                        <a:pt x="965999" y="1168692"/>
                      </a:cubicBezTo>
                      <a:cubicBezTo>
                        <a:pt x="965839" y="1168451"/>
                        <a:pt x="965678" y="1168210"/>
                        <a:pt x="965517" y="1167969"/>
                      </a:cubicBezTo>
                      <a:cubicBezTo>
                        <a:pt x="965196" y="1167969"/>
                        <a:pt x="964795" y="1167969"/>
                        <a:pt x="964393" y="1167969"/>
                      </a:cubicBezTo>
                      <a:cubicBezTo>
                        <a:pt x="966321" y="1166443"/>
                        <a:pt x="966321" y="1166443"/>
                        <a:pt x="966642" y="1165238"/>
                      </a:cubicBezTo>
                      <a:cubicBezTo>
                        <a:pt x="966080" y="1164756"/>
                        <a:pt x="965196" y="1164194"/>
                        <a:pt x="964473" y="1163872"/>
                      </a:cubicBezTo>
                      <a:cubicBezTo>
                        <a:pt x="963831" y="1164194"/>
                        <a:pt x="962947" y="1164675"/>
                        <a:pt x="962224" y="1164997"/>
                      </a:cubicBezTo>
                      <a:cubicBezTo>
                        <a:pt x="962626" y="1164515"/>
                        <a:pt x="962947" y="1163631"/>
                        <a:pt x="963108" y="1162989"/>
                      </a:cubicBezTo>
                      <a:cubicBezTo>
                        <a:pt x="961903" y="1162025"/>
                        <a:pt x="961742" y="1161864"/>
                        <a:pt x="958449" y="1161784"/>
                      </a:cubicBezTo>
                      <a:cubicBezTo>
                        <a:pt x="958368" y="1162426"/>
                        <a:pt x="958208" y="1163310"/>
                        <a:pt x="958047" y="1163953"/>
                      </a:cubicBezTo>
                      <a:cubicBezTo>
                        <a:pt x="957083" y="1161543"/>
                        <a:pt x="955155" y="1159133"/>
                        <a:pt x="948890" y="1161543"/>
                      </a:cubicBezTo>
                      <a:cubicBezTo>
                        <a:pt x="947444" y="1156964"/>
                        <a:pt x="941821" y="1152305"/>
                        <a:pt x="923104" y="1156000"/>
                      </a:cubicBezTo>
                      <a:cubicBezTo>
                        <a:pt x="920614" y="1153189"/>
                        <a:pt x="916999" y="1152546"/>
                        <a:pt x="909770" y="1153510"/>
                      </a:cubicBezTo>
                      <a:cubicBezTo>
                        <a:pt x="909690" y="1153108"/>
                        <a:pt x="909529" y="1152707"/>
                        <a:pt x="909449" y="1152385"/>
                      </a:cubicBezTo>
                      <a:lnTo>
                        <a:pt x="908163" y="1152546"/>
                      </a:lnTo>
                      <a:cubicBezTo>
                        <a:pt x="908404" y="1152385"/>
                        <a:pt x="908645" y="1152225"/>
                        <a:pt x="908886" y="1152064"/>
                      </a:cubicBezTo>
                      <a:cubicBezTo>
                        <a:pt x="904790" y="1150538"/>
                        <a:pt x="901898" y="1150217"/>
                        <a:pt x="898283" y="1150939"/>
                      </a:cubicBezTo>
                      <a:cubicBezTo>
                        <a:pt x="898685" y="1150458"/>
                        <a:pt x="899247" y="1149895"/>
                        <a:pt x="899729" y="1149413"/>
                      </a:cubicBezTo>
                      <a:cubicBezTo>
                        <a:pt x="896676" y="1148610"/>
                        <a:pt x="895471" y="1149574"/>
                        <a:pt x="894106" y="1150618"/>
                      </a:cubicBezTo>
                      <a:cubicBezTo>
                        <a:pt x="894347" y="1150136"/>
                        <a:pt x="894508" y="1149413"/>
                        <a:pt x="894427" y="1148931"/>
                      </a:cubicBezTo>
                      <a:cubicBezTo>
                        <a:pt x="893383" y="1149172"/>
                        <a:pt x="893383" y="1149172"/>
                        <a:pt x="892017" y="1150056"/>
                      </a:cubicBezTo>
                      <a:cubicBezTo>
                        <a:pt x="888804" y="1147485"/>
                        <a:pt x="888804" y="1147485"/>
                        <a:pt x="886153" y="1146762"/>
                      </a:cubicBezTo>
                      <a:lnTo>
                        <a:pt x="886153" y="1149494"/>
                      </a:lnTo>
                      <a:cubicBezTo>
                        <a:pt x="885270" y="1146441"/>
                        <a:pt x="883262" y="1145156"/>
                        <a:pt x="878844" y="1144674"/>
                      </a:cubicBezTo>
                      <a:cubicBezTo>
                        <a:pt x="870007" y="1133669"/>
                        <a:pt x="859083" y="1127805"/>
                        <a:pt x="841170" y="1124672"/>
                      </a:cubicBezTo>
                      <a:cubicBezTo>
                        <a:pt x="845186" y="1130054"/>
                        <a:pt x="846953" y="1136159"/>
                        <a:pt x="824462" y="1135918"/>
                      </a:cubicBezTo>
                      <a:cubicBezTo>
                        <a:pt x="826871" y="1137123"/>
                        <a:pt x="827916" y="1138007"/>
                        <a:pt x="829683" y="1140015"/>
                      </a:cubicBezTo>
                      <a:cubicBezTo>
                        <a:pt x="827193" y="1139533"/>
                        <a:pt x="826871" y="1139372"/>
                        <a:pt x="824703" y="1138328"/>
                      </a:cubicBezTo>
                      <a:lnTo>
                        <a:pt x="824863" y="1137123"/>
                      </a:lnTo>
                      <a:lnTo>
                        <a:pt x="821248" y="1138007"/>
                      </a:lnTo>
                      <a:lnTo>
                        <a:pt x="821088" y="1138649"/>
                      </a:lnTo>
                      <a:cubicBezTo>
                        <a:pt x="820686" y="1138729"/>
                        <a:pt x="820043" y="1138890"/>
                        <a:pt x="819642" y="1138971"/>
                      </a:cubicBezTo>
                      <a:cubicBezTo>
                        <a:pt x="821489" y="1140176"/>
                        <a:pt x="822534" y="1140738"/>
                        <a:pt x="825425" y="1140898"/>
                      </a:cubicBezTo>
                      <a:cubicBezTo>
                        <a:pt x="823176" y="1141380"/>
                        <a:pt x="822453" y="1141461"/>
                        <a:pt x="819963" y="1140979"/>
                      </a:cubicBezTo>
                      <a:cubicBezTo>
                        <a:pt x="820124" y="1140979"/>
                        <a:pt x="820686" y="1141220"/>
                        <a:pt x="821088" y="1141380"/>
                      </a:cubicBezTo>
                      <a:moveTo>
                        <a:pt x="1295746" y="1025628"/>
                      </a:moveTo>
                      <a:cubicBezTo>
                        <a:pt x="1295906" y="1025387"/>
                        <a:pt x="1296067" y="1025146"/>
                        <a:pt x="1296147" y="1024985"/>
                      </a:cubicBezTo>
                      <a:cubicBezTo>
                        <a:pt x="1295424" y="1025306"/>
                        <a:pt x="1295023" y="1025547"/>
                        <a:pt x="1294862" y="1025708"/>
                      </a:cubicBezTo>
                      <a:lnTo>
                        <a:pt x="1295746" y="1025628"/>
                      </a:lnTo>
                      <a:moveTo>
                        <a:pt x="1363382" y="1016390"/>
                      </a:moveTo>
                      <a:lnTo>
                        <a:pt x="1364025" y="1017675"/>
                      </a:lnTo>
                      <a:lnTo>
                        <a:pt x="1364667" y="1015908"/>
                      </a:lnTo>
                      <a:lnTo>
                        <a:pt x="1363221" y="1015346"/>
                      </a:lnTo>
                      <a:cubicBezTo>
                        <a:pt x="1363221" y="1015747"/>
                        <a:pt x="1363302" y="1016069"/>
                        <a:pt x="1363382" y="1016390"/>
                      </a:cubicBezTo>
                      <a:moveTo>
                        <a:pt x="1296308" y="1024824"/>
                      </a:moveTo>
                      <a:cubicBezTo>
                        <a:pt x="1297352" y="1024262"/>
                        <a:pt x="1298397" y="1023700"/>
                        <a:pt x="1299521" y="1023138"/>
                      </a:cubicBezTo>
                      <a:cubicBezTo>
                        <a:pt x="1299843" y="1022977"/>
                        <a:pt x="1300164" y="1022816"/>
                        <a:pt x="1300485" y="1022575"/>
                      </a:cubicBezTo>
                      <a:cubicBezTo>
                        <a:pt x="1300405" y="1022575"/>
                        <a:pt x="1300084" y="1022736"/>
                        <a:pt x="1296308" y="1024583"/>
                      </a:cubicBezTo>
                      <a:lnTo>
                        <a:pt x="1296147" y="1024905"/>
                      </a:lnTo>
                      <a:cubicBezTo>
                        <a:pt x="1296228" y="1024905"/>
                        <a:pt x="1296308" y="1024824"/>
                        <a:pt x="1296308" y="1024824"/>
                      </a:cubicBezTo>
                      <a:moveTo>
                        <a:pt x="1296308" y="1020728"/>
                      </a:moveTo>
                      <a:cubicBezTo>
                        <a:pt x="1297513" y="1020808"/>
                        <a:pt x="1298236" y="1020647"/>
                        <a:pt x="1298638" y="1020647"/>
                      </a:cubicBezTo>
                      <a:cubicBezTo>
                        <a:pt x="1301128" y="1020165"/>
                        <a:pt x="1303859" y="1019121"/>
                        <a:pt x="1305546" y="1014703"/>
                      </a:cubicBezTo>
                      <a:cubicBezTo>
                        <a:pt x="1304502" y="1014221"/>
                        <a:pt x="1303056" y="1013579"/>
                        <a:pt x="1302011" y="1013016"/>
                      </a:cubicBezTo>
                      <a:cubicBezTo>
                        <a:pt x="1300244" y="1014864"/>
                        <a:pt x="1298397" y="1016310"/>
                        <a:pt x="1295826" y="1017836"/>
                      </a:cubicBezTo>
                      <a:lnTo>
                        <a:pt x="1296951" y="1019443"/>
                      </a:lnTo>
                      <a:cubicBezTo>
                        <a:pt x="1296629" y="1019844"/>
                        <a:pt x="1296228" y="1020326"/>
                        <a:pt x="1295906" y="1020728"/>
                      </a:cubicBezTo>
                      <a:cubicBezTo>
                        <a:pt x="1296067" y="1020728"/>
                        <a:pt x="1296228" y="1020728"/>
                        <a:pt x="1296308" y="1020728"/>
                      </a:cubicBezTo>
                      <a:moveTo>
                        <a:pt x="1353180" y="988114"/>
                      </a:moveTo>
                      <a:cubicBezTo>
                        <a:pt x="1351172" y="986990"/>
                        <a:pt x="1349726" y="987311"/>
                        <a:pt x="1348843" y="989079"/>
                      </a:cubicBezTo>
                      <a:cubicBezTo>
                        <a:pt x="1350128" y="988838"/>
                        <a:pt x="1351895" y="988436"/>
                        <a:pt x="1353180" y="988114"/>
                      </a:cubicBezTo>
                      <a:moveTo>
                        <a:pt x="779639" y="1077439"/>
                      </a:moveTo>
                      <a:cubicBezTo>
                        <a:pt x="779157" y="1076877"/>
                        <a:pt x="778514" y="1076154"/>
                        <a:pt x="778032" y="1075592"/>
                      </a:cubicBezTo>
                      <a:cubicBezTo>
                        <a:pt x="776747" y="1077038"/>
                        <a:pt x="776345" y="1078403"/>
                        <a:pt x="776586" y="1079930"/>
                      </a:cubicBezTo>
                      <a:lnTo>
                        <a:pt x="779639" y="1077439"/>
                      </a:lnTo>
                      <a:moveTo>
                        <a:pt x="1490380" y="931805"/>
                      </a:moveTo>
                      <a:cubicBezTo>
                        <a:pt x="1490461" y="931885"/>
                        <a:pt x="1504277" y="937267"/>
                        <a:pt x="1505803" y="937428"/>
                      </a:cubicBezTo>
                      <a:cubicBezTo>
                        <a:pt x="1505643" y="937106"/>
                        <a:pt x="1500903" y="935098"/>
                        <a:pt x="1491826" y="931323"/>
                      </a:cubicBezTo>
                      <a:cubicBezTo>
                        <a:pt x="1492067" y="931644"/>
                        <a:pt x="1492389" y="932126"/>
                        <a:pt x="1492630" y="932528"/>
                      </a:cubicBezTo>
                      <a:cubicBezTo>
                        <a:pt x="1491826" y="932287"/>
                        <a:pt x="1491184" y="932046"/>
                        <a:pt x="1490380" y="931805"/>
                      </a:cubicBezTo>
                      <a:cubicBezTo>
                        <a:pt x="1490380" y="931805"/>
                        <a:pt x="1490380" y="931805"/>
                        <a:pt x="1490380" y="931805"/>
                      </a:cubicBezTo>
                      <a:moveTo>
                        <a:pt x="793294" y="1060490"/>
                      </a:moveTo>
                      <a:lnTo>
                        <a:pt x="793294" y="1060490"/>
                      </a:lnTo>
                      <a:lnTo>
                        <a:pt x="793294" y="1060490"/>
                      </a:lnTo>
                      <a:cubicBezTo>
                        <a:pt x="793294" y="1060490"/>
                        <a:pt x="793294" y="1060490"/>
                        <a:pt x="793294" y="1060490"/>
                      </a:cubicBezTo>
                      <a:cubicBezTo>
                        <a:pt x="793294" y="1060490"/>
                        <a:pt x="793294" y="1060490"/>
                        <a:pt x="793294" y="1060490"/>
                      </a:cubicBezTo>
                      <a:cubicBezTo>
                        <a:pt x="793294" y="1060490"/>
                        <a:pt x="793375" y="1060490"/>
                        <a:pt x="793294" y="1060490"/>
                      </a:cubicBezTo>
                      <a:cubicBezTo>
                        <a:pt x="793375" y="1060490"/>
                        <a:pt x="793375" y="1060490"/>
                        <a:pt x="793375" y="1060490"/>
                      </a:cubicBezTo>
                      <a:cubicBezTo>
                        <a:pt x="793375" y="1060490"/>
                        <a:pt x="79337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lnTo>
                        <a:pt x="793455" y="1060490"/>
                      </a:lnTo>
                      <a:lnTo>
                        <a:pt x="793455" y="1060490"/>
                      </a:lnTo>
                      <a:cubicBezTo>
                        <a:pt x="793375" y="1060410"/>
                        <a:pt x="793294" y="1060410"/>
                        <a:pt x="793294" y="1060490"/>
                      </a:cubicBezTo>
                      <a:lnTo>
                        <a:pt x="793294" y="1060490"/>
                      </a:lnTo>
                      <a:moveTo>
                        <a:pt x="734093" y="1115756"/>
                      </a:moveTo>
                      <a:cubicBezTo>
                        <a:pt x="735378" y="1118487"/>
                        <a:pt x="739394" y="1125716"/>
                        <a:pt x="748552" y="1133348"/>
                      </a:cubicBezTo>
                      <a:cubicBezTo>
                        <a:pt x="764376" y="1123226"/>
                        <a:pt x="764296" y="1131741"/>
                        <a:pt x="764296" y="1134954"/>
                      </a:cubicBezTo>
                      <a:cubicBezTo>
                        <a:pt x="787832" y="1153349"/>
                        <a:pt x="818598" y="1160338"/>
                        <a:pt x="815063" y="1125797"/>
                      </a:cubicBezTo>
                      <a:cubicBezTo>
                        <a:pt x="813617" y="1111257"/>
                        <a:pt x="801327" y="1102180"/>
                        <a:pt x="793937" y="1096798"/>
                      </a:cubicBezTo>
                      <a:cubicBezTo>
                        <a:pt x="796025" y="1093666"/>
                        <a:pt x="796266" y="1091738"/>
                        <a:pt x="794740" y="1089489"/>
                      </a:cubicBezTo>
                      <a:cubicBezTo>
                        <a:pt x="795383" y="1088203"/>
                        <a:pt x="796106" y="1086998"/>
                        <a:pt x="796668" y="1085633"/>
                      </a:cubicBezTo>
                      <a:cubicBezTo>
                        <a:pt x="795865" y="1086115"/>
                        <a:pt x="795865" y="1086115"/>
                        <a:pt x="794901" y="1087641"/>
                      </a:cubicBezTo>
                      <a:cubicBezTo>
                        <a:pt x="794178" y="1086677"/>
                        <a:pt x="793696" y="1086115"/>
                        <a:pt x="790884" y="1086838"/>
                      </a:cubicBezTo>
                      <a:cubicBezTo>
                        <a:pt x="797391" y="1083223"/>
                        <a:pt x="799721" y="1080652"/>
                        <a:pt x="801568" y="1074628"/>
                      </a:cubicBezTo>
                      <a:cubicBezTo>
                        <a:pt x="799801" y="1074949"/>
                        <a:pt x="799239" y="1075431"/>
                        <a:pt x="798435" y="1076877"/>
                      </a:cubicBezTo>
                      <a:cubicBezTo>
                        <a:pt x="797712" y="1076556"/>
                        <a:pt x="795784" y="1074628"/>
                        <a:pt x="798837" y="1070531"/>
                      </a:cubicBezTo>
                      <a:cubicBezTo>
                        <a:pt x="798917" y="1070933"/>
                        <a:pt x="798998" y="1071415"/>
                        <a:pt x="798998" y="1071736"/>
                      </a:cubicBezTo>
                      <a:cubicBezTo>
                        <a:pt x="802452" y="1069567"/>
                        <a:pt x="803737" y="1067880"/>
                        <a:pt x="804139" y="1065149"/>
                      </a:cubicBezTo>
                      <a:cubicBezTo>
                        <a:pt x="803576" y="1070290"/>
                        <a:pt x="803576" y="1070772"/>
                        <a:pt x="803576" y="1071736"/>
                      </a:cubicBezTo>
                      <a:cubicBezTo>
                        <a:pt x="803817" y="1071254"/>
                        <a:pt x="804299" y="1070371"/>
                        <a:pt x="806870" y="1055590"/>
                      </a:cubicBezTo>
                      <a:cubicBezTo>
                        <a:pt x="809280" y="1055188"/>
                        <a:pt x="810645" y="1055510"/>
                        <a:pt x="812091" y="1056715"/>
                      </a:cubicBezTo>
                      <a:cubicBezTo>
                        <a:pt x="814260" y="1049726"/>
                        <a:pt x="815706" y="1046593"/>
                        <a:pt x="820124" y="1039043"/>
                      </a:cubicBezTo>
                      <a:cubicBezTo>
                        <a:pt x="817955" y="1039364"/>
                        <a:pt x="816509" y="1039685"/>
                        <a:pt x="813858" y="1040488"/>
                      </a:cubicBezTo>
                      <a:cubicBezTo>
                        <a:pt x="815224" y="1043139"/>
                        <a:pt x="814581" y="1045469"/>
                        <a:pt x="811609" y="1049164"/>
                      </a:cubicBezTo>
                      <a:cubicBezTo>
                        <a:pt x="810565" y="1048923"/>
                        <a:pt x="809199" y="1048521"/>
                        <a:pt x="808155" y="1048280"/>
                      </a:cubicBezTo>
                      <a:cubicBezTo>
                        <a:pt x="791447" y="1061856"/>
                        <a:pt x="791447" y="1061856"/>
                        <a:pt x="791607" y="1067157"/>
                      </a:cubicBezTo>
                      <a:cubicBezTo>
                        <a:pt x="792571" y="1066756"/>
                        <a:pt x="793937" y="1066274"/>
                        <a:pt x="794901" y="1065952"/>
                      </a:cubicBezTo>
                      <a:cubicBezTo>
                        <a:pt x="792009" y="1073744"/>
                        <a:pt x="790965" y="1078564"/>
                        <a:pt x="790724" y="1084187"/>
                      </a:cubicBezTo>
                      <a:cubicBezTo>
                        <a:pt x="787109" y="1087480"/>
                        <a:pt x="778514" y="1095272"/>
                        <a:pt x="778835" y="1083544"/>
                      </a:cubicBezTo>
                      <a:cubicBezTo>
                        <a:pt x="778835" y="1082902"/>
                        <a:pt x="778916" y="1082018"/>
                        <a:pt x="778996" y="1081375"/>
                      </a:cubicBezTo>
                      <a:cubicBezTo>
                        <a:pt x="778353" y="1083866"/>
                        <a:pt x="777068" y="1085311"/>
                        <a:pt x="774578" y="1086597"/>
                      </a:cubicBezTo>
                      <a:cubicBezTo>
                        <a:pt x="773453" y="1099931"/>
                        <a:pt x="773212" y="1100092"/>
                        <a:pt x="766465" y="1104430"/>
                      </a:cubicBezTo>
                      <a:cubicBezTo>
                        <a:pt x="763493" y="1106357"/>
                        <a:pt x="752327" y="1112703"/>
                        <a:pt x="733129" y="1113346"/>
                      </a:cubicBezTo>
                      <a:cubicBezTo>
                        <a:pt x="733370" y="1114069"/>
                        <a:pt x="733771" y="1115033"/>
                        <a:pt x="734093" y="1115756"/>
                      </a:cubicBezTo>
                      <a:moveTo>
                        <a:pt x="1349807" y="986026"/>
                      </a:moveTo>
                      <a:cubicBezTo>
                        <a:pt x="1349726" y="986026"/>
                        <a:pt x="1349726" y="986026"/>
                        <a:pt x="1349807" y="986026"/>
                      </a:cubicBezTo>
                      <a:cubicBezTo>
                        <a:pt x="1349726" y="986026"/>
                        <a:pt x="1349726" y="986026"/>
                        <a:pt x="1349807" y="986026"/>
                      </a:cubicBezTo>
                      <a:moveTo>
                        <a:pt x="1349726" y="986026"/>
                      </a:moveTo>
                      <a:cubicBezTo>
                        <a:pt x="1349726" y="986026"/>
                        <a:pt x="1349726" y="986026"/>
                        <a:pt x="1349726" y="986026"/>
                      </a:cubicBezTo>
                      <a:cubicBezTo>
                        <a:pt x="1349726" y="986026"/>
                        <a:pt x="1349726" y="986026"/>
                        <a:pt x="1349726" y="986026"/>
                      </a:cubicBezTo>
                      <a:moveTo>
                        <a:pt x="1349726" y="986026"/>
                      </a:moveTo>
                      <a:cubicBezTo>
                        <a:pt x="1349726" y="986026"/>
                        <a:pt x="1349646" y="986026"/>
                        <a:pt x="1349646" y="986026"/>
                      </a:cubicBezTo>
                      <a:cubicBezTo>
                        <a:pt x="1349646" y="986026"/>
                        <a:pt x="1349726" y="986026"/>
                        <a:pt x="1349726" y="986026"/>
                      </a:cubicBezTo>
                      <a:moveTo>
                        <a:pt x="1349646" y="986026"/>
                      </a:moveTo>
                      <a:cubicBezTo>
                        <a:pt x="1349646" y="986026"/>
                        <a:pt x="1349566" y="986026"/>
                        <a:pt x="1349646" y="986026"/>
                      </a:cubicBezTo>
                      <a:cubicBezTo>
                        <a:pt x="1349566" y="986026"/>
                        <a:pt x="1349646" y="986026"/>
                        <a:pt x="1349646" y="986026"/>
                      </a:cubicBezTo>
                      <a:moveTo>
                        <a:pt x="1349566" y="986026"/>
                      </a:moveTo>
                      <a:cubicBezTo>
                        <a:pt x="1349485" y="986026"/>
                        <a:pt x="1349485" y="986026"/>
                        <a:pt x="1349405" y="986026"/>
                      </a:cubicBezTo>
                      <a:cubicBezTo>
                        <a:pt x="1349485" y="986026"/>
                        <a:pt x="1349566" y="986026"/>
                        <a:pt x="1349566" y="986026"/>
                      </a:cubicBezTo>
                      <a:moveTo>
                        <a:pt x="1349405" y="986026"/>
                      </a:moveTo>
                      <a:cubicBezTo>
                        <a:pt x="1349405" y="986026"/>
                        <a:pt x="1349325" y="986026"/>
                        <a:pt x="1349325" y="986026"/>
                      </a:cubicBezTo>
                      <a:cubicBezTo>
                        <a:pt x="1349405" y="986026"/>
                        <a:pt x="1349405" y="986026"/>
                        <a:pt x="1349405" y="986026"/>
                      </a:cubicBezTo>
                      <a:moveTo>
                        <a:pt x="1349325" y="986026"/>
                      </a:moveTo>
                      <a:cubicBezTo>
                        <a:pt x="1349244" y="986026"/>
                        <a:pt x="1349164" y="986026"/>
                        <a:pt x="1349164" y="986026"/>
                      </a:cubicBezTo>
                      <a:cubicBezTo>
                        <a:pt x="1349244" y="986106"/>
                        <a:pt x="1349244" y="986106"/>
                        <a:pt x="1349325" y="986026"/>
                      </a:cubicBezTo>
                      <a:moveTo>
                        <a:pt x="1349164" y="986106"/>
                      </a:moveTo>
                      <a:cubicBezTo>
                        <a:pt x="1349084" y="986106"/>
                        <a:pt x="1349084" y="986106"/>
                        <a:pt x="1349003" y="986106"/>
                      </a:cubicBezTo>
                      <a:cubicBezTo>
                        <a:pt x="1349084" y="986106"/>
                        <a:pt x="1349084" y="986106"/>
                        <a:pt x="1349164" y="986106"/>
                      </a:cubicBezTo>
                      <a:moveTo>
                        <a:pt x="1349003" y="986106"/>
                      </a:moveTo>
                      <a:cubicBezTo>
                        <a:pt x="1348923" y="986106"/>
                        <a:pt x="1348843" y="986106"/>
                        <a:pt x="1348762" y="986106"/>
                      </a:cubicBezTo>
                      <a:cubicBezTo>
                        <a:pt x="1348843" y="986106"/>
                        <a:pt x="1348923" y="986106"/>
                        <a:pt x="1349003" y="986106"/>
                      </a:cubicBezTo>
                      <a:moveTo>
                        <a:pt x="1348762" y="986106"/>
                      </a:moveTo>
                      <a:cubicBezTo>
                        <a:pt x="1348682" y="986106"/>
                        <a:pt x="1348682" y="986106"/>
                        <a:pt x="1348602" y="986106"/>
                      </a:cubicBezTo>
                      <a:cubicBezTo>
                        <a:pt x="1348682" y="986187"/>
                        <a:pt x="1348762" y="986106"/>
                        <a:pt x="1348762" y="986106"/>
                      </a:cubicBezTo>
                      <a:moveTo>
                        <a:pt x="1348602" y="986187"/>
                      </a:moveTo>
                      <a:cubicBezTo>
                        <a:pt x="1348521" y="986187"/>
                        <a:pt x="1348361" y="986187"/>
                        <a:pt x="1348280" y="986267"/>
                      </a:cubicBezTo>
                      <a:cubicBezTo>
                        <a:pt x="1348441" y="986187"/>
                        <a:pt x="1348521" y="986187"/>
                        <a:pt x="1348602" y="986187"/>
                      </a:cubicBezTo>
                      <a:moveTo>
                        <a:pt x="1348280" y="986187"/>
                      </a:moveTo>
                      <a:cubicBezTo>
                        <a:pt x="1348200" y="986187"/>
                        <a:pt x="1348200" y="986187"/>
                        <a:pt x="1348120" y="986187"/>
                      </a:cubicBezTo>
                      <a:cubicBezTo>
                        <a:pt x="1348200" y="986187"/>
                        <a:pt x="1348280" y="986187"/>
                        <a:pt x="1348280" y="986187"/>
                      </a:cubicBezTo>
                      <a:moveTo>
                        <a:pt x="1348200" y="986187"/>
                      </a:moveTo>
                      <a:cubicBezTo>
                        <a:pt x="1348039" y="986187"/>
                        <a:pt x="1347879" y="986187"/>
                        <a:pt x="1347798" y="986267"/>
                      </a:cubicBezTo>
                      <a:cubicBezTo>
                        <a:pt x="1347879" y="986267"/>
                        <a:pt x="1348039" y="986267"/>
                        <a:pt x="1348200" y="986187"/>
                      </a:cubicBezTo>
                      <a:moveTo>
                        <a:pt x="1347718" y="986267"/>
                      </a:moveTo>
                      <a:cubicBezTo>
                        <a:pt x="1347718" y="986267"/>
                        <a:pt x="1347638" y="986267"/>
                        <a:pt x="1347638" y="986267"/>
                      </a:cubicBezTo>
                      <a:cubicBezTo>
                        <a:pt x="1347718" y="986267"/>
                        <a:pt x="1347718" y="986267"/>
                        <a:pt x="1347718" y="986267"/>
                      </a:cubicBezTo>
                      <a:moveTo>
                        <a:pt x="1179431" y="896059"/>
                      </a:moveTo>
                      <a:cubicBezTo>
                        <a:pt x="1185134" y="914293"/>
                        <a:pt x="1198469" y="922085"/>
                        <a:pt x="1205618" y="926262"/>
                      </a:cubicBezTo>
                      <a:cubicBezTo>
                        <a:pt x="1220398" y="932688"/>
                        <a:pt x="1221282" y="933090"/>
                        <a:pt x="1225941" y="941203"/>
                      </a:cubicBezTo>
                      <a:lnTo>
                        <a:pt x="1228431" y="941123"/>
                      </a:lnTo>
                      <a:cubicBezTo>
                        <a:pt x="1247951" y="987793"/>
                        <a:pt x="1333741" y="1013980"/>
                        <a:pt x="1346513" y="986669"/>
                      </a:cubicBezTo>
                      <a:cubicBezTo>
                        <a:pt x="1347316" y="986428"/>
                        <a:pt x="1347477" y="986428"/>
                        <a:pt x="1347638" y="986347"/>
                      </a:cubicBezTo>
                      <a:cubicBezTo>
                        <a:pt x="1347477" y="986347"/>
                        <a:pt x="1347236" y="986428"/>
                        <a:pt x="1347075" y="986428"/>
                      </a:cubicBezTo>
                      <a:cubicBezTo>
                        <a:pt x="1351895" y="985062"/>
                        <a:pt x="1352618" y="984821"/>
                        <a:pt x="1359767" y="984500"/>
                      </a:cubicBezTo>
                      <a:cubicBezTo>
                        <a:pt x="1358402" y="983857"/>
                        <a:pt x="1356554" y="983054"/>
                        <a:pt x="1355188" y="982411"/>
                      </a:cubicBezTo>
                      <a:cubicBezTo>
                        <a:pt x="1357197" y="981206"/>
                        <a:pt x="1360892" y="979198"/>
                        <a:pt x="1362739" y="980564"/>
                      </a:cubicBezTo>
                      <a:cubicBezTo>
                        <a:pt x="1363302" y="980965"/>
                        <a:pt x="1432946" y="998557"/>
                        <a:pt x="1466282" y="932849"/>
                      </a:cubicBezTo>
                      <a:cubicBezTo>
                        <a:pt x="1465158" y="932849"/>
                        <a:pt x="1463631" y="932769"/>
                        <a:pt x="1462507" y="932769"/>
                      </a:cubicBezTo>
                      <a:cubicBezTo>
                        <a:pt x="1467808" y="930198"/>
                        <a:pt x="1468371" y="929957"/>
                        <a:pt x="1481143" y="931885"/>
                      </a:cubicBezTo>
                      <a:cubicBezTo>
                        <a:pt x="1472789" y="923611"/>
                        <a:pt x="1472789" y="921201"/>
                        <a:pt x="1481223" y="911482"/>
                      </a:cubicBezTo>
                      <a:cubicBezTo>
                        <a:pt x="1485240" y="921041"/>
                        <a:pt x="1488533" y="924896"/>
                        <a:pt x="1505562" y="924495"/>
                      </a:cubicBezTo>
                      <a:cubicBezTo>
                        <a:pt x="1489979" y="914534"/>
                        <a:pt x="1484195" y="904654"/>
                        <a:pt x="1484999" y="889070"/>
                      </a:cubicBezTo>
                      <a:cubicBezTo>
                        <a:pt x="1499538" y="899914"/>
                        <a:pt x="1510141" y="908510"/>
                        <a:pt x="1522753" y="919515"/>
                      </a:cubicBezTo>
                      <a:cubicBezTo>
                        <a:pt x="1530625" y="915578"/>
                        <a:pt x="1538336" y="912767"/>
                        <a:pt x="1538417" y="912767"/>
                      </a:cubicBezTo>
                      <a:cubicBezTo>
                        <a:pt x="1528295" y="877744"/>
                        <a:pt x="1612559" y="869069"/>
                        <a:pt x="1763737" y="889472"/>
                      </a:cubicBezTo>
                      <a:cubicBezTo>
                        <a:pt x="1829846" y="898388"/>
                        <a:pt x="1863745" y="900959"/>
                        <a:pt x="1902463" y="893809"/>
                      </a:cubicBezTo>
                      <a:cubicBezTo>
                        <a:pt x="1892422" y="862562"/>
                        <a:pt x="1901901" y="833001"/>
                        <a:pt x="1933309" y="798139"/>
                      </a:cubicBezTo>
                      <a:cubicBezTo>
                        <a:pt x="1930819" y="797175"/>
                        <a:pt x="1927445" y="795890"/>
                        <a:pt x="1924955" y="794845"/>
                      </a:cubicBezTo>
                      <a:cubicBezTo>
                        <a:pt x="1924473" y="795488"/>
                        <a:pt x="1923830" y="796372"/>
                        <a:pt x="1923348" y="797095"/>
                      </a:cubicBezTo>
                      <a:cubicBezTo>
                        <a:pt x="1921822" y="795167"/>
                        <a:pt x="1921822" y="795167"/>
                        <a:pt x="1921822" y="795167"/>
                      </a:cubicBezTo>
                      <a:lnTo>
                        <a:pt x="1921822" y="795167"/>
                      </a:lnTo>
                      <a:lnTo>
                        <a:pt x="1921822" y="795167"/>
                      </a:lnTo>
                      <a:lnTo>
                        <a:pt x="1921822" y="795167"/>
                      </a:lnTo>
                      <a:lnTo>
                        <a:pt x="1921822" y="795167"/>
                      </a:lnTo>
                      <a:lnTo>
                        <a:pt x="1921822" y="795167"/>
                      </a:lnTo>
                      <a:lnTo>
                        <a:pt x="1921822" y="795167"/>
                      </a:lnTo>
                      <a:cubicBezTo>
                        <a:pt x="1921822" y="795167"/>
                        <a:pt x="1921822" y="795167"/>
                        <a:pt x="1921822" y="795167"/>
                      </a:cubicBezTo>
                      <a:cubicBezTo>
                        <a:pt x="1921260" y="761911"/>
                        <a:pt x="1918288" y="751709"/>
                        <a:pt x="1915396" y="741829"/>
                      </a:cubicBezTo>
                      <a:cubicBezTo>
                        <a:pt x="1915476" y="744319"/>
                        <a:pt x="1915556" y="747613"/>
                        <a:pt x="1915476" y="750103"/>
                      </a:cubicBezTo>
                      <a:cubicBezTo>
                        <a:pt x="1826232" y="709698"/>
                        <a:pt x="1761568" y="689776"/>
                        <a:pt x="1749599" y="686242"/>
                      </a:cubicBezTo>
                      <a:cubicBezTo>
                        <a:pt x="1737550" y="682627"/>
                        <a:pt x="1737550" y="682627"/>
                        <a:pt x="1735943" y="675960"/>
                      </a:cubicBezTo>
                      <a:cubicBezTo>
                        <a:pt x="1736746" y="674996"/>
                        <a:pt x="1737791" y="673791"/>
                        <a:pt x="1738514" y="672827"/>
                      </a:cubicBezTo>
                      <a:cubicBezTo>
                        <a:pt x="1737871" y="671703"/>
                        <a:pt x="1736987" y="670096"/>
                        <a:pt x="1736345" y="668972"/>
                      </a:cubicBezTo>
                      <a:cubicBezTo>
                        <a:pt x="1730882" y="668168"/>
                        <a:pt x="1730159" y="668088"/>
                        <a:pt x="1722368" y="669052"/>
                      </a:cubicBezTo>
                      <a:cubicBezTo>
                        <a:pt x="1721564" y="668168"/>
                        <a:pt x="1720520" y="667044"/>
                        <a:pt x="1719797" y="666240"/>
                      </a:cubicBezTo>
                      <a:cubicBezTo>
                        <a:pt x="1720520" y="665036"/>
                        <a:pt x="1721404" y="663509"/>
                        <a:pt x="1722127" y="662304"/>
                      </a:cubicBezTo>
                      <a:cubicBezTo>
                        <a:pt x="1720118" y="658770"/>
                        <a:pt x="1717548" y="654432"/>
                        <a:pt x="1710720" y="658931"/>
                      </a:cubicBezTo>
                      <a:cubicBezTo>
                        <a:pt x="1711523" y="658047"/>
                        <a:pt x="1712648" y="656922"/>
                        <a:pt x="1713451" y="656119"/>
                      </a:cubicBezTo>
                      <a:cubicBezTo>
                        <a:pt x="1705820" y="650898"/>
                        <a:pt x="1703651" y="650094"/>
                        <a:pt x="1697225" y="647926"/>
                      </a:cubicBezTo>
                      <a:lnTo>
                        <a:pt x="1695618" y="647042"/>
                      </a:lnTo>
                      <a:cubicBezTo>
                        <a:pt x="1694494" y="647444"/>
                        <a:pt x="1692968" y="647926"/>
                        <a:pt x="1691843" y="648327"/>
                      </a:cubicBezTo>
                      <a:cubicBezTo>
                        <a:pt x="1687586" y="642463"/>
                        <a:pt x="1660274" y="632021"/>
                        <a:pt x="1652000" y="658609"/>
                      </a:cubicBezTo>
                      <a:lnTo>
                        <a:pt x="1650314" y="657404"/>
                      </a:lnTo>
                      <a:cubicBezTo>
                        <a:pt x="1642200" y="651701"/>
                        <a:pt x="1641156" y="650978"/>
                        <a:pt x="1629669" y="657404"/>
                      </a:cubicBezTo>
                      <a:cubicBezTo>
                        <a:pt x="1628866" y="656440"/>
                        <a:pt x="1627902" y="655235"/>
                        <a:pt x="1627099" y="654352"/>
                      </a:cubicBezTo>
                      <a:cubicBezTo>
                        <a:pt x="1625813" y="654914"/>
                        <a:pt x="1624127" y="655637"/>
                        <a:pt x="1622841" y="656199"/>
                      </a:cubicBezTo>
                      <a:cubicBezTo>
                        <a:pt x="1621877" y="655557"/>
                        <a:pt x="1620512" y="654673"/>
                        <a:pt x="1619548" y="654030"/>
                      </a:cubicBezTo>
                      <a:cubicBezTo>
                        <a:pt x="1620110" y="653307"/>
                        <a:pt x="1620753" y="652263"/>
                        <a:pt x="1621315" y="651540"/>
                      </a:cubicBezTo>
                      <a:cubicBezTo>
                        <a:pt x="1613202" y="638045"/>
                        <a:pt x="1610230" y="632984"/>
                        <a:pt x="1593602" y="627844"/>
                      </a:cubicBezTo>
                      <a:lnTo>
                        <a:pt x="1593120" y="625594"/>
                      </a:lnTo>
                      <a:cubicBezTo>
                        <a:pt x="1582115" y="621658"/>
                        <a:pt x="1570789" y="629771"/>
                        <a:pt x="1559784" y="624470"/>
                      </a:cubicBezTo>
                      <a:cubicBezTo>
                        <a:pt x="1561310" y="621980"/>
                        <a:pt x="1562917" y="618204"/>
                        <a:pt x="1562997" y="615312"/>
                      </a:cubicBezTo>
                      <a:cubicBezTo>
                        <a:pt x="1553358" y="613786"/>
                        <a:pt x="1553358" y="613786"/>
                        <a:pt x="1491987" y="625594"/>
                      </a:cubicBezTo>
                      <a:lnTo>
                        <a:pt x="1493995" y="626880"/>
                      </a:lnTo>
                      <a:cubicBezTo>
                        <a:pt x="1493594" y="628004"/>
                        <a:pt x="1493112" y="629530"/>
                        <a:pt x="1492790" y="630735"/>
                      </a:cubicBezTo>
                      <a:cubicBezTo>
                        <a:pt x="1491585" y="630896"/>
                        <a:pt x="1490059" y="631057"/>
                        <a:pt x="1488854" y="631137"/>
                      </a:cubicBezTo>
                      <a:cubicBezTo>
                        <a:pt x="1467567" y="687608"/>
                        <a:pt x="1459615" y="708654"/>
                        <a:pt x="1372700" y="648568"/>
                      </a:cubicBezTo>
                      <a:cubicBezTo>
                        <a:pt x="1373584" y="647444"/>
                        <a:pt x="1374708" y="645998"/>
                        <a:pt x="1375511" y="644873"/>
                      </a:cubicBezTo>
                      <a:cubicBezTo>
                        <a:pt x="1374789" y="642865"/>
                        <a:pt x="1373744" y="640053"/>
                        <a:pt x="1372138" y="638768"/>
                      </a:cubicBezTo>
                      <a:lnTo>
                        <a:pt x="1370451" y="639893"/>
                      </a:lnTo>
                      <a:cubicBezTo>
                        <a:pt x="1367398" y="629691"/>
                        <a:pt x="1364346" y="628486"/>
                        <a:pt x="1355108" y="626076"/>
                      </a:cubicBezTo>
                      <a:cubicBezTo>
                        <a:pt x="1354787" y="627040"/>
                        <a:pt x="1318800" y="727531"/>
                        <a:pt x="1245219" y="759421"/>
                      </a:cubicBezTo>
                      <a:cubicBezTo>
                        <a:pt x="1243854" y="764722"/>
                        <a:pt x="1243854" y="764722"/>
                        <a:pt x="1230038" y="785929"/>
                      </a:cubicBezTo>
                      <a:cubicBezTo>
                        <a:pt x="1229154" y="786732"/>
                        <a:pt x="1228029" y="787696"/>
                        <a:pt x="1227146" y="788500"/>
                      </a:cubicBezTo>
                      <a:cubicBezTo>
                        <a:pt x="1226744" y="787455"/>
                        <a:pt x="1226262" y="786009"/>
                        <a:pt x="1225941" y="784885"/>
                      </a:cubicBezTo>
                      <a:cubicBezTo>
                        <a:pt x="1219675" y="785688"/>
                        <a:pt x="1157100" y="824486"/>
                        <a:pt x="1179431" y="896059"/>
                      </a:cubicBezTo>
                      <a:moveTo>
                        <a:pt x="1902383" y="584386"/>
                      </a:moveTo>
                      <a:cubicBezTo>
                        <a:pt x="1903829" y="584386"/>
                        <a:pt x="2044001" y="580530"/>
                        <a:pt x="2046330" y="576353"/>
                      </a:cubicBezTo>
                      <a:cubicBezTo>
                        <a:pt x="2045688" y="576996"/>
                        <a:pt x="2044081" y="578603"/>
                        <a:pt x="2041832" y="574104"/>
                      </a:cubicBezTo>
                      <a:cubicBezTo>
                        <a:pt x="2041350" y="573140"/>
                        <a:pt x="2036450" y="564465"/>
                        <a:pt x="2018698" y="565107"/>
                      </a:cubicBezTo>
                      <a:cubicBezTo>
                        <a:pt x="2018457" y="564706"/>
                        <a:pt x="2018135" y="564224"/>
                        <a:pt x="2017975" y="563822"/>
                      </a:cubicBezTo>
                      <a:cubicBezTo>
                        <a:pt x="1963914" y="561011"/>
                        <a:pt x="1929052" y="566875"/>
                        <a:pt x="1893707" y="584547"/>
                      </a:cubicBezTo>
                      <a:cubicBezTo>
                        <a:pt x="1896278" y="584466"/>
                        <a:pt x="1899812" y="584386"/>
                        <a:pt x="1902383" y="584386"/>
                      </a:cubicBezTo>
                      <a:moveTo>
                        <a:pt x="1727750" y="487912"/>
                      </a:moveTo>
                      <a:cubicBezTo>
                        <a:pt x="1732328" y="491447"/>
                        <a:pt x="1736987" y="492812"/>
                        <a:pt x="1738514" y="493294"/>
                      </a:cubicBezTo>
                      <a:cubicBezTo>
                        <a:pt x="1735702" y="490402"/>
                        <a:pt x="1732569" y="488314"/>
                        <a:pt x="1728473" y="486707"/>
                      </a:cubicBezTo>
                      <a:cubicBezTo>
                        <a:pt x="1728151" y="487029"/>
                        <a:pt x="1727750" y="487430"/>
                        <a:pt x="1727428" y="487671"/>
                      </a:cubicBezTo>
                      <a:cubicBezTo>
                        <a:pt x="1727589" y="487752"/>
                        <a:pt x="1727669" y="487832"/>
                        <a:pt x="1727750" y="487912"/>
                      </a:cubicBezTo>
                      <a:moveTo>
                        <a:pt x="1428769" y="584145"/>
                      </a:moveTo>
                      <a:cubicBezTo>
                        <a:pt x="1434633" y="583824"/>
                        <a:pt x="1440497" y="583502"/>
                        <a:pt x="1446441" y="583181"/>
                      </a:cubicBezTo>
                      <a:cubicBezTo>
                        <a:pt x="1439694" y="583422"/>
                        <a:pt x="1433026" y="583904"/>
                        <a:pt x="1426279" y="584306"/>
                      </a:cubicBezTo>
                      <a:cubicBezTo>
                        <a:pt x="1427002" y="584225"/>
                        <a:pt x="1427966" y="584225"/>
                        <a:pt x="1428769" y="584145"/>
                      </a:cubicBezTo>
                      <a:moveTo>
                        <a:pt x="1186500" y="643186"/>
                      </a:moveTo>
                      <a:cubicBezTo>
                        <a:pt x="1189151" y="643427"/>
                        <a:pt x="1190918" y="643347"/>
                        <a:pt x="1194211" y="642865"/>
                      </a:cubicBezTo>
                      <a:cubicBezTo>
                        <a:pt x="1193328" y="643748"/>
                        <a:pt x="1191962" y="644712"/>
                        <a:pt x="1190918" y="645355"/>
                      </a:cubicBezTo>
                      <a:cubicBezTo>
                        <a:pt x="1193087" y="645355"/>
                        <a:pt x="1213490" y="643186"/>
                        <a:pt x="1235018" y="634430"/>
                      </a:cubicBezTo>
                      <a:cubicBezTo>
                        <a:pt x="1259598" y="624470"/>
                        <a:pt x="1275423" y="599488"/>
                        <a:pt x="1303216" y="595150"/>
                      </a:cubicBezTo>
                      <a:cubicBezTo>
                        <a:pt x="1324021" y="591937"/>
                        <a:pt x="1324021" y="591937"/>
                        <a:pt x="1325869" y="591053"/>
                      </a:cubicBezTo>
                      <a:cubicBezTo>
                        <a:pt x="1326431" y="590812"/>
                        <a:pt x="1327154" y="590411"/>
                        <a:pt x="1327716" y="590170"/>
                      </a:cubicBezTo>
                      <a:cubicBezTo>
                        <a:pt x="1324423" y="592660"/>
                        <a:pt x="1323861" y="593383"/>
                        <a:pt x="1322736" y="596435"/>
                      </a:cubicBezTo>
                      <a:cubicBezTo>
                        <a:pt x="1323379" y="596355"/>
                        <a:pt x="1324102" y="596275"/>
                        <a:pt x="1324744" y="596194"/>
                      </a:cubicBezTo>
                      <a:cubicBezTo>
                        <a:pt x="1326833" y="596837"/>
                        <a:pt x="1326833" y="596837"/>
                        <a:pt x="1331411" y="596034"/>
                      </a:cubicBezTo>
                      <a:cubicBezTo>
                        <a:pt x="1331010" y="596837"/>
                        <a:pt x="1330367" y="597801"/>
                        <a:pt x="1329966" y="598604"/>
                      </a:cubicBezTo>
                      <a:cubicBezTo>
                        <a:pt x="1345790" y="598925"/>
                        <a:pt x="1354546" y="596435"/>
                        <a:pt x="1358723" y="595230"/>
                      </a:cubicBezTo>
                      <a:cubicBezTo>
                        <a:pt x="1351654" y="604629"/>
                        <a:pt x="1351895" y="605512"/>
                        <a:pt x="1352779" y="608404"/>
                      </a:cubicBezTo>
                      <a:cubicBezTo>
                        <a:pt x="1359125" y="609207"/>
                        <a:pt x="1367639" y="605512"/>
                        <a:pt x="1400654" y="587519"/>
                      </a:cubicBezTo>
                      <a:cubicBezTo>
                        <a:pt x="1411498" y="591053"/>
                        <a:pt x="1415113" y="588563"/>
                        <a:pt x="1418326" y="586394"/>
                      </a:cubicBezTo>
                      <a:cubicBezTo>
                        <a:pt x="1426118" y="588965"/>
                        <a:pt x="1426359" y="585993"/>
                        <a:pt x="1427082" y="577960"/>
                      </a:cubicBezTo>
                      <a:cubicBezTo>
                        <a:pt x="1424833" y="576835"/>
                        <a:pt x="1424833" y="576835"/>
                        <a:pt x="1419531" y="577076"/>
                      </a:cubicBezTo>
                      <a:cubicBezTo>
                        <a:pt x="1424913" y="576434"/>
                        <a:pt x="1426198" y="575470"/>
                        <a:pt x="1428849" y="573622"/>
                      </a:cubicBezTo>
                      <a:cubicBezTo>
                        <a:pt x="1427725" y="573060"/>
                        <a:pt x="1426038" y="572658"/>
                        <a:pt x="1424833" y="572658"/>
                      </a:cubicBezTo>
                      <a:cubicBezTo>
                        <a:pt x="1432223" y="565107"/>
                        <a:pt x="1432223" y="565107"/>
                        <a:pt x="1432303" y="560127"/>
                      </a:cubicBezTo>
                      <a:lnTo>
                        <a:pt x="1435838" y="559404"/>
                      </a:lnTo>
                      <a:cubicBezTo>
                        <a:pt x="1434874" y="559002"/>
                        <a:pt x="1433669" y="558521"/>
                        <a:pt x="1432705" y="558119"/>
                      </a:cubicBezTo>
                      <a:cubicBezTo>
                        <a:pt x="1459856" y="547837"/>
                        <a:pt x="1488372" y="541812"/>
                        <a:pt x="1515041" y="530245"/>
                      </a:cubicBezTo>
                      <a:cubicBezTo>
                        <a:pt x="1520905" y="527675"/>
                        <a:pt x="1519298" y="523497"/>
                        <a:pt x="1518335" y="520927"/>
                      </a:cubicBezTo>
                      <a:cubicBezTo>
                        <a:pt x="1525484" y="523176"/>
                        <a:pt x="1530625" y="530486"/>
                        <a:pt x="1539220" y="529281"/>
                      </a:cubicBezTo>
                      <a:cubicBezTo>
                        <a:pt x="1544843" y="528478"/>
                        <a:pt x="1552313" y="519240"/>
                        <a:pt x="1555205" y="515706"/>
                      </a:cubicBezTo>
                      <a:cubicBezTo>
                        <a:pt x="1542433" y="513938"/>
                        <a:pt x="1528938" y="523979"/>
                        <a:pt x="1516728" y="513456"/>
                      </a:cubicBezTo>
                      <a:cubicBezTo>
                        <a:pt x="1517130" y="513055"/>
                        <a:pt x="1517692" y="512573"/>
                        <a:pt x="1518094" y="512252"/>
                      </a:cubicBezTo>
                      <a:cubicBezTo>
                        <a:pt x="1517210" y="511609"/>
                        <a:pt x="1516005" y="510806"/>
                        <a:pt x="1515041" y="510163"/>
                      </a:cubicBezTo>
                      <a:cubicBezTo>
                        <a:pt x="1522833" y="511448"/>
                        <a:pt x="1527171" y="511689"/>
                        <a:pt x="1533597" y="511448"/>
                      </a:cubicBezTo>
                      <a:cubicBezTo>
                        <a:pt x="1544763" y="510404"/>
                        <a:pt x="1549662" y="507994"/>
                        <a:pt x="1553679" y="501729"/>
                      </a:cubicBezTo>
                      <a:cubicBezTo>
                        <a:pt x="1563238" y="500283"/>
                        <a:pt x="1565086" y="499881"/>
                        <a:pt x="1568861" y="498194"/>
                      </a:cubicBezTo>
                      <a:cubicBezTo>
                        <a:pt x="1568540" y="497391"/>
                        <a:pt x="1568218" y="496347"/>
                        <a:pt x="1567897" y="495624"/>
                      </a:cubicBezTo>
                      <a:cubicBezTo>
                        <a:pt x="1567254" y="495383"/>
                        <a:pt x="1502028" y="475943"/>
                        <a:pt x="1505723" y="519401"/>
                      </a:cubicBezTo>
                      <a:cubicBezTo>
                        <a:pt x="1505000" y="518276"/>
                        <a:pt x="1503635" y="517071"/>
                        <a:pt x="1502430" y="516509"/>
                      </a:cubicBezTo>
                      <a:cubicBezTo>
                        <a:pt x="1501225" y="517152"/>
                        <a:pt x="1499859" y="518357"/>
                        <a:pt x="1498976" y="519481"/>
                      </a:cubicBezTo>
                      <a:cubicBezTo>
                        <a:pt x="1472628" y="521650"/>
                        <a:pt x="1446923" y="512252"/>
                        <a:pt x="1420575" y="515224"/>
                      </a:cubicBezTo>
                      <a:cubicBezTo>
                        <a:pt x="1411177" y="516268"/>
                        <a:pt x="1377118" y="521007"/>
                        <a:pt x="1334384" y="537957"/>
                      </a:cubicBezTo>
                      <a:cubicBezTo>
                        <a:pt x="1295585" y="553299"/>
                        <a:pt x="1238392" y="583984"/>
                        <a:pt x="1185696" y="643347"/>
                      </a:cubicBezTo>
                      <a:cubicBezTo>
                        <a:pt x="1185857" y="643106"/>
                        <a:pt x="1186178" y="643106"/>
                        <a:pt x="1186500" y="643186"/>
                      </a:cubicBezTo>
                      <a:moveTo>
                        <a:pt x="1737469" y="529361"/>
                      </a:moveTo>
                      <a:cubicBezTo>
                        <a:pt x="1767271" y="510324"/>
                        <a:pt x="1782373" y="507271"/>
                        <a:pt x="1782533" y="543419"/>
                      </a:cubicBezTo>
                      <a:cubicBezTo>
                        <a:pt x="1794582" y="537957"/>
                        <a:pt x="1802214" y="531852"/>
                        <a:pt x="1803178" y="518758"/>
                      </a:cubicBezTo>
                      <a:cubicBezTo>
                        <a:pt x="1803740" y="511529"/>
                        <a:pt x="1796189" y="491848"/>
                        <a:pt x="1786791" y="487671"/>
                      </a:cubicBezTo>
                      <a:lnTo>
                        <a:pt x="1784622" y="489599"/>
                      </a:lnTo>
                      <a:cubicBezTo>
                        <a:pt x="1780445" y="487671"/>
                        <a:pt x="1777794" y="486386"/>
                        <a:pt x="1774019" y="484378"/>
                      </a:cubicBezTo>
                      <a:cubicBezTo>
                        <a:pt x="1775705" y="481727"/>
                        <a:pt x="1776187" y="479879"/>
                        <a:pt x="1776027" y="476827"/>
                      </a:cubicBezTo>
                      <a:cubicBezTo>
                        <a:pt x="1768476" y="474979"/>
                        <a:pt x="1762853" y="473935"/>
                        <a:pt x="1752089" y="472168"/>
                      </a:cubicBezTo>
                      <a:cubicBezTo>
                        <a:pt x="1759559" y="476024"/>
                        <a:pt x="1766709" y="480361"/>
                        <a:pt x="1774019" y="484378"/>
                      </a:cubicBezTo>
                      <a:cubicBezTo>
                        <a:pt x="1764138" y="496186"/>
                        <a:pt x="1747109" y="495463"/>
                        <a:pt x="1738514" y="493214"/>
                      </a:cubicBezTo>
                      <a:cubicBezTo>
                        <a:pt x="1747992" y="505263"/>
                        <a:pt x="1745100" y="515706"/>
                        <a:pt x="1737309" y="528478"/>
                      </a:cubicBezTo>
                      <a:cubicBezTo>
                        <a:pt x="1737389" y="528799"/>
                        <a:pt x="1737469" y="529040"/>
                        <a:pt x="1737469" y="529361"/>
                      </a:cubicBezTo>
                      <a:moveTo>
                        <a:pt x="1682043" y="463171"/>
                      </a:moveTo>
                      <a:cubicBezTo>
                        <a:pt x="1705338" y="466545"/>
                        <a:pt x="1728794" y="468633"/>
                        <a:pt x="1752089" y="472168"/>
                      </a:cubicBezTo>
                      <a:cubicBezTo>
                        <a:pt x="1736586" y="464938"/>
                        <a:pt x="1719315" y="458753"/>
                        <a:pt x="1678348" y="462609"/>
                      </a:cubicBezTo>
                      <a:cubicBezTo>
                        <a:pt x="1679472" y="462769"/>
                        <a:pt x="1680918" y="463010"/>
                        <a:pt x="1682043" y="463171"/>
                      </a:cubicBezTo>
                      <a:moveTo>
                        <a:pt x="2038458" y="545668"/>
                      </a:moveTo>
                      <a:cubicBezTo>
                        <a:pt x="2041511" y="554022"/>
                        <a:pt x="2050427" y="560689"/>
                        <a:pt x="2056291" y="565107"/>
                      </a:cubicBezTo>
                      <a:cubicBezTo>
                        <a:pt x="2067858" y="558119"/>
                        <a:pt x="2127622" y="520766"/>
                        <a:pt x="2171642" y="476024"/>
                      </a:cubicBezTo>
                      <a:cubicBezTo>
                        <a:pt x="2157424" y="468714"/>
                        <a:pt x="2143929" y="470320"/>
                        <a:pt x="2138788" y="471284"/>
                      </a:cubicBezTo>
                      <a:cubicBezTo>
                        <a:pt x="2133888" y="472248"/>
                        <a:pt x="2127462" y="474096"/>
                        <a:pt x="2122963" y="476104"/>
                      </a:cubicBezTo>
                      <a:cubicBezTo>
                        <a:pt x="2120553" y="477148"/>
                        <a:pt x="2117501" y="478835"/>
                        <a:pt x="2115171" y="480040"/>
                      </a:cubicBezTo>
                      <a:cubicBezTo>
                        <a:pt x="2110272" y="482530"/>
                        <a:pt x="2105130" y="488234"/>
                        <a:pt x="2100231" y="490804"/>
                      </a:cubicBezTo>
                      <a:cubicBezTo>
                        <a:pt x="2098142" y="491848"/>
                        <a:pt x="2094768" y="491045"/>
                        <a:pt x="2092519" y="491768"/>
                      </a:cubicBezTo>
                      <a:cubicBezTo>
                        <a:pt x="2083924" y="494419"/>
                        <a:pt x="2079185" y="498997"/>
                        <a:pt x="2078462" y="505263"/>
                      </a:cubicBezTo>
                      <a:cubicBezTo>
                        <a:pt x="2066412" y="500122"/>
                        <a:pt x="2060950" y="499479"/>
                        <a:pt x="2062316" y="503576"/>
                      </a:cubicBezTo>
                      <a:cubicBezTo>
                        <a:pt x="2062878" y="505183"/>
                        <a:pt x="2064966" y="507753"/>
                        <a:pt x="2066332" y="509440"/>
                      </a:cubicBezTo>
                      <a:cubicBezTo>
                        <a:pt x="2056773" y="514260"/>
                        <a:pt x="2031711" y="527273"/>
                        <a:pt x="2038458" y="545668"/>
                      </a:cubicBezTo>
                      <a:moveTo>
                        <a:pt x="1801169" y="469758"/>
                      </a:moveTo>
                      <a:cubicBezTo>
                        <a:pt x="1803338" y="470802"/>
                        <a:pt x="1813138" y="469356"/>
                        <a:pt x="1816271" y="468874"/>
                      </a:cubicBezTo>
                      <a:cubicBezTo>
                        <a:pt x="1820689" y="483253"/>
                        <a:pt x="1827597" y="490001"/>
                        <a:pt x="1841815" y="493776"/>
                      </a:cubicBezTo>
                      <a:cubicBezTo>
                        <a:pt x="1842779" y="497712"/>
                        <a:pt x="1845109" y="499881"/>
                        <a:pt x="1851615" y="502532"/>
                      </a:cubicBezTo>
                      <a:cubicBezTo>
                        <a:pt x="1850732" y="502451"/>
                        <a:pt x="1849928" y="502451"/>
                        <a:pt x="1849045" y="502371"/>
                      </a:cubicBezTo>
                      <a:cubicBezTo>
                        <a:pt x="1848563" y="504540"/>
                        <a:pt x="1849045" y="505022"/>
                        <a:pt x="1851615" y="506548"/>
                      </a:cubicBezTo>
                      <a:cubicBezTo>
                        <a:pt x="1848804" y="507593"/>
                        <a:pt x="1848804" y="507593"/>
                        <a:pt x="1848161" y="509199"/>
                      </a:cubicBezTo>
                      <a:cubicBezTo>
                        <a:pt x="1849848" y="510806"/>
                        <a:pt x="1849848" y="510806"/>
                        <a:pt x="1852660" y="511850"/>
                      </a:cubicBezTo>
                      <a:cubicBezTo>
                        <a:pt x="1852258" y="511770"/>
                        <a:pt x="1851696" y="511609"/>
                        <a:pt x="1851294" y="511448"/>
                      </a:cubicBezTo>
                      <a:cubicBezTo>
                        <a:pt x="1851535" y="513938"/>
                        <a:pt x="1852017" y="515706"/>
                        <a:pt x="1855792" y="515706"/>
                      </a:cubicBezTo>
                      <a:cubicBezTo>
                        <a:pt x="1855391" y="516348"/>
                        <a:pt x="1854828" y="517152"/>
                        <a:pt x="1854347" y="517714"/>
                      </a:cubicBezTo>
                      <a:cubicBezTo>
                        <a:pt x="1873706" y="532494"/>
                        <a:pt x="1882542" y="533860"/>
                        <a:pt x="1885915" y="522453"/>
                      </a:cubicBezTo>
                      <a:cubicBezTo>
                        <a:pt x="1887602" y="523256"/>
                        <a:pt x="1887602" y="523256"/>
                        <a:pt x="1888968" y="523417"/>
                      </a:cubicBezTo>
                      <a:cubicBezTo>
                        <a:pt x="1889209" y="522935"/>
                        <a:pt x="1889289" y="522132"/>
                        <a:pt x="1889129" y="521570"/>
                      </a:cubicBezTo>
                      <a:cubicBezTo>
                        <a:pt x="1894992" y="520686"/>
                        <a:pt x="1900615" y="523578"/>
                        <a:pt x="1906479" y="522293"/>
                      </a:cubicBezTo>
                      <a:cubicBezTo>
                        <a:pt x="1907925" y="521329"/>
                        <a:pt x="1909933" y="520124"/>
                        <a:pt x="1911379" y="519160"/>
                      </a:cubicBezTo>
                      <a:cubicBezTo>
                        <a:pt x="1953712" y="537314"/>
                        <a:pt x="1972509" y="505906"/>
                        <a:pt x="1971866" y="478996"/>
                      </a:cubicBezTo>
                      <a:lnTo>
                        <a:pt x="1969938" y="478193"/>
                      </a:lnTo>
                      <a:cubicBezTo>
                        <a:pt x="1970581" y="478353"/>
                        <a:pt x="1971465" y="478514"/>
                        <a:pt x="1972107" y="478594"/>
                      </a:cubicBezTo>
                      <a:cubicBezTo>
                        <a:pt x="1967288" y="470802"/>
                        <a:pt x="1960138" y="468633"/>
                        <a:pt x="1960058" y="468633"/>
                      </a:cubicBezTo>
                      <a:cubicBezTo>
                        <a:pt x="1959255" y="468473"/>
                        <a:pt x="1958130" y="469276"/>
                        <a:pt x="1957327" y="469517"/>
                      </a:cubicBezTo>
                      <a:cubicBezTo>
                        <a:pt x="1954837" y="470320"/>
                        <a:pt x="1947527" y="472328"/>
                        <a:pt x="1934193" y="472971"/>
                      </a:cubicBezTo>
                      <a:cubicBezTo>
                        <a:pt x="1935799" y="467429"/>
                        <a:pt x="1931702" y="461484"/>
                        <a:pt x="1931702" y="461484"/>
                      </a:cubicBezTo>
                      <a:cubicBezTo>
                        <a:pt x="1908809" y="447748"/>
                        <a:pt x="1883265" y="439715"/>
                        <a:pt x="1859407" y="428068"/>
                      </a:cubicBezTo>
                      <a:cubicBezTo>
                        <a:pt x="1859568" y="428469"/>
                        <a:pt x="1859809" y="428951"/>
                        <a:pt x="1859969" y="429353"/>
                      </a:cubicBezTo>
                      <a:cubicBezTo>
                        <a:pt x="1851374" y="427747"/>
                        <a:pt x="1848884" y="425979"/>
                        <a:pt x="1848161" y="421079"/>
                      </a:cubicBezTo>
                      <a:cubicBezTo>
                        <a:pt x="1829686" y="409753"/>
                        <a:pt x="1825428" y="409030"/>
                        <a:pt x="1824545" y="409110"/>
                      </a:cubicBezTo>
                      <a:cubicBezTo>
                        <a:pt x="1813219" y="405335"/>
                        <a:pt x="1809042" y="407102"/>
                        <a:pt x="1812255" y="414252"/>
                      </a:cubicBezTo>
                      <a:cubicBezTo>
                        <a:pt x="1812576" y="414894"/>
                        <a:pt x="1812978" y="415697"/>
                        <a:pt x="1813299" y="416340"/>
                      </a:cubicBezTo>
                      <a:cubicBezTo>
                        <a:pt x="1809684" y="416179"/>
                        <a:pt x="1807355" y="415778"/>
                        <a:pt x="1803820" y="414171"/>
                      </a:cubicBezTo>
                      <a:cubicBezTo>
                        <a:pt x="1777955" y="428229"/>
                        <a:pt x="1810166" y="438189"/>
                        <a:pt x="1820609" y="441001"/>
                      </a:cubicBezTo>
                      <a:cubicBezTo>
                        <a:pt x="1821573" y="441242"/>
                        <a:pt x="1823179" y="441483"/>
                        <a:pt x="1825750" y="441483"/>
                      </a:cubicBezTo>
                      <a:cubicBezTo>
                        <a:pt x="1823340" y="444294"/>
                        <a:pt x="1820046" y="445981"/>
                        <a:pt x="1817315" y="448471"/>
                      </a:cubicBezTo>
                      <a:lnTo>
                        <a:pt x="1818681" y="448712"/>
                      </a:lnTo>
                      <a:lnTo>
                        <a:pt x="1816351" y="449114"/>
                      </a:lnTo>
                      <a:cubicBezTo>
                        <a:pt x="1816753" y="449355"/>
                        <a:pt x="1817235" y="449596"/>
                        <a:pt x="1817637" y="449837"/>
                      </a:cubicBezTo>
                      <a:cubicBezTo>
                        <a:pt x="1810086" y="452889"/>
                        <a:pt x="1809764" y="455058"/>
                        <a:pt x="1816592" y="458512"/>
                      </a:cubicBezTo>
                      <a:cubicBezTo>
                        <a:pt x="1801571" y="465902"/>
                        <a:pt x="1801009" y="467188"/>
                        <a:pt x="1800286" y="468955"/>
                      </a:cubicBezTo>
                      <a:cubicBezTo>
                        <a:pt x="1800607" y="469196"/>
                        <a:pt x="1800848" y="469597"/>
                        <a:pt x="1801169" y="469758"/>
                      </a:cubicBezTo>
                      <a:moveTo>
                        <a:pt x="2314626" y="512252"/>
                      </a:moveTo>
                      <a:cubicBezTo>
                        <a:pt x="2315509" y="514983"/>
                        <a:pt x="2318642" y="517152"/>
                        <a:pt x="2328683" y="512412"/>
                      </a:cubicBezTo>
                      <a:cubicBezTo>
                        <a:pt x="2328362" y="511529"/>
                        <a:pt x="2328121" y="510565"/>
                        <a:pt x="2327639" y="509681"/>
                      </a:cubicBezTo>
                      <a:cubicBezTo>
                        <a:pt x="2328603" y="512252"/>
                        <a:pt x="2328603" y="512252"/>
                        <a:pt x="2328282" y="512492"/>
                      </a:cubicBezTo>
                      <a:cubicBezTo>
                        <a:pt x="2325470" y="505504"/>
                        <a:pt x="2323703" y="501006"/>
                        <a:pt x="2321052" y="493937"/>
                      </a:cubicBezTo>
                      <a:cubicBezTo>
                        <a:pt x="2320570" y="494097"/>
                        <a:pt x="2319928" y="494097"/>
                        <a:pt x="2318723" y="493294"/>
                      </a:cubicBezTo>
                      <a:cubicBezTo>
                        <a:pt x="2318642" y="493455"/>
                        <a:pt x="2312939" y="507111"/>
                        <a:pt x="2314626" y="512252"/>
                      </a:cubicBezTo>
                      <a:moveTo>
                        <a:pt x="1642602" y="397945"/>
                      </a:moveTo>
                      <a:cubicBezTo>
                        <a:pt x="1644369" y="402764"/>
                        <a:pt x="1647502" y="407102"/>
                        <a:pt x="1649831" y="410235"/>
                      </a:cubicBezTo>
                      <a:cubicBezTo>
                        <a:pt x="1650956" y="406058"/>
                        <a:pt x="1652081" y="403487"/>
                        <a:pt x="1654571" y="398989"/>
                      </a:cubicBezTo>
                      <a:cubicBezTo>
                        <a:pt x="1663166" y="408468"/>
                        <a:pt x="1668387" y="411520"/>
                        <a:pt x="1676741" y="411922"/>
                      </a:cubicBezTo>
                      <a:cubicBezTo>
                        <a:pt x="1679553" y="411601"/>
                        <a:pt x="1683489" y="411199"/>
                        <a:pt x="1687345" y="408869"/>
                      </a:cubicBezTo>
                      <a:lnTo>
                        <a:pt x="1705659" y="394651"/>
                      </a:lnTo>
                      <a:cubicBezTo>
                        <a:pt x="1720038" y="394250"/>
                        <a:pt x="1723171" y="394089"/>
                        <a:pt x="1724296" y="393527"/>
                      </a:cubicBezTo>
                      <a:cubicBezTo>
                        <a:pt x="1722448" y="392723"/>
                        <a:pt x="1715620" y="392161"/>
                        <a:pt x="1697466" y="391117"/>
                      </a:cubicBezTo>
                      <a:cubicBezTo>
                        <a:pt x="1687907" y="390555"/>
                        <a:pt x="1664291" y="383004"/>
                        <a:pt x="1652643" y="374007"/>
                      </a:cubicBezTo>
                      <a:cubicBezTo>
                        <a:pt x="1649269" y="376096"/>
                        <a:pt x="1646699" y="377220"/>
                        <a:pt x="1642923" y="378264"/>
                      </a:cubicBezTo>
                      <a:cubicBezTo>
                        <a:pt x="1641638" y="382281"/>
                        <a:pt x="1639469" y="389109"/>
                        <a:pt x="1642602" y="397945"/>
                      </a:cubicBezTo>
                      <a:moveTo>
                        <a:pt x="1673287" y="339787"/>
                      </a:moveTo>
                      <a:cubicBezTo>
                        <a:pt x="1673850" y="341153"/>
                        <a:pt x="1674974" y="342117"/>
                        <a:pt x="1675697" y="342759"/>
                      </a:cubicBezTo>
                      <a:cubicBezTo>
                        <a:pt x="1692968" y="329746"/>
                        <a:pt x="1704776" y="327337"/>
                        <a:pt x="1736104" y="330148"/>
                      </a:cubicBezTo>
                      <a:cubicBezTo>
                        <a:pt x="1724858" y="320830"/>
                        <a:pt x="1732489" y="319063"/>
                        <a:pt x="1734176" y="318822"/>
                      </a:cubicBezTo>
                      <a:cubicBezTo>
                        <a:pt x="1735220" y="318661"/>
                        <a:pt x="1736264" y="319143"/>
                        <a:pt x="1737309" y="319143"/>
                      </a:cubicBezTo>
                      <a:cubicBezTo>
                        <a:pt x="1740522" y="318822"/>
                        <a:pt x="1746466" y="318179"/>
                        <a:pt x="1742610" y="307576"/>
                      </a:cubicBezTo>
                      <a:cubicBezTo>
                        <a:pt x="1742369" y="306853"/>
                        <a:pt x="1742128" y="305728"/>
                        <a:pt x="1741566" y="305086"/>
                      </a:cubicBezTo>
                      <a:lnTo>
                        <a:pt x="1726384" y="289261"/>
                      </a:lnTo>
                      <a:cubicBezTo>
                        <a:pt x="1718432" y="282995"/>
                        <a:pt x="1706945" y="281630"/>
                        <a:pt x="1693932" y="280666"/>
                      </a:cubicBezTo>
                      <a:cubicBezTo>
                        <a:pt x="1696502" y="283960"/>
                        <a:pt x="1700759" y="289502"/>
                        <a:pt x="1702527" y="296973"/>
                      </a:cubicBezTo>
                      <a:cubicBezTo>
                        <a:pt x="1704936" y="307094"/>
                        <a:pt x="1703089" y="317617"/>
                        <a:pt x="1705097" y="327819"/>
                      </a:cubicBezTo>
                      <a:cubicBezTo>
                        <a:pt x="1681159" y="323320"/>
                        <a:pt x="1680035" y="332959"/>
                        <a:pt x="1679553" y="337056"/>
                      </a:cubicBezTo>
                      <a:cubicBezTo>
                        <a:pt x="1676741" y="337217"/>
                        <a:pt x="1675054" y="337458"/>
                        <a:pt x="1672886" y="337940"/>
                      </a:cubicBezTo>
                      <a:cubicBezTo>
                        <a:pt x="1672886" y="338341"/>
                        <a:pt x="1672966" y="339064"/>
                        <a:pt x="1673287" y="339787"/>
                      </a:cubicBezTo>
                      <a:moveTo>
                        <a:pt x="1891458" y="279461"/>
                      </a:moveTo>
                      <a:cubicBezTo>
                        <a:pt x="1893948" y="284200"/>
                        <a:pt x="1907684" y="291751"/>
                        <a:pt x="1907845" y="291751"/>
                      </a:cubicBezTo>
                      <a:cubicBezTo>
                        <a:pt x="1908006" y="291831"/>
                        <a:pt x="1925838" y="297374"/>
                        <a:pt x="1926722" y="291992"/>
                      </a:cubicBezTo>
                      <a:cubicBezTo>
                        <a:pt x="1927204" y="289100"/>
                        <a:pt x="1922625" y="284441"/>
                        <a:pt x="1920215" y="281951"/>
                      </a:cubicBezTo>
                      <a:lnTo>
                        <a:pt x="1916199" y="280023"/>
                      </a:lnTo>
                      <a:cubicBezTo>
                        <a:pt x="1916681" y="280023"/>
                        <a:pt x="1917324" y="280104"/>
                        <a:pt x="1917806" y="280104"/>
                      </a:cubicBezTo>
                      <a:cubicBezTo>
                        <a:pt x="1908407" y="276007"/>
                        <a:pt x="1900776" y="275686"/>
                        <a:pt x="1897081" y="275927"/>
                      </a:cubicBezTo>
                      <a:cubicBezTo>
                        <a:pt x="1897001" y="275605"/>
                        <a:pt x="1896920" y="275364"/>
                        <a:pt x="1896760" y="275043"/>
                      </a:cubicBezTo>
                      <a:cubicBezTo>
                        <a:pt x="1892663" y="275846"/>
                        <a:pt x="1889771" y="276328"/>
                        <a:pt x="1891458" y="279461"/>
                      </a:cubicBezTo>
                      <a:moveTo>
                        <a:pt x="1684373" y="216725"/>
                      </a:moveTo>
                      <a:cubicBezTo>
                        <a:pt x="1686461" y="221705"/>
                        <a:pt x="1698028" y="234236"/>
                        <a:pt x="1708712" y="245482"/>
                      </a:cubicBezTo>
                      <a:cubicBezTo>
                        <a:pt x="1710559" y="242912"/>
                        <a:pt x="1712327" y="241386"/>
                        <a:pt x="1715941" y="239297"/>
                      </a:cubicBezTo>
                      <a:lnTo>
                        <a:pt x="1716102" y="239217"/>
                      </a:lnTo>
                      <a:lnTo>
                        <a:pt x="1715941" y="239297"/>
                      </a:lnTo>
                      <a:cubicBezTo>
                        <a:pt x="1717628" y="236887"/>
                        <a:pt x="1718191" y="235120"/>
                        <a:pt x="1718110" y="232549"/>
                      </a:cubicBezTo>
                      <a:cubicBezTo>
                        <a:pt x="1695458" y="217287"/>
                        <a:pt x="1683409" y="211343"/>
                        <a:pt x="1684132" y="215681"/>
                      </a:cubicBezTo>
                      <a:cubicBezTo>
                        <a:pt x="1684132" y="216002"/>
                        <a:pt x="1684292" y="216404"/>
                        <a:pt x="1684373" y="216725"/>
                      </a:cubicBezTo>
                      <a:moveTo>
                        <a:pt x="1469977" y="137120"/>
                      </a:moveTo>
                      <a:cubicBezTo>
                        <a:pt x="1475761" y="144430"/>
                        <a:pt x="1485159" y="150294"/>
                        <a:pt x="1497931" y="154631"/>
                      </a:cubicBezTo>
                      <a:cubicBezTo>
                        <a:pt x="1495923" y="152221"/>
                        <a:pt x="1492549" y="148205"/>
                        <a:pt x="1498574" y="148526"/>
                      </a:cubicBezTo>
                      <a:cubicBezTo>
                        <a:pt x="1500984" y="148687"/>
                        <a:pt x="1504357" y="149571"/>
                        <a:pt x="1506607" y="150133"/>
                      </a:cubicBezTo>
                      <a:cubicBezTo>
                        <a:pt x="1504599" y="145795"/>
                        <a:pt x="1501466" y="142904"/>
                        <a:pt x="1493513" y="138084"/>
                      </a:cubicBezTo>
                      <a:cubicBezTo>
                        <a:pt x="1494236" y="137923"/>
                        <a:pt x="1495281" y="137762"/>
                        <a:pt x="1496003" y="137602"/>
                      </a:cubicBezTo>
                      <a:cubicBezTo>
                        <a:pt x="1494959" y="131577"/>
                        <a:pt x="1500261" y="133666"/>
                        <a:pt x="1509740" y="137843"/>
                      </a:cubicBezTo>
                      <a:cubicBezTo>
                        <a:pt x="1509017" y="135915"/>
                        <a:pt x="1509017" y="134790"/>
                        <a:pt x="1509740" y="132782"/>
                      </a:cubicBezTo>
                      <a:cubicBezTo>
                        <a:pt x="1508535" y="134148"/>
                        <a:pt x="1507330" y="134710"/>
                        <a:pt x="1504679" y="135192"/>
                      </a:cubicBezTo>
                      <a:cubicBezTo>
                        <a:pt x="1507089" y="133264"/>
                        <a:pt x="1508615" y="131738"/>
                        <a:pt x="1510061" y="129810"/>
                      </a:cubicBezTo>
                      <a:lnTo>
                        <a:pt x="1505723" y="130212"/>
                      </a:lnTo>
                      <a:cubicBezTo>
                        <a:pt x="1488131" y="124428"/>
                        <a:pt x="1477930" y="125071"/>
                        <a:pt x="1474636" y="132139"/>
                      </a:cubicBezTo>
                      <a:cubicBezTo>
                        <a:pt x="1473512" y="132300"/>
                        <a:pt x="1471343" y="132621"/>
                        <a:pt x="1468130" y="132702"/>
                      </a:cubicBezTo>
                      <a:cubicBezTo>
                        <a:pt x="1468933" y="134148"/>
                        <a:pt x="1469013" y="135835"/>
                        <a:pt x="1469977" y="137120"/>
                      </a:cubicBezTo>
                      <a:moveTo>
                        <a:pt x="1271005" y="85308"/>
                      </a:moveTo>
                      <a:cubicBezTo>
                        <a:pt x="1271728" y="87397"/>
                        <a:pt x="1288516" y="135754"/>
                        <a:pt x="1314623" y="122259"/>
                      </a:cubicBezTo>
                      <a:cubicBezTo>
                        <a:pt x="1316310" y="124267"/>
                        <a:pt x="1330769" y="127641"/>
                        <a:pt x="1333339" y="126597"/>
                      </a:cubicBezTo>
                      <a:cubicBezTo>
                        <a:pt x="1333179" y="125794"/>
                        <a:pt x="1332536" y="124910"/>
                        <a:pt x="1332054" y="124267"/>
                      </a:cubicBezTo>
                      <a:cubicBezTo>
                        <a:pt x="1338320" y="122741"/>
                        <a:pt x="1342497" y="123625"/>
                        <a:pt x="1346674" y="127480"/>
                      </a:cubicBezTo>
                      <a:cubicBezTo>
                        <a:pt x="1353903" y="125874"/>
                        <a:pt x="1360249" y="125312"/>
                        <a:pt x="1367800" y="125713"/>
                      </a:cubicBezTo>
                      <a:cubicBezTo>
                        <a:pt x="1367398" y="125392"/>
                        <a:pt x="1366916" y="124910"/>
                        <a:pt x="1366515" y="124508"/>
                      </a:cubicBezTo>
                      <a:cubicBezTo>
                        <a:pt x="1366916" y="123625"/>
                        <a:pt x="1366916" y="123625"/>
                        <a:pt x="1369648" y="120813"/>
                      </a:cubicBezTo>
                      <a:cubicBezTo>
                        <a:pt x="1387239" y="125312"/>
                        <a:pt x="1393987" y="126195"/>
                        <a:pt x="1414471" y="126758"/>
                      </a:cubicBezTo>
                      <a:cubicBezTo>
                        <a:pt x="1414551" y="127561"/>
                        <a:pt x="1414471" y="128685"/>
                        <a:pt x="1414230" y="129489"/>
                      </a:cubicBezTo>
                      <a:cubicBezTo>
                        <a:pt x="1417844" y="131898"/>
                        <a:pt x="1422744" y="131818"/>
                        <a:pt x="1425797" y="135433"/>
                      </a:cubicBezTo>
                      <a:cubicBezTo>
                        <a:pt x="1438730" y="131898"/>
                        <a:pt x="1448048" y="134871"/>
                        <a:pt x="1456080" y="138646"/>
                      </a:cubicBezTo>
                      <a:lnTo>
                        <a:pt x="1454313" y="137281"/>
                      </a:lnTo>
                      <a:cubicBezTo>
                        <a:pt x="1455518" y="137200"/>
                        <a:pt x="1457044" y="137040"/>
                        <a:pt x="1458249" y="136879"/>
                      </a:cubicBezTo>
                      <a:cubicBezTo>
                        <a:pt x="1457285" y="134308"/>
                        <a:pt x="1457285" y="133826"/>
                        <a:pt x="1458089" y="131497"/>
                      </a:cubicBezTo>
                      <a:cubicBezTo>
                        <a:pt x="1460900" y="131577"/>
                        <a:pt x="1461703" y="131577"/>
                        <a:pt x="1465479" y="131979"/>
                      </a:cubicBezTo>
                      <a:cubicBezTo>
                        <a:pt x="1456000" y="129248"/>
                        <a:pt x="1451984" y="128203"/>
                        <a:pt x="1446200" y="126838"/>
                      </a:cubicBezTo>
                      <a:cubicBezTo>
                        <a:pt x="1458892" y="126918"/>
                        <a:pt x="1471262" y="123705"/>
                        <a:pt x="1483954" y="124428"/>
                      </a:cubicBezTo>
                      <a:cubicBezTo>
                        <a:pt x="1454072" y="110371"/>
                        <a:pt x="1448610" y="110772"/>
                        <a:pt x="1422664" y="112620"/>
                      </a:cubicBezTo>
                      <a:cubicBezTo>
                        <a:pt x="1409972" y="113102"/>
                        <a:pt x="1392621" y="113744"/>
                        <a:pt x="1374789" y="107559"/>
                      </a:cubicBezTo>
                      <a:cubicBezTo>
                        <a:pt x="1372459" y="106756"/>
                        <a:pt x="1369487" y="105390"/>
                        <a:pt x="1367318" y="104346"/>
                      </a:cubicBezTo>
                      <a:cubicBezTo>
                        <a:pt x="1363061" y="102338"/>
                        <a:pt x="1358482" y="97759"/>
                        <a:pt x="1354225" y="95751"/>
                      </a:cubicBezTo>
                      <a:cubicBezTo>
                        <a:pt x="1352939" y="95108"/>
                        <a:pt x="1351092" y="94626"/>
                        <a:pt x="1349726" y="94144"/>
                      </a:cubicBezTo>
                      <a:cubicBezTo>
                        <a:pt x="1349084" y="93903"/>
                        <a:pt x="1280644" y="66431"/>
                        <a:pt x="1278556" y="62656"/>
                      </a:cubicBezTo>
                      <a:cubicBezTo>
                        <a:pt x="1278154" y="61933"/>
                        <a:pt x="1276065" y="59764"/>
                        <a:pt x="1266828" y="62817"/>
                      </a:cubicBezTo>
                      <a:cubicBezTo>
                        <a:pt x="1267390" y="69082"/>
                        <a:pt x="1268113" y="76874"/>
                        <a:pt x="1271005" y="85308"/>
                      </a:cubicBezTo>
                      <a:moveTo>
                        <a:pt x="1191400" y="51651"/>
                      </a:moveTo>
                      <a:cubicBezTo>
                        <a:pt x="1250119" y="51811"/>
                        <a:pt x="1267711" y="52615"/>
                        <a:pt x="1271165" y="57997"/>
                      </a:cubicBezTo>
                      <a:cubicBezTo>
                        <a:pt x="1278234" y="58398"/>
                        <a:pt x="1281769" y="58398"/>
                        <a:pt x="1286026" y="57997"/>
                      </a:cubicBezTo>
                      <a:cubicBezTo>
                        <a:pt x="1291006" y="57113"/>
                        <a:pt x="1298557" y="55908"/>
                        <a:pt x="1286749" y="47715"/>
                      </a:cubicBezTo>
                      <a:cubicBezTo>
                        <a:pt x="1278315" y="41931"/>
                        <a:pt x="1267551" y="41369"/>
                        <a:pt x="1259277" y="35184"/>
                      </a:cubicBezTo>
                      <a:cubicBezTo>
                        <a:pt x="1253092" y="30525"/>
                        <a:pt x="1252208" y="26910"/>
                        <a:pt x="1251324" y="21206"/>
                      </a:cubicBezTo>
                      <a:cubicBezTo>
                        <a:pt x="1249718" y="21046"/>
                        <a:pt x="1247549" y="20082"/>
                        <a:pt x="1246103" y="20644"/>
                      </a:cubicBezTo>
                      <a:cubicBezTo>
                        <a:pt x="1231001" y="26669"/>
                        <a:pt x="1216783" y="34461"/>
                        <a:pt x="1201923" y="40967"/>
                      </a:cubicBezTo>
                      <a:cubicBezTo>
                        <a:pt x="1189311" y="46430"/>
                        <a:pt x="1185937" y="48839"/>
                        <a:pt x="1181921" y="51570"/>
                      </a:cubicBezTo>
                      <a:cubicBezTo>
                        <a:pt x="1184733" y="51651"/>
                        <a:pt x="1188508" y="51651"/>
                        <a:pt x="1191400" y="51651"/>
                      </a:cubicBezTo>
                      <a:moveTo>
                        <a:pt x="2320410" y="401238"/>
                      </a:moveTo>
                      <a:cubicBezTo>
                        <a:pt x="2320329" y="401078"/>
                        <a:pt x="2320169" y="400917"/>
                        <a:pt x="2320088" y="400837"/>
                      </a:cubicBezTo>
                      <a:cubicBezTo>
                        <a:pt x="2320249" y="400997"/>
                        <a:pt x="2320410" y="401238"/>
                        <a:pt x="2320570" y="401399"/>
                      </a:cubicBezTo>
                      <a:cubicBezTo>
                        <a:pt x="2320570" y="401399"/>
                        <a:pt x="2320490" y="401319"/>
                        <a:pt x="2320410" y="401238"/>
                      </a:cubicBezTo>
                      <a:moveTo>
                        <a:pt x="424830" y="763839"/>
                      </a:moveTo>
                      <a:cubicBezTo>
                        <a:pt x="390208" y="551452"/>
                        <a:pt x="398161" y="361637"/>
                        <a:pt x="440735" y="206845"/>
                      </a:cubicBezTo>
                      <a:cubicBezTo>
                        <a:pt x="664047" y="109648"/>
                        <a:pt x="947926" y="40485"/>
                        <a:pt x="1223049" y="8113"/>
                      </a:cubicBezTo>
                      <a:cubicBezTo>
                        <a:pt x="1221523" y="11165"/>
                        <a:pt x="1219595" y="15262"/>
                        <a:pt x="1218069" y="18395"/>
                      </a:cubicBezTo>
                      <a:cubicBezTo>
                        <a:pt x="1220639" y="16146"/>
                        <a:pt x="1224093" y="13094"/>
                        <a:pt x="1226744" y="10844"/>
                      </a:cubicBezTo>
                      <a:cubicBezTo>
                        <a:pt x="1230278" y="11728"/>
                        <a:pt x="1235018" y="12933"/>
                        <a:pt x="1238552" y="13816"/>
                      </a:cubicBezTo>
                      <a:cubicBezTo>
                        <a:pt x="1259679" y="4016"/>
                        <a:pt x="1280323" y="1928"/>
                        <a:pt x="1300967" y="0"/>
                      </a:cubicBezTo>
                      <a:cubicBezTo>
                        <a:pt x="1372620" y="32131"/>
                        <a:pt x="1451421" y="40164"/>
                        <a:pt x="1524761" y="66592"/>
                      </a:cubicBezTo>
                      <a:cubicBezTo>
                        <a:pt x="1504036" y="84907"/>
                        <a:pt x="1503795" y="94867"/>
                        <a:pt x="1503635" y="104507"/>
                      </a:cubicBezTo>
                      <a:cubicBezTo>
                        <a:pt x="1520503" y="113985"/>
                        <a:pt x="1539943" y="112539"/>
                        <a:pt x="1558017" y="116877"/>
                      </a:cubicBezTo>
                      <a:cubicBezTo>
                        <a:pt x="1559141" y="115994"/>
                        <a:pt x="1560748" y="114708"/>
                        <a:pt x="1561872" y="113825"/>
                      </a:cubicBezTo>
                      <a:lnTo>
                        <a:pt x="1559543" y="113182"/>
                      </a:lnTo>
                      <a:cubicBezTo>
                        <a:pt x="1557213" y="107398"/>
                        <a:pt x="1555687" y="98964"/>
                        <a:pt x="1556008" y="92699"/>
                      </a:cubicBezTo>
                      <a:cubicBezTo>
                        <a:pt x="1552876" y="91574"/>
                        <a:pt x="1548779" y="90048"/>
                        <a:pt x="1545646" y="88923"/>
                      </a:cubicBezTo>
                      <a:cubicBezTo>
                        <a:pt x="1550787" y="85710"/>
                        <a:pt x="1550787" y="85710"/>
                        <a:pt x="1577376" y="78802"/>
                      </a:cubicBezTo>
                      <a:cubicBezTo>
                        <a:pt x="1574403" y="77275"/>
                        <a:pt x="1570548" y="75348"/>
                        <a:pt x="1567576" y="73821"/>
                      </a:cubicBezTo>
                      <a:cubicBezTo>
                        <a:pt x="1568459" y="70769"/>
                        <a:pt x="1569584" y="66672"/>
                        <a:pt x="1570467" y="63700"/>
                      </a:cubicBezTo>
                      <a:cubicBezTo>
                        <a:pt x="1584766" y="58880"/>
                        <a:pt x="1586533" y="59282"/>
                        <a:pt x="1632400" y="71170"/>
                      </a:cubicBezTo>
                      <a:cubicBezTo>
                        <a:pt x="1632400" y="69082"/>
                        <a:pt x="1632400" y="66271"/>
                        <a:pt x="1632320" y="64182"/>
                      </a:cubicBezTo>
                      <a:cubicBezTo>
                        <a:pt x="1625894" y="62013"/>
                        <a:pt x="1617540" y="56872"/>
                        <a:pt x="1613925" y="51169"/>
                      </a:cubicBezTo>
                      <a:cubicBezTo>
                        <a:pt x="1628946" y="52133"/>
                        <a:pt x="1631276" y="52293"/>
                        <a:pt x="1698751" y="74705"/>
                      </a:cubicBezTo>
                      <a:cubicBezTo>
                        <a:pt x="1689754" y="80890"/>
                        <a:pt x="1689754" y="80890"/>
                        <a:pt x="1623163" y="85630"/>
                      </a:cubicBezTo>
                      <a:cubicBezTo>
                        <a:pt x="1672725" y="107077"/>
                        <a:pt x="1672725" y="107077"/>
                        <a:pt x="1678669" y="117439"/>
                      </a:cubicBezTo>
                      <a:cubicBezTo>
                        <a:pt x="1676581" y="124990"/>
                        <a:pt x="1669994" y="133907"/>
                        <a:pt x="1664291" y="139369"/>
                      </a:cubicBezTo>
                      <a:cubicBezTo>
                        <a:pt x="1670556" y="141056"/>
                        <a:pt x="1679232" y="142421"/>
                        <a:pt x="1685818" y="142743"/>
                      </a:cubicBezTo>
                      <a:cubicBezTo>
                        <a:pt x="1680918" y="143787"/>
                        <a:pt x="1674332" y="145153"/>
                        <a:pt x="1669431" y="146197"/>
                      </a:cubicBezTo>
                      <a:cubicBezTo>
                        <a:pt x="1674412" y="152061"/>
                        <a:pt x="1683409" y="158567"/>
                        <a:pt x="1690879" y="160254"/>
                      </a:cubicBezTo>
                      <a:cubicBezTo>
                        <a:pt x="1683810" y="159853"/>
                        <a:pt x="1674251" y="160094"/>
                        <a:pt x="1667182" y="160977"/>
                      </a:cubicBezTo>
                      <a:cubicBezTo>
                        <a:pt x="1670476" y="166761"/>
                        <a:pt x="1674733" y="174633"/>
                        <a:pt x="1677705" y="180577"/>
                      </a:cubicBezTo>
                      <a:cubicBezTo>
                        <a:pt x="1678750" y="180818"/>
                        <a:pt x="1678750" y="180818"/>
                        <a:pt x="1709676" y="196964"/>
                      </a:cubicBezTo>
                      <a:cubicBezTo>
                        <a:pt x="1709836" y="196482"/>
                        <a:pt x="1710077" y="195840"/>
                        <a:pt x="1710238" y="195358"/>
                      </a:cubicBezTo>
                      <a:cubicBezTo>
                        <a:pt x="1742932" y="220179"/>
                        <a:pt x="1742932" y="220179"/>
                        <a:pt x="1753696" y="220902"/>
                      </a:cubicBezTo>
                      <a:lnTo>
                        <a:pt x="1763335" y="228212"/>
                      </a:lnTo>
                      <a:lnTo>
                        <a:pt x="1765102" y="230300"/>
                      </a:lnTo>
                      <a:cubicBezTo>
                        <a:pt x="1778999" y="233433"/>
                        <a:pt x="1888807" y="266930"/>
                        <a:pt x="1903347" y="272392"/>
                      </a:cubicBezTo>
                      <a:cubicBezTo>
                        <a:pt x="1902142" y="269018"/>
                        <a:pt x="1900535" y="264600"/>
                        <a:pt x="1899330" y="261227"/>
                      </a:cubicBezTo>
                      <a:cubicBezTo>
                        <a:pt x="1900053" y="261066"/>
                        <a:pt x="1901097" y="260905"/>
                        <a:pt x="1901820" y="260745"/>
                      </a:cubicBezTo>
                      <a:lnTo>
                        <a:pt x="1905114" y="259781"/>
                      </a:lnTo>
                      <a:cubicBezTo>
                        <a:pt x="1939976" y="266528"/>
                        <a:pt x="1967529" y="271830"/>
                        <a:pt x="1968493" y="307174"/>
                      </a:cubicBezTo>
                      <a:cubicBezTo>
                        <a:pt x="1968975" y="307094"/>
                        <a:pt x="1969697" y="307014"/>
                        <a:pt x="1970179" y="307014"/>
                      </a:cubicBezTo>
                      <a:cubicBezTo>
                        <a:pt x="1945438" y="317858"/>
                        <a:pt x="1941583" y="321954"/>
                        <a:pt x="1935397" y="343000"/>
                      </a:cubicBezTo>
                      <a:cubicBezTo>
                        <a:pt x="1935478" y="342759"/>
                        <a:pt x="1935638" y="342438"/>
                        <a:pt x="1935719" y="342117"/>
                      </a:cubicBezTo>
                      <a:cubicBezTo>
                        <a:pt x="1935879" y="345491"/>
                        <a:pt x="1936201" y="350069"/>
                        <a:pt x="1936361" y="353443"/>
                      </a:cubicBezTo>
                      <a:cubicBezTo>
                        <a:pt x="1936763" y="353523"/>
                        <a:pt x="1937245" y="353523"/>
                        <a:pt x="1937647" y="353604"/>
                      </a:cubicBezTo>
                      <a:lnTo>
                        <a:pt x="1940699" y="357460"/>
                      </a:lnTo>
                      <a:lnTo>
                        <a:pt x="1941743" y="361717"/>
                      </a:lnTo>
                      <a:cubicBezTo>
                        <a:pt x="1952588" y="370633"/>
                        <a:pt x="1963834" y="379871"/>
                        <a:pt x="1988896" y="383486"/>
                      </a:cubicBezTo>
                      <a:cubicBezTo>
                        <a:pt x="1993957" y="393446"/>
                        <a:pt x="1996527" y="398427"/>
                        <a:pt x="2023437" y="407745"/>
                      </a:cubicBezTo>
                      <a:cubicBezTo>
                        <a:pt x="2022714" y="407183"/>
                        <a:pt x="2021750" y="406460"/>
                        <a:pt x="2021107" y="405897"/>
                      </a:cubicBezTo>
                      <a:cubicBezTo>
                        <a:pt x="2019662" y="402604"/>
                        <a:pt x="2017734" y="398266"/>
                        <a:pt x="2016288" y="394973"/>
                      </a:cubicBezTo>
                      <a:cubicBezTo>
                        <a:pt x="2021830" y="391278"/>
                        <a:pt x="2030425" y="387824"/>
                        <a:pt x="2037012" y="387101"/>
                      </a:cubicBezTo>
                      <a:cubicBezTo>
                        <a:pt x="2038780" y="384530"/>
                        <a:pt x="2041109" y="381076"/>
                        <a:pt x="2042876" y="378425"/>
                      </a:cubicBezTo>
                      <a:cubicBezTo>
                        <a:pt x="2043037" y="378666"/>
                        <a:pt x="2043198" y="378987"/>
                        <a:pt x="2043358" y="379228"/>
                      </a:cubicBezTo>
                      <a:lnTo>
                        <a:pt x="2048178" y="376015"/>
                      </a:lnTo>
                      <a:lnTo>
                        <a:pt x="2052275" y="374569"/>
                      </a:lnTo>
                      <a:cubicBezTo>
                        <a:pt x="2058942" y="374248"/>
                        <a:pt x="2068019" y="370714"/>
                        <a:pt x="2072758" y="366135"/>
                      </a:cubicBezTo>
                      <a:cubicBezTo>
                        <a:pt x="2100070" y="392081"/>
                        <a:pt x="2100070" y="392081"/>
                        <a:pt x="2092439" y="432405"/>
                      </a:cubicBezTo>
                      <a:cubicBezTo>
                        <a:pt x="2053801" y="455058"/>
                        <a:pt x="2052194" y="478674"/>
                        <a:pt x="2053239" y="487832"/>
                      </a:cubicBezTo>
                      <a:cubicBezTo>
                        <a:pt x="2079104" y="486627"/>
                        <a:pt x="2085370" y="483976"/>
                        <a:pt x="2097901" y="469276"/>
                      </a:cubicBezTo>
                      <a:cubicBezTo>
                        <a:pt x="2097499" y="469035"/>
                        <a:pt x="2096937" y="468633"/>
                        <a:pt x="2096535" y="468312"/>
                      </a:cubicBezTo>
                      <a:cubicBezTo>
                        <a:pt x="2100150" y="443892"/>
                        <a:pt x="2100150" y="443892"/>
                        <a:pt x="2120072" y="427988"/>
                      </a:cubicBezTo>
                      <a:cubicBezTo>
                        <a:pt x="2104648" y="380594"/>
                        <a:pt x="2104648" y="380594"/>
                        <a:pt x="2105693" y="371196"/>
                      </a:cubicBezTo>
                      <a:cubicBezTo>
                        <a:pt x="2106416" y="371758"/>
                        <a:pt x="2107460" y="372561"/>
                        <a:pt x="2108183" y="373123"/>
                      </a:cubicBezTo>
                      <a:cubicBezTo>
                        <a:pt x="2108103" y="369991"/>
                        <a:pt x="2107942" y="365894"/>
                        <a:pt x="2107862" y="362761"/>
                      </a:cubicBezTo>
                      <a:cubicBezTo>
                        <a:pt x="2107540" y="362841"/>
                        <a:pt x="2107058" y="362841"/>
                        <a:pt x="2106737" y="362922"/>
                      </a:cubicBezTo>
                      <a:cubicBezTo>
                        <a:pt x="2107058" y="356014"/>
                        <a:pt x="2108183" y="346696"/>
                        <a:pt x="2109629" y="339948"/>
                      </a:cubicBezTo>
                      <a:cubicBezTo>
                        <a:pt x="2128265" y="353523"/>
                        <a:pt x="2140395" y="358504"/>
                        <a:pt x="2147704" y="361556"/>
                      </a:cubicBezTo>
                      <a:cubicBezTo>
                        <a:pt x="2149231" y="345812"/>
                        <a:pt x="2149231" y="345812"/>
                        <a:pt x="2142483" y="333200"/>
                      </a:cubicBezTo>
                      <a:lnTo>
                        <a:pt x="2144571" y="322918"/>
                      </a:lnTo>
                      <a:lnTo>
                        <a:pt x="2151239" y="325569"/>
                      </a:lnTo>
                      <a:lnTo>
                        <a:pt x="2152042" y="322677"/>
                      </a:lnTo>
                      <a:lnTo>
                        <a:pt x="2154693" y="323240"/>
                      </a:lnTo>
                      <a:cubicBezTo>
                        <a:pt x="2156701" y="318099"/>
                        <a:pt x="2158468" y="310628"/>
                        <a:pt x="2157665" y="305166"/>
                      </a:cubicBezTo>
                      <a:cubicBezTo>
                        <a:pt x="2160557" y="304042"/>
                        <a:pt x="2164493" y="302595"/>
                        <a:pt x="2167465" y="301551"/>
                      </a:cubicBezTo>
                      <a:cubicBezTo>
                        <a:pt x="2167385" y="300587"/>
                        <a:pt x="2167224" y="299382"/>
                        <a:pt x="2167063" y="298499"/>
                      </a:cubicBezTo>
                      <a:cubicBezTo>
                        <a:pt x="2173008" y="311432"/>
                        <a:pt x="2173650" y="312797"/>
                        <a:pt x="2190519" y="320428"/>
                      </a:cubicBezTo>
                      <a:cubicBezTo>
                        <a:pt x="2190840" y="320509"/>
                        <a:pt x="2191081" y="320669"/>
                        <a:pt x="2191403" y="320750"/>
                      </a:cubicBezTo>
                      <a:lnTo>
                        <a:pt x="2195178" y="325409"/>
                      </a:lnTo>
                      <a:cubicBezTo>
                        <a:pt x="2211244" y="331995"/>
                        <a:pt x="2211244" y="331995"/>
                        <a:pt x="2226346" y="352399"/>
                      </a:cubicBezTo>
                      <a:cubicBezTo>
                        <a:pt x="2226667" y="352479"/>
                        <a:pt x="2227149" y="352479"/>
                        <a:pt x="2227470" y="352559"/>
                      </a:cubicBezTo>
                      <a:cubicBezTo>
                        <a:pt x="2228032" y="353041"/>
                        <a:pt x="2284904" y="400997"/>
                        <a:pt x="2306513" y="449274"/>
                      </a:cubicBezTo>
                      <a:cubicBezTo>
                        <a:pt x="2327559" y="508316"/>
                        <a:pt x="2332298" y="511529"/>
                        <a:pt x="2346355" y="521007"/>
                      </a:cubicBezTo>
                      <a:cubicBezTo>
                        <a:pt x="2347480" y="504460"/>
                        <a:pt x="2347641" y="501970"/>
                        <a:pt x="2344187" y="471204"/>
                      </a:cubicBezTo>
                      <a:cubicBezTo>
                        <a:pt x="2343142" y="465099"/>
                        <a:pt x="2342901" y="464858"/>
                        <a:pt x="2342660" y="464617"/>
                      </a:cubicBezTo>
                      <a:lnTo>
                        <a:pt x="2342901" y="463573"/>
                      </a:lnTo>
                      <a:lnTo>
                        <a:pt x="2342178" y="462287"/>
                      </a:lnTo>
                      <a:cubicBezTo>
                        <a:pt x="2340251" y="452969"/>
                        <a:pt x="2340251" y="452969"/>
                        <a:pt x="2324024" y="406861"/>
                      </a:cubicBezTo>
                      <a:lnTo>
                        <a:pt x="2320650" y="401801"/>
                      </a:lnTo>
                      <a:lnTo>
                        <a:pt x="2322016" y="401801"/>
                      </a:lnTo>
                      <a:cubicBezTo>
                        <a:pt x="2325952" y="407343"/>
                        <a:pt x="2331173" y="414653"/>
                        <a:pt x="2335029" y="420196"/>
                      </a:cubicBezTo>
                      <a:cubicBezTo>
                        <a:pt x="2333583" y="416581"/>
                        <a:pt x="2331575" y="411761"/>
                        <a:pt x="2330129" y="408147"/>
                      </a:cubicBezTo>
                      <a:cubicBezTo>
                        <a:pt x="2373105" y="497391"/>
                        <a:pt x="2402505" y="592339"/>
                        <a:pt x="2418892" y="693070"/>
                      </a:cubicBezTo>
                      <a:cubicBezTo>
                        <a:pt x="2453433" y="905216"/>
                        <a:pt x="2426201" y="1116639"/>
                        <a:pt x="2349970" y="1309186"/>
                      </a:cubicBezTo>
                      <a:cubicBezTo>
                        <a:pt x="2314947" y="1256973"/>
                        <a:pt x="2234699" y="1213515"/>
                        <a:pt x="2108103" y="1184918"/>
                      </a:cubicBezTo>
                      <a:cubicBezTo>
                        <a:pt x="1725179" y="1098646"/>
                        <a:pt x="1063357" y="1181625"/>
                        <a:pt x="629827" y="1370315"/>
                      </a:cubicBezTo>
                      <a:cubicBezTo>
                        <a:pt x="531987" y="1183793"/>
                        <a:pt x="459371" y="975985"/>
                        <a:pt x="424830" y="763839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7" name="Freeform: Shape 416">
                  <a:extLst>
                    <a:ext uri="{FF2B5EF4-FFF2-40B4-BE49-F238E27FC236}">
                      <a16:creationId xmlns:a16="http://schemas.microsoft.com/office/drawing/2014/main" id="{1F74FA0E-DCD5-2908-09E7-0874A984A21E}"/>
                    </a:ext>
                  </a:extLst>
                </p:cNvPr>
                <p:cNvSpPr/>
                <p:nvPr/>
              </p:nvSpPr>
              <p:spPr>
                <a:xfrm>
                  <a:off x="-5089695" y="1921823"/>
                  <a:ext cx="1957914" cy="1433372"/>
                </a:xfrm>
                <a:custGeom>
                  <a:avLst/>
                  <a:gdLst>
                    <a:gd name="connsiteX0" fmla="*/ 620453 w 1957914"/>
                    <a:gd name="connsiteY0" fmla="*/ 1428633 h 1433372"/>
                    <a:gd name="connsiteX1" fmla="*/ 620132 w 1957914"/>
                    <a:gd name="connsiteY1" fmla="*/ 1428473 h 1433372"/>
                    <a:gd name="connsiteX2" fmla="*/ 620293 w 1957914"/>
                    <a:gd name="connsiteY2" fmla="*/ 1428553 h 1433372"/>
                    <a:gd name="connsiteX3" fmla="*/ 620453 w 1957914"/>
                    <a:gd name="connsiteY3" fmla="*/ 1428633 h 1433372"/>
                    <a:gd name="connsiteX4" fmla="*/ 621578 w 1957914"/>
                    <a:gd name="connsiteY4" fmla="*/ 1433212 h 1433372"/>
                    <a:gd name="connsiteX5" fmla="*/ 621337 w 1957914"/>
                    <a:gd name="connsiteY5" fmla="*/ 1433373 h 1433372"/>
                    <a:gd name="connsiteX6" fmla="*/ 620534 w 1957914"/>
                    <a:gd name="connsiteY6" fmla="*/ 1428714 h 1433372"/>
                    <a:gd name="connsiteX7" fmla="*/ 621658 w 1957914"/>
                    <a:gd name="connsiteY7" fmla="*/ 1429356 h 1433372"/>
                    <a:gd name="connsiteX8" fmla="*/ 621899 w 1957914"/>
                    <a:gd name="connsiteY8" fmla="*/ 1427910 h 1433372"/>
                    <a:gd name="connsiteX9" fmla="*/ 622060 w 1957914"/>
                    <a:gd name="connsiteY9" fmla="*/ 1428071 h 1433372"/>
                    <a:gd name="connsiteX10" fmla="*/ 621578 w 1957914"/>
                    <a:gd name="connsiteY10" fmla="*/ 1433212 h 1433372"/>
                    <a:gd name="connsiteX11" fmla="*/ 617642 w 1957914"/>
                    <a:gd name="connsiteY11" fmla="*/ 1432328 h 1433372"/>
                    <a:gd name="connsiteX12" fmla="*/ 616758 w 1957914"/>
                    <a:gd name="connsiteY12" fmla="*/ 1432650 h 1433372"/>
                    <a:gd name="connsiteX13" fmla="*/ 615071 w 1957914"/>
                    <a:gd name="connsiteY13" fmla="*/ 1425420 h 1433372"/>
                    <a:gd name="connsiteX14" fmla="*/ 616437 w 1957914"/>
                    <a:gd name="connsiteY14" fmla="*/ 1425982 h 1433372"/>
                    <a:gd name="connsiteX15" fmla="*/ 617642 w 1957914"/>
                    <a:gd name="connsiteY15" fmla="*/ 1432328 h 1433372"/>
                    <a:gd name="connsiteX16" fmla="*/ 606878 w 1957914"/>
                    <a:gd name="connsiteY16" fmla="*/ 1427187 h 1433372"/>
                    <a:gd name="connsiteX17" fmla="*/ 606798 w 1957914"/>
                    <a:gd name="connsiteY17" fmla="*/ 1427027 h 1433372"/>
                    <a:gd name="connsiteX18" fmla="*/ 608966 w 1957914"/>
                    <a:gd name="connsiteY18" fmla="*/ 1425822 h 1433372"/>
                    <a:gd name="connsiteX19" fmla="*/ 609047 w 1957914"/>
                    <a:gd name="connsiteY19" fmla="*/ 1425982 h 1433372"/>
                    <a:gd name="connsiteX20" fmla="*/ 610894 w 1957914"/>
                    <a:gd name="connsiteY20" fmla="*/ 1431445 h 1433372"/>
                    <a:gd name="connsiteX21" fmla="*/ 606878 w 1957914"/>
                    <a:gd name="connsiteY21" fmla="*/ 1427187 h 1433372"/>
                    <a:gd name="connsiteX22" fmla="*/ 489760 w 1957914"/>
                    <a:gd name="connsiteY22" fmla="*/ 1384935 h 1433372"/>
                    <a:gd name="connsiteX23" fmla="*/ 489599 w 1957914"/>
                    <a:gd name="connsiteY23" fmla="*/ 1384855 h 1433372"/>
                    <a:gd name="connsiteX24" fmla="*/ 492491 w 1957914"/>
                    <a:gd name="connsiteY24" fmla="*/ 1382123 h 1433372"/>
                    <a:gd name="connsiteX25" fmla="*/ 495463 w 1957914"/>
                    <a:gd name="connsiteY25" fmla="*/ 1384935 h 1433372"/>
                    <a:gd name="connsiteX26" fmla="*/ 489760 w 1957914"/>
                    <a:gd name="connsiteY26" fmla="*/ 1384935 h 1433372"/>
                    <a:gd name="connsiteX27" fmla="*/ 1346217 w 1957914"/>
                    <a:gd name="connsiteY27" fmla="*/ 937187 h 1433372"/>
                    <a:gd name="connsiteX28" fmla="*/ 1345654 w 1957914"/>
                    <a:gd name="connsiteY28" fmla="*/ 936705 h 1433372"/>
                    <a:gd name="connsiteX29" fmla="*/ 1349671 w 1957914"/>
                    <a:gd name="connsiteY29" fmla="*/ 935500 h 1433372"/>
                    <a:gd name="connsiteX30" fmla="*/ 1350153 w 1957914"/>
                    <a:gd name="connsiteY30" fmla="*/ 935660 h 1433372"/>
                    <a:gd name="connsiteX31" fmla="*/ 1352000 w 1957914"/>
                    <a:gd name="connsiteY31" fmla="*/ 943934 h 1433372"/>
                    <a:gd name="connsiteX32" fmla="*/ 1346217 w 1957914"/>
                    <a:gd name="connsiteY32" fmla="*/ 937187 h 1433372"/>
                    <a:gd name="connsiteX33" fmla="*/ 1136320 w 1957914"/>
                    <a:gd name="connsiteY33" fmla="*/ 852200 h 1433372"/>
                    <a:gd name="connsiteX34" fmla="*/ 1136320 w 1957914"/>
                    <a:gd name="connsiteY34" fmla="*/ 852200 h 1433372"/>
                    <a:gd name="connsiteX35" fmla="*/ 1136320 w 1957914"/>
                    <a:gd name="connsiteY35" fmla="*/ 852200 h 1433372"/>
                    <a:gd name="connsiteX36" fmla="*/ 1137203 w 1957914"/>
                    <a:gd name="connsiteY36" fmla="*/ 852119 h 1433372"/>
                    <a:gd name="connsiteX37" fmla="*/ 1137203 w 1957914"/>
                    <a:gd name="connsiteY37" fmla="*/ 852119 h 1433372"/>
                    <a:gd name="connsiteX38" fmla="*/ 1136320 w 1957914"/>
                    <a:gd name="connsiteY38" fmla="*/ 852200 h 1433372"/>
                    <a:gd name="connsiteX39" fmla="*/ 1837020 w 1957914"/>
                    <a:gd name="connsiteY39" fmla="*/ 758778 h 1433372"/>
                    <a:gd name="connsiteX40" fmla="*/ 1843929 w 1957914"/>
                    <a:gd name="connsiteY40" fmla="*/ 756047 h 1433372"/>
                    <a:gd name="connsiteX41" fmla="*/ 1843848 w 1957914"/>
                    <a:gd name="connsiteY41" fmla="*/ 756127 h 1433372"/>
                    <a:gd name="connsiteX42" fmla="*/ 1839752 w 1957914"/>
                    <a:gd name="connsiteY42" fmla="*/ 757573 h 1433372"/>
                    <a:gd name="connsiteX43" fmla="*/ 1839270 w 1957914"/>
                    <a:gd name="connsiteY43" fmla="*/ 758296 h 1433372"/>
                    <a:gd name="connsiteX44" fmla="*/ 1841519 w 1957914"/>
                    <a:gd name="connsiteY44" fmla="*/ 758537 h 1433372"/>
                    <a:gd name="connsiteX45" fmla="*/ 1842322 w 1957914"/>
                    <a:gd name="connsiteY45" fmla="*/ 758859 h 1433372"/>
                    <a:gd name="connsiteX46" fmla="*/ 1837020 w 1957914"/>
                    <a:gd name="connsiteY46" fmla="*/ 758778 h 1433372"/>
                    <a:gd name="connsiteX47" fmla="*/ 1726811 w 1957914"/>
                    <a:gd name="connsiteY47" fmla="*/ 634993 h 1433372"/>
                    <a:gd name="connsiteX48" fmla="*/ 1726328 w 1957914"/>
                    <a:gd name="connsiteY48" fmla="*/ 634832 h 1433372"/>
                    <a:gd name="connsiteX49" fmla="*/ 1735566 w 1957914"/>
                    <a:gd name="connsiteY49" fmla="*/ 629932 h 1433372"/>
                    <a:gd name="connsiteX50" fmla="*/ 1735566 w 1957914"/>
                    <a:gd name="connsiteY50" fmla="*/ 629932 h 1433372"/>
                    <a:gd name="connsiteX51" fmla="*/ 1726811 w 1957914"/>
                    <a:gd name="connsiteY51" fmla="*/ 634993 h 1433372"/>
                    <a:gd name="connsiteX52" fmla="*/ 1732755 w 1957914"/>
                    <a:gd name="connsiteY52" fmla="*/ 575148 h 1433372"/>
                    <a:gd name="connsiteX53" fmla="*/ 1732594 w 1957914"/>
                    <a:gd name="connsiteY53" fmla="*/ 574988 h 1433372"/>
                    <a:gd name="connsiteX54" fmla="*/ 1737253 w 1957914"/>
                    <a:gd name="connsiteY54" fmla="*/ 574747 h 1433372"/>
                    <a:gd name="connsiteX55" fmla="*/ 1736289 w 1957914"/>
                    <a:gd name="connsiteY55" fmla="*/ 574827 h 1433372"/>
                    <a:gd name="connsiteX56" fmla="*/ 1732755 w 1957914"/>
                    <a:gd name="connsiteY56" fmla="*/ 575148 h 1433372"/>
                    <a:gd name="connsiteX57" fmla="*/ 1911324 w 1957914"/>
                    <a:gd name="connsiteY57" fmla="*/ 588884 h 1433372"/>
                    <a:gd name="connsiteX58" fmla="*/ 1911324 w 1957914"/>
                    <a:gd name="connsiteY58" fmla="*/ 588884 h 1433372"/>
                    <a:gd name="connsiteX59" fmla="*/ 1911163 w 1957914"/>
                    <a:gd name="connsiteY59" fmla="*/ 588081 h 1433372"/>
                    <a:gd name="connsiteX60" fmla="*/ 1911163 w 1957914"/>
                    <a:gd name="connsiteY60" fmla="*/ 588081 h 1433372"/>
                    <a:gd name="connsiteX61" fmla="*/ 1911324 w 1957914"/>
                    <a:gd name="connsiteY61" fmla="*/ 588884 h 1433372"/>
                    <a:gd name="connsiteX62" fmla="*/ 1846740 w 1957914"/>
                    <a:gd name="connsiteY62" fmla="*/ 507111 h 1433372"/>
                    <a:gd name="connsiteX63" fmla="*/ 1846338 w 1957914"/>
                    <a:gd name="connsiteY63" fmla="*/ 506950 h 1433372"/>
                    <a:gd name="connsiteX64" fmla="*/ 1850034 w 1957914"/>
                    <a:gd name="connsiteY64" fmla="*/ 506307 h 1433372"/>
                    <a:gd name="connsiteX65" fmla="*/ 1852042 w 1957914"/>
                    <a:gd name="connsiteY65" fmla="*/ 507271 h 1433372"/>
                    <a:gd name="connsiteX66" fmla="*/ 1851962 w 1957914"/>
                    <a:gd name="connsiteY66" fmla="*/ 508637 h 1433372"/>
                    <a:gd name="connsiteX67" fmla="*/ 1846740 w 1957914"/>
                    <a:gd name="connsiteY67" fmla="*/ 507111 h 1433372"/>
                    <a:gd name="connsiteX68" fmla="*/ 1467672 w 1957914"/>
                    <a:gd name="connsiteY68" fmla="*/ 441724 h 1433372"/>
                    <a:gd name="connsiteX69" fmla="*/ 1467030 w 1957914"/>
                    <a:gd name="connsiteY69" fmla="*/ 441643 h 1433372"/>
                    <a:gd name="connsiteX70" fmla="*/ 1472813 w 1957914"/>
                    <a:gd name="connsiteY70" fmla="*/ 441483 h 1433372"/>
                    <a:gd name="connsiteX71" fmla="*/ 1472412 w 1957914"/>
                    <a:gd name="connsiteY71" fmla="*/ 440760 h 1433372"/>
                    <a:gd name="connsiteX72" fmla="*/ 1475304 w 1957914"/>
                    <a:gd name="connsiteY72" fmla="*/ 436020 h 1433372"/>
                    <a:gd name="connsiteX73" fmla="*/ 1475464 w 1957914"/>
                    <a:gd name="connsiteY73" fmla="*/ 436502 h 1433372"/>
                    <a:gd name="connsiteX74" fmla="*/ 1475223 w 1957914"/>
                    <a:gd name="connsiteY74" fmla="*/ 443169 h 1433372"/>
                    <a:gd name="connsiteX75" fmla="*/ 1472171 w 1957914"/>
                    <a:gd name="connsiteY75" fmla="*/ 443410 h 1433372"/>
                    <a:gd name="connsiteX76" fmla="*/ 1468556 w 1957914"/>
                    <a:gd name="connsiteY76" fmla="*/ 442125 h 1433372"/>
                    <a:gd name="connsiteX77" fmla="*/ 1467672 w 1957914"/>
                    <a:gd name="connsiteY77" fmla="*/ 441724 h 1433372"/>
                    <a:gd name="connsiteX78" fmla="*/ 1519645 w 1957914"/>
                    <a:gd name="connsiteY78" fmla="*/ 437145 h 1433372"/>
                    <a:gd name="connsiteX79" fmla="*/ 1519323 w 1957914"/>
                    <a:gd name="connsiteY79" fmla="*/ 437145 h 1433372"/>
                    <a:gd name="connsiteX80" fmla="*/ 1519404 w 1957914"/>
                    <a:gd name="connsiteY80" fmla="*/ 437145 h 1433372"/>
                    <a:gd name="connsiteX81" fmla="*/ 1522055 w 1957914"/>
                    <a:gd name="connsiteY81" fmla="*/ 437466 h 1433372"/>
                    <a:gd name="connsiteX82" fmla="*/ 1519645 w 1957914"/>
                    <a:gd name="connsiteY82" fmla="*/ 437145 h 1433372"/>
                    <a:gd name="connsiteX83" fmla="*/ 1507435 w 1957914"/>
                    <a:gd name="connsiteY83" fmla="*/ 436341 h 1433372"/>
                    <a:gd name="connsiteX84" fmla="*/ 1507113 w 1957914"/>
                    <a:gd name="connsiteY84" fmla="*/ 436261 h 1433372"/>
                    <a:gd name="connsiteX85" fmla="*/ 1508399 w 1957914"/>
                    <a:gd name="connsiteY85" fmla="*/ 434976 h 1433372"/>
                    <a:gd name="connsiteX86" fmla="*/ 1510246 w 1957914"/>
                    <a:gd name="connsiteY86" fmla="*/ 435458 h 1433372"/>
                    <a:gd name="connsiteX87" fmla="*/ 1509523 w 1957914"/>
                    <a:gd name="connsiteY87" fmla="*/ 436261 h 1433372"/>
                    <a:gd name="connsiteX88" fmla="*/ 1507435 w 1957914"/>
                    <a:gd name="connsiteY88" fmla="*/ 436341 h 1433372"/>
                    <a:gd name="connsiteX89" fmla="*/ 1472251 w 1957914"/>
                    <a:gd name="connsiteY89" fmla="*/ 433530 h 1433372"/>
                    <a:gd name="connsiteX90" fmla="*/ 1472733 w 1957914"/>
                    <a:gd name="connsiteY90" fmla="*/ 432245 h 1433372"/>
                    <a:gd name="connsiteX91" fmla="*/ 1475625 w 1957914"/>
                    <a:gd name="connsiteY91" fmla="*/ 432887 h 1433372"/>
                    <a:gd name="connsiteX92" fmla="*/ 1472251 w 1957914"/>
                    <a:gd name="connsiteY92" fmla="*/ 433530 h 1433372"/>
                    <a:gd name="connsiteX93" fmla="*/ 1504543 w 1957914"/>
                    <a:gd name="connsiteY93" fmla="*/ 434815 h 1433372"/>
                    <a:gd name="connsiteX94" fmla="*/ 1504302 w 1957914"/>
                    <a:gd name="connsiteY94" fmla="*/ 434735 h 1433372"/>
                    <a:gd name="connsiteX95" fmla="*/ 1504463 w 1957914"/>
                    <a:gd name="connsiteY95" fmla="*/ 433369 h 1433372"/>
                    <a:gd name="connsiteX96" fmla="*/ 1504543 w 1957914"/>
                    <a:gd name="connsiteY96" fmla="*/ 433450 h 1433372"/>
                    <a:gd name="connsiteX97" fmla="*/ 1506310 w 1957914"/>
                    <a:gd name="connsiteY97" fmla="*/ 435538 h 1433372"/>
                    <a:gd name="connsiteX98" fmla="*/ 1504543 w 1957914"/>
                    <a:gd name="connsiteY98" fmla="*/ 434815 h 1433372"/>
                    <a:gd name="connsiteX99" fmla="*/ 1465584 w 1957914"/>
                    <a:gd name="connsiteY99" fmla="*/ 430558 h 1433372"/>
                    <a:gd name="connsiteX100" fmla="*/ 1465504 w 1957914"/>
                    <a:gd name="connsiteY100" fmla="*/ 430397 h 1433372"/>
                    <a:gd name="connsiteX101" fmla="*/ 1468877 w 1957914"/>
                    <a:gd name="connsiteY101" fmla="*/ 430237 h 1433372"/>
                    <a:gd name="connsiteX102" fmla="*/ 1469199 w 1957914"/>
                    <a:gd name="connsiteY102" fmla="*/ 430317 h 1433372"/>
                    <a:gd name="connsiteX103" fmla="*/ 1465584 w 1957914"/>
                    <a:gd name="connsiteY103" fmla="*/ 430558 h 1433372"/>
                    <a:gd name="connsiteX104" fmla="*/ 1497795 w 1957914"/>
                    <a:gd name="connsiteY104" fmla="*/ 432646 h 1433372"/>
                    <a:gd name="connsiteX105" fmla="*/ 1499884 w 1957914"/>
                    <a:gd name="connsiteY105" fmla="*/ 430799 h 1433372"/>
                    <a:gd name="connsiteX106" fmla="*/ 1500125 w 1957914"/>
                    <a:gd name="connsiteY106" fmla="*/ 430960 h 1433372"/>
                    <a:gd name="connsiteX107" fmla="*/ 1501410 w 1957914"/>
                    <a:gd name="connsiteY107" fmla="*/ 433771 h 1433372"/>
                    <a:gd name="connsiteX108" fmla="*/ 1498358 w 1957914"/>
                    <a:gd name="connsiteY108" fmla="*/ 433450 h 1433372"/>
                    <a:gd name="connsiteX109" fmla="*/ 1497795 w 1957914"/>
                    <a:gd name="connsiteY109" fmla="*/ 432646 h 1433372"/>
                    <a:gd name="connsiteX110" fmla="*/ 1497394 w 1957914"/>
                    <a:gd name="connsiteY110" fmla="*/ 430960 h 1433372"/>
                    <a:gd name="connsiteX111" fmla="*/ 1494743 w 1957914"/>
                    <a:gd name="connsiteY111" fmla="*/ 429835 h 1433372"/>
                    <a:gd name="connsiteX112" fmla="*/ 1495948 w 1957914"/>
                    <a:gd name="connsiteY112" fmla="*/ 429192 h 1433372"/>
                    <a:gd name="connsiteX113" fmla="*/ 1496832 w 1957914"/>
                    <a:gd name="connsiteY113" fmla="*/ 429273 h 1433372"/>
                    <a:gd name="connsiteX114" fmla="*/ 1499161 w 1957914"/>
                    <a:gd name="connsiteY114" fmla="*/ 430076 h 1433372"/>
                    <a:gd name="connsiteX115" fmla="*/ 1497394 w 1957914"/>
                    <a:gd name="connsiteY115" fmla="*/ 430960 h 1433372"/>
                    <a:gd name="connsiteX116" fmla="*/ 1493779 w 1957914"/>
                    <a:gd name="connsiteY116" fmla="*/ 427506 h 1433372"/>
                    <a:gd name="connsiteX117" fmla="*/ 1493940 w 1957914"/>
                    <a:gd name="connsiteY117" fmla="*/ 426622 h 1433372"/>
                    <a:gd name="connsiteX118" fmla="*/ 1496591 w 1957914"/>
                    <a:gd name="connsiteY118" fmla="*/ 427747 h 1433372"/>
                    <a:gd name="connsiteX119" fmla="*/ 1493779 w 1957914"/>
                    <a:gd name="connsiteY119" fmla="*/ 427506 h 1433372"/>
                    <a:gd name="connsiteX120" fmla="*/ 1929317 w 1957914"/>
                    <a:gd name="connsiteY120" fmla="*/ 530807 h 1433372"/>
                    <a:gd name="connsiteX121" fmla="*/ 1928594 w 1957914"/>
                    <a:gd name="connsiteY121" fmla="*/ 529281 h 1433372"/>
                    <a:gd name="connsiteX122" fmla="*/ 1928675 w 1957914"/>
                    <a:gd name="connsiteY122" fmla="*/ 529281 h 1433372"/>
                    <a:gd name="connsiteX123" fmla="*/ 1930602 w 1957914"/>
                    <a:gd name="connsiteY123" fmla="*/ 531611 h 1433372"/>
                    <a:gd name="connsiteX124" fmla="*/ 1929558 w 1957914"/>
                    <a:gd name="connsiteY124" fmla="*/ 531289 h 1433372"/>
                    <a:gd name="connsiteX125" fmla="*/ 1929317 w 1957914"/>
                    <a:gd name="connsiteY125" fmla="*/ 530807 h 1433372"/>
                    <a:gd name="connsiteX126" fmla="*/ 1889716 w 1957914"/>
                    <a:gd name="connsiteY126" fmla="*/ 509038 h 1433372"/>
                    <a:gd name="connsiteX127" fmla="*/ 1887707 w 1957914"/>
                    <a:gd name="connsiteY127" fmla="*/ 506789 h 1433372"/>
                    <a:gd name="connsiteX128" fmla="*/ 1891001 w 1957914"/>
                    <a:gd name="connsiteY128" fmla="*/ 507914 h 1433372"/>
                    <a:gd name="connsiteX129" fmla="*/ 1891081 w 1957914"/>
                    <a:gd name="connsiteY129" fmla="*/ 508797 h 1433372"/>
                    <a:gd name="connsiteX130" fmla="*/ 1889716 w 1957914"/>
                    <a:gd name="connsiteY130" fmla="*/ 509038 h 1433372"/>
                    <a:gd name="connsiteX131" fmla="*/ 1877666 w 1957914"/>
                    <a:gd name="connsiteY131" fmla="*/ 500122 h 1433372"/>
                    <a:gd name="connsiteX132" fmla="*/ 1877827 w 1957914"/>
                    <a:gd name="connsiteY132" fmla="*/ 498756 h 1433372"/>
                    <a:gd name="connsiteX133" fmla="*/ 1878148 w 1957914"/>
                    <a:gd name="connsiteY133" fmla="*/ 499158 h 1433372"/>
                    <a:gd name="connsiteX134" fmla="*/ 1882807 w 1957914"/>
                    <a:gd name="connsiteY134" fmla="*/ 505102 h 1433372"/>
                    <a:gd name="connsiteX135" fmla="*/ 1877666 w 1957914"/>
                    <a:gd name="connsiteY135" fmla="*/ 500122 h 1433372"/>
                    <a:gd name="connsiteX136" fmla="*/ 1392084 w 1957914"/>
                    <a:gd name="connsiteY136" fmla="*/ 419151 h 1433372"/>
                    <a:gd name="connsiteX137" fmla="*/ 1391522 w 1957914"/>
                    <a:gd name="connsiteY137" fmla="*/ 418991 h 1433372"/>
                    <a:gd name="connsiteX138" fmla="*/ 1395056 w 1957914"/>
                    <a:gd name="connsiteY138" fmla="*/ 418910 h 1433372"/>
                    <a:gd name="connsiteX139" fmla="*/ 1393931 w 1957914"/>
                    <a:gd name="connsiteY139" fmla="*/ 415537 h 1433372"/>
                    <a:gd name="connsiteX140" fmla="*/ 1397144 w 1957914"/>
                    <a:gd name="connsiteY140" fmla="*/ 414814 h 1433372"/>
                    <a:gd name="connsiteX141" fmla="*/ 1400920 w 1957914"/>
                    <a:gd name="connsiteY141" fmla="*/ 416018 h 1433372"/>
                    <a:gd name="connsiteX142" fmla="*/ 1401000 w 1957914"/>
                    <a:gd name="connsiteY142" fmla="*/ 419714 h 1433372"/>
                    <a:gd name="connsiteX143" fmla="*/ 1392084 w 1957914"/>
                    <a:gd name="connsiteY143" fmla="*/ 419151 h 1433372"/>
                    <a:gd name="connsiteX144" fmla="*/ 1418753 w 1957914"/>
                    <a:gd name="connsiteY144" fmla="*/ 415135 h 1433372"/>
                    <a:gd name="connsiteX145" fmla="*/ 1418592 w 1957914"/>
                    <a:gd name="connsiteY145" fmla="*/ 414974 h 1433372"/>
                    <a:gd name="connsiteX146" fmla="*/ 1422367 w 1957914"/>
                    <a:gd name="connsiteY146" fmla="*/ 415135 h 1433372"/>
                    <a:gd name="connsiteX147" fmla="*/ 1418753 w 1957914"/>
                    <a:gd name="connsiteY147" fmla="*/ 415135 h 1433372"/>
                    <a:gd name="connsiteX148" fmla="*/ 1907789 w 1957914"/>
                    <a:gd name="connsiteY148" fmla="*/ 512814 h 1433372"/>
                    <a:gd name="connsiteX149" fmla="*/ 1907629 w 1957914"/>
                    <a:gd name="connsiteY149" fmla="*/ 512733 h 1433372"/>
                    <a:gd name="connsiteX150" fmla="*/ 1909235 w 1957914"/>
                    <a:gd name="connsiteY150" fmla="*/ 512252 h 1433372"/>
                    <a:gd name="connsiteX151" fmla="*/ 1911163 w 1957914"/>
                    <a:gd name="connsiteY151" fmla="*/ 513778 h 1433372"/>
                    <a:gd name="connsiteX152" fmla="*/ 1907789 w 1957914"/>
                    <a:gd name="connsiteY152" fmla="*/ 512814 h 1433372"/>
                    <a:gd name="connsiteX153" fmla="*/ 1436586 w 1957914"/>
                    <a:gd name="connsiteY153" fmla="*/ 415858 h 1433372"/>
                    <a:gd name="connsiteX154" fmla="*/ 1436023 w 1957914"/>
                    <a:gd name="connsiteY154" fmla="*/ 415858 h 1433372"/>
                    <a:gd name="connsiteX155" fmla="*/ 1439477 w 1957914"/>
                    <a:gd name="connsiteY155" fmla="*/ 414814 h 1433372"/>
                    <a:gd name="connsiteX156" fmla="*/ 1439799 w 1957914"/>
                    <a:gd name="connsiteY156" fmla="*/ 414814 h 1433372"/>
                    <a:gd name="connsiteX157" fmla="*/ 1441646 w 1957914"/>
                    <a:gd name="connsiteY157" fmla="*/ 415215 h 1433372"/>
                    <a:gd name="connsiteX158" fmla="*/ 1445341 w 1957914"/>
                    <a:gd name="connsiteY158" fmla="*/ 415537 h 1433372"/>
                    <a:gd name="connsiteX159" fmla="*/ 1445904 w 1957914"/>
                    <a:gd name="connsiteY159" fmla="*/ 415617 h 1433372"/>
                    <a:gd name="connsiteX160" fmla="*/ 1445904 w 1957914"/>
                    <a:gd name="connsiteY160" fmla="*/ 415697 h 1433372"/>
                    <a:gd name="connsiteX161" fmla="*/ 1436586 w 1957914"/>
                    <a:gd name="connsiteY161" fmla="*/ 415858 h 1433372"/>
                    <a:gd name="connsiteX162" fmla="*/ 1849070 w 1957914"/>
                    <a:gd name="connsiteY162" fmla="*/ 483655 h 1433372"/>
                    <a:gd name="connsiteX163" fmla="*/ 1848427 w 1957914"/>
                    <a:gd name="connsiteY163" fmla="*/ 483092 h 1433372"/>
                    <a:gd name="connsiteX164" fmla="*/ 1853006 w 1957914"/>
                    <a:gd name="connsiteY164" fmla="*/ 484217 h 1433372"/>
                    <a:gd name="connsiteX165" fmla="*/ 1855978 w 1957914"/>
                    <a:gd name="connsiteY165" fmla="*/ 485743 h 1433372"/>
                    <a:gd name="connsiteX166" fmla="*/ 1849070 w 1957914"/>
                    <a:gd name="connsiteY166" fmla="*/ 483655 h 1433372"/>
                    <a:gd name="connsiteX167" fmla="*/ 1865698 w 1957914"/>
                    <a:gd name="connsiteY167" fmla="*/ 488956 h 1433372"/>
                    <a:gd name="connsiteX168" fmla="*/ 1865617 w 1957914"/>
                    <a:gd name="connsiteY168" fmla="*/ 488715 h 1433372"/>
                    <a:gd name="connsiteX169" fmla="*/ 1865698 w 1957914"/>
                    <a:gd name="connsiteY169" fmla="*/ 488715 h 1433372"/>
                    <a:gd name="connsiteX170" fmla="*/ 1867625 w 1957914"/>
                    <a:gd name="connsiteY170" fmla="*/ 490402 h 1433372"/>
                    <a:gd name="connsiteX171" fmla="*/ 1866501 w 1957914"/>
                    <a:gd name="connsiteY171" fmla="*/ 489920 h 1433372"/>
                    <a:gd name="connsiteX172" fmla="*/ 1865698 w 1957914"/>
                    <a:gd name="connsiteY172" fmla="*/ 488956 h 1433372"/>
                    <a:gd name="connsiteX173" fmla="*/ 1957914 w 1957914"/>
                    <a:gd name="connsiteY173" fmla="*/ 543017 h 1433372"/>
                    <a:gd name="connsiteX174" fmla="*/ 1957914 w 1957914"/>
                    <a:gd name="connsiteY174" fmla="*/ 543017 h 1433372"/>
                    <a:gd name="connsiteX175" fmla="*/ 1957914 w 1957914"/>
                    <a:gd name="connsiteY175" fmla="*/ 541973 h 1433372"/>
                    <a:gd name="connsiteX176" fmla="*/ 1957914 w 1957914"/>
                    <a:gd name="connsiteY176" fmla="*/ 541973 h 1433372"/>
                    <a:gd name="connsiteX177" fmla="*/ 1957914 w 1957914"/>
                    <a:gd name="connsiteY177" fmla="*/ 543017 h 1433372"/>
                    <a:gd name="connsiteX178" fmla="*/ 1823284 w 1957914"/>
                    <a:gd name="connsiteY178" fmla="*/ 472489 h 1433372"/>
                    <a:gd name="connsiteX179" fmla="*/ 1823284 w 1957914"/>
                    <a:gd name="connsiteY179" fmla="*/ 472489 h 1433372"/>
                    <a:gd name="connsiteX180" fmla="*/ 1822481 w 1957914"/>
                    <a:gd name="connsiteY180" fmla="*/ 470802 h 1433372"/>
                    <a:gd name="connsiteX181" fmla="*/ 1822561 w 1957914"/>
                    <a:gd name="connsiteY181" fmla="*/ 470883 h 1433372"/>
                    <a:gd name="connsiteX182" fmla="*/ 1823847 w 1957914"/>
                    <a:gd name="connsiteY182" fmla="*/ 472569 h 1433372"/>
                    <a:gd name="connsiteX183" fmla="*/ 1823284 w 1957914"/>
                    <a:gd name="connsiteY183" fmla="*/ 472489 h 1433372"/>
                    <a:gd name="connsiteX184" fmla="*/ 1405418 w 1957914"/>
                    <a:gd name="connsiteY184" fmla="*/ 399953 h 1433372"/>
                    <a:gd name="connsiteX185" fmla="*/ 1407908 w 1957914"/>
                    <a:gd name="connsiteY185" fmla="*/ 398909 h 1433372"/>
                    <a:gd name="connsiteX186" fmla="*/ 1408551 w 1957914"/>
                    <a:gd name="connsiteY186" fmla="*/ 398909 h 1433372"/>
                    <a:gd name="connsiteX187" fmla="*/ 1409515 w 1957914"/>
                    <a:gd name="connsiteY187" fmla="*/ 402925 h 1433372"/>
                    <a:gd name="connsiteX188" fmla="*/ 1409756 w 1957914"/>
                    <a:gd name="connsiteY188" fmla="*/ 403166 h 1433372"/>
                    <a:gd name="connsiteX189" fmla="*/ 1405418 w 1957914"/>
                    <a:gd name="connsiteY189" fmla="*/ 399953 h 1433372"/>
                    <a:gd name="connsiteX190" fmla="*/ 1831799 w 1957914"/>
                    <a:gd name="connsiteY190" fmla="*/ 463010 h 1433372"/>
                    <a:gd name="connsiteX191" fmla="*/ 1831880 w 1957914"/>
                    <a:gd name="connsiteY191" fmla="*/ 462528 h 1433372"/>
                    <a:gd name="connsiteX192" fmla="*/ 1832201 w 1957914"/>
                    <a:gd name="connsiteY192" fmla="*/ 462609 h 1433372"/>
                    <a:gd name="connsiteX193" fmla="*/ 1834289 w 1957914"/>
                    <a:gd name="connsiteY193" fmla="*/ 463733 h 1433372"/>
                    <a:gd name="connsiteX194" fmla="*/ 1834289 w 1957914"/>
                    <a:gd name="connsiteY194" fmla="*/ 465501 h 1433372"/>
                    <a:gd name="connsiteX195" fmla="*/ 1832602 w 1957914"/>
                    <a:gd name="connsiteY195" fmla="*/ 463894 h 1433372"/>
                    <a:gd name="connsiteX196" fmla="*/ 1831799 w 1957914"/>
                    <a:gd name="connsiteY196" fmla="*/ 463010 h 1433372"/>
                    <a:gd name="connsiteX197" fmla="*/ 1414897 w 1957914"/>
                    <a:gd name="connsiteY197" fmla="*/ 395696 h 1433372"/>
                    <a:gd name="connsiteX198" fmla="*/ 1414495 w 1957914"/>
                    <a:gd name="connsiteY198" fmla="*/ 394330 h 1433372"/>
                    <a:gd name="connsiteX199" fmla="*/ 1414656 w 1957914"/>
                    <a:gd name="connsiteY199" fmla="*/ 394330 h 1433372"/>
                    <a:gd name="connsiteX200" fmla="*/ 1416745 w 1957914"/>
                    <a:gd name="connsiteY200" fmla="*/ 396418 h 1433372"/>
                    <a:gd name="connsiteX201" fmla="*/ 1423492 w 1957914"/>
                    <a:gd name="connsiteY201" fmla="*/ 397463 h 1433372"/>
                    <a:gd name="connsiteX202" fmla="*/ 1422046 w 1957914"/>
                    <a:gd name="connsiteY202" fmla="*/ 399712 h 1433372"/>
                    <a:gd name="connsiteX203" fmla="*/ 1425099 w 1957914"/>
                    <a:gd name="connsiteY203" fmla="*/ 400114 h 1433372"/>
                    <a:gd name="connsiteX204" fmla="*/ 1425099 w 1957914"/>
                    <a:gd name="connsiteY204" fmla="*/ 400114 h 1433372"/>
                    <a:gd name="connsiteX205" fmla="*/ 1425099 w 1957914"/>
                    <a:gd name="connsiteY205" fmla="*/ 400114 h 1433372"/>
                    <a:gd name="connsiteX206" fmla="*/ 1425099 w 1957914"/>
                    <a:gd name="connsiteY206" fmla="*/ 400114 h 1433372"/>
                    <a:gd name="connsiteX207" fmla="*/ 1425099 w 1957914"/>
                    <a:gd name="connsiteY207" fmla="*/ 400114 h 1433372"/>
                    <a:gd name="connsiteX208" fmla="*/ 1425099 w 1957914"/>
                    <a:gd name="connsiteY208" fmla="*/ 400114 h 1433372"/>
                    <a:gd name="connsiteX209" fmla="*/ 1425099 w 1957914"/>
                    <a:gd name="connsiteY209" fmla="*/ 400114 h 1433372"/>
                    <a:gd name="connsiteX210" fmla="*/ 1425099 w 1957914"/>
                    <a:gd name="connsiteY210" fmla="*/ 400114 h 1433372"/>
                    <a:gd name="connsiteX211" fmla="*/ 1425099 w 1957914"/>
                    <a:gd name="connsiteY211" fmla="*/ 400114 h 1433372"/>
                    <a:gd name="connsiteX212" fmla="*/ 1424858 w 1957914"/>
                    <a:gd name="connsiteY212" fmla="*/ 400596 h 1433372"/>
                    <a:gd name="connsiteX213" fmla="*/ 1427830 w 1957914"/>
                    <a:gd name="connsiteY213" fmla="*/ 401319 h 1433372"/>
                    <a:gd name="connsiteX214" fmla="*/ 1425822 w 1957914"/>
                    <a:gd name="connsiteY214" fmla="*/ 401319 h 1433372"/>
                    <a:gd name="connsiteX215" fmla="*/ 1426063 w 1957914"/>
                    <a:gd name="connsiteY215" fmla="*/ 401720 h 1433372"/>
                    <a:gd name="connsiteX216" fmla="*/ 1416664 w 1957914"/>
                    <a:gd name="connsiteY216" fmla="*/ 399471 h 1433372"/>
                    <a:gd name="connsiteX217" fmla="*/ 1414897 w 1957914"/>
                    <a:gd name="connsiteY217" fmla="*/ 395696 h 1433372"/>
                    <a:gd name="connsiteX218" fmla="*/ 1826658 w 1957914"/>
                    <a:gd name="connsiteY218" fmla="*/ 460842 h 1433372"/>
                    <a:gd name="connsiteX219" fmla="*/ 1826257 w 1957914"/>
                    <a:gd name="connsiteY219" fmla="*/ 458914 h 1433372"/>
                    <a:gd name="connsiteX220" fmla="*/ 1826417 w 1957914"/>
                    <a:gd name="connsiteY220" fmla="*/ 459235 h 1433372"/>
                    <a:gd name="connsiteX221" fmla="*/ 1831157 w 1957914"/>
                    <a:gd name="connsiteY221" fmla="*/ 462930 h 1433372"/>
                    <a:gd name="connsiteX222" fmla="*/ 1826658 w 1957914"/>
                    <a:gd name="connsiteY222" fmla="*/ 460842 h 1433372"/>
                    <a:gd name="connsiteX223" fmla="*/ 1928193 w 1957914"/>
                    <a:gd name="connsiteY223" fmla="*/ 509842 h 1433372"/>
                    <a:gd name="connsiteX224" fmla="*/ 1927550 w 1957914"/>
                    <a:gd name="connsiteY224" fmla="*/ 509199 h 1433372"/>
                    <a:gd name="connsiteX225" fmla="*/ 1929317 w 1957914"/>
                    <a:gd name="connsiteY225" fmla="*/ 509038 h 1433372"/>
                    <a:gd name="connsiteX226" fmla="*/ 1929237 w 1957914"/>
                    <a:gd name="connsiteY226" fmla="*/ 508797 h 1433372"/>
                    <a:gd name="connsiteX227" fmla="*/ 1929880 w 1957914"/>
                    <a:gd name="connsiteY227" fmla="*/ 509440 h 1433372"/>
                    <a:gd name="connsiteX228" fmla="*/ 1928594 w 1957914"/>
                    <a:gd name="connsiteY228" fmla="*/ 510002 h 1433372"/>
                    <a:gd name="connsiteX229" fmla="*/ 1928193 w 1957914"/>
                    <a:gd name="connsiteY229" fmla="*/ 509842 h 1433372"/>
                    <a:gd name="connsiteX230" fmla="*/ 1433453 w 1957914"/>
                    <a:gd name="connsiteY230" fmla="*/ 384691 h 1433372"/>
                    <a:gd name="connsiteX231" fmla="*/ 1435702 w 1957914"/>
                    <a:gd name="connsiteY231" fmla="*/ 383405 h 1433372"/>
                    <a:gd name="connsiteX232" fmla="*/ 1435863 w 1957914"/>
                    <a:gd name="connsiteY232" fmla="*/ 383566 h 1433372"/>
                    <a:gd name="connsiteX233" fmla="*/ 1434818 w 1957914"/>
                    <a:gd name="connsiteY233" fmla="*/ 385655 h 1433372"/>
                    <a:gd name="connsiteX234" fmla="*/ 1433453 w 1957914"/>
                    <a:gd name="connsiteY234" fmla="*/ 384691 h 1433372"/>
                    <a:gd name="connsiteX235" fmla="*/ 1733317 w 1957914"/>
                    <a:gd name="connsiteY235" fmla="*/ 420035 h 1433372"/>
                    <a:gd name="connsiteX236" fmla="*/ 1733076 w 1957914"/>
                    <a:gd name="connsiteY236" fmla="*/ 419874 h 1433372"/>
                    <a:gd name="connsiteX237" fmla="*/ 1733478 w 1957914"/>
                    <a:gd name="connsiteY237" fmla="*/ 419955 h 1433372"/>
                    <a:gd name="connsiteX238" fmla="*/ 1738056 w 1957914"/>
                    <a:gd name="connsiteY238" fmla="*/ 421401 h 1433372"/>
                    <a:gd name="connsiteX239" fmla="*/ 1733317 w 1957914"/>
                    <a:gd name="connsiteY239" fmla="*/ 420035 h 1433372"/>
                    <a:gd name="connsiteX240" fmla="*/ 1728899 w 1957914"/>
                    <a:gd name="connsiteY240" fmla="*/ 420196 h 1433372"/>
                    <a:gd name="connsiteX241" fmla="*/ 1728497 w 1957914"/>
                    <a:gd name="connsiteY241" fmla="*/ 419955 h 1433372"/>
                    <a:gd name="connsiteX242" fmla="*/ 1728658 w 1957914"/>
                    <a:gd name="connsiteY242" fmla="*/ 417706 h 1433372"/>
                    <a:gd name="connsiteX243" fmla="*/ 1728979 w 1957914"/>
                    <a:gd name="connsiteY243" fmla="*/ 417866 h 1433372"/>
                    <a:gd name="connsiteX244" fmla="*/ 1732112 w 1957914"/>
                    <a:gd name="connsiteY244" fmla="*/ 420678 h 1433372"/>
                    <a:gd name="connsiteX245" fmla="*/ 1728899 w 1957914"/>
                    <a:gd name="connsiteY245" fmla="*/ 420196 h 1433372"/>
                    <a:gd name="connsiteX246" fmla="*/ 1093023 w 1957914"/>
                    <a:gd name="connsiteY246" fmla="*/ 383807 h 1433372"/>
                    <a:gd name="connsiteX247" fmla="*/ 1093023 w 1957914"/>
                    <a:gd name="connsiteY247" fmla="*/ 383807 h 1433372"/>
                    <a:gd name="connsiteX248" fmla="*/ 1093023 w 1957914"/>
                    <a:gd name="connsiteY248" fmla="*/ 383807 h 1433372"/>
                    <a:gd name="connsiteX249" fmla="*/ 1099047 w 1957914"/>
                    <a:gd name="connsiteY249" fmla="*/ 386538 h 1433372"/>
                    <a:gd name="connsiteX250" fmla="*/ 1099288 w 1957914"/>
                    <a:gd name="connsiteY250" fmla="*/ 387422 h 1433372"/>
                    <a:gd name="connsiteX251" fmla="*/ 1093023 w 1957914"/>
                    <a:gd name="connsiteY251" fmla="*/ 383807 h 1433372"/>
                    <a:gd name="connsiteX252" fmla="*/ 1804006 w 1957914"/>
                    <a:gd name="connsiteY252" fmla="*/ 435297 h 1433372"/>
                    <a:gd name="connsiteX253" fmla="*/ 1803845 w 1957914"/>
                    <a:gd name="connsiteY253" fmla="*/ 435297 h 1433372"/>
                    <a:gd name="connsiteX254" fmla="*/ 1805452 w 1957914"/>
                    <a:gd name="connsiteY254" fmla="*/ 435538 h 1433372"/>
                    <a:gd name="connsiteX255" fmla="*/ 1806335 w 1957914"/>
                    <a:gd name="connsiteY255" fmla="*/ 435699 h 1433372"/>
                    <a:gd name="connsiteX256" fmla="*/ 1806656 w 1957914"/>
                    <a:gd name="connsiteY256" fmla="*/ 435779 h 1433372"/>
                    <a:gd name="connsiteX257" fmla="*/ 1804006 w 1957914"/>
                    <a:gd name="connsiteY257" fmla="*/ 435297 h 1433372"/>
                    <a:gd name="connsiteX258" fmla="*/ 1678373 w 1957914"/>
                    <a:gd name="connsiteY258" fmla="*/ 391117 h 1433372"/>
                    <a:gd name="connsiteX259" fmla="*/ 1677891 w 1957914"/>
                    <a:gd name="connsiteY259" fmla="*/ 391117 h 1433372"/>
                    <a:gd name="connsiteX260" fmla="*/ 1689619 w 1957914"/>
                    <a:gd name="connsiteY260" fmla="*/ 391840 h 1433372"/>
                    <a:gd name="connsiteX261" fmla="*/ 1689619 w 1957914"/>
                    <a:gd name="connsiteY261" fmla="*/ 391840 h 1433372"/>
                    <a:gd name="connsiteX262" fmla="*/ 1678373 w 1957914"/>
                    <a:gd name="connsiteY262" fmla="*/ 391117 h 1433372"/>
                    <a:gd name="connsiteX263" fmla="*/ 1808825 w 1957914"/>
                    <a:gd name="connsiteY263" fmla="*/ 421160 h 1433372"/>
                    <a:gd name="connsiteX264" fmla="*/ 1808584 w 1957914"/>
                    <a:gd name="connsiteY264" fmla="*/ 420999 h 1433372"/>
                    <a:gd name="connsiteX265" fmla="*/ 1811155 w 1957914"/>
                    <a:gd name="connsiteY265" fmla="*/ 421160 h 1433372"/>
                    <a:gd name="connsiteX266" fmla="*/ 1813966 w 1957914"/>
                    <a:gd name="connsiteY266" fmla="*/ 422686 h 1433372"/>
                    <a:gd name="connsiteX267" fmla="*/ 1808825 w 1957914"/>
                    <a:gd name="connsiteY267" fmla="*/ 421160 h 1433372"/>
                    <a:gd name="connsiteX268" fmla="*/ 1901283 w 1957914"/>
                    <a:gd name="connsiteY268" fmla="*/ 449515 h 1433372"/>
                    <a:gd name="connsiteX269" fmla="*/ 1901042 w 1957914"/>
                    <a:gd name="connsiteY269" fmla="*/ 449274 h 1433372"/>
                    <a:gd name="connsiteX270" fmla="*/ 1902247 w 1957914"/>
                    <a:gd name="connsiteY270" fmla="*/ 450238 h 1433372"/>
                    <a:gd name="connsiteX271" fmla="*/ 1905058 w 1957914"/>
                    <a:gd name="connsiteY271" fmla="*/ 453692 h 1433372"/>
                    <a:gd name="connsiteX272" fmla="*/ 1901283 w 1957914"/>
                    <a:gd name="connsiteY272" fmla="*/ 449515 h 1433372"/>
                    <a:gd name="connsiteX273" fmla="*/ 1865537 w 1957914"/>
                    <a:gd name="connsiteY273" fmla="*/ 415778 h 1433372"/>
                    <a:gd name="connsiteX274" fmla="*/ 1865216 w 1957914"/>
                    <a:gd name="connsiteY274" fmla="*/ 415376 h 1433372"/>
                    <a:gd name="connsiteX275" fmla="*/ 1866019 w 1957914"/>
                    <a:gd name="connsiteY275" fmla="*/ 415858 h 1433372"/>
                    <a:gd name="connsiteX276" fmla="*/ 1864332 w 1957914"/>
                    <a:gd name="connsiteY276" fmla="*/ 414091 h 1433372"/>
                    <a:gd name="connsiteX277" fmla="*/ 1865376 w 1957914"/>
                    <a:gd name="connsiteY277" fmla="*/ 414974 h 1433372"/>
                    <a:gd name="connsiteX278" fmla="*/ 1878148 w 1957914"/>
                    <a:gd name="connsiteY278" fmla="*/ 426461 h 1433372"/>
                    <a:gd name="connsiteX279" fmla="*/ 1865537 w 1957914"/>
                    <a:gd name="connsiteY279" fmla="*/ 415778 h 1433372"/>
                    <a:gd name="connsiteX280" fmla="*/ 1121539 w 1957914"/>
                    <a:gd name="connsiteY280" fmla="*/ 280827 h 1433372"/>
                    <a:gd name="connsiteX281" fmla="*/ 1121138 w 1957914"/>
                    <a:gd name="connsiteY281" fmla="*/ 280505 h 1433372"/>
                    <a:gd name="connsiteX282" fmla="*/ 1129411 w 1957914"/>
                    <a:gd name="connsiteY282" fmla="*/ 277051 h 1433372"/>
                    <a:gd name="connsiteX283" fmla="*/ 1129492 w 1957914"/>
                    <a:gd name="connsiteY283" fmla="*/ 284441 h 1433372"/>
                    <a:gd name="connsiteX284" fmla="*/ 1121539 w 1957914"/>
                    <a:gd name="connsiteY284" fmla="*/ 280827 h 1433372"/>
                    <a:gd name="connsiteX285" fmla="*/ 1811316 w 1957914"/>
                    <a:gd name="connsiteY285" fmla="*/ 363163 h 1433372"/>
                    <a:gd name="connsiteX286" fmla="*/ 1809468 w 1957914"/>
                    <a:gd name="connsiteY286" fmla="*/ 362761 h 1433372"/>
                    <a:gd name="connsiteX287" fmla="*/ 1807219 w 1957914"/>
                    <a:gd name="connsiteY287" fmla="*/ 358102 h 1433372"/>
                    <a:gd name="connsiteX288" fmla="*/ 1807379 w 1957914"/>
                    <a:gd name="connsiteY288" fmla="*/ 358182 h 1433372"/>
                    <a:gd name="connsiteX289" fmla="*/ 1811316 w 1957914"/>
                    <a:gd name="connsiteY289" fmla="*/ 363163 h 1433372"/>
                    <a:gd name="connsiteX290" fmla="*/ 1838225 w 1957914"/>
                    <a:gd name="connsiteY290" fmla="*/ 378024 h 1433372"/>
                    <a:gd name="connsiteX291" fmla="*/ 1837422 w 1957914"/>
                    <a:gd name="connsiteY291" fmla="*/ 377301 h 1433372"/>
                    <a:gd name="connsiteX292" fmla="*/ 1842001 w 1957914"/>
                    <a:gd name="connsiteY292" fmla="*/ 381076 h 1433372"/>
                    <a:gd name="connsiteX293" fmla="*/ 1867706 w 1957914"/>
                    <a:gd name="connsiteY293" fmla="*/ 408709 h 1433372"/>
                    <a:gd name="connsiteX294" fmla="*/ 1838225 w 1957914"/>
                    <a:gd name="connsiteY294" fmla="*/ 378024 h 1433372"/>
                    <a:gd name="connsiteX295" fmla="*/ 1821678 w 1957914"/>
                    <a:gd name="connsiteY295" fmla="*/ 365814 h 1433372"/>
                    <a:gd name="connsiteX296" fmla="*/ 1820875 w 1957914"/>
                    <a:gd name="connsiteY296" fmla="*/ 364689 h 1433372"/>
                    <a:gd name="connsiteX297" fmla="*/ 1821196 w 1957914"/>
                    <a:gd name="connsiteY297" fmla="*/ 364850 h 1433372"/>
                    <a:gd name="connsiteX298" fmla="*/ 1822401 w 1957914"/>
                    <a:gd name="connsiteY298" fmla="*/ 365814 h 1433372"/>
                    <a:gd name="connsiteX299" fmla="*/ 1823686 w 1957914"/>
                    <a:gd name="connsiteY299" fmla="*/ 366697 h 1433372"/>
                    <a:gd name="connsiteX300" fmla="*/ 1824971 w 1957914"/>
                    <a:gd name="connsiteY300" fmla="*/ 367822 h 1433372"/>
                    <a:gd name="connsiteX301" fmla="*/ 1821678 w 1957914"/>
                    <a:gd name="connsiteY301" fmla="*/ 365814 h 1433372"/>
                    <a:gd name="connsiteX302" fmla="*/ 1689297 w 1957914"/>
                    <a:gd name="connsiteY302" fmla="*/ 294482 h 1433372"/>
                    <a:gd name="connsiteX303" fmla="*/ 1688815 w 1957914"/>
                    <a:gd name="connsiteY303" fmla="*/ 293759 h 1433372"/>
                    <a:gd name="connsiteX304" fmla="*/ 1689779 w 1957914"/>
                    <a:gd name="connsiteY304" fmla="*/ 293679 h 1433372"/>
                    <a:gd name="connsiteX305" fmla="*/ 1692270 w 1957914"/>
                    <a:gd name="connsiteY305" fmla="*/ 295687 h 1433372"/>
                    <a:gd name="connsiteX306" fmla="*/ 1692992 w 1957914"/>
                    <a:gd name="connsiteY306" fmla="*/ 296089 h 1433372"/>
                    <a:gd name="connsiteX307" fmla="*/ 1691305 w 1957914"/>
                    <a:gd name="connsiteY307" fmla="*/ 294081 h 1433372"/>
                    <a:gd name="connsiteX308" fmla="*/ 1691788 w 1957914"/>
                    <a:gd name="connsiteY308" fmla="*/ 294322 h 1433372"/>
                    <a:gd name="connsiteX309" fmla="*/ 1699660 w 1957914"/>
                    <a:gd name="connsiteY309" fmla="*/ 301310 h 1433372"/>
                    <a:gd name="connsiteX310" fmla="*/ 1690342 w 1957914"/>
                    <a:gd name="connsiteY310" fmla="*/ 295205 h 1433372"/>
                    <a:gd name="connsiteX311" fmla="*/ 1689297 w 1957914"/>
                    <a:gd name="connsiteY311" fmla="*/ 294482 h 1433372"/>
                    <a:gd name="connsiteX312" fmla="*/ 1670581 w 1957914"/>
                    <a:gd name="connsiteY312" fmla="*/ 281469 h 1433372"/>
                    <a:gd name="connsiteX313" fmla="*/ 1670179 w 1957914"/>
                    <a:gd name="connsiteY313" fmla="*/ 281389 h 1433372"/>
                    <a:gd name="connsiteX314" fmla="*/ 1677088 w 1957914"/>
                    <a:gd name="connsiteY314" fmla="*/ 282594 h 1433372"/>
                    <a:gd name="connsiteX315" fmla="*/ 1670581 w 1957914"/>
                    <a:gd name="connsiteY315" fmla="*/ 281469 h 1433372"/>
                    <a:gd name="connsiteX316" fmla="*/ 1344851 w 1957914"/>
                    <a:gd name="connsiteY316" fmla="*/ 235040 h 1433372"/>
                    <a:gd name="connsiteX317" fmla="*/ 1343405 w 1957914"/>
                    <a:gd name="connsiteY317" fmla="*/ 234558 h 1433372"/>
                    <a:gd name="connsiteX318" fmla="*/ 1345494 w 1957914"/>
                    <a:gd name="connsiteY318" fmla="*/ 231345 h 1433372"/>
                    <a:gd name="connsiteX319" fmla="*/ 1346458 w 1957914"/>
                    <a:gd name="connsiteY319" fmla="*/ 231826 h 1433372"/>
                    <a:gd name="connsiteX320" fmla="*/ 1358426 w 1957914"/>
                    <a:gd name="connsiteY320" fmla="*/ 238494 h 1433372"/>
                    <a:gd name="connsiteX321" fmla="*/ 1344851 w 1957914"/>
                    <a:gd name="connsiteY321" fmla="*/ 235040 h 1433372"/>
                    <a:gd name="connsiteX322" fmla="*/ 1767216 w 1957914"/>
                    <a:gd name="connsiteY322" fmla="*/ 322999 h 1433372"/>
                    <a:gd name="connsiteX323" fmla="*/ 1759745 w 1957914"/>
                    <a:gd name="connsiteY323" fmla="*/ 314163 h 1433372"/>
                    <a:gd name="connsiteX324" fmla="*/ 1760468 w 1957914"/>
                    <a:gd name="connsiteY324" fmla="*/ 314725 h 1433372"/>
                    <a:gd name="connsiteX325" fmla="*/ 1772838 w 1957914"/>
                    <a:gd name="connsiteY325" fmla="*/ 328541 h 1433372"/>
                    <a:gd name="connsiteX326" fmla="*/ 1770429 w 1957914"/>
                    <a:gd name="connsiteY326" fmla="*/ 326292 h 1433372"/>
                    <a:gd name="connsiteX327" fmla="*/ 1767216 w 1957914"/>
                    <a:gd name="connsiteY327" fmla="*/ 322999 h 1433372"/>
                    <a:gd name="connsiteX328" fmla="*/ 1663994 w 1957914"/>
                    <a:gd name="connsiteY328" fmla="*/ 270384 h 1433372"/>
                    <a:gd name="connsiteX329" fmla="*/ 1663110 w 1957914"/>
                    <a:gd name="connsiteY329" fmla="*/ 269982 h 1433372"/>
                    <a:gd name="connsiteX330" fmla="*/ 1665842 w 1957914"/>
                    <a:gd name="connsiteY330" fmla="*/ 268376 h 1433372"/>
                    <a:gd name="connsiteX331" fmla="*/ 1669055 w 1957914"/>
                    <a:gd name="connsiteY331" fmla="*/ 269822 h 1433372"/>
                    <a:gd name="connsiteX332" fmla="*/ 1673874 w 1957914"/>
                    <a:gd name="connsiteY332" fmla="*/ 274641 h 1433372"/>
                    <a:gd name="connsiteX333" fmla="*/ 1663994 w 1957914"/>
                    <a:gd name="connsiteY333" fmla="*/ 270384 h 1433372"/>
                    <a:gd name="connsiteX334" fmla="*/ 1567038 w 1957914"/>
                    <a:gd name="connsiteY334" fmla="*/ 237369 h 1433372"/>
                    <a:gd name="connsiteX335" fmla="*/ 1566556 w 1957914"/>
                    <a:gd name="connsiteY335" fmla="*/ 234477 h 1433372"/>
                    <a:gd name="connsiteX336" fmla="*/ 1567199 w 1957914"/>
                    <a:gd name="connsiteY336" fmla="*/ 234879 h 1433372"/>
                    <a:gd name="connsiteX337" fmla="*/ 1581819 w 1957914"/>
                    <a:gd name="connsiteY337" fmla="*/ 247410 h 1433372"/>
                    <a:gd name="connsiteX338" fmla="*/ 1567038 w 1957914"/>
                    <a:gd name="connsiteY338" fmla="*/ 237369 h 1433372"/>
                    <a:gd name="connsiteX339" fmla="*/ 1748419 w 1957914"/>
                    <a:gd name="connsiteY339" fmla="*/ 291430 h 1433372"/>
                    <a:gd name="connsiteX340" fmla="*/ 1749142 w 1957914"/>
                    <a:gd name="connsiteY340" fmla="*/ 291912 h 1433372"/>
                    <a:gd name="connsiteX341" fmla="*/ 1748419 w 1957914"/>
                    <a:gd name="connsiteY341" fmla="*/ 291430 h 1433372"/>
                    <a:gd name="connsiteX342" fmla="*/ 1748419 w 1957914"/>
                    <a:gd name="connsiteY342" fmla="*/ 291430 h 1433372"/>
                    <a:gd name="connsiteX343" fmla="*/ 1749302 w 1957914"/>
                    <a:gd name="connsiteY343" fmla="*/ 291912 h 1433372"/>
                    <a:gd name="connsiteX344" fmla="*/ 1749383 w 1957914"/>
                    <a:gd name="connsiteY344" fmla="*/ 291992 h 1433372"/>
                    <a:gd name="connsiteX345" fmla="*/ 1749302 w 1957914"/>
                    <a:gd name="connsiteY345" fmla="*/ 291912 h 1433372"/>
                    <a:gd name="connsiteX346" fmla="*/ 1749302 w 1957914"/>
                    <a:gd name="connsiteY346" fmla="*/ 291912 h 1433372"/>
                    <a:gd name="connsiteX347" fmla="*/ 1749543 w 1957914"/>
                    <a:gd name="connsiteY347" fmla="*/ 292072 h 1433372"/>
                    <a:gd name="connsiteX348" fmla="*/ 1749543 w 1957914"/>
                    <a:gd name="connsiteY348" fmla="*/ 292072 h 1433372"/>
                    <a:gd name="connsiteX349" fmla="*/ 1749543 w 1957914"/>
                    <a:gd name="connsiteY349" fmla="*/ 292072 h 1433372"/>
                    <a:gd name="connsiteX350" fmla="*/ 1749543 w 1957914"/>
                    <a:gd name="connsiteY350" fmla="*/ 292072 h 1433372"/>
                    <a:gd name="connsiteX351" fmla="*/ 1749784 w 1957914"/>
                    <a:gd name="connsiteY351" fmla="*/ 292233 h 1433372"/>
                    <a:gd name="connsiteX352" fmla="*/ 1749784 w 1957914"/>
                    <a:gd name="connsiteY352" fmla="*/ 292233 h 1433372"/>
                    <a:gd name="connsiteX353" fmla="*/ 1749784 w 1957914"/>
                    <a:gd name="connsiteY353" fmla="*/ 292233 h 1433372"/>
                    <a:gd name="connsiteX354" fmla="*/ 1749784 w 1957914"/>
                    <a:gd name="connsiteY354" fmla="*/ 292233 h 1433372"/>
                    <a:gd name="connsiteX355" fmla="*/ 1749784 w 1957914"/>
                    <a:gd name="connsiteY355" fmla="*/ 292233 h 1433372"/>
                    <a:gd name="connsiteX356" fmla="*/ 1749784 w 1957914"/>
                    <a:gd name="connsiteY356" fmla="*/ 292233 h 1433372"/>
                    <a:gd name="connsiteX357" fmla="*/ 1749784 w 1957914"/>
                    <a:gd name="connsiteY357" fmla="*/ 292233 h 1433372"/>
                    <a:gd name="connsiteX358" fmla="*/ 1749784 w 1957914"/>
                    <a:gd name="connsiteY358" fmla="*/ 292233 h 1433372"/>
                    <a:gd name="connsiteX359" fmla="*/ 1749784 w 1957914"/>
                    <a:gd name="connsiteY359" fmla="*/ 292233 h 1433372"/>
                    <a:gd name="connsiteX360" fmla="*/ 1749784 w 1957914"/>
                    <a:gd name="connsiteY360" fmla="*/ 292233 h 1433372"/>
                    <a:gd name="connsiteX361" fmla="*/ 1749784 w 1957914"/>
                    <a:gd name="connsiteY361" fmla="*/ 292233 h 1433372"/>
                    <a:gd name="connsiteX362" fmla="*/ 1749784 w 1957914"/>
                    <a:gd name="connsiteY362" fmla="*/ 292233 h 1433372"/>
                    <a:gd name="connsiteX363" fmla="*/ 1749784 w 1957914"/>
                    <a:gd name="connsiteY363" fmla="*/ 292233 h 1433372"/>
                    <a:gd name="connsiteX364" fmla="*/ 1749784 w 1957914"/>
                    <a:gd name="connsiteY364" fmla="*/ 292233 h 1433372"/>
                    <a:gd name="connsiteX365" fmla="*/ 1749784 w 1957914"/>
                    <a:gd name="connsiteY365" fmla="*/ 292233 h 1433372"/>
                    <a:gd name="connsiteX366" fmla="*/ 1749784 w 1957914"/>
                    <a:gd name="connsiteY366" fmla="*/ 292233 h 1433372"/>
                    <a:gd name="connsiteX367" fmla="*/ 1749784 w 1957914"/>
                    <a:gd name="connsiteY367" fmla="*/ 292233 h 1433372"/>
                    <a:gd name="connsiteX368" fmla="*/ 1749784 w 1957914"/>
                    <a:gd name="connsiteY368" fmla="*/ 292233 h 1433372"/>
                    <a:gd name="connsiteX369" fmla="*/ 1749784 w 1957914"/>
                    <a:gd name="connsiteY369" fmla="*/ 292233 h 1433372"/>
                    <a:gd name="connsiteX370" fmla="*/ 1749784 w 1957914"/>
                    <a:gd name="connsiteY370" fmla="*/ 292233 h 1433372"/>
                    <a:gd name="connsiteX371" fmla="*/ 1749784 w 1957914"/>
                    <a:gd name="connsiteY371" fmla="*/ 292233 h 1433372"/>
                    <a:gd name="connsiteX372" fmla="*/ 1749784 w 1957914"/>
                    <a:gd name="connsiteY372" fmla="*/ 292233 h 1433372"/>
                    <a:gd name="connsiteX373" fmla="*/ 1749784 w 1957914"/>
                    <a:gd name="connsiteY373" fmla="*/ 292233 h 1433372"/>
                    <a:gd name="connsiteX374" fmla="*/ 1749784 w 1957914"/>
                    <a:gd name="connsiteY374" fmla="*/ 292233 h 1433372"/>
                    <a:gd name="connsiteX375" fmla="*/ 1749784 w 1957914"/>
                    <a:gd name="connsiteY375" fmla="*/ 292233 h 1433372"/>
                    <a:gd name="connsiteX376" fmla="*/ 1749784 w 1957914"/>
                    <a:gd name="connsiteY376" fmla="*/ 292233 h 1433372"/>
                    <a:gd name="connsiteX377" fmla="*/ 1749784 w 1957914"/>
                    <a:gd name="connsiteY377" fmla="*/ 292233 h 1433372"/>
                    <a:gd name="connsiteX378" fmla="*/ 1749784 w 1957914"/>
                    <a:gd name="connsiteY378" fmla="*/ 292233 h 1433372"/>
                    <a:gd name="connsiteX379" fmla="*/ 1749784 w 1957914"/>
                    <a:gd name="connsiteY379" fmla="*/ 292233 h 1433372"/>
                    <a:gd name="connsiteX380" fmla="*/ 1749784 w 1957914"/>
                    <a:gd name="connsiteY380" fmla="*/ 292233 h 1433372"/>
                    <a:gd name="connsiteX381" fmla="*/ 1749784 w 1957914"/>
                    <a:gd name="connsiteY381" fmla="*/ 292233 h 1433372"/>
                    <a:gd name="connsiteX382" fmla="*/ 1749784 w 1957914"/>
                    <a:gd name="connsiteY382" fmla="*/ 292233 h 1433372"/>
                    <a:gd name="connsiteX383" fmla="*/ 1749784 w 1957914"/>
                    <a:gd name="connsiteY383" fmla="*/ 292233 h 1433372"/>
                    <a:gd name="connsiteX384" fmla="*/ 1749784 w 1957914"/>
                    <a:gd name="connsiteY384" fmla="*/ 292233 h 1433372"/>
                    <a:gd name="connsiteX385" fmla="*/ 1749784 w 1957914"/>
                    <a:gd name="connsiteY385" fmla="*/ 292233 h 1433372"/>
                    <a:gd name="connsiteX386" fmla="*/ 1749784 w 1957914"/>
                    <a:gd name="connsiteY386" fmla="*/ 292233 h 1433372"/>
                    <a:gd name="connsiteX387" fmla="*/ 1749784 w 1957914"/>
                    <a:gd name="connsiteY387" fmla="*/ 292233 h 1433372"/>
                    <a:gd name="connsiteX388" fmla="*/ 1749784 w 1957914"/>
                    <a:gd name="connsiteY388" fmla="*/ 292233 h 1433372"/>
                    <a:gd name="connsiteX389" fmla="*/ 1749784 w 1957914"/>
                    <a:gd name="connsiteY389" fmla="*/ 292233 h 1433372"/>
                    <a:gd name="connsiteX390" fmla="*/ 1749784 w 1957914"/>
                    <a:gd name="connsiteY390" fmla="*/ 292233 h 1433372"/>
                    <a:gd name="connsiteX391" fmla="*/ 1749784 w 1957914"/>
                    <a:gd name="connsiteY391" fmla="*/ 292233 h 1433372"/>
                    <a:gd name="connsiteX392" fmla="*/ 1749784 w 1957914"/>
                    <a:gd name="connsiteY392" fmla="*/ 292233 h 1433372"/>
                    <a:gd name="connsiteX393" fmla="*/ 1749784 w 1957914"/>
                    <a:gd name="connsiteY393" fmla="*/ 292233 h 1433372"/>
                    <a:gd name="connsiteX394" fmla="*/ 1749784 w 1957914"/>
                    <a:gd name="connsiteY394" fmla="*/ 292233 h 1433372"/>
                    <a:gd name="connsiteX395" fmla="*/ 1749784 w 1957914"/>
                    <a:gd name="connsiteY395" fmla="*/ 292233 h 1433372"/>
                    <a:gd name="connsiteX396" fmla="*/ 1749784 w 1957914"/>
                    <a:gd name="connsiteY396" fmla="*/ 292233 h 1433372"/>
                    <a:gd name="connsiteX397" fmla="*/ 1749784 w 1957914"/>
                    <a:gd name="connsiteY397" fmla="*/ 292233 h 1433372"/>
                    <a:gd name="connsiteX398" fmla="*/ 1749784 w 1957914"/>
                    <a:gd name="connsiteY398" fmla="*/ 292233 h 1433372"/>
                    <a:gd name="connsiteX399" fmla="*/ 1749784 w 1957914"/>
                    <a:gd name="connsiteY399" fmla="*/ 292233 h 1433372"/>
                    <a:gd name="connsiteX400" fmla="*/ 1749784 w 1957914"/>
                    <a:gd name="connsiteY400" fmla="*/ 292233 h 1433372"/>
                    <a:gd name="connsiteX401" fmla="*/ 1749784 w 1957914"/>
                    <a:gd name="connsiteY401" fmla="*/ 292233 h 1433372"/>
                    <a:gd name="connsiteX402" fmla="*/ 1749784 w 1957914"/>
                    <a:gd name="connsiteY402" fmla="*/ 292233 h 1433372"/>
                    <a:gd name="connsiteX403" fmla="*/ 1749784 w 1957914"/>
                    <a:gd name="connsiteY403" fmla="*/ 292233 h 1433372"/>
                    <a:gd name="connsiteX404" fmla="*/ 1749784 w 1957914"/>
                    <a:gd name="connsiteY404" fmla="*/ 292233 h 1433372"/>
                    <a:gd name="connsiteX405" fmla="*/ 1749704 w 1957914"/>
                    <a:gd name="connsiteY405" fmla="*/ 292233 h 1433372"/>
                    <a:gd name="connsiteX406" fmla="*/ 1749704 w 1957914"/>
                    <a:gd name="connsiteY406" fmla="*/ 292233 h 1433372"/>
                    <a:gd name="connsiteX407" fmla="*/ 1749704 w 1957914"/>
                    <a:gd name="connsiteY407" fmla="*/ 292233 h 1433372"/>
                    <a:gd name="connsiteX408" fmla="*/ 1749704 w 1957914"/>
                    <a:gd name="connsiteY408" fmla="*/ 292233 h 1433372"/>
                    <a:gd name="connsiteX409" fmla="*/ 1749704 w 1957914"/>
                    <a:gd name="connsiteY409" fmla="*/ 292233 h 1433372"/>
                    <a:gd name="connsiteX410" fmla="*/ 1749704 w 1957914"/>
                    <a:gd name="connsiteY410" fmla="*/ 292233 h 1433372"/>
                    <a:gd name="connsiteX411" fmla="*/ 1749704 w 1957914"/>
                    <a:gd name="connsiteY411" fmla="*/ 292233 h 1433372"/>
                    <a:gd name="connsiteX412" fmla="*/ 1749704 w 1957914"/>
                    <a:gd name="connsiteY412" fmla="*/ 292233 h 1433372"/>
                    <a:gd name="connsiteX413" fmla="*/ 1749704 w 1957914"/>
                    <a:gd name="connsiteY413" fmla="*/ 292233 h 1433372"/>
                    <a:gd name="connsiteX414" fmla="*/ 1749704 w 1957914"/>
                    <a:gd name="connsiteY414" fmla="*/ 292233 h 1433372"/>
                    <a:gd name="connsiteX415" fmla="*/ 1749704 w 1957914"/>
                    <a:gd name="connsiteY415" fmla="*/ 292233 h 1433372"/>
                    <a:gd name="connsiteX416" fmla="*/ 1749704 w 1957914"/>
                    <a:gd name="connsiteY416" fmla="*/ 292233 h 1433372"/>
                    <a:gd name="connsiteX417" fmla="*/ 1749704 w 1957914"/>
                    <a:gd name="connsiteY417" fmla="*/ 292153 h 1433372"/>
                    <a:gd name="connsiteX418" fmla="*/ 1749704 w 1957914"/>
                    <a:gd name="connsiteY418" fmla="*/ 292153 h 1433372"/>
                    <a:gd name="connsiteX419" fmla="*/ 1749704 w 1957914"/>
                    <a:gd name="connsiteY419" fmla="*/ 292153 h 1433372"/>
                    <a:gd name="connsiteX420" fmla="*/ 1749704 w 1957914"/>
                    <a:gd name="connsiteY420" fmla="*/ 292153 h 1433372"/>
                    <a:gd name="connsiteX421" fmla="*/ 1749704 w 1957914"/>
                    <a:gd name="connsiteY421" fmla="*/ 292153 h 1433372"/>
                    <a:gd name="connsiteX422" fmla="*/ 1749704 w 1957914"/>
                    <a:gd name="connsiteY422" fmla="*/ 292153 h 1433372"/>
                    <a:gd name="connsiteX423" fmla="*/ 1749704 w 1957914"/>
                    <a:gd name="connsiteY423" fmla="*/ 292153 h 1433372"/>
                    <a:gd name="connsiteX424" fmla="*/ 1749704 w 1957914"/>
                    <a:gd name="connsiteY424" fmla="*/ 292153 h 1433372"/>
                    <a:gd name="connsiteX425" fmla="*/ 1749704 w 1957914"/>
                    <a:gd name="connsiteY425" fmla="*/ 292153 h 1433372"/>
                    <a:gd name="connsiteX426" fmla="*/ 1749704 w 1957914"/>
                    <a:gd name="connsiteY426" fmla="*/ 292153 h 1433372"/>
                    <a:gd name="connsiteX427" fmla="*/ 1749704 w 1957914"/>
                    <a:gd name="connsiteY427" fmla="*/ 292153 h 1433372"/>
                    <a:gd name="connsiteX428" fmla="*/ 1749704 w 1957914"/>
                    <a:gd name="connsiteY428" fmla="*/ 292153 h 1433372"/>
                    <a:gd name="connsiteX429" fmla="*/ 1749704 w 1957914"/>
                    <a:gd name="connsiteY429" fmla="*/ 292153 h 1433372"/>
                    <a:gd name="connsiteX430" fmla="*/ 1749704 w 1957914"/>
                    <a:gd name="connsiteY430" fmla="*/ 292153 h 1433372"/>
                    <a:gd name="connsiteX431" fmla="*/ 1749704 w 1957914"/>
                    <a:gd name="connsiteY431" fmla="*/ 292153 h 1433372"/>
                    <a:gd name="connsiteX432" fmla="*/ 1749704 w 1957914"/>
                    <a:gd name="connsiteY432" fmla="*/ 292153 h 1433372"/>
                    <a:gd name="connsiteX433" fmla="*/ 1749704 w 1957914"/>
                    <a:gd name="connsiteY433" fmla="*/ 292153 h 1433372"/>
                    <a:gd name="connsiteX434" fmla="*/ 1749704 w 1957914"/>
                    <a:gd name="connsiteY434" fmla="*/ 292153 h 1433372"/>
                    <a:gd name="connsiteX435" fmla="*/ 1749704 w 1957914"/>
                    <a:gd name="connsiteY435" fmla="*/ 292153 h 1433372"/>
                    <a:gd name="connsiteX436" fmla="*/ 1749704 w 1957914"/>
                    <a:gd name="connsiteY436" fmla="*/ 292153 h 1433372"/>
                    <a:gd name="connsiteX437" fmla="*/ 1749704 w 1957914"/>
                    <a:gd name="connsiteY437" fmla="*/ 292153 h 1433372"/>
                    <a:gd name="connsiteX438" fmla="*/ 1749704 w 1957914"/>
                    <a:gd name="connsiteY438" fmla="*/ 292153 h 1433372"/>
                    <a:gd name="connsiteX439" fmla="*/ 1749704 w 1957914"/>
                    <a:gd name="connsiteY439" fmla="*/ 292153 h 1433372"/>
                    <a:gd name="connsiteX440" fmla="*/ 1749704 w 1957914"/>
                    <a:gd name="connsiteY440" fmla="*/ 292153 h 1433372"/>
                    <a:gd name="connsiteX441" fmla="*/ 1749704 w 1957914"/>
                    <a:gd name="connsiteY441" fmla="*/ 292153 h 1433372"/>
                    <a:gd name="connsiteX442" fmla="*/ 1749704 w 1957914"/>
                    <a:gd name="connsiteY442" fmla="*/ 292153 h 1433372"/>
                    <a:gd name="connsiteX443" fmla="*/ 1749704 w 1957914"/>
                    <a:gd name="connsiteY443" fmla="*/ 292153 h 1433372"/>
                    <a:gd name="connsiteX444" fmla="*/ 1749704 w 1957914"/>
                    <a:gd name="connsiteY444" fmla="*/ 292153 h 1433372"/>
                    <a:gd name="connsiteX445" fmla="*/ 1749704 w 1957914"/>
                    <a:gd name="connsiteY445" fmla="*/ 292153 h 1433372"/>
                    <a:gd name="connsiteX446" fmla="*/ 1749704 w 1957914"/>
                    <a:gd name="connsiteY446" fmla="*/ 292153 h 1433372"/>
                    <a:gd name="connsiteX447" fmla="*/ 964980 w 1957914"/>
                    <a:gd name="connsiteY447" fmla="*/ 200338 h 1433372"/>
                    <a:gd name="connsiteX448" fmla="*/ 966105 w 1957914"/>
                    <a:gd name="connsiteY448" fmla="*/ 199695 h 1433372"/>
                    <a:gd name="connsiteX449" fmla="*/ 969157 w 1957914"/>
                    <a:gd name="connsiteY449" fmla="*/ 200900 h 1433372"/>
                    <a:gd name="connsiteX450" fmla="*/ 967069 w 1957914"/>
                    <a:gd name="connsiteY450" fmla="*/ 201703 h 1433372"/>
                    <a:gd name="connsiteX451" fmla="*/ 964980 w 1957914"/>
                    <a:gd name="connsiteY451" fmla="*/ 200338 h 1433372"/>
                    <a:gd name="connsiteX452" fmla="*/ 1736129 w 1957914"/>
                    <a:gd name="connsiteY452" fmla="*/ 277935 h 1433372"/>
                    <a:gd name="connsiteX453" fmla="*/ 1736129 w 1957914"/>
                    <a:gd name="connsiteY453" fmla="*/ 277935 h 1433372"/>
                    <a:gd name="connsiteX454" fmla="*/ 1739181 w 1957914"/>
                    <a:gd name="connsiteY454" fmla="*/ 280184 h 1433372"/>
                    <a:gd name="connsiteX455" fmla="*/ 1739181 w 1957914"/>
                    <a:gd name="connsiteY455" fmla="*/ 280104 h 1433372"/>
                    <a:gd name="connsiteX456" fmla="*/ 1739904 w 1957914"/>
                    <a:gd name="connsiteY456" fmla="*/ 280666 h 1433372"/>
                    <a:gd name="connsiteX457" fmla="*/ 1743840 w 1957914"/>
                    <a:gd name="connsiteY457" fmla="*/ 284040 h 1433372"/>
                    <a:gd name="connsiteX458" fmla="*/ 1736129 w 1957914"/>
                    <a:gd name="connsiteY458" fmla="*/ 277935 h 1433372"/>
                    <a:gd name="connsiteX459" fmla="*/ 1712512 w 1957914"/>
                    <a:gd name="connsiteY459" fmla="*/ 260022 h 1433372"/>
                    <a:gd name="connsiteX460" fmla="*/ 1712271 w 1957914"/>
                    <a:gd name="connsiteY460" fmla="*/ 259861 h 1433372"/>
                    <a:gd name="connsiteX461" fmla="*/ 1712351 w 1957914"/>
                    <a:gd name="connsiteY461" fmla="*/ 259941 h 1433372"/>
                    <a:gd name="connsiteX462" fmla="*/ 1715484 w 1957914"/>
                    <a:gd name="connsiteY462" fmla="*/ 262030 h 1433372"/>
                    <a:gd name="connsiteX463" fmla="*/ 1712512 w 1957914"/>
                    <a:gd name="connsiteY463" fmla="*/ 260022 h 1433372"/>
                    <a:gd name="connsiteX464" fmla="*/ 1411684 w 1957914"/>
                    <a:gd name="connsiteY464" fmla="*/ 178248 h 1433372"/>
                    <a:gd name="connsiteX465" fmla="*/ 1407346 w 1957914"/>
                    <a:gd name="connsiteY465" fmla="*/ 174151 h 1433372"/>
                    <a:gd name="connsiteX466" fmla="*/ 1408471 w 1957914"/>
                    <a:gd name="connsiteY466" fmla="*/ 174633 h 1433372"/>
                    <a:gd name="connsiteX467" fmla="*/ 1485023 w 1957914"/>
                    <a:gd name="connsiteY467" fmla="*/ 211423 h 1433372"/>
                    <a:gd name="connsiteX468" fmla="*/ 1524946 w 1957914"/>
                    <a:gd name="connsiteY468" fmla="*/ 226605 h 1433372"/>
                    <a:gd name="connsiteX469" fmla="*/ 1411684 w 1957914"/>
                    <a:gd name="connsiteY469" fmla="*/ 178248 h 1433372"/>
                    <a:gd name="connsiteX470" fmla="*/ 1509604 w 1957914"/>
                    <a:gd name="connsiteY470" fmla="*/ 206764 h 1433372"/>
                    <a:gd name="connsiteX471" fmla="*/ 1509122 w 1957914"/>
                    <a:gd name="connsiteY471" fmla="*/ 206604 h 1433372"/>
                    <a:gd name="connsiteX472" fmla="*/ 1505427 w 1957914"/>
                    <a:gd name="connsiteY472" fmla="*/ 198892 h 1433372"/>
                    <a:gd name="connsiteX473" fmla="*/ 1504864 w 1957914"/>
                    <a:gd name="connsiteY473" fmla="*/ 200418 h 1433372"/>
                    <a:gd name="connsiteX474" fmla="*/ 1490486 w 1957914"/>
                    <a:gd name="connsiteY474" fmla="*/ 179372 h 1433372"/>
                    <a:gd name="connsiteX475" fmla="*/ 1492895 w 1957914"/>
                    <a:gd name="connsiteY475" fmla="*/ 179051 h 1433372"/>
                    <a:gd name="connsiteX476" fmla="*/ 1494743 w 1957914"/>
                    <a:gd name="connsiteY476" fmla="*/ 180176 h 1433372"/>
                    <a:gd name="connsiteX477" fmla="*/ 1497233 w 1957914"/>
                    <a:gd name="connsiteY477" fmla="*/ 180658 h 1433372"/>
                    <a:gd name="connsiteX478" fmla="*/ 1502454 w 1957914"/>
                    <a:gd name="connsiteY478" fmla="*/ 182746 h 1433372"/>
                    <a:gd name="connsiteX479" fmla="*/ 1502454 w 1957914"/>
                    <a:gd name="connsiteY479" fmla="*/ 182344 h 1433372"/>
                    <a:gd name="connsiteX480" fmla="*/ 1512094 w 1957914"/>
                    <a:gd name="connsiteY480" fmla="*/ 185879 h 1433372"/>
                    <a:gd name="connsiteX481" fmla="*/ 1504784 w 1957914"/>
                    <a:gd name="connsiteY481" fmla="*/ 188369 h 1433372"/>
                    <a:gd name="connsiteX482" fmla="*/ 1512174 w 1957914"/>
                    <a:gd name="connsiteY482" fmla="*/ 193912 h 1433372"/>
                    <a:gd name="connsiteX483" fmla="*/ 1503499 w 1957914"/>
                    <a:gd name="connsiteY483" fmla="*/ 188610 h 1433372"/>
                    <a:gd name="connsiteX484" fmla="*/ 1494823 w 1957914"/>
                    <a:gd name="connsiteY484" fmla="*/ 182264 h 1433372"/>
                    <a:gd name="connsiteX485" fmla="*/ 1511692 w 1957914"/>
                    <a:gd name="connsiteY485" fmla="*/ 204756 h 1433372"/>
                    <a:gd name="connsiteX486" fmla="*/ 1516191 w 1957914"/>
                    <a:gd name="connsiteY486" fmla="*/ 205720 h 1433372"/>
                    <a:gd name="connsiteX487" fmla="*/ 1512897 w 1957914"/>
                    <a:gd name="connsiteY487" fmla="*/ 208451 h 1433372"/>
                    <a:gd name="connsiteX488" fmla="*/ 1509604 w 1957914"/>
                    <a:gd name="connsiteY488" fmla="*/ 206764 h 1433372"/>
                    <a:gd name="connsiteX489" fmla="*/ 20484 w 1957914"/>
                    <a:gd name="connsiteY489" fmla="*/ 436181 h 1433372"/>
                    <a:gd name="connsiteX490" fmla="*/ 20484 w 1957914"/>
                    <a:gd name="connsiteY490" fmla="*/ 436181 h 1433372"/>
                    <a:gd name="connsiteX491" fmla="*/ 20725 w 1957914"/>
                    <a:gd name="connsiteY491" fmla="*/ 436261 h 1433372"/>
                    <a:gd name="connsiteX492" fmla="*/ 20484 w 1957914"/>
                    <a:gd name="connsiteY492" fmla="*/ 436181 h 1433372"/>
                    <a:gd name="connsiteX493" fmla="*/ 16467 w 1957914"/>
                    <a:gd name="connsiteY493" fmla="*/ 437948 h 1433372"/>
                    <a:gd name="connsiteX494" fmla="*/ 24179 w 1957914"/>
                    <a:gd name="connsiteY494" fmla="*/ 430237 h 1433372"/>
                    <a:gd name="connsiteX495" fmla="*/ 24098 w 1957914"/>
                    <a:gd name="connsiteY495" fmla="*/ 430558 h 1433372"/>
                    <a:gd name="connsiteX496" fmla="*/ 16226 w 1957914"/>
                    <a:gd name="connsiteY496" fmla="*/ 439555 h 1433372"/>
                    <a:gd name="connsiteX497" fmla="*/ 16467 w 1957914"/>
                    <a:gd name="connsiteY497" fmla="*/ 437948 h 1433372"/>
                    <a:gd name="connsiteX498" fmla="*/ 20082 w 1957914"/>
                    <a:gd name="connsiteY498" fmla="*/ 428550 h 1433372"/>
                    <a:gd name="connsiteX499" fmla="*/ 19841 w 1957914"/>
                    <a:gd name="connsiteY499" fmla="*/ 428630 h 1433372"/>
                    <a:gd name="connsiteX500" fmla="*/ 27552 w 1957914"/>
                    <a:gd name="connsiteY500" fmla="*/ 422766 h 1433372"/>
                    <a:gd name="connsiteX501" fmla="*/ 27954 w 1957914"/>
                    <a:gd name="connsiteY501" fmla="*/ 422605 h 1433372"/>
                    <a:gd name="connsiteX502" fmla="*/ 18877 w 1957914"/>
                    <a:gd name="connsiteY502" fmla="*/ 430237 h 1433372"/>
                    <a:gd name="connsiteX503" fmla="*/ 20805 w 1957914"/>
                    <a:gd name="connsiteY503" fmla="*/ 428229 h 1433372"/>
                    <a:gd name="connsiteX504" fmla="*/ 20082 w 1957914"/>
                    <a:gd name="connsiteY504" fmla="*/ 428550 h 1433372"/>
                    <a:gd name="connsiteX505" fmla="*/ 53579 w 1957914"/>
                    <a:gd name="connsiteY505" fmla="*/ 401399 h 1433372"/>
                    <a:gd name="connsiteX506" fmla="*/ 56631 w 1957914"/>
                    <a:gd name="connsiteY506" fmla="*/ 398266 h 1433372"/>
                    <a:gd name="connsiteX507" fmla="*/ 56551 w 1957914"/>
                    <a:gd name="connsiteY507" fmla="*/ 398346 h 1433372"/>
                    <a:gd name="connsiteX508" fmla="*/ 53418 w 1957914"/>
                    <a:gd name="connsiteY508" fmla="*/ 401720 h 1433372"/>
                    <a:gd name="connsiteX509" fmla="*/ 53579 w 1957914"/>
                    <a:gd name="connsiteY509" fmla="*/ 401399 h 1433372"/>
                    <a:gd name="connsiteX510" fmla="*/ 53739 w 1957914"/>
                    <a:gd name="connsiteY510" fmla="*/ 399310 h 1433372"/>
                    <a:gd name="connsiteX511" fmla="*/ 53257 w 1957914"/>
                    <a:gd name="connsiteY511" fmla="*/ 399712 h 1433372"/>
                    <a:gd name="connsiteX512" fmla="*/ 56069 w 1957914"/>
                    <a:gd name="connsiteY512" fmla="*/ 396660 h 1433372"/>
                    <a:gd name="connsiteX513" fmla="*/ 55507 w 1957914"/>
                    <a:gd name="connsiteY513" fmla="*/ 396740 h 1433372"/>
                    <a:gd name="connsiteX514" fmla="*/ 60166 w 1957914"/>
                    <a:gd name="connsiteY514" fmla="*/ 393286 h 1433372"/>
                    <a:gd name="connsiteX515" fmla="*/ 60005 w 1957914"/>
                    <a:gd name="connsiteY515" fmla="*/ 393527 h 1433372"/>
                    <a:gd name="connsiteX516" fmla="*/ 53739 w 1957914"/>
                    <a:gd name="connsiteY516" fmla="*/ 399310 h 1433372"/>
                    <a:gd name="connsiteX517" fmla="*/ 20002 w 1957914"/>
                    <a:gd name="connsiteY517" fmla="*/ 420356 h 1433372"/>
                    <a:gd name="connsiteX518" fmla="*/ 19841 w 1957914"/>
                    <a:gd name="connsiteY518" fmla="*/ 420196 h 1433372"/>
                    <a:gd name="connsiteX519" fmla="*/ 21689 w 1957914"/>
                    <a:gd name="connsiteY519" fmla="*/ 418830 h 1433372"/>
                    <a:gd name="connsiteX520" fmla="*/ 31810 w 1957914"/>
                    <a:gd name="connsiteY520" fmla="*/ 413207 h 1433372"/>
                    <a:gd name="connsiteX521" fmla="*/ 20002 w 1957914"/>
                    <a:gd name="connsiteY521" fmla="*/ 420356 h 1433372"/>
                    <a:gd name="connsiteX522" fmla="*/ 55507 w 1957914"/>
                    <a:gd name="connsiteY522" fmla="*/ 393928 h 1433372"/>
                    <a:gd name="connsiteX523" fmla="*/ 55346 w 1957914"/>
                    <a:gd name="connsiteY523" fmla="*/ 394009 h 1433372"/>
                    <a:gd name="connsiteX524" fmla="*/ 59041 w 1957914"/>
                    <a:gd name="connsiteY524" fmla="*/ 391037 h 1433372"/>
                    <a:gd name="connsiteX525" fmla="*/ 63218 w 1957914"/>
                    <a:gd name="connsiteY525" fmla="*/ 388868 h 1433372"/>
                    <a:gd name="connsiteX526" fmla="*/ 55507 w 1957914"/>
                    <a:gd name="connsiteY526" fmla="*/ 393928 h 1433372"/>
                    <a:gd name="connsiteX527" fmla="*/ 0 w 1957914"/>
                    <a:gd name="connsiteY527" fmla="*/ 434092 h 1433372"/>
                    <a:gd name="connsiteX528" fmla="*/ 0 w 1957914"/>
                    <a:gd name="connsiteY528" fmla="*/ 434092 h 1433372"/>
                    <a:gd name="connsiteX529" fmla="*/ 1687 w 1957914"/>
                    <a:gd name="connsiteY529" fmla="*/ 431924 h 1433372"/>
                    <a:gd name="connsiteX530" fmla="*/ 1687 w 1957914"/>
                    <a:gd name="connsiteY530" fmla="*/ 431924 h 1433372"/>
                    <a:gd name="connsiteX531" fmla="*/ 1767 w 1957914"/>
                    <a:gd name="connsiteY531" fmla="*/ 432084 h 1433372"/>
                    <a:gd name="connsiteX532" fmla="*/ 0 w 1957914"/>
                    <a:gd name="connsiteY532" fmla="*/ 434092 h 1433372"/>
                    <a:gd name="connsiteX533" fmla="*/ 62736 w 1957914"/>
                    <a:gd name="connsiteY533" fmla="*/ 387101 h 1433372"/>
                    <a:gd name="connsiteX534" fmla="*/ 62575 w 1957914"/>
                    <a:gd name="connsiteY534" fmla="*/ 387181 h 1433372"/>
                    <a:gd name="connsiteX535" fmla="*/ 64102 w 1957914"/>
                    <a:gd name="connsiteY535" fmla="*/ 385414 h 1433372"/>
                    <a:gd name="connsiteX536" fmla="*/ 64262 w 1957914"/>
                    <a:gd name="connsiteY536" fmla="*/ 385333 h 1433372"/>
                    <a:gd name="connsiteX537" fmla="*/ 65869 w 1957914"/>
                    <a:gd name="connsiteY537" fmla="*/ 384771 h 1433372"/>
                    <a:gd name="connsiteX538" fmla="*/ 65869 w 1957914"/>
                    <a:gd name="connsiteY538" fmla="*/ 385012 h 1433372"/>
                    <a:gd name="connsiteX539" fmla="*/ 62736 w 1957914"/>
                    <a:gd name="connsiteY539" fmla="*/ 387101 h 1433372"/>
                    <a:gd name="connsiteX540" fmla="*/ 107880 w 1957914"/>
                    <a:gd name="connsiteY540" fmla="*/ 358102 h 1433372"/>
                    <a:gd name="connsiteX541" fmla="*/ 107479 w 1957914"/>
                    <a:gd name="connsiteY541" fmla="*/ 358102 h 1433372"/>
                    <a:gd name="connsiteX542" fmla="*/ 110049 w 1957914"/>
                    <a:gd name="connsiteY542" fmla="*/ 356415 h 1433372"/>
                    <a:gd name="connsiteX543" fmla="*/ 111817 w 1957914"/>
                    <a:gd name="connsiteY543" fmla="*/ 355853 h 1433372"/>
                    <a:gd name="connsiteX544" fmla="*/ 110612 w 1957914"/>
                    <a:gd name="connsiteY544" fmla="*/ 356897 h 1433372"/>
                    <a:gd name="connsiteX545" fmla="*/ 112138 w 1957914"/>
                    <a:gd name="connsiteY545" fmla="*/ 356496 h 1433372"/>
                    <a:gd name="connsiteX546" fmla="*/ 111736 w 1957914"/>
                    <a:gd name="connsiteY546" fmla="*/ 356897 h 1433372"/>
                    <a:gd name="connsiteX547" fmla="*/ 108121 w 1957914"/>
                    <a:gd name="connsiteY547" fmla="*/ 359869 h 1433372"/>
                    <a:gd name="connsiteX548" fmla="*/ 107880 w 1957914"/>
                    <a:gd name="connsiteY548" fmla="*/ 358102 h 1433372"/>
                    <a:gd name="connsiteX549" fmla="*/ 24661 w 1957914"/>
                    <a:gd name="connsiteY549" fmla="*/ 411842 h 1433372"/>
                    <a:gd name="connsiteX550" fmla="*/ 24500 w 1957914"/>
                    <a:gd name="connsiteY550" fmla="*/ 411842 h 1433372"/>
                    <a:gd name="connsiteX551" fmla="*/ 24902 w 1957914"/>
                    <a:gd name="connsiteY551" fmla="*/ 411601 h 1433372"/>
                    <a:gd name="connsiteX552" fmla="*/ 27472 w 1957914"/>
                    <a:gd name="connsiteY552" fmla="*/ 410556 h 1433372"/>
                    <a:gd name="connsiteX553" fmla="*/ 28195 w 1957914"/>
                    <a:gd name="connsiteY553" fmla="*/ 410476 h 1433372"/>
                    <a:gd name="connsiteX554" fmla="*/ 28356 w 1957914"/>
                    <a:gd name="connsiteY554" fmla="*/ 410476 h 1433372"/>
                    <a:gd name="connsiteX555" fmla="*/ 28838 w 1957914"/>
                    <a:gd name="connsiteY555" fmla="*/ 410637 h 1433372"/>
                    <a:gd name="connsiteX556" fmla="*/ 29079 w 1957914"/>
                    <a:gd name="connsiteY556" fmla="*/ 410637 h 1433372"/>
                    <a:gd name="connsiteX557" fmla="*/ 29159 w 1957914"/>
                    <a:gd name="connsiteY557" fmla="*/ 410717 h 1433372"/>
                    <a:gd name="connsiteX558" fmla="*/ 28275 w 1957914"/>
                    <a:gd name="connsiteY558" fmla="*/ 411842 h 1433372"/>
                    <a:gd name="connsiteX559" fmla="*/ 24661 w 1957914"/>
                    <a:gd name="connsiteY559" fmla="*/ 411842 h 1433372"/>
                    <a:gd name="connsiteX560" fmla="*/ 99928 w 1957914"/>
                    <a:gd name="connsiteY560" fmla="*/ 358825 h 1433372"/>
                    <a:gd name="connsiteX561" fmla="*/ 102659 w 1957914"/>
                    <a:gd name="connsiteY561" fmla="*/ 355853 h 1433372"/>
                    <a:gd name="connsiteX562" fmla="*/ 102659 w 1957914"/>
                    <a:gd name="connsiteY562" fmla="*/ 355933 h 1433372"/>
                    <a:gd name="connsiteX563" fmla="*/ 99928 w 1957914"/>
                    <a:gd name="connsiteY563" fmla="*/ 358825 h 1433372"/>
                    <a:gd name="connsiteX564" fmla="*/ 99928 w 1957914"/>
                    <a:gd name="connsiteY564" fmla="*/ 358825 h 1433372"/>
                    <a:gd name="connsiteX565" fmla="*/ 106756 w 1957914"/>
                    <a:gd name="connsiteY565" fmla="*/ 352720 h 1433372"/>
                    <a:gd name="connsiteX566" fmla="*/ 106756 w 1957914"/>
                    <a:gd name="connsiteY566" fmla="*/ 352720 h 1433372"/>
                    <a:gd name="connsiteX567" fmla="*/ 108925 w 1957914"/>
                    <a:gd name="connsiteY567" fmla="*/ 351274 h 1433372"/>
                    <a:gd name="connsiteX568" fmla="*/ 109808 w 1957914"/>
                    <a:gd name="connsiteY568" fmla="*/ 350873 h 1433372"/>
                    <a:gd name="connsiteX569" fmla="*/ 106756 w 1957914"/>
                    <a:gd name="connsiteY569" fmla="*/ 352720 h 1433372"/>
                    <a:gd name="connsiteX570" fmla="*/ 116395 w 1957914"/>
                    <a:gd name="connsiteY570" fmla="*/ 345972 h 1433372"/>
                    <a:gd name="connsiteX571" fmla="*/ 116154 w 1957914"/>
                    <a:gd name="connsiteY571" fmla="*/ 345892 h 1433372"/>
                    <a:gd name="connsiteX572" fmla="*/ 116315 w 1957914"/>
                    <a:gd name="connsiteY572" fmla="*/ 345892 h 1433372"/>
                    <a:gd name="connsiteX573" fmla="*/ 118082 w 1957914"/>
                    <a:gd name="connsiteY573" fmla="*/ 345651 h 1433372"/>
                    <a:gd name="connsiteX574" fmla="*/ 118564 w 1957914"/>
                    <a:gd name="connsiteY574" fmla="*/ 345651 h 1433372"/>
                    <a:gd name="connsiteX575" fmla="*/ 116395 w 1957914"/>
                    <a:gd name="connsiteY575" fmla="*/ 345972 h 1433372"/>
                    <a:gd name="connsiteX576" fmla="*/ 85148 w 1957914"/>
                    <a:gd name="connsiteY576" fmla="*/ 363323 h 1433372"/>
                    <a:gd name="connsiteX577" fmla="*/ 84746 w 1957914"/>
                    <a:gd name="connsiteY577" fmla="*/ 363404 h 1433372"/>
                    <a:gd name="connsiteX578" fmla="*/ 86433 w 1957914"/>
                    <a:gd name="connsiteY578" fmla="*/ 362118 h 1433372"/>
                    <a:gd name="connsiteX579" fmla="*/ 86433 w 1957914"/>
                    <a:gd name="connsiteY579" fmla="*/ 362118 h 1433372"/>
                    <a:gd name="connsiteX580" fmla="*/ 85148 w 1957914"/>
                    <a:gd name="connsiteY580" fmla="*/ 363323 h 1433372"/>
                    <a:gd name="connsiteX581" fmla="*/ 120251 w 1957914"/>
                    <a:gd name="connsiteY581" fmla="*/ 341233 h 1433372"/>
                    <a:gd name="connsiteX582" fmla="*/ 124428 w 1957914"/>
                    <a:gd name="connsiteY582" fmla="*/ 337619 h 1433372"/>
                    <a:gd name="connsiteX583" fmla="*/ 124267 w 1957914"/>
                    <a:gd name="connsiteY583" fmla="*/ 337779 h 1433372"/>
                    <a:gd name="connsiteX584" fmla="*/ 120010 w 1957914"/>
                    <a:gd name="connsiteY584" fmla="*/ 341635 h 1433372"/>
                    <a:gd name="connsiteX585" fmla="*/ 120251 w 1957914"/>
                    <a:gd name="connsiteY585" fmla="*/ 341233 h 1433372"/>
                    <a:gd name="connsiteX586" fmla="*/ 1327339 w 1957914"/>
                    <a:gd name="connsiteY586" fmla="*/ 105551 h 1433372"/>
                    <a:gd name="connsiteX587" fmla="*/ 1326938 w 1957914"/>
                    <a:gd name="connsiteY587" fmla="*/ 105471 h 1433372"/>
                    <a:gd name="connsiteX588" fmla="*/ 1327339 w 1957914"/>
                    <a:gd name="connsiteY588" fmla="*/ 105551 h 1433372"/>
                    <a:gd name="connsiteX589" fmla="*/ 1337541 w 1957914"/>
                    <a:gd name="connsiteY589" fmla="*/ 106595 h 1433372"/>
                    <a:gd name="connsiteX590" fmla="*/ 1338184 w 1957914"/>
                    <a:gd name="connsiteY590" fmla="*/ 106676 h 1433372"/>
                    <a:gd name="connsiteX591" fmla="*/ 1341959 w 1957914"/>
                    <a:gd name="connsiteY591" fmla="*/ 109487 h 1433372"/>
                    <a:gd name="connsiteX592" fmla="*/ 1327339 w 1957914"/>
                    <a:gd name="connsiteY592" fmla="*/ 105551 h 1433372"/>
                    <a:gd name="connsiteX593" fmla="*/ 2329 w 1957914"/>
                    <a:gd name="connsiteY593" fmla="*/ 420838 h 1433372"/>
                    <a:gd name="connsiteX594" fmla="*/ 2249 w 1957914"/>
                    <a:gd name="connsiteY594" fmla="*/ 420919 h 1433372"/>
                    <a:gd name="connsiteX595" fmla="*/ 6025 w 1957914"/>
                    <a:gd name="connsiteY595" fmla="*/ 416420 h 1433372"/>
                    <a:gd name="connsiteX596" fmla="*/ 5462 w 1957914"/>
                    <a:gd name="connsiteY596" fmla="*/ 417224 h 1433372"/>
                    <a:gd name="connsiteX597" fmla="*/ 2329 w 1957914"/>
                    <a:gd name="connsiteY597" fmla="*/ 420838 h 1433372"/>
                    <a:gd name="connsiteX598" fmla="*/ 130453 w 1957914"/>
                    <a:gd name="connsiteY598" fmla="*/ 325328 h 1433372"/>
                    <a:gd name="connsiteX599" fmla="*/ 130131 w 1957914"/>
                    <a:gd name="connsiteY599" fmla="*/ 325409 h 1433372"/>
                    <a:gd name="connsiteX600" fmla="*/ 130935 w 1957914"/>
                    <a:gd name="connsiteY600" fmla="*/ 324686 h 1433372"/>
                    <a:gd name="connsiteX601" fmla="*/ 131979 w 1957914"/>
                    <a:gd name="connsiteY601" fmla="*/ 324364 h 1433372"/>
                    <a:gd name="connsiteX602" fmla="*/ 129971 w 1957914"/>
                    <a:gd name="connsiteY602" fmla="*/ 326373 h 1433372"/>
                    <a:gd name="connsiteX603" fmla="*/ 130453 w 1957914"/>
                    <a:gd name="connsiteY603" fmla="*/ 325328 h 1433372"/>
                    <a:gd name="connsiteX604" fmla="*/ 1293200 w 1957914"/>
                    <a:gd name="connsiteY604" fmla="*/ 94305 h 1433372"/>
                    <a:gd name="connsiteX605" fmla="*/ 1292397 w 1957914"/>
                    <a:gd name="connsiteY605" fmla="*/ 93743 h 1433372"/>
                    <a:gd name="connsiteX606" fmla="*/ 1289826 w 1957914"/>
                    <a:gd name="connsiteY606" fmla="*/ 89726 h 1433372"/>
                    <a:gd name="connsiteX607" fmla="*/ 1294566 w 1957914"/>
                    <a:gd name="connsiteY607" fmla="*/ 90530 h 1433372"/>
                    <a:gd name="connsiteX608" fmla="*/ 1298984 w 1957914"/>
                    <a:gd name="connsiteY608" fmla="*/ 92377 h 1433372"/>
                    <a:gd name="connsiteX609" fmla="*/ 1299225 w 1957914"/>
                    <a:gd name="connsiteY609" fmla="*/ 91815 h 1433372"/>
                    <a:gd name="connsiteX610" fmla="*/ 1304366 w 1957914"/>
                    <a:gd name="connsiteY610" fmla="*/ 93421 h 1433372"/>
                    <a:gd name="connsiteX611" fmla="*/ 1302116 w 1957914"/>
                    <a:gd name="connsiteY611" fmla="*/ 90851 h 1433372"/>
                    <a:gd name="connsiteX612" fmla="*/ 1310069 w 1957914"/>
                    <a:gd name="connsiteY612" fmla="*/ 95430 h 1433372"/>
                    <a:gd name="connsiteX613" fmla="*/ 1314005 w 1957914"/>
                    <a:gd name="connsiteY613" fmla="*/ 91172 h 1433372"/>
                    <a:gd name="connsiteX614" fmla="*/ 1320110 w 1957914"/>
                    <a:gd name="connsiteY614" fmla="*/ 92377 h 1433372"/>
                    <a:gd name="connsiteX615" fmla="*/ 1313041 w 1957914"/>
                    <a:gd name="connsiteY615" fmla="*/ 92538 h 1433372"/>
                    <a:gd name="connsiteX616" fmla="*/ 1318102 w 1957914"/>
                    <a:gd name="connsiteY616" fmla="*/ 94385 h 1433372"/>
                    <a:gd name="connsiteX617" fmla="*/ 1313844 w 1957914"/>
                    <a:gd name="connsiteY617" fmla="*/ 94626 h 1433372"/>
                    <a:gd name="connsiteX618" fmla="*/ 1316415 w 1957914"/>
                    <a:gd name="connsiteY618" fmla="*/ 96153 h 1433372"/>
                    <a:gd name="connsiteX619" fmla="*/ 1310872 w 1957914"/>
                    <a:gd name="connsiteY619" fmla="*/ 97759 h 1433372"/>
                    <a:gd name="connsiteX620" fmla="*/ 1318102 w 1957914"/>
                    <a:gd name="connsiteY620" fmla="*/ 100410 h 1433372"/>
                    <a:gd name="connsiteX621" fmla="*/ 1317780 w 1957914"/>
                    <a:gd name="connsiteY621" fmla="*/ 100892 h 1433372"/>
                    <a:gd name="connsiteX622" fmla="*/ 1320110 w 1957914"/>
                    <a:gd name="connsiteY622" fmla="*/ 104025 h 1433372"/>
                    <a:gd name="connsiteX623" fmla="*/ 1312077 w 1957914"/>
                    <a:gd name="connsiteY623" fmla="*/ 102739 h 1433372"/>
                    <a:gd name="connsiteX624" fmla="*/ 1313443 w 1957914"/>
                    <a:gd name="connsiteY624" fmla="*/ 102097 h 1433372"/>
                    <a:gd name="connsiteX625" fmla="*/ 1310069 w 1957914"/>
                    <a:gd name="connsiteY625" fmla="*/ 101695 h 1433372"/>
                    <a:gd name="connsiteX626" fmla="*/ 1302679 w 1957914"/>
                    <a:gd name="connsiteY626" fmla="*/ 95751 h 1433372"/>
                    <a:gd name="connsiteX627" fmla="*/ 1302598 w 1957914"/>
                    <a:gd name="connsiteY627" fmla="*/ 96233 h 1433372"/>
                    <a:gd name="connsiteX628" fmla="*/ 1293200 w 1957914"/>
                    <a:gd name="connsiteY628" fmla="*/ 94305 h 1433372"/>
                    <a:gd name="connsiteX629" fmla="*/ 441804 w 1957914"/>
                    <a:gd name="connsiteY629" fmla="*/ 178569 h 1433372"/>
                    <a:gd name="connsiteX630" fmla="*/ 442687 w 1957914"/>
                    <a:gd name="connsiteY630" fmla="*/ 177445 h 1433372"/>
                    <a:gd name="connsiteX631" fmla="*/ 442607 w 1957914"/>
                    <a:gd name="connsiteY631" fmla="*/ 177605 h 1433372"/>
                    <a:gd name="connsiteX632" fmla="*/ 443571 w 1957914"/>
                    <a:gd name="connsiteY632" fmla="*/ 177364 h 1433372"/>
                    <a:gd name="connsiteX633" fmla="*/ 441804 w 1957914"/>
                    <a:gd name="connsiteY633" fmla="*/ 178569 h 1433372"/>
                    <a:gd name="connsiteX634" fmla="*/ 441804 w 1957914"/>
                    <a:gd name="connsiteY634" fmla="*/ 178569 h 1433372"/>
                    <a:gd name="connsiteX635" fmla="*/ 177926 w 1957914"/>
                    <a:gd name="connsiteY635" fmla="*/ 278015 h 1433372"/>
                    <a:gd name="connsiteX636" fmla="*/ 177926 w 1957914"/>
                    <a:gd name="connsiteY636" fmla="*/ 277935 h 1433372"/>
                    <a:gd name="connsiteX637" fmla="*/ 178007 w 1957914"/>
                    <a:gd name="connsiteY637" fmla="*/ 277854 h 1433372"/>
                    <a:gd name="connsiteX638" fmla="*/ 181863 w 1957914"/>
                    <a:gd name="connsiteY638" fmla="*/ 275926 h 1433372"/>
                    <a:gd name="connsiteX639" fmla="*/ 177926 w 1957914"/>
                    <a:gd name="connsiteY639" fmla="*/ 278015 h 1433372"/>
                    <a:gd name="connsiteX640" fmla="*/ 146518 w 1957914"/>
                    <a:gd name="connsiteY640" fmla="*/ 287092 h 1433372"/>
                    <a:gd name="connsiteX641" fmla="*/ 146518 w 1957914"/>
                    <a:gd name="connsiteY641" fmla="*/ 287092 h 1433372"/>
                    <a:gd name="connsiteX642" fmla="*/ 150936 w 1957914"/>
                    <a:gd name="connsiteY642" fmla="*/ 283558 h 1433372"/>
                    <a:gd name="connsiteX643" fmla="*/ 151579 w 1957914"/>
                    <a:gd name="connsiteY643" fmla="*/ 283156 h 1433372"/>
                    <a:gd name="connsiteX644" fmla="*/ 146518 w 1957914"/>
                    <a:gd name="connsiteY644" fmla="*/ 287092 h 1433372"/>
                    <a:gd name="connsiteX645" fmla="*/ 1400438 w 1957914"/>
                    <a:gd name="connsiteY645" fmla="*/ 75508 h 1433372"/>
                    <a:gd name="connsiteX646" fmla="*/ 1399876 w 1957914"/>
                    <a:gd name="connsiteY646" fmla="*/ 75348 h 1433372"/>
                    <a:gd name="connsiteX647" fmla="*/ 1404695 w 1957914"/>
                    <a:gd name="connsiteY647" fmla="*/ 76954 h 1433372"/>
                    <a:gd name="connsiteX648" fmla="*/ 1422367 w 1957914"/>
                    <a:gd name="connsiteY648" fmla="*/ 83461 h 1433372"/>
                    <a:gd name="connsiteX649" fmla="*/ 1423572 w 1957914"/>
                    <a:gd name="connsiteY649" fmla="*/ 84023 h 1433372"/>
                    <a:gd name="connsiteX650" fmla="*/ 1400438 w 1957914"/>
                    <a:gd name="connsiteY650" fmla="*/ 75508 h 1433372"/>
                    <a:gd name="connsiteX651" fmla="*/ 1395377 w 1957914"/>
                    <a:gd name="connsiteY651" fmla="*/ 72777 h 1433372"/>
                    <a:gd name="connsiteX652" fmla="*/ 1394413 w 1957914"/>
                    <a:gd name="connsiteY652" fmla="*/ 72456 h 1433372"/>
                    <a:gd name="connsiteX653" fmla="*/ 1395217 w 1957914"/>
                    <a:gd name="connsiteY653" fmla="*/ 72777 h 1433372"/>
                    <a:gd name="connsiteX654" fmla="*/ 1410640 w 1957914"/>
                    <a:gd name="connsiteY654" fmla="*/ 78400 h 1433372"/>
                    <a:gd name="connsiteX655" fmla="*/ 1395377 w 1957914"/>
                    <a:gd name="connsiteY655" fmla="*/ 72777 h 1433372"/>
                    <a:gd name="connsiteX656" fmla="*/ 639170 w 1957914"/>
                    <a:gd name="connsiteY656" fmla="*/ 78802 h 1433372"/>
                    <a:gd name="connsiteX657" fmla="*/ 638688 w 1957914"/>
                    <a:gd name="connsiteY657" fmla="*/ 78721 h 1433372"/>
                    <a:gd name="connsiteX658" fmla="*/ 646560 w 1957914"/>
                    <a:gd name="connsiteY658" fmla="*/ 75749 h 1433372"/>
                    <a:gd name="connsiteX659" fmla="*/ 646480 w 1957914"/>
                    <a:gd name="connsiteY659" fmla="*/ 75830 h 1433372"/>
                    <a:gd name="connsiteX660" fmla="*/ 639170 w 1957914"/>
                    <a:gd name="connsiteY660" fmla="*/ 78802 h 1433372"/>
                    <a:gd name="connsiteX661" fmla="*/ 642383 w 1957914"/>
                    <a:gd name="connsiteY661" fmla="*/ 76231 h 1433372"/>
                    <a:gd name="connsiteX662" fmla="*/ 639571 w 1957914"/>
                    <a:gd name="connsiteY662" fmla="*/ 76633 h 1433372"/>
                    <a:gd name="connsiteX663" fmla="*/ 644391 w 1957914"/>
                    <a:gd name="connsiteY663" fmla="*/ 74544 h 1433372"/>
                    <a:gd name="connsiteX664" fmla="*/ 644230 w 1957914"/>
                    <a:gd name="connsiteY664" fmla="*/ 74785 h 1433372"/>
                    <a:gd name="connsiteX665" fmla="*/ 644632 w 1957914"/>
                    <a:gd name="connsiteY665" fmla="*/ 75267 h 1433372"/>
                    <a:gd name="connsiteX666" fmla="*/ 642383 w 1957914"/>
                    <a:gd name="connsiteY666" fmla="*/ 76392 h 1433372"/>
                    <a:gd name="connsiteX667" fmla="*/ 642383 w 1957914"/>
                    <a:gd name="connsiteY667" fmla="*/ 76231 h 1433372"/>
                    <a:gd name="connsiteX668" fmla="*/ 1382926 w 1957914"/>
                    <a:gd name="connsiteY668" fmla="*/ 67395 h 1433372"/>
                    <a:gd name="connsiteX669" fmla="*/ 1382284 w 1957914"/>
                    <a:gd name="connsiteY669" fmla="*/ 67154 h 1433372"/>
                    <a:gd name="connsiteX670" fmla="*/ 1387505 w 1957914"/>
                    <a:gd name="connsiteY670" fmla="*/ 68761 h 1433372"/>
                    <a:gd name="connsiteX671" fmla="*/ 1402848 w 1957914"/>
                    <a:gd name="connsiteY671" fmla="*/ 74785 h 1433372"/>
                    <a:gd name="connsiteX672" fmla="*/ 1382926 w 1957914"/>
                    <a:gd name="connsiteY672" fmla="*/ 67395 h 1433372"/>
                    <a:gd name="connsiteX673" fmla="*/ 178489 w 1957914"/>
                    <a:gd name="connsiteY673" fmla="*/ 248294 h 1433372"/>
                    <a:gd name="connsiteX674" fmla="*/ 178328 w 1957914"/>
                    <a:gd name="connsiteY674" fmla="*/ 248374 h 1433372"/>
                    <a:gd name="connsiteX675" fmla="*/ 185799 w 1957914"/>
                    <a:gd name="connsiteY675" fmla="*/ 242510 h 1433372"/>
                    <a:gd name="connsiteX676" fmla="*/ 185959 w 1957914"/>
                    <a:gd name="connsiteY676" fmla="*/ 242349 h 1433372"/>
                    <a:gd name="connsiteX677" fmla="*/ 186361 w 1957914"/>
                    <a:gd name="connsiteY677" fmla="*/ 242028 h 1433372"/>
                    <a:gd name="connsiteX678" fmla="*/ 178489 w 1957914"/>
                    <a:gd name="connsiteY678" fmla="*/ 248294 h 1433372"/>
                    <a:gd name="connsiteX679" fmla="*/ 801593 w 1957914"/>
                    <a:gd name="connsiteY679" fmla="*/ 24018 h 1433372"/>
                    <a:gd name="connsiteX680" fmla="*/ 800147 w 1957914"/>
                    <a:gd name="connsiteY680" fmla="*/ 23456 h 1433372"/>
                    <a:gd name="connsiteX681" fmla="*/ 800308 w 1957914"/>
                    <a:gd name="connsiteY681" fmla="*/ 23456 h 1433372"/>
                    <a:gd name="connsiteX682" fmla="*/ 801754 w 1957914"/>
                    <a:gd name="connsiteY682" fmla="*/ 23857 h 1433372"/>
                    <a:gd name="connsiteX683" fmla="*/ 801593 w 1957914"/>
                    <a:gd name="connsiteY683" fmla="*/ 24018 h 1433372"/>
                    <a:gd name="connsiteX684" fmla="*/ 842319 w 1957914"/>
                    <a:gd name="connsiteY684" fmla="*/ 14860 h 1433372"/>
                    <a:gd name="connsiteX685" fmla="*/ 841998 w 1957914"/>
                    <a:gd name="connsiteY685" fmla="*/ 14860 h 1433372"/>
                    <a:gd name="connsiteX686" fmla="*/ 842319 w 1957914"/>
                    <a:gd name="connsiteY686" fmla="*/ 14860 h 1433372"/>
                    <a:gd name="connsiteX687" fmla="*/ 846898 w 1957914"/>
                    <a:gd name="connsiteY687" fmla="*/ 14459 h 1433372"/>
                    <a:gd name="connsiteX688" fmla="*/ 842319 w 1957914"/>
                    <a:gd name="connsiteY688" fmla="*/ 14860 h 1433372"/>
                    <a:gd name="connsiteX689" fmla="*/ 1195762 w 1957914"/>
                    <a:gd name="connsiteY689" fmla="*/ 11246 h 1433372"/>
                    <a:gd name="connsiteX690" fmla="*/ 1176002 w 1957914"/>
                    <a:gd name="connsiteY690" fmla="*/ 7069 h 1433372"/>
                    <a:gd name="connsiteX691" fmla="*/ 1186444 w 1957914"/>
                    <a:gd name="connsiteY691" fmla="*/ 9157 h 1433372"/>
                    <a:gd name="connsiteX692" fmla="*/ 1186605 w 1957914"/>
                    <a:gd name="connsiteY692" fmla="*/ 9157 h 1433372"/>
                    <a:gd name="connsiteX693" fmla="*/ 1195762 w 1957914"/>
                    <a:gd name="connsiteY693" fmla="*/ 11246 h 1433372"/>
                    <a:gd name="connsiteX694" fmla="*/ 1140015 w 1957914"/>
                    <a:gd name="connsiteY694" fmla="*/ 643 h 1433372"/>
                    <a:gd name="connsiteX695" fmla="*/ 1136882 w 1957914"/>
                    <a:gd name="connsiteY695" fmla="*/ 0 h 1433372"/>
                    <a:gd name="connsiteX696" fmla="*/ 1175841 w 1957914"/>
                    <a:gd name="connsiteY696" fmla="*/ 6988 h 1433372"/>
                    <a:gd name="connsiteX697" fmla="*/ 1176002 w 1957914"/>
                    <a:gd name="connsiteY697" fmla="*/ 6988 h 1433372"/>
                    <a:gd name="connsiteX698" fmla="*/ 1140015 w 1957914"/>
                    <a:gd name="connsiteY698" fmla="*/ 643 h 14333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</a:cxnLst>
                  <a:rect l="l" t="t" r="r" b="b"/>
                  <a:pathLst>
                    <a:path w="1957914" h="1433372">
                      <a:moveTo>
                        <a:pt x="620453" y="1428633"/>
                      </a:moveTo>
                      <a:lnTo>
                        <a:pt x="620132" y="1428473"/>
                      </a:lnTo>
                      <a:lnTo>
                        <a:pt x="620293" y="1428553"/>
                      </a:lnTo>
                      <a:cubicBezTo>
                        <a:pt x="620373" y="1428633"/>
                        <a:pt x="620453" y="1428633"/>
                        <a:pt x="620453" y="1428633"/>
                      </a:cubicBezTo>
                      <a:moveTo>
                        <a:pt x="621578" y="1433212"/>
                      </a:moveTo>
                      <a:cubicBezTo>
                        <a:pt x="621498" y="1433292"/>
                        <a:pt x="621417" y="1433292"/>
                        <a:pt x="621337" y="1433373"/>
                      </a:cubicBezTo>
                      <a:cubicBezTo>
                        <a:pt x="623104" y="1430883"/>
                        <a:pt x="621578" y="1429356"/>
                        <a:pt x="620534" y="1428714"/>
                      </a:cubicBezTo>
                      <a:cubicBezTo>
                        <a:pt x="620855" y="1428955"/>
                        <a:pt x="621337" y="1429196"/>
                        <a:pt x="621658" y="1429356"/>
                      </a:cubicBezTo>
                      <a:lnTo>
                        <a:pt x="621899" y="1427910"/>
                      </a:lnTo>
                      <a:lnTo>
                        <a:pt x="622060" y="1428071"/>
                      </a:lnTo>
                      <a:cubicBezTo>
                        <a:pt x="624550" y="1430722"/>
                        <a:pt x="622783" y="1432409"/>
                        <a:pt x="621578" y="1433212"/>
                      </a:cubicBezTo>
                      <a:moveTo>
                        <a:pt x="617642" y="1432328"/>
                      </a:moveTo>
                      <a:lnTo>
                        <a:pt x="616758" y="1432650"/>
                      </a:lnTo>
                      <a:cubicBezTo>
                        <a:pt x="616357" y="1430240"/>
                        <a:pt x="615794" y="1427830"/>
                        <a:pt x="615071" y="1425420"/>
                      </a:cubicBezTo>
                      <a:cubicBezTo>
                        <a:pt x="615473" y="1425581"/>
                        <a:pt x="616035" y="1425822"/>
                        <a:pt x="616437" y="1425982"/>
                      </a:cubicBezTo>
                      <a:cubicBezTo>
                        <a:pt x="616678" y="1428071"/>
                        <a:pt x="616999" y="1429597"/>
                        <a:pt x="617642" y="1432328"/>
                      </a:cubicBezTo>
                      <a:moveTo>
                        <a:pt x="606878" y="1427187"/>
                      </a:moveTo>
                      <a:cubicBezTo>
                        <a:pt x="606878" y="1427107"/>
                        <a:pt x="606798" y="1427107"/>
                        <a:pt x="606798" y="1427027"/>
                      </a:cubicBezTo>
                      <a:cubicBezTo>
                        <a:pt x="609047" y="1427750"/>
                        <a:pt x="609207" y="1426866"/>
                        <a:pt x="608966" y="1425822"/>
                      </a:cubicBezTo>
                      <a:cubicBezTo>
                        <a:pt x="608966" y="1425902"/>
                        <a:pt x="609047" y="1425982"/>
                        <a:pt x="609047" y="1425982"/>
                      </a:cubicBezTo>
                      <a:cubicBezTo>
                        <a:pt x="609689" y="1427830"/>
                        <a:pt x="610332" y="1429597"/>
                        <a:pt x="610894" y="1431445"/>
                      </a:cubicBezTo>
                      <a:cubicBezTo>
                        <a:pt x="608886" y="1429677"/>
                        <a:pt x="607601" y="1428151"/>
                        <a:pt x="606878" y="1427187"/>
                      </a:cubicBezTo>
                      <a:moveTo>
                        <a:pt x="489760" y="1384935"/>
                      </a:moveTo>
                      <a:cubicBezTo>
                        <a:pt x="489679" y="1384935"/>
                        <a:pt x="489679" y="1384855"/>
                        <a:pt x="489599" y="1384855"/>
                      </a:cubicBezTo>
                      <a:cubicBezTo>
                        <a:pt x="490884" y="1382846"/>
                        <a:pt x="491688" y="1382364"/>
                        <a:pt x="492491" y="1382123"/>
                      </a:cubicBezTo>
                      <a:cubicBezTo>
                        <a:pt x="493696" y="1381963"/>
                        <a:pt x="494499" y="1382846"/>
                        <a:pt x="495463" y="1384935"/>
                      </a:cubicBezTo>
                      <a:cubicBezTo>
                        <a:pt x="492571" y="1385818"/>
                        <a:pt x="490483" y="1385256"/>
                        <a:pt x="489760" y="1384935"/>
                      </a:cubicBezTo>
                      <a:moveTo>
                        <a:pt x="1346217" y="937187"/>
                      </a:moveTo>
                      <a:cubicBezTo>
                        <a:pt x="1346056" y="937026"/>
                        <a:pt x="1345815" y="936865"/>
                        <a:pt x="1345654" y="936705"/>
                      </a:cubicBezTo>
                      <a:cubicBezTo>
                        <a:pt x="1348707" y="936785"/>
                        <a:pt x="1349430" y="936383"/>
                        <a:pt x="1349671" y="935500"/>
                      </a:cubicBezTo>
                      <a:cubicBezTo>
                        <a:pt x="1349831" y="935580"/>
                        <a:pt x="1349992" y="935660"/>
                        <a:pt x="1350153" y="935660"/>
                      </a:cubicBezTo>
                      <a:cubicBezTo>
                        <a:pt x="1355294" y="937909"/>
                        <a:pt x="1355936" y="940641"/>
                        <a:pt x="1352000" y="943934"/>
                      </a:cubicBezTo>
                      <a:cubicBezTo>
                        <a:pt x="1350474" y="941203"/>
                        <a:pt x="1349269" y="939597"/>
                        <a:pt x="1346217" y="937187"/>
                      </a:cubicBezTo>
                      <a:moveTo>
                        <a:pt x="1136320" y="852200"/>
                      </a:moveTo>
                      <a:cubicBezTo>
                        <a:pt x="1136320" y="852200"/>
                        <a:pt x="1136320" y="852200"/>
                        <a:pt x="1136320" y="852200"/>
                      </a:cubicBezTo>
                      <a:cubicBezTo>
                        <a:pt x="1136320" y="852200"/>
                        <a:pt x="1136320" y="852200"/>
                        <a:pt x="1136320" y="852200"/>
                      </a:cubicBezTo>
                      <a:cubicBezTo>
                        <a:pt x="1136641" y="852200"/>
                        <a:pt x="1136882" y="852200"/>
                        <a:pt x="1137203" y="852119"/>
                      </a:cubicBezTo>
                      <a:cubicBezTo>
                        <a:pt x="1137203" y="852119"/>
                        <a:pt x="1137203" y="852119"/>
                        <a:pt x="1137203" y="852119"/>
                      </a:cubicBezTo>
                      <a:cubicBezTo>
                        <a:pt x="1136882" y="852119"/>
                        <a:pt x="1136641" y="852200"/>
                        <a:pt x="1136320" y="852200"/>
                      </a:cubicBezTo>
                      <a:moveTo>
                        <a:pt x="1837020" y="758778"/>
                      </a:moveTo>
                      <a:cubicBezTo>
                        <a:pt x="1836458" y="758296"/>
                        <a:pt x="1840474" y="757011"/>
                        <a:pt x="1843929" y="756047"/>
                      </a:cubicBezTo>
                      <a:cubicBezTo>
                        <a:pt x="1843929" y="756047"/>
                        <a:pt x="1843848" y="756047"/>
                        <a:pt x="1843848" y="756127"/>
                      </a:cubicBezTo>
                      <a:cubicBezTo>
                        <a:pt x="1842483" y="756609"/>
                        <a:pt x="1841037" y="756931"/>
                        <a:pt x="1839752" y="757573"/>
                      </a:cubicBezTo>
                      <a:cubicBezTo>
                        <a:pt x="1839270" y="757814"/>
                        <a:pt x="1838868" y="758136"/>
                        <a:pt x="1839270" y="758296"/>
                      </a:cubicBezTo>
                      <a:cubicBezTo>
                        <a:pt x="1839752" y="758537"/>
                        <a:pt x="1841117" y="758537"/>
                        <a:pt x="1841519" y="758537"/>
                      </a:cubicBezTo>
                      <a:cubicBezTo>
                        <a:pt x="1841760" y="758537"/>
                        <a:pt x="1842162" y="758698"/>
                        <a:pt x="1842322" y="758859"/>
                      </a:cubicBezTo>
                      <a:cubicBezTo>
                        <a:pt x="1840957" y="758939"/>
                        <a:pt x="1837422" y="759260"/>
                        <a:pt x="1837020" y="758778"/>
                      </a:cubicBezTo>
                      <a:moveTo>
                        <a:pt x="1726811" y="634993"/>
                      </a:moveTo>
                      <a:lnTo>
                        <a:pt x="1726328" y="634832"/>
                      </a:lnTo>
                      <a:cubicBezTo>
                        <a:pt x="1734120" y="630575"/>
                        <a:pt x="1735325" y="630012"/>
                        <a:pt x="1735566" y="629932"/>
                      </a:cubicBezTo>
                      <a:cubicBezTo>
                        <a:pt x="1735566" y="629932"/>
                        <a:pt x="1735566" y="629932"/>
                        <a:pt x="1735566" y="629932"/>
                      </a:cubicBezTo>
                      <a:cubicBezTo>
                        <a:pt x="1735406" y="630093"/>
                        <a:pt x="1734201" y="630816"/>
                        <a:pt x="1726811" y="634993"/>
                      </a:cubicBezTo>
                      <a:moveTo>
                        <a:pt x="1732755" y="575148"/>
                      </a:moveTo>
                      <a:lnTo>
                        <a:pt x="1732594" y="574988"/>
                      </a:lnTo>
                      <a:cubicBezTo>
                        <a:pt x="1736289" y="574747"/>
                        <a:pt x="1737173" y="574747"/>
                        <a:pt x="1737253" y="574747"/>
                      </a:cubicBezTo>
                      <a:cubicBezTo>
                        <a:pt x="1736932" y="574827"/>
                        <a:pt x="1736610" y="574827"/>
                        <a:pt x="1736289" y="574827"/>
                      </a:cubicBezTo>
                      <a:cubicBezTo>
                        <a:pt x="1735084" y="574907"/>
                        <a:pt x="1733960" y="575068"/>
                        <a:pt x="1732755" y="575148"/>
                      </a:cubicBezTo>
                      <a:moveTo>
                        <a:pt x="1911324" y="588884"/>
                      </a:moveTo>
                      <a:cubicBezTo>
                        <a:pt x="1911324" y="588884"/>
                        <a:pt x="1911324" y="588884"/>
                        <a:pt x="1911324" y="588884"/>
                      </a:cubicBezTo>
                      <a:cubicBezTo>
                        <a:pt x="1911244" y="588644"/>
                        <a:pt x="1911244" y="588403"/>
                        <a:pt x="1911163" y="588081"/>
                      </a:cubicBezTo>
                      <a:cubicBezTo>
                        <a:pt x="1911163" y="588081"/>
                        <a:pt x="1911163" y="588081"/>
                        <a:pt x="1911163" y="588081"/>
                      </a:cubicBezTo>
                      <a:cubicBezTo>
                        <a:pt x="1911324" y="588403"/>
                        <a:pt x="1911324" y="588644"/>
                        <a:pt x="1911324" y="588884"/>
                      </a:cubicBezTo>
                      <a:moveTo>
                        <a:pt x="1846740" y="507111"/>
                      </a:moveTo>
                      <a:cubicBezTo>
                        <a:pt x="1846579" y="507030"/>
                        <a:pt x="1846419" y="506950"/>
                        <a:pt x="1846338" y="506950"/>
                      </a:cubicBezTo>
                      <a:cubicBezTo>
                        <a:pt x="1846820" y="505665"/>
                        <a:pt x="1847945" y="505504"/>
                        <a:pt x="1850034" y="506307"/>
                      </a:cubicBezTo>
                      <a:cubicBezTo>
                        <a:pt x="1851158" y="506789"/>
                        <a:pt x="1852042" y="507271"/>
                        <a:pt x="1852042" y="507271"/>
                      </a:cubicBezTo>
                      <a:cubicBezTo>
                        <a:pt x="1852042" y="507271"/>
                        <a:pt x="1852524" y="508316"/>
                        <a:pt x="1851962" y="508637"/>
                      </a:cubicBezTo>
                      <a:cubicBezTo>
                        <a:pt x="1851239" y="508878"/>
                        <a:pt x="1849632" y="508396"/>
                        <a:pt x="1846740" y="507111"/>
                      </a:cubicBezTo>
                      <a:moveTo>
                        <a:pt x="1467672" y="441724"/>
                      </a:moveTo>
                      <a:lnTo>
                        <a:pt x="1467030" y="441643"/>
                      </a:lnTo>
                      <a:cubicBezTo>
                        <a:pt x="1467351" y="440519"/>
                        <a:pt x="1468395" y="439474"/>
                        <a:pt x="1472813" y="441483"/>
                      </a:cubicBezTo>
                      <a:cubicBezTo>
                        <a:pt x="1472653" y="441242"/>
                        <a:pt x="1472492" y="441001"/>
                        <a:pt x="1472412" y="440760"/>
                      </a:cubicBezTo>
                      <a:cubicBezTo>
                        <a:pt x="1474902" y="439073"/>
                        <a:pt x="1475464" y="436824"/>
                        <a:pt x="1475304" y="436020"/>
                      </a:cubicBezTo>
                      <a:cubicBezTo>
                        <a:pt x="1475384" y="436181"/>
                        <a:pt x="1475384" y="436341"/>
                        <a:pt x="1475464" y="436502"/>
                      </a:cubicBezTo>
                      <a:cubicBezTo>
                        <a:pt x="1476187" y="438832"/>
                        <a:pt x="1476991" y="441965"/>
                        <a:pt x="1475223" y="443169"/>
                      </a:cubicBezTo>
                      <a:cubicBezTo>
                        <a:pt x="1474259" y="443812"/>
                        <a:pt x="1472733" y="443571"/>
                        <a:pt x="1472171" y="443410"/>
                      </a:cubicBezTo>
                      <a:cubicBezTo>
                        <a:pt x="1471127" y="443169"/>
                        <a:pt x="1469440" y="442527"/>
                        <a:pt x="1468556" y="442125"/>
                      </a:cubicBezTo>
                      <a:cubicBezTo>
                        <a:pt x="1468235" y="442045"/>
                        <a:pt x="1467913" y="441804"/>
                        <a:pt x="1467672" y="441724"/>
                      </a:cubicBezTo>
                      <a:moveTo>
                        <a:pt x="1519645" y="437145"/>
                      </a:moveTo>
                      <a:cubicBezTo>
                        <a:pt x="1519564" y="437145"/>
                        <a:pt x="1519404" y="437145"/>
                        <a:pt x="1519323" y="437145"/>
                      </a:cubicBezTo>
                      <a:cubicBezTo>
                        <a:pt x="1519323" y="437145"/>
                        <a:pt x="1519404" y="437145"/>
                        <a:pt x="1519404" y="437145"/>
                      </a:cubicBezTo>
                      <a:cubicBezTo>
                        <a:pt x="1520287" y="437225"/>
                        <a:pt x="1521171" y="437306"/>
                        <a:pt x="1522055" y="437466"/>
                      </a:cubicBezTo>
                      <a:cubicBezTo>
                        <a:pt x="1521251" y="437386"/>
                        <a:pt x="1520448" y="437225"/>
                        <a:pt x="1519645" y="437145"/>
                      </a:cubicBezTo>
                      <a:moveTo>
                        <a:pt x="1507435" y="436341"/>
                      </a:moveTo>
                      <a:lnTo>
                        <a:pt x="1507113" y="436261"/>
                      </a:lnTo>
                      <a:cubicBezTo>
                        <a:pt x="1506953" y="435619"/>
                        <a:pt x="1506953" y="434815"/>
                        <a:pt x="1508399" y="434976"/>
                      </a:cubicBezTo>
                      <a:cubicBezTo>
                        <a:pt x="1508961" y="435056"/>
                        <a:pt x="1509443" y="435137"/>
                        <a:pt x="1510246" y="435458"/>
                      </a:cubicBezTo>
                      <a:cubicBezTo>
                        <a:pt x="1510166" y="435860"/>
                        <a:pt x="1510005" y="436100"/>
                        <a:pt x="1509523" y="436261"/>
                      </a:cubicBezTo>
                      <a:cubicBezTo>
                        <a:pt x="1508961" y="436341"/>
                        <a:pt x="1507435" y="436341"/>
                        <a:pt x="1507435" y="436341"/>
                      </a:cubicBezTo>
                      <a:moveTo>
                        <a:pt x="1472251" y="433530"/>
                      </a:moveTo>
                      <a:cubicBezTo>
                        <a:pt x="1472010" y="433209"/>
                        <a:pt x="1472492" y="432566"/>
                        <a:pt x="1472733" y="432245"/>
                      </a:cubicBezTo>
                      <a:cubicBezTo>
                        <a:pt x="1473617" y="432405"/>
                        <a:pt x="1474741" y="432646"/>
                        <a:pt x="1475625" y="432887"/>
                      </a:cubicBezTo>
                      <a:cubicBezTo>
                        <a:pt x="1474581" y="433289"/>
                        <a:pt x="1472653" y="434012"/>
                        <a:pt x="1472251" y="433530"/>
                      </a:cubicBezTo>
                      <a:moveTo>
                        <a:pt x="1504543" y="434815"/>
                      </a:moveTo>
                      <a:cubicBezTo>
                        <a:pt x="1504463" y="434815"/>
                        <a:pt x="1504382" y="434735"/>
                        <a:pt x="1504302" y="434735"/>
                      </a:cubicBezTo>
                      <a:cubicBezTo>
                        <a:pt x="1504382" y="434333"/>
                        <a:pt x="1504382" y="433771"/>
                        <a:pt x="1504463" y="433369"/>
                      </a:cubicBezTo>
                      <a:lnTo>
                        <a:pt x="1504543" y="433450"/>
                      </a:lnTo>
                      <a:cubicBezTo>
                        <a:pt x="1505668" y="434414"/>
                        <a:pt x="1506792" y="435538"/>
                        <a:pt x="1506310" y="435538"/>
                      </a:cubicBezTo>
                      <a:cubicBezTo>
                        <a:pt x="1506150" y="435538"/>
                        <a:pt x="1505507" y="435297"/>
                        <a:pt x="1504543" y="434815"/>
                      </a:cubicBezTo>
                      <a:moveTo>
                        <a:pt x="1465584" y="430558"/>
                      </a:moveTo>
                      <a:cubicBezTo>
                        <a:pt x="1465584" y="430478"/>
                        <a:pt x="1465504" y="430478"/>
                        <a:pt x="1465504" y="430397"/>
                      </a:cubicBezTo>
                      <a:cubicBezTo>
                        <a:pt x="1466548" y="430317"/>
                        <a:pt x="1467833" y="430317"/>
                        <a:pt x="1468877" y="430237"/>
                      </a:cubicBezTo>
                      <a:lnTo>
                        <a:pt x="1469199" y="430317"/>
                      </a:lnTo>
                      <a:cubicBezTo>
                        <a:pt x="1468315" y="431442"/>
                        <a:pt x="1467110" y="432486"/>
                        <a:pt x="1465584" y="430558"/>
                      </a:cubicBezTo>
                      <a:moveTo>
                        <a:pt x="1497795" y="432646"/>
                      </a:moveTo>
                      <a:cubicBezTo>
                        <a:pt x="1496912" y="430879"/>
                        <a:pt x="1499884" y="430799"/>
                        <a:pt x="1499884" y="430799"/>
                      </a:cubicBezTo>
                      <a:cubicBezTo>
                        <a:pt x="1499964" y="430799"/>
                        <a:pt x="1500045" y="430879"/>
                        <a:pt x="1500125" y="430960"/>
                      </a:cubicBezTo>
                      <a:cubicBezTo>
                        <a:pt x="1501732" y="432084"/>
                        <a:pt x="1501732" y="432968"/>
                        <a:pt x="1501410" y="433771"/>
                      </a:cubicBezTo>
                      <a:cubicBezTo>
                        <a:pt x="1500125" y="432325"/>
                        <a:pt x="1499241" y="432245"/>
                        <a:pt x="1498358" y="433450"/>
                      </a:cubicBezTo>
                      <a:cubicBezTo>
                        <a:pt x="1498197" y="433128"/>
                        <a:pt x="1497956" y="432887"/>
                        <a:pt x="1497795" y="432646"/>
                      </a:cubicBezTo>
                      <a:moveTo>
                        <a:pt x="1497394" y="430960"/>
                      </a:moveTo>
                      <a:lnTo>
                        <a:pt x="1494743" y="429835"/>
                      </a:lnTo>
                      <a:cubicBezTo>
                        <a:pt x="1494663" y="429433"/>
                        <a:pt x="1494743" y="429032"/>
                        <a:pt x="1495948" y="429192"/>
                      </a:cubicBezTo>
                      <a:cubicBezTo>
                        <a:pt x="1496269" y="429192"/>
                        <a:pt x="1496510" y="429273"/>
                        <a:pt x="1496832" y="429273"/>
                      </a:cubicBezTo>
                      <a:cubicBezTo>
                        <a:pt x="1496751" y="429674"/>
                        <a:pt x="1496591" y="430558"/>
                        <a:pt x="1499161" y="430076"/>
                      </a:cubicBezTo>
                      <a:cubicBezTo>
                        <a:pt x="1498679" y="430317"/>
                        <a:pt x="1497956" y="430638"/>
                        <a:pt x="1497394" y="430960"/>
                      </a:cubicBezTo>
                      <a:moveTo>
                        <a:pt x="1493779" y="427506"/>
                      </a:moveTo>
                      <a:cubicBezTo>
                        <a:pt x="1493618" y="427184"/>
                        <a:pt x="1493779" y="426783"/>
                        <a:pt x="1493940" y="426622"/>
                      </a:cubicBezTo>
                      <a:cubicBezTo>
                        <a:pt x="1494743" y="426943"/>
                        <a:pt x="1495787" y="427345"/>
                        <a:pt x="1496591" y="427747"/>
                      </a:cubicBezTo>
                      <a:cubicBezTo>
                        <a:pt x="1494984" y="427907"/>
                        <a:pt x="1494100" y="427907"/>
                        <a:pt x="1493779" y="427506"/>
                      </a:cubicBezTo>
                      <a:moveTo>
                        <a:pt x="1929317" y="530807"/>
                      </a:moveTo>
                      <a:cubicBezTo>
                        <a:pt x="1928514" y="529442"/>
                        <a:pt x="1928594" y="529361"/>
                        <a:pt x="1928594" y="529281"/>
                      </a:cubicBezTo>
                      <a:cubicBezTo>
                        <a:pt x="1928594" y="529281"/>
                        <a:pt x="1928675" y="529281"/>
                        <a:pt x="1928675" y="529281"/>
                      </a:cubicBezTo>
                      <a:cubicBezTo>
                        <a:pt x="1928916" y="529442"/>
                        <a:pt x="1929558" y="530245"/>
                        <a:pt x="1930602" y="531611"/>
                      </a:cubicBezTo>
                      <a:cubicBezTo>
                        <a:pt x="1930281" y="531530"/>
                        <a:pt x="1929880" y="531370"/>
                        <a:pt x="1929558" y="531289"/>
                      </a:cubicBezTo>
                      <a:cubicBezTo>
                        <a:pt x="1929478" y="531129"/>
                        <a:pt x="1929398" y="530888"/>
                        <a:pt x="1929317" y="530807"/>
                      </a:cubicBezTo>
                      <a:moveTo>
                        <a:pt x="1889716" y="509038"/>
                      </a:moveTo>
                      <a:lnTo>
                        <a:pt x="1887707" y="506789"/>
                      </a:lnTo>
                      <a:cubicBezTo>
                        <a:pt x="1889314" y="507191"/>
                        <a:pt x="1890358" y="507512"/>
                        <a:pt x="1891001" y="507914"/>
                      </a:cubicBezTo>
                      <a:cubicBezTo>
                        <a:pt x="1891322" y="508075"/>
                        <a:pt x="1892126" y="508476"/>
                        <a:pt x="1891081" y="508797"/>
                      </a:cubicBezTo>
                      <a:cubicBezTo>
                        <a:pt x="1890679" y="508958"/>
                        <a:pt x="1890037" y="509038"/>
                        <a:pt x="1889716" y="509038"/>
                      </a:cubicBezTo>
                      <a:moveTo>
                        <a:pt x="1877666" y="500122"/>
                      </a:moveTo>
                      <a:cubicBezTo>
                        <a:pt x="1876783" y="498676"/>
                        <a:pt x="1877506" y="498756"/>
                        <a:pt x="1877827" y="498756"/>
                      </a:cubicBezTo>
                      <a:cubicBezTo>
                        <a:pt x="1877907" y="498837"/>
                        <a:pt x="1878068" y="498997"/>
                        <a:pt x="1878148" y="499158"/>
                      </a:cubicBezTo>
                      <a:cubicBezTo>
                        <a:pt x="1882968" y="504701"/>
                        <a:pt x="1882807" y="505022"/>
                        <a:pt x="1882807" y="505102"/>
                      </a:cubicBezTo>
                      <a:cubicBezTo>
                        <a:pt x="1882566" y="505022"/>
                        <a:pt x="1878550" y="501568"/>
                        <a:pt x="1877666" y="500122"/>
                      </a:cubicBezTo>
                      <a:moveTo>
                        <a:pt x="1392084" y="419151"/>
                      </a:moveTo>
                      <a:cubicBezTo>
                        <a:pt x="1391923" y="419071"/>
                        <a:pt x="1391682" y="419071"/>
                        <a:pt x="1391522" y="418991"/>
                      </a:cubicBezTo>
                      <a:cubicBezTo>
                        <a:pt x="1392566" y="418991"/>
                        <a:pt x="1394012" y="418910"/>
                        <a:pt x="1395056" y="418910"/>
                      </a:cubicBezTo>
                      <a:cubicBezTo>
                        <a:pt x="1394895" y="417625"/>
                        <a:pt x="1394654" y="416822"/>
                        <a:pt x="1393931" y="415537"/>
                      </a:cubicBezTo>
                      <a:cubicBezTo>
                        <a:pt x="1395136" y="414894"/>
                        <a:pt x="1396020" y="414814"/>
                        <a:pt x="1397144" y="414814"/>
                      </a:cubicBezTo>
                      <a:cubicBezTo>
                        <a:pt x="1399313" y="415135"/>
                        <a:pt x="1400920" y="416018"/>
                        <a:pt x="1400920" y="416018"/>
                      </a:cubicBezTo>
                      <a:cubicBezTo>
                        <a:pt x="1400920" y="416018"/>
                        <a:pt x="1402526" y="418589"/>
                        <a:pt x="1401000" y="419714"/>
                      </a:cubicBezTo>
                      <a:cubicBezTo>
                        <a:pt x="1399795" y="420758"/>
                        <a:pt x="1396823" y="420517"/>
                        <a:pt x="1392084" y="419151"/>
                      </a:cubicBezTo>
                      <a:moveTo>
                        <a:pt x="1418753" y="415135"/>
                      </a:moveTo>
                      <a:cubicBezTo>
                        <a:pt x="1418672" y="415055"/>
                        <a:pt x="1418672" y="415055"/>
                        <a:pt x="1418592" y="414974"/>
                      </a:cubicBezTo>
                      <a:cubicBezTo>
                        <a:pt x="1419717" y="415055"/>
                        <a:pt x="1421243" y="415135"/>
                        <a:pt x="1422367" y="415135"/>
                      </a:cubicBezTo>
                      <a:cubicBezTo>
                        <a:pt x="1421243" y="417545"/>
                        <a:pt x="1419476" y="415938"/>
                        <a:pt x="1418753" y="415135"/>
                      </a:cubicBezTo>
                      <a:moveTo>
                        <a:pt x="1907789" y="512814"/>
                      </a:moveTo>
                      <a:cubicBezTo>
                        <a:pt x="1907709" y="512814"/>
                        <a:pt x="1907709" y="512733"/>
                        <a:pt x="1907629" y="512733"/>
                      </a:cubicBezTo>
                      <a:cubicBezTo>
                        <a:pt x="1907629" y="511689"/>
                        <a:pt x="1908111" y="511609"/>
                        <a:pt x="1909235" y="512252"/>
                      </a:cubicBezTo>
                      <a:cubicBezTo>
                        <a:pt x="1909878" y="512653"/>
                        <a:pt x="1910279" y="512974"/>
                        <a:pt x="1911163" y="513778"/>
                      </a:cubicBezTo>
                      <a:cubicBezTo>
                        <a:pt x="1910119" y="513778"/>
                        <a:pt x="1908753" y="513296"/>
                        <a:pt x="1907789" y="512814"/>
                      </a:cubicBezTo>
                      <a:moveTo>
                        <a:pt x="1436586" y="415858"/>
                      </a:moveTo>
                      <a:cubicBezTo>
                        <a:pt x="1436425" y="415858"/>
                        <a:pt x="1436184" y="415858"/>
                        <a:pt x="1436023" y="415858"/>
                      </a:cubicBezTo>
                      <a:cubicBezTo>
                        <a:pt x="1436505" y="415456"/>
                        <a:pt x="1437308" y="414653"/>
                        <a:pt x="1439477" y="414814"/>
                      </a:cubicBezTo>
                      <a:cubicBezTo>
                        <a:pt x="1439558" y="414814"/>
                        <a:pt x="1439638" y="414814"/>
                        <a:pt x="1439799" y="414814"/>
                      </a:cubicBezTo>
                      <a:cubicBezTo>
                        <a:pt x="1440441" y="414894"/>
                        <a:pt x="1441004" y="415135"/>
                        <a:pt x="1441646" y="415215"/>
                      </a:cubicBezTo>
                      <a:cubicBezTo>
                        <a:pt x="1442851" y="415376"/>
                        <a:pt x="1444136" y="415376"/>
                        <a:pt x="1445341" y="415537"/>
                      </a:cubicBezTo>
                      <a:cubicBezTo>
                        <a:pt x="1445502" y="415537"/>
                        <a:pt x="1445743" y="415617"/>
                        <a:pt x="1445904" y="415617"/>
                      </a:cubicBezTo>
                      <a:cubicBezTo>
                        <a:pt x="1445904" y="415617"/>
                        <a:pt x="1445904" y="415617"/>
                        <a:pt x="1445904" y="415697"/>
                      </a:cubicBezTo>
                      <a:cubicBezTo>
                        <a:pt x="1445181" y="415858"/>
                        <a:pt x="1442289" y="415858"/>
                        <a:pt x="1436586" y="415858"/>
                      </a:cubicBezTo>
                      <a:moveTo>
                        <a:pt x="1849070" y="483655"/>
                      </a:moveTo>
                      <a:cubicBezTo>
                        <a:pt x="1848909" y="483494"/>
                        <a:pt x="1848588" y="483253"/>
                        <a:pt x="1848427" y="483092"/>
                      </a:cubicBezTo>
                      <a:cubicBezTo>
                        <a:pt x="1849632" y="483092"/>
                        <a:pt x="1850998" y="483414"/>
                        <a:pt x="1853006" y="484217"/>
                      </a:cubicBezTo>
                      <a:cubicBezTo>
                        <a:pt x="1854291" y="484779"/>
                        <a:pt x="1855014" y="485181"/>
                        <a:pt x="1855978" y="485743"/>
                      </a:cubicBezTo>
                      <a:cubicBezTo>
                        <a:pt x="1855094" y="486546"/>
                        <a:pt x="1853488" y="487270"/>
                        <a:pt x="1849070" y="483655"/>
                      </a:cubicBezTo>
                      <a:moveTo>
                        <a:pt x="1865698" y="488956"/>
                      </a:moveTo>
                      <a:cubicBezTo>
                        <a:pt x="1865617" y="488796"/>
                        <a:pt x="1865617" y="488715"/>
                        <a:pt x="1865617" y="488715"/>
                      </a:cubicBezTo>
                      <a:cubicBezTo>
                        <a:pt x="1865617" y="488715"/>
                        <a:pt x="1865617" y="488715"/>
                        <a:pt x="1865698" y="488715"/>
                      </a:cubicBezTo>
                      <a:cubicBezTo>
                        <a:pt x="1865939" y="488876"/>
                        <a:pt x="1866501" y="489358"/>
                        <a:pt x="1867625" y="490402"/>
                      </a:cubicBezTo>
                      <a:cubicBezTo>
                        <a:pt x="1867224" y="490242"/>
                        <a:pt x="1866822" y="490081"/>
                        <a:pt x="1866501" y="489920"/>
                      </a:cubicBezTo>
                      <a:cubicBezTo>
                        <a:pt x="1866180" y="489599"/>
                        <a:pt x="1865858" y="489278"/>
                        <a:pt x="1865698" y="488956"/>
                      </a:cubicBezTo>
                      <a:moveTo>
                        <a:pt x="1957914" y="543017"/>
                      </a:moveTo>
                      <a:cubicBezTo>
                        <a:pt x="1957914" y="543017"/>
                        <a:pt x="1957914" y="543017"/>
                        <a:pt x="1957914" y="543017"/>
                      </a:cubicBezTo>
                      <a:cubicBezTo>
                        <a:pt x="1957914" y="542696"/>
                        <a:pt x="1957914" y="542375"/>
                        <a:pt x="1957914" y="541973"/>
                      </a:cubicBezTo>
                      <a:lnTo>
                        <a:pt x="1957914" y="541973"/>
                      </a:lnTo>
                      <a:cubicBezTo>
                        <a:pt x="1957914" y="542294"/>
                        <a:pt x="1957914" y="542615"/>
                        <a:pt x="1957914" y="543017"/>
                      </a:cubicBezTo>
                      <a:moveTo>
                        <a:pt x="1823284" y="472489"/>
                      </a:moveTo>
                      <a:cubicBezTo>
                        <a:pt x="1823284" y="472489"/>
                        <a:pt x="1823284" y="472489"/>
                        <a:pt x="1823284" y="472489"/>
                      </a:cubicBezTo>
                      <a:cubicBezTo>
                        <a:pt x="1822963" y="472007"/>
                        <a:pt x="1822722" y="471284"/>
                        <a:pt x="1822481" y="470802"/>
                      </a:cubicBezTo>
                      <a:lnTo>
                        <a:pt x="1822561" y="470883"/>
                      </a:lnTo>
                      <a:cubicBezTo>
                        <a:pt x="1823847" y="472007"/>
                        <a:pt x="1824248" y="472569"/>
                        <a:pt x="1823847" y="472569"/>
                      </a:cubicBezTo>
                      <a:cubicBezTo>
                        <a:pt x="1823606" y="472569"/>
                        <a:pt x="1823445" y="472569"/>
                        <a:pt x="1823284" y="472489"/>
                      </a:cubicBezTo>
                      <a:moveTo>
                        <a:pt x="1405418" y="399953"/>
                      </a:moveTo>
                      <a:cubicBezTo>
                        <a:pt x="1405017" y="399150"/>
                        <a:pt x="1405820" y="398828"/>
                        <a:pt x="1407908" y="398909"/>
                      </a:cubicBezTo>
                      <a:cubicBezTo>
                        <a:pt x="1408149" y="398909"/>
                        <a:pt x="1408310" y="398909"/>
                        <a:pt x="1408551" y="398909"/>
                      </a:cubicBezTo>
                      <a:cubicBezTo>
                        <a:pt x="1406061" y="399150"/>
                        <a:pt x="1406382" y="400274"/>
                        <a:pt x="1409515" y="402925"/>
                      </a:cubicBezTo>
                      <a:cubicBezTo>
                        <a:pt x="1409595" y="403005"/>
                        <a:pt x="1409676" y="403086"/>
                        <a:pt x="1409756" y="403166"/>
                      </a:cubicBezTo>
                      <a:cubicBezTo>
                        <a:pt x="1408872" y="402684"/>
                        <a:pt x="1405981" y="401078"/>
                        <a:pt x="1405418" y="399953"/>
                      </a:cubicBezTo>
                      <a:moveTo>
                        <a:pt x="1831799" y="463010"/>
                      </a:moveTo>
                      <a:cubicBezTo>
                        <a:pt x="1831558" y="462609"/>
                        <a:pt x="1831558" y="462528"/>
                        <a:pt x="1831880" y="462528"/>
                      </a:cubicBezTo>
                      <a:cubicBezTo>
                        <a:pt x="1831960" y="462528"/>
                        <a:pt x="1832040" y="462609"/>
                        <a:pt x="1832201" y="462609"/>
                      </a:cubicBezTo>
                      <a:cubicBezTo>
                        <a:pt x="1832924" y="462930"/>
                        <a:pt x="1833566" y="463332"/>
                        <a:pt x="1834289" y="463733"/>
                      </a:cubicBezTo>
                      <a:cubicBezTo>
                        <a:pt x="1833727" y="464135"/>
                        <a:pt x="1833727" y="464617"/>
                        <a:pt x="1834289" y="465501"/>
                      </a:cubicBezTo>
                      <a:cubicBezTo>
                        <a:pt x="1833807" y="465019"/>
                        <a:pt x="1833084" y="464376"/>
                        <a:pt x="1832602" y="463894"/>
                      </a:cubicBezTo>
                      <a:cubicBezTo>
                        <a:pt x="1832281" y="463653"/>
                        <a:pt x="1832040" y="463332"/>
                        <a:pt x="1831799" y="463010"/>
                      </a:cubicBezTo>
                      <a:moveTo>
                        <a:pt x="1414897" y="395696"/>
                      </a:moveTo>
                      <a:cubicBezTo>
                        <a:pt x="1414415" y="394571"/>
                        <a:pt x="1414415" y="394410"/>
                        <a:pt x="1414495" y="394330"/>
                      </a:cubicBezTo>
                      <a:cubicBezTo>
                        <a:pt x="1414576" y="394330"/>
                        <a:pt x="1414656" y="394330"/>
                        <a:pt x="1414656" y="394330"/>
                      </a:cubicBezTo>
                      <a:cubicBezTo>
                        <a:pt x="1415058" y="394571"/>
                        <a:pt x="1415540" y="395053"/>
                        <a:pt x="1416745" y="396418"/>
                      </a:cubicBezTo>
                      <a:cubicBezTo>
                        <a:pt x="1420440" y="396418"/>
                        <a:pt x="1422689" y="397222"/>
                        <a:pt x="1423492" y="397463"/>
                      </a:cubicBezTo>
                      <a:cubicBezTo>
                        <a:pt x="1422367" y="398025"/>
                        <a:pt x="1420279" y="399150"/>
                        <a:pt x="1422046" y="399712"/>
                      </a:cubicBezTo>
                      <a:cubicBezTo>
                        <a:pt x="1422849" y="399953"/>
                        <a:pt x="1424295" y="400033"/>
                        <a:pt x="1425099" y="400114"/>
                      </a:cubicBezTo>
                      <a:cubicBezTo>
                        <a:pt x="1425099" y="400114"/>
                        <a:pt x="1425099" y="400114"/>
                        <a:pt x="1425099" y="400114"/>
                      </a:cubicBezTo>
                      <a:lnTo>
                        <a:pt x="1425099" y="400114"/>
                      </a:lnTo>
                      <a:lnTo>
                        <a:pt x="1425099" y="400114"/>
                      </a:lnTo>
                      <a:cubicBezTo>
                        <a:pt x="1425099" y="400114"/>
                        <a:pt x="1425099" y="400114"/>
                        <a:pt x="1425099" y="400114"/>
                      </a:cubicBezTo>
                      <a:cubicBezTo>
                        <a:pt x="1425099" y="400114"/>
                        <a:pt x="1425099" y="400114"/>
                        <a:pt x="1425099" y="400114"/>
                      </a:cubicBezTo>
                      <a:lnTo>
                        <a:pt x="1425099" y="400114"/>
                      </a:lnTo>
                      <a:lnTo>
                        <a:pt x="1425099" y="400114"/>
                      </a:lnTo>
                      <a:cubicBezTo>
                        <a:pt x="1425099" y="400114"/>
                        <a:pt x="1425099" y="400114"/>
                        <a:pt x="1425099" y="400114"/>
                      </a:cubicBezTo>
                      <a:cubicBezTo>
                        <a:pt x="1425018" y="400274"/>
                        <a:pt x="1424938" y="400435"/>
                        <a:pt x="1424858" y="400596"/>
                      </a:cubicBezTo>
                      <a:cubicBezTo>
                        <a:pt x="1426946" y="400033"/>
                        <a:pt x="1427508" y="400676"/>
                        <a:pt x="1427830" y="401319"/>
                      </a:cubicBezTo>
                      <a:cubicBezTo>
                        <a:pt x="1427187" y="401078"/>
                        <a:pt x="1425340" y="400355"/>
                        <a:pt x="1425822" y="401319"/>
                      </a:cubicBezTo>
                      <a:cubicBezTo>
                        <a:pt x="1425902" y="401399"/>
                        <a:pt x="1425982" y="401560"/>
                        <a:pt x="1426063" y="401720"/>
                      </a:cubicBezTo>
                      <a:cubicBezTo>
                        <a:pt x="1421564" y="400033"/>
                        <a:pt x="1418190" y="398989"/>
                        <a:pt x="1416664" y="399471"/>
                      </a:cubicBezTo>
                      <a:cubicBezTo>
                        <a:pt x="1416102" y="398186"/>
                        <a:pt x="1415459" y="396981"/>
                        <a:pt x="1414897" y="395696"/>
                      </a:cubicBezTo>
                      <a:moveTo>
                        <a:pt x="1826658" y="460842"/>
                      </a:moveTo>
                      <a:cubicBezTo>
                        <a:pt x="1825935" y="459878"/>
                        <a:pt x="1826176" y="459235"/>
                        <a:pt x="1826257" y="458914"/>
                      </a:cubicBezTo>
                      <a:cubicBezTo>
                        <a:pt x="1826337" y="458994"/>
                        <a:pt x="1826417" y="459155"/>
                        <a:pt x="1826417" y="459235"/>
                      </a:cubicBezTo>
                      <a:cubicBezTo>
                        <a:pt x="1827301" y="460681"/>
                        <a:pt x="1828586" y="462287"/>
                        <a:pt x="1831157" y="462930"/>
                      </a:cubicBezTo>
                      <a:cubicBezTo>
                        <a:pt x="1830916" y="464055"/>
                        <a:pt x="1828265" y="463091"/>
                        <a:pt x="1826658" y="460842"/>
                      </a:cubicBezTo>
                      <a:moveTo>
                        <a:pt x="1928193" y="509842"/>
                      </a:moveTo>
                      <a:lnTo>
                        <a:pt x="1927550" y="509199"/>
                      </a:lnTo>
                      <a:cubicBezTo>
                        <a:pt x="1928916" y="510163"/>
                        <a:pt x="1929478" y="510083"/>
                        <a:pt x="1929317" y="509038"/>
                      </a:cubicBezTo>
                      <a:cubicBezTo>
                        <a:pt x="1929317" y="508958"/>
                        <a:pt x="1929317" y="508878"/>
                        <a:pt x="1929237" y="508797"/>
                      </a:cubicBezTo>
                      <a:cubicBezTo>
                        <a:pt x="1929398" y="508958"/>
                        <a:pt x="1929639" y="509279"/>
                        <a:pt x="1929880" y="509440"/>
                      </a:cubicBezTo>
                      <a:cubicBezTo>
                        <a:pt x="1929960" y="509922"/>
                        <a:pt x="1930201" y="511047"/>
                        <a:pt x="1928594" y="510002"/>
                      </a:cubicBezTo>
                      <a:cubicBezTo>
                        <a:pt x="1928434" y="510002"/>
                        <a:pt x="1928273" y="509922"/>
                        <a:pt x="1928193" y="509842"/>
                      </a:cubicBezTo>
                      <a:moveTo>
                        <a:pt x="1433453" y="384691"/>
                      </a:moveTo>
                      <a:cubicBezTo>
                        <a:pt x="1432971" y="383887"/>
                        <a:pt x="1434497" y="383566"/>
                        <a:pt x="1435702" y="383405"/>
                      </a:cubicBezTo>
                      <a:cubicBezTo>
                        <a:pt x="1435702" y="383486"/>
                        <a:pt x="1435782" y="383566"/>
                        <a:pt x="1435863" y="383566"/>
                      </a:cubicBezTo>
                      <a:cubicBezTo>
                        <a:pt x="1436907" y="385333"/>
                        <a:pt x="1434818" y="385655"/>
                        <a:pt x="1434818" y="385655"/>
                      </a:cubicBezTo>
                      <a:cubicBezTo>
                        <a:pt x="1434818" y="385735"/>
                        <a:pt x="1433774" y="385173"/>
                        <a:pt x="1433453" y="384691"/>
                      </a:cubicBezTo>
                      <a:moveTo>
                        <a:pt x="1733317" y="420035"/>
                      </a:moveTo>
                      <a:lnTo>
                        <a:pt x="1733076" y="419874"/>
                      </a:lnTo>
                      <a:lnTo>
                        <a:pt x="1733478" y="419955"/>
                      </a:lnTo>
                      <a:cubicBezTo>
                        <a:pt x="1735004" y="420437"/>
                        <a:pt x="1736530" y="420838"/>
                        <a:pt x="1738056" y="421401"/>
                      </a:cubicBezTo>
                      <a:cubicBezTo>
                        <a:pt x="1737976" y="421401"/>
                        <a:pt x="1733317" y="420035"/>
                        <a:pt x="1733317" y="420035"/>
                      </a:cubicBezTo>
                      <a:moveTo>
                        <a:pt x="1728899" y="420196"/>
                      </a:moveTo>
                      <a:lnTo>
                        <a:pt x="1728497" y="419955"/>
                      </a:lnTo>
                      <a:cubicBezTo>
                        <a:pt x="1728899" y="419312"/>
                        <a:pt x="1728979" y="418669"/>
                        <a:pt x="1728658" y="417706"/>
                      </a:cubicBezTo>
                      <a:cubicBezTo>
                        <a:pt x="1728738" y="417786"/>
                        <a:pt x="1728899" y="417866"/>
                        <a:pt x="1728979" y="417866"/>
                      </a:cubicBezTo>
                      <a:cubicBezTo>
                        <a:pt x="1730024" y="418509"/>
                        <a:pt x="1733156" y="420437"/>
                        <a:pt x="1732112" y="420678"/>
                      </a:cubicBezTo>
                      <a:cubicBezTo>
                        <a:pt x="1731389" y="420919"/>
                        <a:pt x="1728899" y="420276"/>
                        <a:pt x="1728899" y="420196"/>
                      </a:cubicBezTo>
                      <a:moveTo>
                        <a:pt x="1093023" y="383807"/>
                      </a:moveTo>
                      <a:cubicBezTo>
                        <a:pt x="1093023" y="383807"/>
                        <a:pt x="1093023" y="383807"/>
                        <a:pt x="1093023" y="383807"/>
                      </a:cubicBezTo>
                      <a:cubicBezTo>
                        <a:pt x="1093023" y="383807"/>
                        <a:pt x="1093023" y="383807"/>
                        <a:pt x="1093023" y="383807"/>
                      </a:cubicBezTo>
                      <a:cubicBezTo>
                        <a:pt x="1093344" y="383807"/>
                        <a:pt x="1094629" y="384369"/>
                        <a:pt x="1099047" y="386538"/>
                      </a:cubicBezTo>
                      <a:cubicBezTo>
                        <a:pt x="1099128" y="386860"/>
                        <a:pt x="1099208" y="387181"/>
                        <a:pt x="1099288" y="387422"/>
                      </a:cubicBezTo>
                      <a:cubicBezTo>
                        <a:pt x="1094388" y="384771"/>
                        <a:pt x="1093183" y="383968"/>
                        <a:pt x="1093023" y="383807"/>
                      </a:cubicBezTo>
                      <a:moveTo>
                        <a:pt x="1804006" y="435297"/>
                      </a:moveTo>
                      <a:cubicBezTo>
                        <a:pt x="1803925" y="435297"/>
                        <a:pt x="1803845" y="435297"/>
                        <a:pt x="1803845" y="435297"/>
                      </a:cubicBezTo>
                      <a:cubicBezTo>
                        <a:pt x="1804407" y="435378"/>
                        <a:pt x="1804970" y="435458"/>
                        <a:pt x="1805452" y="435538"/>
                      </a:cubicBezTo>
                      <a:cubicBezTo>
                        <a:pt x="1805773" y="435619"/>
                        <a:pt x="1806014" y="435619"/>
                        <a:pt x="1806335" y="435699"/>
                      </a:cubicBezTo>
                      <a:cubicBezTo>
                        <a:pt x="1806415" y="435699"/>
                        <a:pt x="1806576" y="435699"/>
                        <a:pt x="1806656" y="435779"/>
                      </a:cubicBezTo>
                      <a:cubicBezTo>
                        <a:pt x="1805773" y="435699"/>
                        <a:pt x="1804889" y="435458"/>
                        <a:pt x="1804006" y="435297"/>
                      </a:cubicBezTo>
                      <a:moveTo>
                        <a:pt x="1678373" y="391117"/>
                      </a:moveTo>
                      <a:cubicBezTo>
                        <a:pt x="1678212" y="391117"/>
                        <a:pt x="1678051" y="391117"/>
                        <a:pt x="1677891" y="391117"/>
                      </a:cubicBezTo>
                      <a:cubicBezTo>
                        <a:pt x="1681827" y="391358"/>
                        <a:pt x="1685683" y="391599"/>
                        <a:pt x="1689619" y="391840"/>
                      </a:cubicBezTo>
                      <a:cubicBezTo>
                        <a:pt x="1689619" y="391840"/>
                        <a:pt x="1689619" y="391840"/>
                        <a:pt x="1689619" y="391840"/>
                      </a:cubicBezTo>
                      <a:cubicBezTo>
                        <a:pt x="1685843" y="391599"/>
                        <a:pt x="1682148" y="391358"/>
                        <a:pt x="1678373" y="391117"/>
                      </a:cubicBezTo>
                      <a:moveTo>
                        <a:pt x="1808825" y="421160"/>
                      </a:moveTo>
                      <a:cubicBezTo>
                        <a:pt x="1808745" y="421079"/>
                        <a:pt x="1808665" y="421079"/>
                        <a:pt x="1808584" y="420999"/>
                      </a:cubicBezTo>
                      <a:cubicBezTo>
                        <a:pt x="1808745" y="420437"/>
                        <a:pt x="1809548" y="420517"/>
                        <a:pt x="1811155" y="421160"/>
                      </a:cubicBezTo>
                      <a:cubicBezTo>
                        <a:pt x="1812119" y="421561"/>
                        <a:pt x="1812761" y="421963"/>
                        <a:pt x="1813966" y="422686"/>
                      </a:cubicBezTo>
                      <a:cubicBezTo>
                        <a:pt x="1812681" y="422846"/>
                        <a:pt x="1810512" y="422043"/>
                        <a:pt x="1808825" y="421160"/>
                      </a:cubicBezTo>
                      <a:moveTo>
                        <a:pt x="1901283" y="449515"/>
                      </a:moveTo>
                      <a:lnTo>
                        <a:pt x="1901042" y="449274"/>
                      </a:lnTo>
                      <a:cubicBezTo>
                        <a:pt x="1901283" y="449274"/>
                        <a:pt x="1901604" y="449596"/>
                        <a:pt x="1902247" y="450238"/>
                      </a:cubicBezTo>
                      <a:cubicBezTo>
                        <a:pt x="1902970" y="451042"/>
                        <a:pt x="1903773" y="452086"/>
                        <a:pt x="1905058" y="453692"/>
                      </a:cubicBezTo>
                      <a:cubicBezTo>
                        <a:pt x="1903853" y="452246"/>
                        <a:pt x="1902568" y="450881"/>
                        <a:pt x="1901283" y="449515"/>
                      </a:cubicBezTo>
                      <a:moveTo>
                        <a:pt x="1865537" y="415778"/>
                      </a:moveTo>
                      <a:lnTo>
                        <a:pt x="1865216" y="415376"/>
                      </a:lnTo>
                      <a:cubicBezTo>
                        <a:pt x="1865778" y="415778"/>
                        <a:pt x="1865858" y="415858"/>
                        <a:pt x="1866019" y="415858"/>
                      </a:cubicBezTo>
                      <a:cubicBezTo>
                        <a:pt x="1865939" y="415617"/>
                        <a:pt x="1865537" y="415215"/>
                        <a:pt x="1864332" y="414091"/>
                      </a:cubicBezTo>
                      <a:cubicBezTo>
                        <a:pt x="1864653" y="414332"/>
                        <a:pt x="1865055" y="414733"/>
                        <a:pt x="1865376" y="414974"/>
                      </a:cubicBezTo>
                      <a:cubicBezTo>
                        <a:pt x="1874293" y="422605"/>
                        <a:pt x="1878148" y="426461"/>
                        <a:pt x="1878148" y="426461"/>
                      </a:cubicBezTo>
                      <a:lnTo>
                        <a:pt x="1865537" y="415778"/>
                      </a:lnTo>
                      <a:moveTo>
                        <a:pt x="1121539" y="280827"/>
                      </a:moveTo>
                      <a:cubicBezTo>
                        <a:pt x="1121459" y="280746"/>
                        <a:pt x="1121298" y="280586"/>
                        <a:pt x="1121138" y="280505"/>
                      </a:cubicBezTo>
                      <a:cubicBezTo>
                        <a:pt x="1125154" y="278095"/>
                        <a:pt x="1127644" y="277051"/>
                        <a:pt x="1129411" y="277051"/>
                      </a:cubicBezTo>
                      <a:cubicBezTo>
                        <a:pt x="1131821" y="277132"/>
                        <a:pt x="1131821" y="279541"/>
                        <a:pt x="1129492" y="284441"/>
                      </a:cubicBezTo>
                      <a:cubicBezTo>
                        <a:pt x="1126760" y="283638"/>
                        <a:pt x="1123788" y="282674"/>
                        <a:pt x="1121539" y="280827"/>
                      </a:cubicBezTo>
                      <a:moveTo>
                        <a:pt x="1811316" y="363163"/>
                      </a:moveTo>
                      <a:lnTo>
                        <a:pt x="1809468" y="362761"/>
                      </a:lnTo>
                      <a:cubicBezTo>
                        <a:pt x="1807861" y="359709"/>
                        <a:pt x="1807219" y="358343"/>
                        <a:pt x="1807219" y="358102"/>
                      </a:cubicBezTo>
                      <a:cubicBezTo>
                        <a:pt x="1807299" y="358022"/>
                        <a:pt x="1807379" y="358102"/>
                        <a:pt x="1807379" y="358182"/>
                      </a:cubicBezTo>
                      <a:cubicBezTo>
                        <a:pt x="1808022" y="358664"/>
                        <a:pt x="1809307" y="360271"/>
                        <a:pt x="1811316" y="363163"/>
                      </a:cubicBezTo>
                      <a:moveTo>
                        <a:pt x="1838225" y="378024"/>
                      </a:moveTo>
                      <a:cubicBezTo>
                        <a:pt x="1837984" y="377783"/>
                        <a:pt x="1837663" y="377542"/>
                        <a:pt x="1837422" y="377301"/>
                      </a:cubicBezTo>
                      <a:cubicBezTo>
                        <a:pt x="1839511" y="378827"/>
                        <a:pt x="1840555" y="379791"/>
                        <a:pt x="1842001" y="381076"/>
                      </a:cubicBezTo>
                      <a:cubicBezTo>
                        <a:pt x="1852684" y="390474"/>
                        <a:pt x="1863529" y="403568"/>
                        <a:pt x="1867706" y="408709"/>
                      </a:cubicBezTo>
                      <a:cubicBezTo>
                        <a:pt x="1855978" y="395214"/>
                        <a:pt x="1846258" y="385173"/>
                        <a:pt x="1838225" y="378024"/>
                      </a:cubicBezTo>
                      <a:moveTo>
                        <a:pt x="1821678" y="365814"/>
                      </a:moveTo>
                      <a:cubicBezTo>
                        <a:pt x="1821357" y="365653"/>
                        <a:pt x="1820875" y="364769"/>
                        <a:pt x="1820875" y="364689"/>
                      </a:cubicBezTo>
                      <a:cubicBezTo>
                        <a:pt x="1820955" y="364689"/>
                        <a:pt x="1821035" y="364769"/>
                        <a:pt x="1821196" y="364850"/>
                      </a:cubicBezTo>
                      <a:cubicBezTo>
                        <a:pt x="1821598" y="365171"/>
                        <a:pt x="1821919" y="365573"/>
                        <a:pt x="1822401" y="365814"/>
                      </a:cubicBezTo>
                      <a:cubicBezTo>
                        <a:pt x="1822883" y="366054"/>
                        <a:pt x="1823445" y="366537"/>
                        <a:pt x="1823686" y="366697"/>
                      </a:cubicBezTo>
                      <a:cubicBezTo>
                        <a:pt x="1824168" y="367019"/>
                        <a:pt x="1824570" y="367420"/>
                        <a:pt x="1824971" y="367822"/>
                      </a:cubicBezTo>
                      <a:cubicBezTo>
                        <a:pt x="1823847" y="367099"/>
                        <a:pt x="1822722" y="366456"/>
                        <a:pt x="1821678" y="365814"/>
                      </a:cubicBezTo>
                      <a:moveTo>
                        <a:pt x="1689297" y="294482"/>
                      </a:moveTo>
                      <a:cubicBezTo>
                        <a:pt x="1688896" y="294081"/>
                        <a:pt x="1688896" y="293920"/>
                        <a:pt x="1688815" y="293759"/>
                      </a:cubicBezTo>
                      <a:cubicBezTo>
                        <a:pt x="1689056" y="293438"/>
                        <a:pt x="1689779" y="293679"/>
                        <a:pt x="1689779" y="293679"/>
                      </a:cubicBezTo>
                      <a:cubicBezTo>
                        <a:pt x="1690743" y="294241"/>
                        <a:pt x="1691466" y="295045"/>
                        <a:pt x="1692270" y="295687"/>
                      </a:cubicBezTo>
                      <a:cubicBezTo>
                        <a:pt x="1692832" y="296089"/>
                        <a:pt x="1692992" y="296089"/>
                        <a:pt x="1692992" y="296089"/>
                      </a:cubicBezTo>
                      <a:cubicBezTo>
                        <a:pt x="1692992" y="295928"/>
                        <a:pt x="1692591" y="295446"/>
                        <a:pt x="1691305" y="294081"/>
                      </a:cubicBezTo>
                      <a:cubicBezTo>
                        <a:pt x="1691466" y="294161"/>
                        <a:pt x="1691627" y="294241"/>
                        <a:pt x="1691788" y="294322"/>
                      </a:cubicBezTo>
                      <a:cubicBezTo>
                        <a:pt x="1694679" y="295767"/>
                        <a:pt x="1699579" y="298659"/>
                        <a:pt x="1699660" y="301310"/>
                      </a:cubicBezTo>
                      <a:cubicBezTo>
                        <a:pt x="1698535" y="300427"/>
                        <a:pt x="1695242" y="297696"/>
                        <a:pt x="1690342" y="295205"/>
                      </a:cubicBezTo>
                      <a:cubicBezTo>
                        <a:pt x="1690101" y="294964"/>
                        <a:pt x="1689619" y="294723"/>
                        <a:pt x="1689297" y="294482"/>
                      </a:cubicBezTo>
                      <a:moveTo>
                        <a:pt x="1670581" y="281469"/>
                      </a:moveTo>
                      <a:cubicBezTo>
                        <a:pt x="1670420" y="281469"/>
                        <a:pt x="1670260" y="281389"/>
                        <a:pt x="1670179" y="281389"/>
                      </a:cubicBezTo>
                      <a:cubicBezTo>
                        <a:pt x="1672509" y="281790"/>
                        <a:pt x="1674838" y="282192"/>
                        <a:pt x="1677088" y="282594"/>
                      </a:cubicBezTo>
                      <a:cubicBezTo>
                        <a:pt x="1674919" y="282272"/>
                        <a:pt x="1672750" y="281871"/>
                        <a:pt x="1670581" y="281469"/>
                      </a:cubicBezTo>
                      <a:moveTo>
                        <a:pt x="1344851" y="235040"/>
                      </a:moveTo>
                      <a:cubicBezTo>
                        <a:pt x="1344449" y="234879"/>
                        <a:pt x="1343807" y="234718"/>
                        <a:pt x="1343405" y="234558"/>
                      </a:cubicBezTo>
                      <a:cubicBezTo>
                        <a:pt x="1344369" y="234156"/>
                        <a:pt x="1345574" y="233353"/>
                        <a:pt x="1345494" y="231345"/>
                      </a:cubicBezTo>
                      <a:cubicBezTo>
                        <a:pt x="1345815" y="231505"/>
                        <a:pt x="1346217" y="231666"/>
                        <a:pt x="1346458" y="231826"/>
                      </a:cubicBezTo>
                      <a:cubicBezTo>
                        <a:pt x="1355294" y="235923"/>
                        <a:pt x="1359390" y="238172"/>
                        <a:pt x="1358426" y="238494"/>
                      </a:cubicBezTo>
                      <a:cubicBezTo>
                        <a:pt x="1357462" y="238895"/>
                        <a:pt x="1350233" y="236727"/>
                        <a:pt x="1344851" y="235040"/>
                      </a:cubicBezTo>
                      <a:moveTo>
                        <a:pt x="1767216" y="322999"/>
                      </a:moveTo>
                      <a:cubicBezTo>
                        <a:pt x="1763761" y="319223"/>
                        <a:pt x="1762717" y="318018"/>
                        <a:pt x="1759745" y="314163"/>
                      </a:cubicBezTo>
                      <a:cubicBezTo>
                        <a:pt x="1759986" y="314323"/>
                        <a:pt x="1760227" y="314564"/>
                        <a:pt x="1760468" y="314725"/>
                      </a:cubicBezTo>
                      <a:cubicBezTo>
                        <a:pt x="1768421" y="321633"/>
                        <a:pt x="1772597" y="326212"/>
                        <a:pt x="1772838" y="328541"/>
                      </a:cubicBezTo>
                      <a:cubicBezTo>
                        <a:pt x="1772357" y="327899"/>
                        <a:pt x="1771473" y="327096"/>
                        <a:pt x="1770429" y="326292"/>
                      </a:cubicBezTo>
                      <a:cubicBezTo>
                        <a:pt x="1769866" y="325810"/>
                        <a:pt x="1769866" y="325810"/>
                        <a:pt x="1767216" y="322999"/>
                      </a:cubicBezTo>
                      <a:moveTo>
                        <a:pt x="1663994" y="270384"/>
                      </a:moveTo>
                      <a:cubicBezTo>
                        <a:pt x="1663753" y="270223"/>
                        <a:pt x="1663432" y="270063"/>
                        <a:pt x="1663110" y="269982"/>
                      </a:cubicBezTo>
                      <a:cubicBezTo>
                        <a:pt x="1662548" y="267974"/>
                        <a:pt x="1663351" y="267573"/>
                        <a:pt x="1665842" y="268376"/>
                      </a:cubicBezTo>
                      <a:cubicBezTo>
                        <a:pt x="1667528" y="269018"/>
                        <a:pt x="1669055" y="269822"/>
                        <a:pt x="1669055" y="269822"/>
                      </a:cubicBezTo>
                      <a:cubicBezTo>
                        <a:pt x="1670340" y="270866"/>
                        <a:pt x="1674678" y="274240"/>
                        <a:pt x="1673874" y="274641"/>
                      </a:cubicBezTo>
                      <a:cubicBezTo>
                        <a:pt x="1673151" y="275043"/>
                        <a:pt x="1667850" y="272392"/>
                        <a:pt x="1663994" y="270384"/>
                      </a:cubicBezTo>
                      <a:moveTo>
                        <a:pt x="1567038" y="237369"/>
                      </a:moveTo>
                      <a:cubicBezTo>
                        <a:pt x="1565753" y="236084"/>
                        <a:pt x="1565030" y="235281"/>
                        <a:pt x="1566556" y="234477"/>
                      </a:cubicBezTo>
                      <a:cubicBezTo>
                        <a:pt x="1566717" y="234558"/>
                        <a:pt x="1566958" y="234718"/>
                        <a:pt x="1567199" y="234879"/>
                      </a:cubicBezTo>
                      <a:cubicBezTo>
                        <a:pt x="1573625" y="238976"/>
                        <a:pt x="1578525" y="243233"/>
                        <a:pt x="1581819" y="247410"/>
                      </a:cubicBezTo>
                      <a:cubicBezTo>
                        <a:pt x="1573464" y="243474"/>
                        <a:pt x="1569287" y="239538"/>
                        <a:pt x="1567038" y="237369"/>
                      </a:cubicBezTo>
                      <a:moveTo>
                        <a:pt x="1748419" y="291430"/>
                      </a:moveTo>
                      <a:cubicBezTo>
                        <a:pt x="1748660" y="291591"/>
                        <a:pt x="1748901" y="291751"/>
                        <a:pt x="1749142" y="291912"/>
                      </a:cubicBezTo>
                      <a:cubicBezTo>
                        <a:pt x="1748981" y="291751"/>
                        <a:pt x="1748660" y="291591"/>
                        <a:pt x="1748419" y="291430"/>
                      </a:cubicBezTo>
                      <a:cubicBezTo>
                        <a:pt x="1748419" y="291430"/>
                        <a:pt x="1748419" y="291430"/>
                        <a:pt x="1748419" y="291430"/>
                      </a:cubicBezTo>
                      <a:moveTo>
                        <a:pt x="1749302" y="291912"/>
                      </a:moveTo>
                      <a:cubicBezTo>
                        <a:pt x="1749302" y="291912"/>
                        <a:pt x="1749383" y="291912"/>
                        <a:pt x="1749383" y="291992"/>
                      </a:cubicBezTo>
                      <a:cubicBezTo>
                        <a:pt x="1749383" y="291992"/>
                        <a:pt x="1749302" y="291912"/>
                        <a:pt x="1749302" y="291912"/>
                      </a:cubicBezTo>
                      <a:cubicBezTo>
                        <a:pt x="1749302" y="291912"/>
                        <a:pt x="1749302" y="291912"/>
                        <a:pt x="1749302" y="291912"/>
                      </a:cubicBezTo>
                      <a:moveTo>
                        <a:pt x="1749543" y="292072"/>
                      </a:moveTo>
                      <a:cubicBezTo>
                        <a:pt x="1749543" y="292072"/>
                        <a:pt x="1749543" y="292072"/>
                        <a:pt x="1749543" y="292072"/>
                      </a:cubicBezTo>
                      <a:cubicBezTo>
                        <a:pt x="1749543" y="292072"/>
                        <a:pt x="1749543" y="292072"/>
                        <a:pt x="1749543" y="292072"/>
                      </a:cubicBezTo>
                      <a:lnTo>
                        <a:pt x="1749543" y="292072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04" y="292233"/>
                      </a:moveTo>
                      <a:lnTo>
                        <a:pt x="1749704" y="292233"/>
                      </a:lnTo>
                      <a:lnTo>
                        <a:pt x="1749704" y="292233"/>
                      </a:lnTo>
                      <a:moveTo>
                        <a:pt x="1749704" y="292233"/>
                      </a:moveTo>
                      <a:cubicBezTo>
                        <a:pt x="1749704" y="292233"/>
                        <a:pt x="1749704" y="292233"/>
                        <a:pt x="1749704" y="292233"/>
                      </a:cubicBezTo>
                      <a:cubicBezTo>
                        <a:pt x="1749704" y="292233"/>
                        <a:pt x="1749704" y="292233"/>
                        <a:pt x="1749704" y="292233"/>
                      </a:cubicBezTo>
                      <a:moveTo>
                        <a:pt x="1749704" y="292233"/>
                      </a:moveTo>
                      <a:cubicBezTo>
                        <a:pt x="1749704" y="292233"/>
                        <a:pt x="1749704" y="292233"/>
                        <a:pt x="1749704" y="292233"/>
                      </a:cubicBezTo>
                      <a:cubicBezTo>
                        <a:pt x="1749704" y="292233"/>
                        <a:pt x="1749704" y="292233"/>
                        <a:pt x="1749704" y="292233"/>
                      </a:cubicBezTo>
                      <a:moveTo>
                        <a:pt x="1749704" y="292233"/>
                      </a:moveTo>
                      <a:lnTo>
                        <a:pt x="1749704" y="292233"/>
                      </a:lnTo>
                      <a:lnTo>
                        <a:pt x="1749704" y="292233"/>
                      </a:ln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cubicBezTo>
                        <a:pt x="1749704" y="292153"/>
                        <a:pt x="1749704" y="292153"/>
                        <a:pt x="1749704" y="292153"/>
                      </a:cubicBezTo>
                      <a:cubicBezTo>
                        <a:pt x="1749704" y="292153"/>
                        <a:pt x="1749704" y="292153"/>
                        <a:pt x="1749704" y="292153"/>
                      </a:cubicBezTo>
                      <a:moveTo>
                        <a:pt x="1749704" y="292153"/>
                      </a:moveTo>
                      <a:cubicBezTo>
                        <a:pt x="1749704" y="292153"/>
                        <a:pt x="1749704" y="292153"/>
                        <a:pt x="1749704" y="292153"/>
                      </a:cubicBezTo>
                      <a:cubicBezTo>
                        <a:pt x="1749704" y="292153"/>
                        <a:pt x="1749704" y="292153"/>
                        <a:pt x="1749704" y="292153"/>
                      </a:cubicBez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cubicBezTo>
                        <a:pt x="1749704" y="292153"/>
                        <a:pt x="1749704" y="292153"/>
                        <a:pt x="1749704" y="292153"/>
                      </a:cubicBezTo>
                      <a:cubicBezTo>
                        <a:pt x="1749704" y="292153"/>
                        <a:pt x="1749704" y="292153"/>
                        <a:pt x="1749704" y="292153"/>
                      </a:cubicBez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cubicBezTo>
                        <a:pt x="1749704" y="292153"/>
                        <a:pt x="1749704" y="292153"/>
                        <a:pt x="1749704" y="292153"/>
                      </a:cubicBezTo>
                      <a:cubicBezTo>
                        <a:pt x="1749704" y="292153"/>
                        <a:pt x="1749704" y="292153"/>
                        <a:pt x="1749704" y="292153"/>
                      </a:cubicBez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964980" y="200338"/>
                      </a:moveTo>
                      <a:cubicBezTo>
                        <a:pt x="964739" y="199936"/>
                        <a:pt x="965462" y="199776"/>
                        <a:pt x="966105" y="199695"/>
                      </a:cubicBezTo>
                      <a:cubicBezTo>
                        <a:pt x="968916" y="199535"/>
                        <a:pt x="969478" y="200579"/>
                        <a:pt x="969157" y="200900"/>
                      </a:cubicBezTo>
                      <a:cubicBezTo>
                        <a:pt x="968675" y="201382"/>
                        <a:pt x="967069" y="201703"/>
                        <a:pt x="967069" y="201703"/>
                      </a:cubicBezTo>
                      <a:cubicBezTo>
                        <a:pt x="966988" y="201784"/>
                        <a:pt x="965301" y="200820"/>
                        <a:pt x="964980" y="200338"/>
                      </a:cubicBezTo>
                      <a:moveTo>
                        <a:pt x="1736129" y="277935"/>
                      </a:moveTo>
                      <a:cubicBezTo>
                        <a:pt x="1736129" y="277935"/>
                        <a:pt x="1736129" y="277935"/>
                        <a:pt x="1736129" y="277935"/>
                      </a:cubicBezTo>
                      <a:cubicBezTo>
                        <a:pt x="1737173" y="278577"/>
                        <a:pt x="1738137" y="279381"/>
                        <a:pt x="1739181" y="280184"/>
                      </a:cubicBezTo>
                      <a:cubicBezTo>
                        <a:pt x="1739181" y="280184"/>
                        <a:pt x="1739181" y="280184"/>
                        <a:pt x="1739181" y="280104"/>
                      </a:cubicBezTo>
                      <a:cubicBezTo>
                        <a:pt x="1739422" y="280264"/>
                        <a:pt x="1739663" y="280425"/>
                        <a:pt x="1739904" y="280666"/>
                      </a:cubicBezTo>
                      <a:cubicBezTo>
                        <a:pt x="1741269" y="281790"/>
                        <a:pt x="1742555" y="282915"/>
                        <a:pt x="1743840" y="284040"/>
                      </a:cubicBezTo>
                      <a:cubicBezTo>
                        <a:pt x="1741350" y="282031"/>
                        <a:pt x="1738699" y="280104"/>
                        <a:pt x="1736129" y="277935"/>
                      </a:cubicBezTo>
                      <a:moveTo>
                        <a:pt x="1712512" y="260022"/>
                      </a:moveTo>
                      <a:cubicBezTo>
                        <a:pt x="1712432" y="259941"/>
                        <a:pt x="1712351" y="259941"/>
                        <a:pt x="1712271" y="259861"/>
                      </a:cubicBezTo>
                      <a:cubicBezTo>
                        <a:pt x="1712271" y="259861"/>
                        <a:pt x="1712351" y="259941"/>
                        <a:pt x="1712351" y="259941"/>
                      </a:cubicBezTo>
                      <a:cubicBezTo>
                        <a:pt x="1713396" y="260664"/>
                        <a:pt x="1714440" y="261387"/>
                        <a:pt x="1715484" y="262030"/>
                      </a:cubicBezTo>
                      <a:cubicBezTo>
                        <a:pt x="1714520" y="261387"/>
                        <a:pt x="1713556" y="260745"/>
                        <a:pt x="1712512" y="260022"/>
                      </a:cubicBezTo>
                      <a:moveTo>
                        <a:pt x="1411684" y="178248"/>
                      </a:moveTo>
                      <a:cubicBezTo>
                        <a:pt x="1410318" y="177043"/>
                        <a:pt x="1408631" y="175356"/>
                        <a:pt x="1407346" y="174151"/>
                      </a:cubicBezTo>
                      <a:cubicBezTo>
                        <a:pt x="1407667" y="174312"/>
                        <a:pt x="1408149" y="174472"/>
                        <a:pt x="1408471" y="174633"/>
                      </a:cubicBezTo>
                      <a:cubicBezTo>
                        <a:pt x="1434256" y="186441"/>
                        <a:pt x="1459158" y="199936"/>
                        <a:pt x="1485023" y="211423"/>
                      </a:cubicBezTo>
                      <a:cubicBezTo>
                        <a:pt x="1509443" y="222348"/>
                        <a:pt x="1519484" y="225159"/>
                        <a:pt x="1524946" y="226605"/>
                      </a:cubicBezTo>
                      <a:cubicBezTo>
                        <a:pt x="1521492" y="225721"/>
                        <a:pt x="1440361" y="204194"/>
                        <a:pt x="1411684" y="178248"/>
                      </a:cubicBezTo>
                      <a:moveTo>
                        <a:pt x="1509604" y="206764"/>
                      </a:moveTo>
                      <a:cubicBezTo>
                        <a:pt x="1509443" y="206684"/>
                        <a:pt x="1509282" y="206604"/>
                        <a:pt x="1509122" y="206604"/>
                      </a:cubicBezTo>
                      <a:cubicBezTo>
                        <a:pt x="1510969" y="204676"/>
                        <a:pt x="1510005" y="202587"/>
                        <a:pt x="1505427" y="198892"/>
                      </a:cubicBezTo>
                      <a:cubicBezTo>
                        <a:pt x="1505507" y="199615"/>
                        <a:pt x="1505346" y="200017"/>
                        <a:pt x="1504864" y="200418"/>
                      </a:cubicBezTo>
                      <a:cubicBezTo>
                        <a:pt x="1497554" y="192225"/>
                        <a:pt x="1492413" y="184754"/>
                        <a:pt x="1490486" y="179372"/>
                      </a:cubicBezTo>
                      <a:cubicBezTo>
                        <a:pt x="1492815" y="180015"/>
                        <a:pt x="1493056" y="179613"/>
                        <a:pt x="1492895" y="179051"/>
                      </a:cubicBezTo>
                      <a:cubicBezTo>
                        <a:pt x="1493458" y="179372"/>
                        <a:pt x="1494181" y="179854"/>
                        <a:pt x="1494743" y="180176"/>
                      </a:cubicBezTo>
                      <a:cubicBezTo>
                        <a:pt x="1495546" y="180336"/>
                        <a:pt x="1496430" y="180497"/>
                        <a:pt x="1497233" y="180658"/>
                      </a:cubicBezTo>
                      <a:cubicBezTo>
                        <a:pt x="1498840" y="181461"/>
                        <a:pt x="1500286" y="182023"/>
                        <a:pt x="1502454" y="182746"/>
                      </a:cubicBezTo>
                      <a:cubicBezTo>
                        <a:pt x="1502454" y="182666"/>
                        <a:pt x="1502454" y="182425"/>
                        <a:pt x="1502454" y="182344"/>
                      </a:cubicBezTo>
                      <a:cubicBezTo>
                        <a:pt x="1503097" y="181943"/>
                        <a:pt x="1503097" y="181943"/>
                        <a:pt x="1512094" y="185879"/>
                      </a:cubicBezTo>
                      <a:cubicBezTo>
                        <a:pt x="1511612" y="189172"/>
                        <a:pt x="1511130" y="190618"/>
                        <a:pt x="1504784" y="188369"/>
                      </a:cubicBezTo>
                      <a:cubicBezTo>
                        <a:pt x="1506471" y="190377"/>
                        <a:pt x="1508158" y="191662"/>
                        <a:pt x="1512174" y="193912"/>
                      </a:cubicBezTo>
                      <a:cubicBezTo>
                        <a:pt x="1506632" y="191421"/>
                        <a:pt x="1506551" y="191341"/>
                        <a:pt x="1503499" y="188610"/>
                      </a:cubicBezTo>
                      <a:cubicBezTo>
                        <a:pt x="1500045" y="185557"/>
                        <a:pt x="1495787" y="182023"/>
                        <a:pt x="1494823" y="182264"/>
                      </a:cubicBezTo>
                      <a:cubicBezTo>
                        <a:pt x="1495064" y="184594"/>
                        <a:pt x="1511532" y="204595"/>
                        <a:pt x="1511692" y="204756"/>
                      </a:cubicBezTo>
                      <a:cubicBezTo>
                        <a:pt x="1511692" y="204756"/>
                        <a:pt x="1513540" y="205238"/>
                        <a:pt x="1516191" y="205720"/>
                      </a:cubicBezTo>
                      <a:cubicBezTo>
                        <a:pt x="1512576" y="205800"/>
                        <a:pt x="1511773" y="206443"/>
                        <a:pt x="1512897" y="208451"/>
                      </a:cubicBezTo>
                      <a:cubicBezTo>
                        <a:pt x="1512254" y="208049"/>
                        <a:pt x="1511210" y="207407"/>
                        <a:pt x="1509604" y="206764"/>
                      </a:cubicBezTo>
                      <a:moveTo>
                        <a:pt x="20484" y="436181"/>
                      </a:moveTo>
                      <a:lnTo>
                        <a:pt x="20484" y="436181"/>
                      </a:lnTo>
                      <a:cubicBezTo>
                        <a:pt x="20564" y="436181"/>
                        <a:pt x="20644" y="436261"/>
                        <a:pt x="20725" y="436261"/>
                      </a:cubicBezTo>
                      <a:cubicBezTo>
                        <a:pt x="20564" y="436181"/>
                        <a:pt x="20484" y="436181"/>
                        <a:pt x="20484" y="436181"/>
                      </a:cubicBezTo>
                      <a:moveTo>
                        <a:pt x="16467" y="437948"/>
                      </a:moveTo>
                      <a:cubicBezTo>
                        <a:pt x="17431" y="436181"/>
                        <a:pt x="20002" y="433610"/>
                        <a:pt x="24179" y="430237"/>
                      </a:cubicBezTo>
                      <a:cubicBezTo>
                        <a:pt x="24179" y="430317"/>
                        <a:pt x="24098" y="430478"/>
                        <a:pt x="24098" y="430558"/>
                      </a:cubicBezTo>
                      <a:cubicBezTo>
                        <a:pt x="23215" y="432405"/>
                        <a:pt x="21046" y="434655"/>
                        <a:pt x="16226" y="439555"/>
                      </a:cubicBezTo>
                      <a:cubicBezTo>
                        <a:pt x="16146" y="439394"/>
                        <a:pt x="15905" y="438992"/>
                        <a:pt x="16467" y="437948"/>
                      </a:cubicBezTo>
                      <a:moveTo>
                        <a:pt x="20082" y="428550"/>
                      </a:moveTo>
                      <a:cubicBezTo>
                        <a:pt x="20002" y="428550"/>
                        <a:pt x="19921" y="428630"/>
                        <a:pt x="19841" y="428630"/>
                      </a:cubicBezTo>
                      <a:cubicBezTo>
                        <a:pt x="26508" y="423489"/>
                        <a:pt x="26508" y="423489"/>
                        <a:pt x="27552" y="422766"/>
                      </a:cubicBezTo>
                      <a:lnTo>
                        <a:pt x="27954" y="422605"/>
                      </a:lnTo>
                      <a:cubicBezTo>
                        <a:pt x="24741" y="425578"/>
                        <a:pt x="21689" y="428229"/>
                        <a:pt x="18877" y="430237"/>
                      </a:cubicBezTo>
                      <a:cubicBezTo>
                        <a:pt x="20162" y="429112"/>
                        <a:pt x="20805" y="428469"/>
                        <a:pt x="20805" y="428229"/>
                      </a:cubicBezTo>
                      <a:cubicBezTo>
                        <a:pt x="20805" y="428309"/>
                        <a:pt x="20725" y="428309"/>
                        <a:pt x="20082" y="428550"/>
                      </a:cubicBezTo>
                      <a:moveTo>
                        <a:pt x="53579" y="401399"/>
                      </a:moveTo>
                      <a:cubicBezTo>
                        <a:pt x="53900" y="400837"/>
                        <a:pt x="54703" y="399792"/>
                        <a:pt x="56631" y="398266"/>
                      </a:cubicBezTo>
                      <a:cubicBezTo>
                        <a:pt x="56631" y="398266"/>
                        <a:pt x="56551" y="398346"/>
                        <a:pt x="56551" y="398346"/>
                      </a:cubicBezTo>
                      <a:cubicBezTo>
                        <a:pt x="55507" y="399551"/>
                        <a:pt x="54221" y="400917"/>
                        <a:pt x="53418" y="401720"/>
                      </a:cubicBezTo>
                      <a:cubicBezTo>
                        <a:pt x="53418" y="401640"/>
                        <a:pt x="53498" y="401560"/>
                        <a:pt x="53579" y="401399"/>
                      </a:cubicBezTo>
                      <a:moveTo>
                        <a:pt x="53739" y="399310"/>
                      </a:moveTo>
                      <a:lnTo>
                        <a:pt x="53257" y="399712"/>
                      </a:lnTo>
                      <a:cubicBezTo>
                        <a:pt x="54864" y="398427"/>
                        <a:pt x="56872" y="396740"/>
                        <a:pt x="56069" y="396660"/>
                      </a:cubicBezTo>
                      <a:cubicBezTo>
                        <a:pt x="55908" y="396660"/>
                        <a:pt x="55667" y="396740"/>
                        <a:pt x="55507" y="396740"/>
                      </a:cubicBezTo>
                      <a:cubicBezTo>
                        <a:pt x="57434" y="395696"/>
                        <a:pt x="59041" y="394330"/>
                        <a:pt x="60166" y="393286"/>
                      </a:cubicBezTo>
                      <a:cubicBezTo>
                        <a:pt x="60085" y="393366"/>
                        <a:pt x="60005" y="393446"/>
                        <a:pt x="60005" y="393527"/>
                      </a:cubicBezTo>
                      <a:cubicBezTo>
                        <a:pt x="59362" y="394330"/>
                        <a:pt x="57194" y="396820"/>
                        <a:pt x="53739" y="399310"/>
                      </a:cubicBezTo>
                      <a:moveTo>
                        <a:pt x="20002" y="420356"/>
                      </a:moveTo>
                      <a:cubicBezTo>
                        <a:pt x="19921" y="420276"/>
                        <a:pt x="19921" y="420196"/>
                        <a:pt x="19841" y="420196"/>
                      </a:cubicBezTo>
                      <a:cubicBezTo>
                        <a:pt x="20484" y="419714"/>
                        <a:pt x="21046" y="419312"/>
                        <a:pt x="21689" y="418830"/>
                      </a:cubicBezTo>
                      <a:cubicBezTo>
                        <a:pt x="26026" y="415697"/>
                        <a:pt x="29079" y="414010"/>
                        <a:pt x="31810" y="413207"/>
                      </a:cubicBezTo>
                      <a:cubicBezTo>
                        <a:pt x="23375" y="421240"/>
                        <a:pt x="20805" y="421160"/>
                        <a:pt x="20002" y="420356"/>
                      </a:cubicBezTo>
                      <a:moveTo>
                        <a:pt x="55507" y="393928"/>
                      </a:moveTo>
                      <a:cubicBezTo>
                        <a:pt x="55426" y="393928"/>
                        <a:pt x="55346" y="394009"/>
                        <a:pt x="55346" y="394009"/>
                      </a:cubicBezTo>
                      <a:cubicBezTo>
                        <a:pt x="55346" y="394009"/>
                        <a:pt x="58398" y="391278"/>
                        <a:pt x="59041" y="391037"/>
                      </a:cubicBezTo>
                      <a:cubicBezTo>
                        <a:pt x="60246" y="390555"/>
                        <a:pt x="61451" y="389912"/>
                        <a:pt x="63218" y="388868"/>
                      </a:cubicBezTo>
                      <a:cubicBezTo>
                        <a:pt x="60648" y="390796"/>
                        <a:pt x="57434" y="392884"/>
                        <a:pt x="55507" y="393928"/>
                      </a:cubicBezTo>
                      <a:moveTo>
                        <a:pt x="0" y="434092"/>
                      </a:moveTo>
                      <a:cubicBezTo>
                        <a:pt x="0" y="434092"/>
                        <a:pt x="0" y="434092"/>
                        <a:pt x="0" y="434092"/>
                      </a:cubicBezTo>
                      <a:cubicBezTo>
                        <a:pt x="482" y="433450"/>
                        <a:pt x="1044" y="432646"/>
                        <a:pt x="1687" y="431924"/>
                      </a:cubicBezTo>
                      <a:lnTo>
                        <a:pt x="1687" y="431924"/>
                      </a:lnTo>
                      <a:cubicBezTo>
                        <a:pt x="1767" y="432004"/>
                        <a:pt x="1767" y="432004"/>
                        <a:pt x="1767" y="432084"/>
                      </a:cubicBezTo>
                      <a:cubicBezTo>
                        <a:pt x="1205" y="432727"/>
                        <a:pt x="643" y="433450"/>
                        <a:pt x="0" y="434092"/>
                      </a:cubicBezTo>
                      <a:moveTo>
                        <a:pt x="62736" y="387101"/>
                      </a:moveTo>
                      <a:cubicBezTo>
                        <a:pt x="62736" y="387101"/>
                        <a:pt x="62656" y="387181"/>
                        <a:pt x="62575" y="387181"/>
                      </a:cubicBezTo>
                      <a:cubicBezTo>
                        <a:pt x="63057" y="386619"/>
                        <a:pt x="63700" y="385976"/>
                        <a:pt x="64102" y="385414"/>
                      </a:cubicBezTo>
                      <a:lnTo>
                        <a:pt x="64262" y="385333"/>
                      </a:lnTo>
                      <a:cubicBezTo>
                        <a:pt x="64905" y="385012"/>
                        <a:pt x="65307" y="384932"/>
                        <a:pt x="65869" y="384771"/>
                      </a:cubicBezTo>
                      <a:cubicBezTo>
                        <a:pt x="65869" y="384851"/>
                        <a:pt x="65869" y="384932"/>
                        <a:pt x="65869" y="385012"/>
                      </a:cubicBezTo>
                      <a:cubicBezTo>
                        <a:pt x="64744" y="385655"/>
                        <a:pt x="63539" y="386458"/>
                        <a:pt x="62736" y="387101"/>
                      </a:cubicBezTo>
                      <a:moveTo>
                        <a:pt x="107880" y="358102"/>
                      </a:moveTo>
                      <a:lnTo>
                        <a:pt x="107479" y="358102"/>
                      </a:lnTo>
                      <a:cubicBezTo>
                        <a:pt x="108844" y="357138"/>
                        <a:pt x="109407" y="356817"/>
                        <a:pt x="110049" y="356415"/>
                      </a:cubicBezTo>
                      <a:cubicBezTo>
                        <a:pt x="110933" y="356013"/>
                        <a:pt x="111335" y="355853"/>
                        <a:pt x="111817" y="355853"/>
                      </a:cubicBezTo>
                      <a:cubicBezTo>
                        <a:pt x="111415" y="356174"/>
                        <a:pt x="110933" y="356576"/>
                        <a:pt x="110612" y="356897"/>
                      </a:cubicBezTo>
                      <a:lnTo>
                        <a:pt x="112138" y="356496"/>
                      </a:lnTo>
                      <a:lnTo>
                        <a:pt x="111736" y="356897"/>
                      </a:lnTo>
                      <a:cubicBezTo>
                        <a:pt x="109246" y="357620"/>
                        <a:pt x="108523" y="359146"/>
                        <a:pt x="108121" y="359869"/>
                      </a:cubicBezTo>
                      <a:cubicBezTo>
                        <a:pt x="106917" y="360191"/>
                        <a:pt x="106836" y="359709"/>
                        <a:pt x="107880" y="358102"/>
                      </a:cubicBezTo>
                      <a:moveTo>
                        <a:pt x="24661" y="411842"/>
                      </a:moveTo>
                      <a:cubicBezTo>
                        <a:pt x="24580" y="411842"/>
                        <a:pt x="24580" y="411842"/>
                        <a:pt x="24500" y="411842"/>
                      </a:cubicBezTo>
                      <a:cubicBezTo>
                        <a:pt x="24580" y="411761"/>
                        <a:pt x="24741" y="411681"/>
                        <a:pt x="24902" y="411601"/>
                      </a:cubicBezTo>
                      <a:cubicBezTo>
                        <a:pt x="25705" y="411199"/>
                        <a:pt x="26508" y="410797"/>
                        <a:pt x="27472" y="410556"/>
                      </a:cubicBezTo>
                      <a:cubicBezTo>
                        <a:pt x="27713" y="410476"/>
                        <a:pt x="27954" y="410476"/>
                        <a:pt x="28195" y="410476"/>
                      </a:cubicBezTo>
                      <a:cubicBezTo>
                        <a:pt x="28275" y="410476"/>
                        <a:pt x="28356" y="410476"/>
                        <a:pt x="28356" y="410476"/>
                      </a:cubicBezTo>
                      <a:cubicBezTo>
                        <a:pt x="28516" y="410476"/>
                        <a:pt x="28677" y="410637"/>
                        <a:pt x="28838" y="410637"/>
                      </a:cubicBezTo>
                      <a:cubicBezTo>
                        <a:pt x="28918" y="410637"/>
                        <a:pt x="28998" y="410637"/>
                        <a:pt x="29079" y="410637"/>
                      </a:cubicBezTo>
                      <a:cubicBezTo>
                        <a:pt x="29079" y="410637"/>
                        <a:pt x="29079" y="410717"/>
                        <a:pt x="29159" y="410717"/>
                      </a:cubicBezTo>
                      <a:cubicBezTo>
                        <a:pt x="29079" y="410958"/>
                        <a:pt x="28918" y="411199"/>
                        <a:pt x="28275" y="411842"/>
                      </a:cubicBezTo>
                      <a:cubicBezTo>
                        <a:pt x="27392" y="411601"/>
                        <a:pt x="26187" y="411520"/>
                        <a:pt x="24661" y="411842"/>
                      </a:cubicBezTo>
                      <a:moveTo>
                        <a:pt x="99928" y="358825"/>
                      </a:moveTo>
                      <a:cubicBezTo>
                        <a:pt x="100249" y="358343"/>
                        <a:pt x="101213" y="357219"/>
                        <a:pt x="102659" y="355853"/>
                      </a:cubicBezTo>
                      <a:cubicBezTo>
                        <a:pt x="102659" y="355853"/>
                        <a:pt x="102659" y="355933"/>
                        <a:pt x="102659" y="355933"/>
                      </a:cubicBezTo>
                      <a:cubicBezTo>
                        <a:pt x="102418" y="356817"/>
                        <a:pt x="101454" y="357781"/>
                        <a:pt x="99928" y="358825"/>
                      </a:cubicBezTo>
                      <a:cubicBezTo>
                        <a:pt x="99928" y="358825"/>
                        <a:pt x="99928" y="358825"/>
                        <a:pt x="99928" y="358825"/>
                      </a:cubicBezTo>
                      <a:moveTo>
                        <a:pt x="106756" y="352720"/>
                      </a:moveTo>
                      <a:cubicBezTo>
                        <a:pt x="106756" y="352720"/>
                        <a:pt x="106756" y="352720"/>
                        <a:pt x="106756" y="352720"/>
                      </a:cubicBezTo>
                      <a:cubicBezTo>
                        <a:pt x="107800" y="351917"/>
                        <a:pt x="108443" y="351596"/>
                        <a:pt x="108925" y="351274"/>
                      </a:cubicBezTo>
                      <a:cubicBezTo>
                        <a:pt x="109246" y="351114"/>
                        <a:pt x="109487" y="350953"/>
                        <a:pt x="109808" y="350873"/>
                      </a:cubicBezTo>
                      <a:cubicBezTo>
                        <a:pt x="108202" y="352318"/>
                        <a:pt x="107318" y="352800"/>
                        <a:pt x="106756" y="352720"/>
                      </a:cubicBezTo>
                      <a:moveTo>
                        <a:pt x="116395" y="345972"/>
                      </a:moveTo>
                      <a:lnTo>
                        <a:pt x="116154" y="345892"/>
                      </a:lnTo>
                      <a:lnTo>
                        <a:pt x="116315" y="345892"/>
                      </a:lnTo>
                      <a:cubicBezTo>
                        <a:pt x="116877" y="345812"/>
                        <a:pt x="117520" y="345732"/>
                        <a:pt x="118082" y="345651"/>
                      </a:cubicBezTo>
                      <a:cubicBezTo>
                        <a:pt x="118243" y="345651"/>
                        <a:pt x="118403" y="345491"/>
                        <a:pt x="118564" y="345651"/>
                      </a:cubicBezTo>
                      <a:cubicBezTo>
                        <a:pt x="118323" y="345812"/>
                        <a:pt x="116717" y="345972"/>
                        <a:pt x="116395" y="345972"/>
                      </a:cubicBezTo>
                      <a:moveTo>
                        <a:pt x="85148" y="363323"/>
                      </a:moveTo>
                      <a:lnTo>
                        <a:pt x="84746" y="363404"/>
                      </a:lnTo>
                      <a:cubicBezTo>
                        <a:pt x="85308" y="363002"/>
                        <a:pt x="85790" y="362520"/>
                        <a:pt x="86433" y="362118"/>
                      </a:cubicBezTo>
                      <a:cubicBezTo>
                        <a:pt x="86433" y="362118"/>
                        <a:pt x="86433" y="362118"/>
                        <a:pt x="86433" y="362118"/>
                      </a:cubicBezTo>
                      <a:cubicBezTo>
                        <a:pt x="86433" y="362279"/>
                        <a:pt x="85148" y="363323"/>
                        <a:pt x="85148" y="363323"/>
                      </a:cubicBezTo>
                      <a:moveTo>
                        <a:pt x="120251" y="341233"/>
                      </a:moveTo>
                      <a:cubicBezTo>
                        <a:pt x="120572" y="340671"/>
                        <a:pt x="121617" y="339466"/>
                        <a:pt x="124428" y="337619"/>
                      </a:cubicBezTo>
                      <a:cubicBezTo>
                        <a:pt x="124348" y="337619"/>
                        <a:pt x="124348" y="337699"/>
                        <a:pt x="124267" y="337779"/>
                      </a:cubicBezTo>
                      <a:cubicBezTo>
                        <a:pt x="122821" y="339064"/>
                        <a:pt x="121376" y="340350"/>
                        <a:pt x="120010" y="341635"/>
                      </a:cubicBezTo>
                      <a:cubicBezTo>
                        <a:pt x="120090" y="341474"/>
                        <a:pt x="120171" y="341314"/>
                        <a:pt x="120251" y="341233"/>
                      </a:cubicBezTo>
                      <a:moveTo>
                        <a:pt x="1327339" y="105551"/>
                      </a:moveTo>
                      <a:cubicBezTo>
                        <a:pt x="1327179" y="105551"/>
                        <a:pt x="1327018" y="105471"/>
                        <a:pt x="1326938" y="105471"/>
                      </a:cubicBezTo>
                      <a:cubicBezTo>
                        <a:pt x="1327018" y="105471"/>
                        <a:pt x="1327179" y="105471"/>
                        <a:pt x="1327339" y="105551"/>
                      </a:cubicBezTo>
                      <a:cubicBezTo>
                        <a:pt x="1328303" y="105631"/>
                        <a:pt x="1331436" y="106113"/>
                        <a:pt x="1337541" y="106595"/>
                      </a:cubicBezTo>
                      <a:cubicBezTo>
                        <a:pt x="1337702" y="106595"/>
                        <a:pt x="1338023" y="106595"/>
                        <a:pt x="1338184" y="106676"/>
                      </a:cubicBezTo>
                      <a:cubicBezTo>
                        <a:pt x="1338184" y="106676"/>
                        <a:pt x="1340513" y="107880"/>
                        <a:pt x="1341959" y="109487"/>
                      </a:cubicBezTo>
                      <a:cubicBezTo>
                        <a:pt x="1340031" y="108925"/>
                        <a:pt x="1334328" y="107238"/>
                        <a:pt x="1327339" y="105551"/>
                      </a:cubicBezTo>
                      <a:moveTo>
                        <a:pt x="2329" y="420838"/>
                      </a:moveTo>
                      <a:cubicBezTo>
                        <a:pt x="2329" y="420838"/>
                        <a:pt x="2249" y="420919"/>
                        <a:pt x="2249" y="420919"/>
                      </a:cubicBezTo>
                      <a:cubicBezTo>
                        <a:pt x="3454" y="419392"/>
                        <a:pt x="4739" y="417947"/>
                        <a:pt x="6025" y="416420"/>
                      </a:cubicBezTo>
                      <a:cubicBezTo>
                        <a:pt x="5864" y="416661"/>
                        <a:pt x="5623" y="416983"/>
                        <a:pt x="5462" y="417224"/>
                      </a:cubicBezTo>
                      <a:cubicBezTo>
                        <a:pt x="4418" y="418509"/>
                        <a:pt x="3374" y="419714"/>
                        <a:pt x="2329" y="420838"/>
                      </a:cubicBezTo>
                      <a:moveTo>
                        <a:pt x="130453" y="325328"/>
                      </a:moveTo>
                      <a:lnTo>
                        <a:pt x="130131" y="325409"/>
                      </a:lnTo>
                      <a:lnTo>
                        <a:pt x="130935" y="324686"/>
                      </a:lnTo>
                      <a:lnTo>
                        <a:pt x="131979" y="324364"/>
                      </a:lnTo>
                      <a:cubicBezTo>
                        <a:pt x="131497" y="325007"/>
                        <a:pt x="130935" y="325569"/>
                        <a:pt x="129971" y="326373"/>
                      </a:cubicBezTo>
                      <a:cubicBezTo>
                        <a:pt x="130453" y="325890"/>
                        <a:pt x="130935" y="325248"/>
                        <a:pt x="130453" y="325328"/>
                      </a:cubicBezTo>
                      <a:moveTo>
                        <a:pt x="1293200" y="94305"/>
                      </a:moveTo>
                      <a:cubicBezTo>
                        <a:pt x="1292959" y="94144"/>
                        <a:pt x="1292638" y="93903"/>
                        <a:pt x="1292397" y="93743"/>
                      </a:cubicBezTo>
                      <a:cubicBezTo>
                        <a:pt x="1292879" y="92859"/>
                        <a:pt x="1291995" y="91493"/>
                        <a:pt x="1289826" y="89726"/>
                      </a:cubicBezTo>
                      <a:cubicBezTo>
                        <a:pt x="1291433" y="89887"/>
                        <a:pt x="1292718" y="90048"/>
                        <a:pt x="1294566" y="90530"/>
                      </a:cubicBezTo>
                      <a:cubicBezTo>
                        <a:pt x="1295289" y="92698"/>
                        <a:pt x="1296654" y="96795"/>
                        <a:pt x="1298984" y="92377"/>
                      </a:cubicBezTo>
                      <a:cubicBezTo>
                        <a:pt x="1299064" y="92216"/>
                        <a:pt x="1299144" y="91975"/>
                        <a:pt x="1299225" y="91815"/>
                      </a:cubicBezTo>
                      <a:cubicBezTo>
                        <a:pt x="1303161" y="93582"/>
                        <a:pt x="1304044" y="93743"/>
                        <a:pt x="1304366" y="93421"/>
                      </a:cubicBezTo>
                      <a:cubicBezTo>
                        <a:pt x="1304285" y="93020"/>
                        <a:pt x="1304044" y="92618"/>
                        <a:pt x="1302116" y="90851"/>
                      </a:cubicBezTo>
                      <a:cubicBezTo>
                        <a:pt x="1304928" y="92377"/>
                        <a:pt x="1307257" y="93743"/>
                        <a:pt x="1310069" y="95430"/>
                      </a:cubicBezTo>
                      <a:cubicBezTo>
                        <a:pt x="1308623" y="91493"/>
                        <a:pt x="1308302" y="90530"/>
                        <a:pt x="1314005" y="91172"/>
                      </a:cubicBezTo>
                      <a:cubicBezTo>
                        <a:pt x="1315933" y="91413"/>
                        <a:pt x="1317298" y="91734"/>
                        <a:pt x="1320110" y="92377"/>
                      </a:cubicBezTo>
                      <a:cubicBezTo>
                        <a:pt x="1314407" y="92056"/>
                        <a:pt x="1313202" y="92136"/>
                        <a:pt x="1313041" y="92538"/>
                      </a:cubicBezTo>
                      <a:cubicBezTo>
                        <a:pt x="1313443" y="93020"/>
                        <a:pt x="1314889" y="93502"/>
                        <a:pt x="1318102" y="94385"/>
                      </a:cubicBezTo>
                      <a:cubicBezTo>
                        <a:pt x="1317780" y="94546"/>
                        <a:pt x="1316897" y="94948"/>
                        <a:pt x="1313844" y="94626"/>
                      </a:cubicBezTo>
                      <a:cubicBezTo>
                        <a:pt x="1314728" y="95108"/>
                        <a:pt x="1315531" y="95671"/>
                        <a:pt x="1316415" y="96153"/>
                      </a:cubicBezTo>
                      <a:cubicBezTo>
                        <a:pt x="1314407" y="96233"/>
                        <a:pt x="1309828" y="96474"/>
                        <a:pt x="1310872" y="97759"/>
                      </a:cubicBezTo>
                      <a:cubicBezTo>
                        <a:pt x="1311676" y="98723"/>
                        <a:pt x="1316013" y="99848"/>
                        <a:pt x="1318102" y="100410"/>
                      </a:cubicBezTo>
                      <a:cubicBezTo>
                        <a:pt x="1318022" y="100571"/>
                        <a:pt x="1317861" y="100731"/>
                        <a:pt x="1317780" y="100892"/>
                      </a:cubicBezTo>
                      <a:cubicBezTo>
                        <a:pt x="1316977" y="102257"/>
                        <a:pt x="1317539" y="102980"/>
                        <a:pt x="1320110" y="104025"/>
                      </a:cubicBezTo>
                      <a:cubicBezTo>
                        <a:pt x="1316656" y="103382"/>
                        <a:pt x="1314728" y="103061"/>
                        <a:pt x="1312077" y="102739"/>
                      </a:cubicBezTo>
                      <a:cubicBezTo>
                        <a:pt x="1313121" y="102418"/>
                        <a:pt x="1313282" y="102338"/>
                        <a:pt x="1313443" y="102097"/>
                      </a:cubicBezTo>
                      <a:cubicBezTo>
                        <a:pt x="1313121" y="101856"/>
                        <a:pt x="1312961" y="101695"/>
                        <a:pt x="1310069" y="101695"/>
                      </a:cubicBezTo>
                      <a:cubicBezTo>
                        <a:pt x="1306695" y="96474"/>
                        <a:pt x="1303402" y="92136"/>
                        <a:pt x="1302679" y="95751"/>
                      </a:cubicBezTo>
                      <a:cubicBezTo>
                        <a:pt x="1302679" y="95912"/>
                        <a:pt x="1302598" y="96072"/>
                        <a:pt x="1302598" y="96233"/>
                      </a:cubicBezTo>
                      <a:cubicBezTo>
                        <a:pt x="1300992" y="96313"/>
                        <a:pt x="1297457" y="96876"/>
                        <a:pt x="1293200" y="94305"/>
                      </a:cubicBezTo>
                      <a:moveTo>
                        <a:pt x="441804" y="178569"/>
                      </a:moveTo>
                      <a:cubicBezTo>
                        <a:pt x="441884" y="178328"/>
                        <a:pt x="442687" y="177445"/>
                        <a:pt x="442687" y="177445"/>
                      </a:cubicBezTo>
                      <a:cubicBezTo>
                        <a:pt x="442687" y="177525"/>
                        <a:pt x="442607" y="177525"/>
                        <a:pt x="442607" y="177605"/>
                      </a:cubicBezTo>
                      <a:cubicBezTo>
                        <a:pt x="442928" y="177525"/>
                        <a:pt x="443250" y="177445"/>
                        <a:pt x="443571" y="177364"/>
                      </a:cubicBezTo>
                      <a:cubicBezTo>
                        <a:pt x="442366" y="178408"/>
                        <a:pt x="441804" y="178810"/>
                        <a:pt x="441804" y="178569"/>
                      </a:cubicBezTo>
                      <a:cubicBezTo>
                        <a:pt x="441804" y="178649"/>
                        <a:pt x="441804" y="178569"/>
                        <a:pt x="441804" y="178569"/>
                      </a:cubicBezTo>
                      <a:moveTo>
                        <a:pt x="177926" y="278015"/>
                      </a:moveTo>
                      <a:cubicBezTo>
                        <a:pt x="177926" y="278015"/>
                        <a:pt x="177926" y="277935"/>
                        <a:pt x="177926" y="277935"/>
                      </a:cubicBezTo>
                      <a:cubicBezTo>
                        <a:pt x="177926" y="277935"/>
                        <a:pt x="178007" y="277935"/>
                        <a:pt x="178007" y="277854"/>
                      </a:cubicBezTo>
                      <a:cubicBezTo>
                        <a:pt x="179292" y="277212"/>
                        <a:pt x="180577" y="276569"/>
                        <a:pt x="181863" y="275926"/>
                      </a:cubicBezTo>
                      <a:cubicBezTo>
                        <a:pt x="181059" y="276730"/>
                        <a:pt x="178569" y="279220"/>
                        <a:pt x="177926" y="278015"/>
                      </a:cubicBezTo>
                      <a:moveTo>
                        <a:pt x="146518" y="287092"/>
                      </a:moveTo>
                      <a:cubicBezTo>
                        <a:pt x="146438" y="287092"/>
                        <a:pt x="146438" y="287092"/>
                        <a:pt x="146518" y="287092"/>
                      </a:cubicBezTo>
                      <a:cubicBezTo>
                        <a:pt x="147000" y="286610"/>
                        <a:pt x="148607" y="285004"/>
                        <a:pt x="150936" y="283558"/>
                      </a:cubicBezTo>
                      <a:cubicBezTo>
                        <a:pt x="151177" y="283397"/>
                        <a:pt x="151338" y="283317"/>
                        <a:pt x="151579" y="283156"/>
                      </a:cubicBezTo>
                      <a:cubicBezTo>
                        <a:pt x="149490" y="285164"/>
                        <a:pt x="147643" y="286369"/>
                        <a:pt x="146518" y="287092"/>
                      </a:cubicBezTo>
                      <a:moveTo>
                        <a:pt x="1400438" y="75508"/>
                      </a:moveTo>
                      <a:cubicBezTo>
                        <a:pt x="1400277" y="75428"/>
                        <a:pt x="1400036" y="75348"/>
                        <a:pt x="1399876" y="75348"/>
                      </a:cubicBezTo>
                      <a:cubicBezTo>
                        <a:pt x="1401482" y="75910"/>
                        <a:pt x="1403089" y="76392"/>
                        <a:pt x="1404695" y="76954"/>
                      </a:cubicBezTo>
                      <a:cubicBezTo>
                        <a:pt x="1410800" y="79043"/>
                        <a:pt x="1416102" y="80971"/>
                        <a:pt x="1422367" y="83461"/>
                      </a:cubicBezTo>
                      <a:cubicBezTo>
                        <a:pt x="1422769" y="83621"/>
                        <a:pt x="1423171" y="83862"/>
                        <a:pt x="1423572" y="84023"/>
                      </a:cubicBezTo>
                      <a:cubicBezTo>
                        <a:pt x="1415941" y="81211"/>
                        <a:pt x="1408230" y="78239"/>
                        <a:pt x="1400438" y="75508"/>
                      </a:cubicBezTo>
                      <a:moveTo>
                        <a:pt x="1395377" y="72777"/>
                      </a:moveTo>
                      <a:cubicBezTo>
                        <a:pt x="1395136" y="72697"/>
                        <a:pt x="1394735" y="72536"/>
                        <a:pt x="1394413" y="72456"/>
                      </a:cubicBezTo>
                      <a:cubicBezTo>
                        <a:pt x="1394654" y="72536"/>
                        <a:pt x="1394976" y="72697"/>
                        <a:pt x="1395217" y="72777"/>
                      </a:cubicBezTo>
                      <a:cubicBezTo>
                        <a:pt x="1400358" y="74625"/>
                        <a:pt x="1405499" y="76553"/>
                        <a:pt x="1410640" y="78400"/>
                      </a:cubicBezTo>
                      <a:cubicBezTo>
                        <a:pt x="1410318" y="78239"/>
                        <a:pt x="1409113" y="77998"/>
                        <a:pt x="1395377" y="72777"/>
                      </a:cubicBezTo>
                      <a:moveTo>
                        <a:pt x="639170" y="78802"/>
                      </a:moveTo>
                      <a:lnTo>
                        <a:pt x="638688" y="78721"/>
                      </a:lnTo>
                      <a:cubicBezTo>
                        <a:pt x="641017" y="77677"/>
                        <a:pt x="643588" y="76713"/>
                        <a:pt x="646560" y="75749"/>
                      </a:cubicBezTo>
                      <a:cubicBezTo>
                        <a:pt x="646560" y="75749"/>
                        <a:pt x="646480" y="75830"/>
                        <a:pt x="646480" y="75830"/>
                      </a:cubicBezTo>
                      <a:cubicBezTo>
                        <a:pt x="645114" y="77516"/>
                        <a:pt x="639250" y="78802"/>
                        <a:pt x="639170" y="78802"/>
                      </a:cubicBezTo>
                      <a:moveTo>
                        <a:pt x="642383" y="76231"/>
                      </a:moveTo>
                      <a:lnTo>
                        <a:pt x="639571" y="76633"/>
                      </a:lnTo>
                      <a:cubicBezTo>
                        <a:pt x="640696" y="75830"/>
                        <a:pt x="642463" y="75106"/>
                        <a:pt x="644391" y="74544"/>
                      </a:cubicBezTo>
                      <a:cubicBezTo>
                        <a:pt x="644311" y="74625"/>
                        <a:pt x="644311" y="74705"/>
                        <a:pt x="644230" y="74785"/>
                      </a:cubicBezTo>
                      <a:lnTo>
                        <a:pt x="644632" y="75267"/>
                      </a:lnTo>
                      <a:cubicBezTo>
                        <a:pt x="643186" y="76312"/>
                        <a:pt x="642302" y="77035"/>
                        <a:pt x="642383" y="76392"/>
                      </a:cubicBezTo>
                      <a:cubicBezTo>
                        <a:pt x="642383" y="76472"/>
                        <a:pt x="642383" y="76312"/>
                        <a:pt x="642383" y="76231"/>
                      </a:cubicBezTo>
                      <a:moveTo>
                        <a:pt x="1382926" y="67395"/>
                      </a:moveTo>
                      <a:cubicBezTo>
                        <a:pt x="1382685" y="67315"/>
                        <a:pt x="1382444" y="67234"/>
                        <a:pt x="1382284" y="67154"/>
                      </a:cubicBezTo>
                      <a:cubicBezTo>
                        <a:pt x="1382525" y="67074"/>
                        <a:pt x="1383087" y="67154"/>
                        <a:pt x="1387505" y="68761"/>
                      </a:cubicBezTo>
                      <a:cubicBezTo>
                        <a:pt x="1394574" y="71411"/>
                        <a:pt x="1402767" y="74705"/>
                        <a:pt x="1402848" y="74785"/>
                      </a:cubicBezTo>
                      <a:cubicBezTo>
                        <a:pt x="1393289" y="71010"/>
                        <a:pt x="1386943" y="68680"/>
                        <a:pt x="1382926" y="67395"/>
                      </a:cubicBezTo>
                      <a:moveTo>
                        <a:pt x="178489" y="248294"/>
                      </a:moveTo>
                      <a:cubicBezTo>
                        <a:pt x="178408" y="248294"/>
                        <a:pt x="178408" y="248374"/>
                        <a:pt x="178328" y="248374"/>
                      </a:cubicBezTo>
                      <a:cubicBezTo>
                        <a:pt x="180577" y="246607"/>
                        <a:pt x="183549" y="244277"/>
                        <a:pt x="185799" y="242510"/>
                      </a:cubicBezTo>
                      <a:lnTo>
                        <a:pt x="185959" y="242349"/>
                      </a:lnTo>
                      <a:cubicBezTo>
                        <a:pt x="186120" y="242269"/>
                        <a:pt x="186200" y="242189"/>
                        <a:pt x="186361" y="242028"/>
                      </a:cubicBezTo>
                      <a:cubicBezTo>
                        <a:pt x="183790" y="244197"/>
                        <a:pt x="181220" y="246286"/>
                        <a:pt x="178489" y="248294"/>
                      </a:cubicBezTo>
                      <a:moveTo>
                        <a:pt x="801593" y="24018"/>
                      </a:moveTo>
                      <a:lnTo>
                        <a:pt x="800147" y="23456"/>
                      </a:lnTo>
                      <a:lnTo>
                        <a:pt x="800308" y="23456"/>
                      </a:lnTo>
                      <a:cubicBezTo>
                        <a:pt x="801111" y="23456"/>
                        <a:pt x="802075" y="23536"/>
                        <a:pt x="801754" y="23857"/>
                      </a:cubicBezTo>
                      <a:cubicBezTo>
                        <a:pt x="801673" y="23938"/>
                        <a:pt x="801673" y="24018"/>
                        <a:pt x="801593" y="24018"/>
                      </a:cubicBezTo>
                      <a:moveTo>
                        <a:pt x="842319" y="14860"/>
                      </a:moveTo>
                      <a:cubicBezTo>
                        <a:pt x="842239" y="14860"/>
                        <a:pt x="842159" y="14860"/>
                        <a:pt x="841998" y="14860"/>
                      </a:cubicBezTo>
                      <a:cubicBezTo>
                        <a:pt x="842078" y="14941"/>
                        <a:pt x="842159" y="14941"/>
                        <a:pt x="842319" y="14860"/>
                      </a:cubicBezTo>
                      <a:cubicBezTo>
                        <a:pt x="843765" y="14700"/>
                        <a:pt x="845372" y="14620"/>
                        <a:pt x="846898" y="14459"/>
                      </a:cubicBezTo>
                      <a:cubicBezTo>
                        <a:pt x="845372" y="14620"/>
                        <a:pt x="843845" y="14780"/>
                        <a:pt x="842319" y="14860"/>
                      </a:cubicBezTo>
                      <a:moveTo>
                        <a:pt x="1195762" y="11246"/>
                      </a:moveTo>
                      <a:lnTo>
                        <a:pt x="1176002" y="7069"/>
                      </a:lnTo>
                      <a:lnTo>
                        <a:pt x="1186444" y="9157"/>
                      </a:lnTo>
                      <a:lnTo>
                        <a:pt x="1186605" y="9157"/>
                      </a:lnTo>
                      <a:cubicBezTo>
                        <a:pt x="1189657" y="9880"/>
                        <a:pt x="1192710" y="10523"/>
                        <a:pt x="1195762" y="11246"/>
                      </a:cubicBezTo>
                      <a:moveTo>
                        <a:pt x="1140015" y="643"/>
                      </a:moveTo>
                      <a:cubicBezTo>
                        <a:pt x="1139051" y="482"/>
                        <a:pt x="1137685" y="482"/>
                        <a:pt x="1136882" y="0"/>
                      </a:cubicBezTo>
                      <a:lnTo>
                        <a:pt x="1175841" y="6988"/>
                      </a:lnTo>
                      <a:lnTo>
                        <a:pt x="1176002" y="6988"/>
                      </a:lnTo>
                      <a:cubicBezTo>
                        <a:pt x="1167969" y="5462"/>
                        <a:pt x="1157446" y="3534"/>
                        <a:pt x="1140015" y="643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8" name="Freeform: Shape 417">
                  <a:extLst>
                    <a:ext uri="{FF2B5EF4-FFF2-40B4-BE49-F238E27FC236}">
                      <a16:creationId xmlns:a16="http://schemas.microsoft.com/office/drawing/2014/main" id="{B91DF494-68F2-CF15-A6C5-AA4517054F58}"/>
                    </a:ext>
                  </a:extLst>
                </p:cNvPr>
                <p:cNvSpPr/>
                <p:nvPr/>
              </p:nvSpPr>
              <p:spPr>
                <a:xfrm>
                  <a:off x="-4818267" y="1910979"/>
                  <a:ext cx="1787136" cy="793560"/>
                </a:xfrm>
                <a:custGeom>
                  <a:avLst/>
                  <a:gdLst>
                    <a:gd name="connsiteX0" fmla="*/ 552737 w 1787136"/>
                    <a:gd name="connsiteY0" fmla="*/ 21046 h 793560"/>
                    <a:gd name="connsiteX1" fmla="*/ 551211 w 1787136"/>
                    <a:gd name="connsiteY1" fmla="*/ 20965 h 793560"/>
                    <a:gd name="connsiteX2" fmla="*/ 564866 w 1787136"/>
                    <a:gd name="connsiteY2" fmla="*/ 16307 h 793560"/>
                    <a:gd name="connsiteX3" fmla="*/ 589286 w 1787136"/>
                    <a:gd name="connsiteY3" fmla="*/ 17029 h 793560"/>
                    <a:gd name="connsiteX4" fmla="*/ 552737 w 1787136"/>
                    <a:gd name="connsiteY4" fmla="*/ 21046 h 793560"/>
                    <a:gd name="connsiteX5" fmla="*/ 572417 w 1787136"/>
                    <a:gd name="connsiteY5" fmla="*/ 13094 h 793560"/>
                    <a:gd name="connsiteX6" fmla="*/ 572417 w 1787136"/>
                    <a:gd name="connsiteY6" fmla="*/ 13094 h 793560"/>
                    <a:gd name="connsiteX7" fmla="*/ 578281 w 1787136"/>
                    <a:gd name="connsiteY7" fmla="*/ 14620 h 793560"/>
                    <a:gd name="connsiteX8" fmla="*/ 572417 w 1787136"/>
                    <a:gd name="connsiteY8" fmla="*/ 13094 h 793560"/>
                    <a:gd name="connsiteX9" fmla="*/ 904573 w 1787136"/>
                    <a:gd name="connsiteY9" fmla="*/ 17913 h 793560"/>
                    <a:gd name="connsiteX10" fmla="*/ 904413 w 1787136"/>
                    <a:gd name="connsiteY10" fmla="*/ 17913 h 793560"/>
                    <a:gd name="connsiteX11" fmla="*/ 904573 w 1787136"/>
                    <a:gd name="connsiteY11" fmla="*/ 17913 h 793560"/>
                    <a:gd name="connsiteX12" fmla="*/ 904573 w 1787136"/>
                    <a:gd name="connsiteY12" fmla="*/ 17913 h 793560"/>
                    <a:gd name="connsiteX13" fmla="*/ 904573 w 1787136"/>
                    <a:gd name="connsiteY13" fmla="*/ 17913 h 793560"/>
                    <a:gd name="connsiteX14" fmla="*/ 477068 w 1787136"/>
                    <a:gd name="connsiteY14" fmla="*/ 20484 h 793560"/>
                    <a:gd name="connsiteX15" fmla="*/ 475220 w 1787136"/>
                    <a:gd name="connsiteY15" fmla="*/ 20243 h 793560"/>
                    <a:gd name="connsiteX16" fmla="*/ 490884 w 1787136"/>
                    <a:gd name="connsiteY16" fmla="*/ 17351 h 793560"/>
                    <a:gd name="connsiteX17" fmla="*/ 513858 w 1787136"/>
                    <a:gd name="connsiteY17" fmla="*/ 12612 h 793560"/>
                    <a:gd name="connsiteX18" fmla="*/ 516107 w 1787136"/>
                    <a:gd name="connsiteY18" fmla="*/ 13495 h 793560"/>
                    <a:gd name="connsiteX19" fmla="*/ 477068 w 1787136"/>
                    <a:gd name="connsiteY19" fmla="*/ 20484 h 793560"/>
                    <a:gd name="connsiteX20" fmla="*/ 525586 w 1787136"/>
                    <a:gd name="connsiteY20" fmla="*/ 11326 h 793560"/>
                    <a:gd name="connsiteX21" fmla="*/ 522534 w 1787136"/>
                    <a:gd name="connsiteY21" fmla="*/ 11326 h 793560"/>
                    <a:gd name="connsiteX22" fmla="*/ 557155 w 1787136"/>
                    <a:gd name="connsiteY22" fmla="*/ 4739 h 793560"/>
                    <a:gd name="connsiteX23" fmla="*/ 590491 w 1787136"/>
                    <a:gd name="connsiteY23" fmla="*/ 2972 h 793560"/>
                    <a:gd name="connsiteX24" fmla="*/ 594507 w 1787136"/>
                    <a:gd name="connsiteY24" fmla="*/ 4418 h 793560"/>
                    <a:gd name="connsiteX25" fmla="*/ 598042 w 1787136"/>
                    <a:gd name="connsiteY25" fmla="*/ 4498 h 793560"/>
                    <a:gd name="connsiteX26" fmla="*/ 545427 w 1787136"/>
                    <a:gd name="connsiteY26" fmla="*/ 11487 h 793560"/>
                    <a:gd name="connsiteX27" fmla="*/ 549042 w 1787136"/>
                    <a:gd name="connsiteY27" fmla="*/ 9238 h 793560"/>
                    <a:gd name="connsiteX28" fmla="*/ 545668 w 1787136"/>
                    <a:gd name="connsiteY28" fmla="*/ 7390 h 793560"/>
                    <a:gd name="connsiteX29" fmla="*/ 525586 w 1787136"/>
                    <a:gd name="connsiteY29" fmla="*/ 11326 h 793560"/>
                    <a:gd name="connsiteX30" fmla="*/ 1455382 w 1787136"/>
                    <a:gd name="connsiteY30" fmla="*/ 645837 h 793560"/>
                    <a:gd name="connsiteX31" fmla="*/ 1464138 w 1787136"/>
                    <a:gd name="connsiteY31" fmla="*/ 640776 h 793560"/>
                    <a:gd name="connsiteX32" fmla="*/ 1454900 w 1787136"/>
                    <a:gd name="connsiteY32" fmla="*/ 645676 h 793560"/>
                    <a:gd name="connsiteX33" fmla="*/ 1455382 w 1787136"/>
                    <a:gd name="connsiteY33" fmla="*/ 645837 h 793560"/>
                    <a:gd name="connsiteX34" fmla="*/ 1461327 w 1787136"/>
                    <a:gd name="connsiteY34" fmla="*/ 585993 h 793560"/>
                    <a:gd name="connsiteX35" fmla="*/ 1464540 w 1787136"/>
                    <a:gd name="connsiteY35" fmla="*/ 585671 h 793560"/>
                    <a:gd name="connsiteX36" fmla="*/ 1465745 w 1787136"/>
                    <a:gd name="connsiteY36" fmla="*/ 585511 h 793560"/>
                    <a:gd name="connsiteX37" fmla="*/ 1461086 w 1787136"/>
                    <a:gd name="connsiteY37" fmla="*/ 585752 h 793560"/>
                    <a:gd name="connsiteX38" fmla="*/ 1461327 w 1787136"/>
                    <a:gd name="connsiteY38" fmla="*/ 585993 h 793560"/>
                    <a:gd name="connsiteX39" fmla="*/ 1639896 w 1787136"/>
                    <a:gd name="connsiteY39" fmla="*/ 599729 h 793560"/>
                    <a:gd name="connsiteX40" fmla="*/ 1639735 w 1787136"/>
                    <a:gd name="connsiteY40" fmla="*/ 598925 h 793560"/>
                    <a:gd name="connsiteX41" fmla="*/ 1639896 w 1787136"/>
                    <a:gd name="connsiteY41" fmla="*/ 599729 h 793560"/>
                    <a:gd name="connsiteX42" fmla="*/ 1639896 w 1787136"/>
                    <a:gd name="connsiteY42" fmla="*/ 599729 h 793560"/>
                    <a:gd name="connsiteX43" fmla="*/ 1575312 w 1787136"/>
                    <a:gd name="connsiteY43" fmla="*/ 517955 h 793560"/>
                    <a:gd name="connsiteX44" fmla="*/ 1577802 w 1787136"/>
                    <a:gd name="connsiteY44" fmla="*/ 518999 h 793560"/>
                    <a:gd name="connsiteX45" fmla="*/ 1580292 w 1787136"/>
                    <a:gd name="connsiteY45" fmla="*/ 519481 h 793560"/>
                    <a:gd name="connsiteX46" fmla="*/ 1580533 w 1787136"/>
                    <a:gd name="connsiteY46" fmla="*/ 518035 h 793560"/>
                    <a:gd name="connsiteX47" fmla="*/ 1574830 w 1787136"/>
                    <a:gd name="connsiteY47" fmla="*/ 517714 h 793560"/>
                    <a:gd name="connsiteX48" fmla="*/ 1575312 w 1787136"/>
                    <a:gd name="connsiteY48" fmla="*/ 517955 h 793560"/>
                    <a:gd name="connsiteX49" fmla="*/ 1196244 w 1787136"/>
                    <a:gd name="connsiteY49" fmla="*/ 452568 h 793560"/>
                    <a:gd name="connsiteX50" fmla="*/ 1197128 w 1787136"/>
                    <a:gd name="connsiteY50" fmla="*/ 452969 h 793560"/>
                    <a:gd name="connsiteX51" fmla="*/ 1201867 w 1787136"/>
                    <a:gd name="connsiteY51" fmla="*/ 454416 h 793560"/>
                    <a:gd name="connsiteX52" fmla="*/ 1203875 w 1787136"/>
                    <a:gd name="connsiteY52" fmla="*/ 446865 h 793560"/>
                    <a:gd name="connsiteX53" fmla="*/ 1200984 w 1787136"/>
                    <a:gd name="connsiteY53" fmla="*/ 451604 h 793560"/>
                    <a:gd name="connsiteX54" fmla="*/ 1201385 w 1787136"/>
                    <a:gd name="connsiteY54" fmla="*/ 452327 h 793560"/>
                    <a:gd name="connsiteX55" fmla="*/ 1195602 w 1787136"/>
                    <a:gd name="connsiteY55" fmla="*/ 452487 h 793560"/>
                    <a:gd name="connsiteX56" fmla="*/ 1196244 w 1787136"/>
                    <a:gd name="connsiteY56" fmla="*/ 452568 h 793560"/>
                    <a:gd name="connsiteX57" fmla="*/ 1248216 w 1787136"/>
                    <a:gd name="connsiteY57" fmla="*/ 447989 h 793560"/>
                    <a:gd name="connsiteX58" fmla="*/ 1250626 w 1787136"/>
                    <a:gd name="connsiteY58" fmla="*/ 448230 h 793560"/>
                    <a:gd name="connsiteX59" fmla="*/ 1250626 w 1787136"/>
                    <a:gd name="connsiteY59" fmla="*/ 448230 h 793560"/>
                    <a:gd name="connsiteX60" fmla="*/ 1247895 w 1787136"/>
                    <a:gd name="connsiteY60" fmla="*/ 447909 h 793560"/>
                    <a:gd name="connsiteX61" fmla="*/ 1248216 w 1787136"/>
                    <a:gd name="connsiteY61" fmla="*/ 447989 h 793560"/>
                    <a:gd name="connsiteX62" fmla="*/ 1236007 w 1787136"/>
                    <a:gd name="connsiteY62" fmla="*/ 447186 h 793560"/>
                    <a:gd name="connsiteX63" fmla="*/ 1238818 w 1787136"/>
                    <a:gd name="connsiteY63" fmla="*/ 446222 h 793560"/>
                    <a:gd name="connsiteX64" fmla="*/ 1235685 w 1787136"/>
                    <a:gd name="connsiteY64" fmla="*/ 447106 h 793560"/>
                    <a:gd name="connsiteX65" fmla="*/ 1236007 w 1787136"/>
                    <a:gd name="connsiteY65" fmla="*/ 447186 h 793560"/>
                    <a:gd name="connsiteX66" fmla="*/ 1200823 w 1787136"/>
                    <a:gd name="connsiteY66" fmla="*/ 444375 h 793560"/>
                    <a:gd name="connsiteX67" fmla="*/ 1201225 w 1787136"/>
                    <a:gd name="connsiteY67" fmla="*/ 444535 h 793560"/>
                    <a:gd name="connsiteX68" fmla="*/ 1204277 w 1787136"/>
                    <a:gd name="connsiteY68" fmla="*/ 443732 h 793560"/>
                    <a:gd name="connsiteX69" fmla="*/ 1201385 w 1787136"/>
                    <a:gd name="connsiteY69" fmla="*/ 443089 h 793560"/>
                    <a:gd name="connsiteX70" fmla="*/ 1200823 w 1787136"/>
                    <a:gd name="connsiteY70" fmla="*/ 444375 h 793560"/>
                    <a:gd name="connsiteX71" fmla="*/ 1233115 w 1787136"/>
                    <a:gd name="connsiteY71" fmla="*/ 445660 h 793560"/>
                    <a:gd name="connsiteX72" fmla="*/ 1234882 w 1787136"/>
                    <a:gd name="connsiteY72" fmla="*/ 446383 h 793560"/>
                    <a:gd name="connsiteX73" fmla="*/ 1234400 w 1787136"/>
                    <a:gd name="connsiteY73" fmla="*/ 445499 h 793560"/>
                    <a:gd name="connsiteX74" fmla="*/ 1233034 w 1787136"/>
                    <a:gd name="connsiteY74" fmla="*/ 444214 h 793560"/>
                    <a:gd name="connsiteX75" fmla="*/ 1232874 w 1787136"/>
                    <a:gd name="connsiteY75" fmla="*/ 445579 h 793560"/>
                    <a:gd name="connsiteX76" fmla="*/ 1233115 w 1787136"/>
                    <a:gd name="connsiteY76" fmla="*/ 445660 h 793560"/>
                    <a:gd name="connsiteX77" fmla="*/ 1194156 w 1787136"/>
                    <a:gd name="connsiteY77" fmla="*/ 441402 h 793560"/>
                    <a:gd name="connsiteX78" fmla="*/ 1195843 w 1787136"/>
                    <a:gd name="connsiteY78" fmla="*/ 442446 h 793560"/>
                    <a:gd name="connsiteX79" fmla="*/ 1197770 w 1787136"/>
                    <a:gd name="connsiteY79" fmla="*/ 441242 h 793560"/>
                    <a:gd name="connsiteX80" fmla="*/ 1197449 w 1787136"/>
                    <a:gd name="connsiteY80" fmla="*/ 441161 h 793560"/>
                    <a:gd name="connsiteX81" fmla="*/ 1194075 w 1787136"/>
                    <a:gd name="connsiteY81" fmla="*/ 441322 h 793560"/>
                    <a:gd name="connsiteX82" fmla="*/ 1194156 w 1787136"/>
                    <a:gd name="connsiteY82" fmla="*/ 441402 h 793560"/>
                    <a:gd name="connsiteX83" fmla="*/ 1226367 w 1787136"/>
                    <a:gd name="connsiteY83" fmla="*/ 443491 h 793560"/>
                    <a:gd name="connsiteX84" fmla="*/ 1226930 w 1787136"/>
                    <a:gd name="connsiteY84" fmla="*/ 444294 h 793560"/>
                    <a:gd name="connsiteX85" fmla="*/ 1229982 w 1787136"/>
                    <a:gd name="connsiteY85" fmla="*/ 444615 h 793560"/>
                    <a:gd name="connsiteX86" fmla="*/ 1229339 w 1787136"/>
                    <a:gd name="connsiteY86" fmla="*/ 442286 h 793560"/>
                    <a:gd name="connsiteX87" fmla="*/ 1226849 w 1787136"/>
                    <a:gd name="connsiteY87" fmla="*/ 441965 h 793560"/>
                    <a:gd name="connsiteX88" fmla="*/ 1226367 w 1787136"/>
                    <a:gd name="connsiteY88" fmla="*/ 443491 h 793560"/>
                    <a:gd name="connsiteX89" fmla="*/ 1225966 w 1787136"/>
                    <a:gd name="connsiteY89" fmla="*/ 441804 h 793560"/>
                    <a:gd name="connsiteX90" fmla="*/ 1227813 w 1787136"/>
                    <a:gd name="connsiteY90" fmla="*/ 440920 h 793560"/>
                    <a:gd name="connsiteX91" fmla="*/ 1226287 w 1787136"/>
                    <a:gd name="connsiteY91" fmla="*/ 441081 h 793560"/>
                    <a:gd name="connsiteX92" fmla="*/ 1225403 w 1787136"/>
                    <a:gd name="connsiteY92" fmla="*/ 440117 h 793560"/>
                    <a:gd name="connsiteX93" fmla="*/ 1223315 w 1787136"/>
                    <a:gd name="connsiteY93" fmla="*/ 440679 h 793560"/>
                    <a:gd name="connsiteX94" fmla="*/ 1225966 w 1787136"/>
                    <a:gd name="connsiteY94" fmla="*/ 441804 h 793560"/>
                    <a:gd name="connsiteX95" fmla="*/ 1222351 w 1787136"/>
                    <a:gd name="connsiteY95" fmla="*/ 438350 h 793560"/>
                    <a:gd name="connsiteX96" fmla="*/ 1223234 w 1787136"/>
                    <a:gd name="connsiteY96" fmla="*/ 438671 h 793560"/>
                    <a:gd name="connsiteX97" fmla="*/ 1225082 w 1787136"/>
                    <a:gd name="connsiteY97" fmla="*/ 438510 h 793560"/>
                    <a:gd name="connsiteX98" fmla="*/ 1222431 w 1787136"/>
                    <a:gd name="connsiteY98" fmla="*/ 437386 h 793560"/>
                    <a:gd name="connsiteX99" fmla="*/ 1222351 w 1787136"/>
                    <a:gd name="connsiteY99" fmla="*/ 438350 h 793560"/>
                    <a:gd name="connsiteX100" fmla="*/ 1657889 w 1787136"/>
                    <a:gd name="connsiteY100" fmla="*/ 541652 h 793560"/>
                    <a:gd name="connsiteX101" fmla="*/ 1658130 w 1787136"/>
                    <a:gd name="connsiteY101" fmla="*/ 542134 h 793560"/>
                    <a:gd name="connsiteX102" fmla="*/ 1659174 w 1787136"/>
                    <a:gd name="connsiteY102" fmla="*/ 542455 h 793560"/>
                    <a:gd name="connsiteX103" fmla="*/ 1657166 w 1787136"/>
                    <a:gd name="connsiteY103" fmla="*/ 540045 h 793560"/>
                    <a:gd name="connsiteX104" fmla="*/ 1657889 w 1787136"/>
                    <a:gd name="connsiteY104" fmla="*/ 541652 h 793560"/>
                    <a:gd name="connsiteX105" fmla="*/ 1618287 w 1787136"/>
                    <a:gd name="connsiteY105" fmla="*/ 519883 h 793560"/>
                    <a:gd name="connsiteX106" fmla="*/ 1619974 w 1787136"/>
                    <a:gd name="connsiteY106" fmla="*/ 518919 h 793560"/>
                    <a:gd name="connsiteX107" fmla="*/ 1616279 w 1787136"/>
                    <a:gd name="connsiteY107" fmla="*/ 517634 h 793560"/>
                    <a:gd name="connsiteX108" fmla="*/ 1618287 w 1787136"/>
                    <a:gd name="connsiteY108" fmla="*/ 519883 h 793560"/>
                    <a:gd name="connsiteX109" fmla="*/ 1606238 w 1787136"/>
                    <a:gd name="connsiteY109" fmla="*/ 510966 h 793560"/>
                    <a:gd name="connsiteX110" fmla="*/ 1611299 w 1787136"/>
                    <a:gd name="connsiteY110" fmla="*/ 515866 h 793560"/>
                    <a:gd name="connsiteX111" fmla="*/ 1611379 w 1787136"/>
                    <a:gd name="connsiteY111" fmla="*/ 515866 h 793560"/>
                    <a:gd name="connsiteX112" fmla="*/ 1606399 w 1787136"/>
                    <a:gd name="connsiteY112" fmla="*/ 509601 h 793560"/>
                    <a:gd name="connsiteX113" fmla="*/ 1606238 w 1787136"/>
                    <a:gd name="connsiteY113" fmla="*/ 510966 h 793560"/>
                    <a:gd name="connsiteX114" fmla="*/ 1120656 w 1787136"/>
                    <a:gd name="connsiteY114" fmla="*/ 429996 h 793560"/>
                    <a:gd name="connsiteX115" fmla="*/ 1127002 w 1787136"/>
                    <a:gd name="connsiteY115" fmla="*/ 431201 h 793560"/>
                    <a:gd name="connsiteX116" fmla="*/ 1129492 w 1787136"/>
                    <a:gd name="connsiteY116" fmla="*/ 426943 h 793560"/>
                    <a:gd name="connsiteX117" fmla="*/ 1122503 w 1787136"/>
                    <a:gd name="connsiteY117" fmla="*/ 426381 h 793560"/>
                    <a:gd name="connsiteX118" fmla="*/ 1123628 w 1787136"/>
                    <a:gd name="connsiteY118" fmla="*/ 429755 h 793560"/>
                    <a:gd name="connsiteX119" fmla="*/ 1120093 w 1787136"/>
                    <a:gd name="connsiteY119" fmla="*/ 429835 h 793560"/>
                    <a:gd name="connsiteX120" fmla="*/ 1120656 w 1787136"/>
                    <a:gd name="connsiteY120" fmla="*/ 429996 h 793560"/>
                    <a:gd name="connsiteX121" fmla="*/ 1147325 w 1787136"/>
                    <a:gd name="connsiteY121" fmla="*/ 425979 h 793560"/>
                    <a:gd name="connsiteX122" fmla="*/ 1149333 w 1787136"/>
                    <a:gd name="connsiteY122" fmla="*/ 427265 h 793560"/>
                    <a:gd name="connsiteX123" fmla="*/ 1150859 w 1787136"/>
                    <a:gd name="connsiteY123" fmla="*/ 425979 h 793560"/>
                    <a:gd name="connsiteX124" fmla="*/ 1147084 w 1787136"/>
                    <a:gd name="connsiteY124" fmla="*/ 425819 h 793560"/>
                    <a:gd name="connsiteX125" fmla="*/ 1147325 w 1787136"/>
                    <a:gd name="connsiteY125" fmla="*/ 425979 h 793560"/>
                    <a:gd name="connsiteX126" fmla="*/ 1636361 w 1787136"/>
                    <a:gd name="connsiteY126" fmla="*/ 523658 h 793560"/>
                    <a:gd name="connsiteX127" fmla="*/ 1639735 w 1787136"/>
                    <a:gd name="connsiteY127" fmla="*/ 524622 h 793560"/>
                    <a:gd name="connsiteX128" fmla="*/ 1636201 w 1787136"/>
                    <a:gd name="connsiteY128" fmla="*/ 523578 h 793560"/>
                    <a:gd name="connsiteX129" fmla="*/ 1636361 w 1787136"/>
                    <a:gd name="connsiteY129" fmla="*/ 523658 h 793560"/>
                    <a:gd name="connsiteX130" fmla="*/ 1165157 w 1787136"/>
                    <a:gd name="connsiteY130" fmla="*/ 426702 h 793560"/>
                    <a:gd name="connsiteX131" fmla="*/ 1174475 w 1787136"/>
                    <a:gd name="connsiteY131" fmla="*/ 426542 h 793560"/>
                    <a:gd name="connsiteX132" fmla="*/ 1173913 w 1787136"/>
                    <a:gd name="connsiteY132" fmla="*/ 426381 h 793560"/>
                    <a:gd name="connsiteX133" fmla="*/ 1169575 w 1787136"/>
                    <a:gd name="connsiteY133" fmla="*/ 425899 h 793560"/>
                    <a:gd name="connsiteX134" fmla="*/ 1167326 w 1787136"/>
                    <a:gd name="connsiteY134" fmla="*/ 425578 h 793560"/>
                    <a:gd name="connsiteX135" fmla="*/ 1164595 w 1787136"/>
                    <a:gd name="connsiteY135" fmla="*/ 426702 h 793560"/>
                    <a:gd name="connsiteX136" fmla="*/ 1165157 w 1787136"/>
                    <a:gd name="connsiteY136" fmla="*/ 426702 h 793560"/>
                    <a:gd name="connsiteX137" fmla="*/ 1577641 w 1787136"/>
                    <a:gd name="connsiteY137" fmla="*/ 494499 h 793560"/>
                    <a:gd name="connsiteX138" fmla="*/ 1581417 w 1787136"/>
                    <a:gd name="connsiteY138" fmla="*/ 496909 h 793560"/>
                    <a:gd name="connsiteX139" fmla="*/ 1584550 w 1787136"/>
                    <a:gd name="connsiteY139" fmla="*/ 496507 h 793560"/>
                    <a:gd name="connsiteX140" fmla="*/ 1576999 w 1787136"/>
                    <a:gd name="connsiteY140" fmla="*/ 493937 h 793560"/>
                    <a:gd name="connsiteX141" fmla="*/ 1577641 w 1787136"/>
                    <a:gd name="connsiteY141" fmla="*/ 494499 h 793560"/>
                    <a:gd name="connsiteX142" fmla="*/ 1594269 w 1787136"/>
                    <a:gd name="connsiteY142" fmla="*/ 499801 h 793560"/>
                    <a:gd name="connsiteX143" fmla="*/ 1594992 w 1787136"/>
                    <a:gd name="connsiteY143" fmla="*/ 500845 h 793560"/>
                    <a:gd name="connsiteX144" fmla="*/ 1596117 w 1787136"/>
                    <a:gd name="connsiteY144" fmla="*/ 501327 h 793560"/>
                    <a:gd name="connsiteX145" fmla="*/ 1594109 w 1787136"/>
                    <a:gd name="connsiteY145" fmla="*/ 499640 h 793560"/>
                    <a:gd name="connsiteX146" fmla="*/ 1594269 w 1787136"/>
                    <a:gd name="connsiteY146" fmla="*/ 499801 h 793560"/>
                    <a:gd name="connsiteX147" fmla="*/ 1686486 w 1787136"/>
                    <a:gd name="connsiteY147" fmla="*/ 553861 h 793560"/>
                    <a:gd name="connsiteX148" fmla="*/ 1686486 w 1787136"/>
                    <a:gd name="connsiteY148" fmla="*/ 552817 h 793560"/>
                    <a:gd name="connsiteX149" fmla="*/ 1686486 w 1787136"/>
                    <a:gd name="connsiteY149" fmla="*/ 553861 h 793560"/>
                    <a:gd name="connsiteX150" fmla="*/ 1686486 w 1787136"/>
                    <a:gd name="connsiteY150" fmla="*/ 553861 h 793560"/>
                    <a:gd name="connsiteX151" fmla="*/ 1551856 w 1787136"/>
                    <a:gd name="connsiteY151" fmla="*/ 483333 h 793560"/>
                    <a:gd name="connsiteX152" fmla="*/ 1552499 w 1787136"/>
                    <a:gd name="connsiteY152" fmla="*/ 483092 h 793560"/>
                    <a:gd name="connsiteX153" fmla="*/ 1551053 w 1787136"/>
                    <a:gd name="connsiteY153" fmla="*/ 481647 h 793560"/>
                    <a:gd name="connsiteX154" fmla="*/ 1551856 w 1787136"/>
                    <a:gd name="connsiteY154" fmla="*/ 483333 h 793560"/>
                    <a:gd name="connsiteX155" fmla="*/ 1551856 w 1787136"/>
                    <a:gd name="connsiteY155" fmla="*/ 483333 h 793560"/>
                    <a:gd name="connsiteX156" fmla="*/ 1133990 w 1787136"/>
                    <a:gd name="connsiteY156" fmla="*/ 410797 h 793560"/>
                    <a:gd name="connsiteX157" fmla="*/ 1138328 w 1787136"/>
                    <a:gd name="connsiteY157" fmla="*/ 414011 h 793560"/>
                    <a:gd name="connsiteX158" fmla="*/ 1136802 w 1787136"/>
                    <a:gd name="connsiteY158" fmla="*/ 409833 h 793560"/>
                    <a:gd name="connsiteX159" fmla="*/ 1137043 w 1787136"/>
                    <a:gd name="connsiteY159" fmla="*/ 409833 h 793560"/>
                    <a:gd name="connsiteX160" fmla="*/ 1133990 w 1787136"/>
                    <a:gd name="connsiteY160" fmla="*/ 410797 h 793560"/>
                    <a:gd name="connsiteX161" fmla="*/ 1560371 w 1787136"/>
                    <a:gd name="connsiteY161" fmla="*/ 473855 h 793560"/>
                    <a:gd name="connsiteX162" fmla="*/ 1561094 w 1787136"/>
                    <a:gd name="connsiteY162" fmla="*/ 474819 h 793560"/>
                    <a:gd name="connsiteX163" fmla="*/ 1562781 w 1787136"/>
                    <a:gd name="connsiteY163" fmla="*/ 476425 h 793560"/>
                    <a:gd name="connsiteX164" fmla="*/ 1562781 w 1787136"/>
                    <a:gd name="connsiteY164" fmla="*/ 474658 h 793560"/>
                    <a:gd name="connsiteX165" fmla="*/ 1560210 w 1787136"/>
                    <a:gd name="connsiteY165" fmla="*/ 473614 h 793560"/>
                    <a:gd name="connsiteX166" fmla="*/ 1560371 w 1787136"/>
                    <a:gd name="connsiteY166" fmla="*/ 473855 h 793560"/>
                    <a:gd name="connsiteX167" fmla="*/ 1143469 w 1787136"/>
                    <a:gd name="connsiteY167" fmla="*/ 406540 h 793560"/>
                    <a:gd name="connsiteX168" fmla="*/ 1145397 w 1787136"/>
                    <a:gd name="connsiteY168" fmla="*/ 410235 h 793560"/>
                    <a:gd name="connsiteX169" fmla="*/ 1154795 w 1787136"/>
                    <a:gd name="connsiteY169" fmla="*/ 412484 h 793560"/>
                    <a:gd name="connsiteX170" fmla="*/ 1155197 w 1787136"/>
                    <a:gd name="connsiteY170" fmla="*/ 411681 h 793560"/>
                    <a:gd name="connsiteX171" fmla="*/ 1156562 w 1787136"/>
                    <a:gd name="connsiteY171" fmla="*/ 412083 h 793560"/>
                    <a:gd name="connsiteX172" fmla="*/ 1153590 w 1787136"/>
                    <a:gd name="connsiteY172" fmla="*/ 411360 h 793560"/>
                    <a:gd name="connsiteX173" fmla="*/ 1153831 w 1787136"/>
                    <a:gd name="connsiteY173" fmla="*/ 410878 h 793560"/>
                    <a:gd name="connsiteX174" fmla="*/ 1153831 w 1787136"/>
                    <a:gd name="connsiteY174" fmla="*/ 410878 h 793560"/>
                    <a:gd name="connsiteX175" fmla="*/ 1153831 w 1787136"/>
                    <a:gd name="connsiteY175" fmla="*/ 410878 h 793560"/>
                    <a:gd name="connsiteX176" fmla="*/ 1153831 w 1787136"/>
                    <a:gd name="connsiteY176" fmla="*/ 410878 h 793560"/>
                    <a:gd name="connsiteX177" fmla="*/ 1153831 w 1787136"/>
                    <a:gd name="connsiteY177" fmla="*/ 410878 h 793560"/>
                    <a:gd name="connsiteX178" fmla="*/ 1153831 w 1787136"/>
                    <a:gd name="connsiteY178" fmla="*/ 410878 h 793560"/>
                    <a:gd name="connsiteX179" fmla="*/ 1153831 w 1787136"/>
                    <a:gd name="connsiteY179" fmla="*/ 410878 h 793560"/>
                    <a:gd name="connsiteX180" fmla="*/ 1153831 w 1787136"/>
                    <a:gd name="connsiteY180" fmla="*/ 410878 h 793560"/>
                    <a:gd name="connsiteX181" fmla="*/ 1153831 w 1787136"/>
                    <a:gd name="connsiteY181" fmla="*/ 410878 h 793560"/>
                    <a:gd name="connsiteX182" fmla="*/ 1150538 w 1787136"/>
                    <a:gd name="connsiteY182" fmla="*/ 409191 h 793560"/>
                    <a:gd name="connsiteX183" fmla="*/ 1152144 w 1787136"/>
                    <a:gd name="connsiteY183" fmla="*/ 408227 h 793560"/>
                    <a:gd name="connsiteX184" fmla="*/ 1145397 w 1787136"/>
                    <a:gd name="connsiteY184" fmla="*/ 407183 h 793560"/>
                    <a:gd name="connsiteX185" fmla="*/ 1143147 w 1787136"/>
                    <a:gd name="connsiteY185" fmla="*/ 405094 h 793560"/>
                    <a:gd name="connsiteX186" fmla="*/ 1143469 w 1787136"/>
                    <a:gd name="connsiteY186" fmla="*/ 406540 h 793560"/>
                    <a:gd name="connsiteX187" fmla="*/ 1555230 w 1787136"/>
                    <a:gd name="connsiteY187" fmla="*/ 471686 h 793560"/>
                    <a:gd name="connsiteX188" fmla="*/ 1559809 w 1787136"/>
                    <a:gd name="connsiteY188" fmla="*/ 473775 h 793560"/>
                    <a:gd name="connsiteX189" fmla="*/ 1558925 w 1787136"/>
                    <a:gd name="connsiteY189" fmla="*/ 473533 h 793560"/>
                    <a:gd name="connsiteX190" fmla="*/ 1554909 w 1787136"/>
                    <a:gd name="connsiteY190" fmla="*/ 469838 h 793560"/>
                    <a:gd name="connsiteX191" fmla="*/ 1555230 w 1787136"/>
                    <a:gd name="connsiteY191" fmla="*/ 471686 h 793560"/>
                    <a:gd name="connsiteX192" fmla="*/ 1656765 w 1787136"/>
                    <a:gd name="connsiteY192" fmla="*/ 520686 h 793560"/>
                    <a:gd name="connsiteX193" fmla="*/ 1656925 w 1787136"/>
                    <a:gd name="connsiteY193" fmla="*/ 520766 h 793560"/>
                    <a:gd name="connsiteX194" fmla="*/ 1658451 w 1787136"/>
                    <a:gd name="connsiteY194" fmla="*/ 520525 h 793560"/>
                    <a:gd name="connsiteX195" fmla="*/ 1658371 w 1787136"/>
                    <a:gd name="connsiteY195" fmla="*/ 520284 h 793560"/>
                    <a:gd name="connsiteX196" fmla="*/ 1657728 w 1787136"/>
                    <a:gd name="connsiteY196" fmla="*/ 519642 h 793560"/>
                    <a:gd name="connsiteX197" fmla="*/ 1656524 w 1787136"/>
                    <a:gd name="connsiteY197" fmla="*/ 520284 h 793560"/>
                    <a:gd name="connsiteX198" fmla="*/ 1656042 w 1787136"/>
                    <a:gd name="connsiteY198" fmla="*/ 519963 h 793560"/>
                    <a:gd name="connsiteX199" fmla="*/ 1656765 w 1787136"/>
                    <a:gd name="connsiteY199" fmla="*/ 520686 h 793560"/>
                    <a:gd name="connsiteX200" fmla="*/ 1162025 w 1787136"/>
                    <a:gd name="connsiteY200" fmla="*/ 395535 h 793560"/>
                    <a:gd name="connsiteX201" fmla="*/ 1163390 w 1787136"/>
                    <a:gd name="connsiteY201" fmla="*/ 396499 h 793560"/>
                    <a:gd name="connsiteX202" fmla="*/ 1164354 w 1787136"/>
                    <a:gd name="connsiteY202" fmla="*/ 394250 h 793560"/>
                    <a:gd name="connsiteX203" fmla="*/ 1162025 w 1787136"/>
                    <a:gd name="connsiteY203" fmla="*/ 395535 h 793560"/>
                    <a:gd name="connsiteX204" fmla="*/ 1461889 w 1787136"/>
                    <a:gd name="connsiteY204" fmla="*/ 430879 h 793560"/>
                    <a:gd name="connsiteX205" fmla="*/ 1466548 w 1787136"/>
                    <a:gd name="connsiteY205" fmla="*/ 432245 h 793560"/>
                    <a:gd name="connsiteX206" fmla="*/ 1466548 w 1787136"/>
                    <a:gd name="connsiteY206" fmla="*/ 432245 h 793560"/>
                    <a:gd name="connsiteX207" fmla="*/ 1465343 w 1787136"/>
                    <a:gd name="connsiteY207" fmla="*/ 431843 h 793560"/>
                    <a:gd name="connsiteX208" fmla="*/ 1461648 w 1787136"/>
                    <a:gd name="connsiteY208" fmla="*/ 430719 h 793560"/>
                    <a:gd name="connsiteX209" fmla="*/ 1461889 w 1787136"/>
                    <a:gd name="connsiteY209" fmla="*/ 430879 h 793560"/>
                    <a:gd name="connsiteX210" fmla="*/ 1457471 w 1787136"/>
                    <a:gd name="connsiteY210" fmla="*/ 431040 h 793560"/>
                    <a:gd name="connsiteX211" fmla="*/ 1460282 w 1787136"/>
                    <a:gd name="connsiteY211" fmla="*/ 431602 h 793560"/>
                    <a:gd name="connsiteX212" fmla="*/ 1460764 w 1787136"/>
                    <a:gd name="connsiteY212" fmla="*/ 431120 h 793560"/>
                    <a:gd name="connsiteX213" fmla="*/ 1457230 w 1787136"/>
                    <a:gd name="connsiteY213" fmla="*/ 428550 h 793560"/>
                    <a:gd name="connsiteX214" fmla="*/ 1457069 w 1787136"/>
                    <a:gd name="connsiteY214" fmla="*/ 430799 h 793560"/>
                    <a:gd name="connsiteX215" fmla="*/ 1457471 w 1787136"/>
                    <a:gd name="connsiteY215" fmla="*/ 431040 h 793560"/>
                    <a:gd name="connsiteX216" fmla="*/ 1532578 w 1787136"/>
                    <a:gd name="connsiteY216" fmla="*/ 446142 h 793560"/>
                    <a:gd name="connsiteX217" fmla="*/ 1535228 w 1787136"/>
                    <a:gd name="connsiteY217" fmla="*/ 446624 h 793560"/>
                    <a:gd name="connsiteX218" fmla="*/ 1532417 w 1787136"/>
                    <a:gd name="connsiteY218" fmla="*/ 446142 h 793560"/>
                    <a:gd name="connsiteX219" fmla="*/ 1532578 w 1787136"/>
                    <a:gd name="connsiteY219" fmla="*/ 446142 h 793560"/>
                    <a:gd name="connsiteX220" fmla="*/ 1406944 w 1787136"/>
                    <a:gd name="connsiteY220" fmla="*/ 401961 h 793560"/>
                    <a:gd name="connsiteX221" fmla="*/ 1418190 w 1787136"/>
                    <a:gd name="connsiteY221" fmla="*/ 402684 h 793560"/>
                    <a:gd name="connsiteX222" fmla="*/ 1406463 w 1787136"/>
                    <a:gd name="connsiteY222" fmla="*/ 401961 h 793560"/>
                    <a:gd name="connsiteX223" fmla="*/ 1406944 w 1787136"/>
                    <a:gd name="connsiteY223" fmla="*/ 401961 h 793560"/>
                    <a:gd name="connsiteX224" fmla="*/ 1537397 w 1787136"/>
                    <a:gd name="connsiteY224" fmla="*/ 432004 h 793560"/>
                    <a:gd name="connsiteX225" fmla="*/ 1539325 w 1787136"/>
                    <a:gd name="connsiteY225" fmla="*/ 432887 h 793560"/>
                    <a:gd name="connsiteX226" fmla="*/ 1542538 w 1787136"/>
                    <a:gd name="connsiteY226" fmla="*/ 433450 h 793560"/>
                    <a:gd name="connsiteX227" fmla="*/ 1537156 w 1787136"/>
                    <a:gd name="connsiteY227" fmla="*/ 431843 h 793560"/>
                    <a:gd name="connsiteX228" fmla="*/ 1537397 w 1787136"/>
                    <a:gd name="connsiteY228" fmla="*/ 432004 h 793560"/>
                    <a:gd name="connsiteX229" fmla="*/ 1629855 w 1787136"/>
                    <a:gd name="connsiteY229" fmla="*/ 460360 h 793560"/>
                    <a:gd name="connsiteX230" fmla="*/ 1633630 w 1787136"/>
                    <a:gd name="connsiteY230" fmla="*/ 464537 h 793560"/>
                    <a:gd name="connsiteX231" fmla="*/ 1629614 w 1787136"/>
                    <a:gd name="connsiteY231" fmla="*/ 460119 h 793560"/>
                    <a:gd name="connsiteX232" fmla="*/ 1629855 w 1787136"/>
                    <a:gd name="connsiteY232" fmla="*/ 460360 h 793560"/>
                    <a:gd name="connsiteX233" fmla="*/ 1594109 w 1787136"/>
                    <a:gd name="connsiteY233" fmla="*/ 426622 h 793560"/>
                    <a:gd name="connsiteX234" fmla="*/ 1606640 w 1787136"/>
                    <a:gd name="connsiteY234" fmla="*/ 437225 h 793560"/>
                    <a:gd name="connsiteX235" fmla="*/ 1606801 w 1787136"/>
                    <a:gd name="connsiteY235" fmla="*/ 437386 h 793560"/>
                    <a:gd name="connsiteX236" fmla="*/ 1592904 w 1787136"/>
                    <a:gd name="connsiteY236" fmla="*/ 424935 h 793560"/>
                    <a:gd name="connsiteX237" fmla="*/ 1594591 w 1787136"/>
                    <a:gd name="connsiteY237" fmla="*/ 426702 h 793560"/>
                    <a:gd name="connsiteX238" fmla="*/ 1593787 w 1787136"/>
                    <a:gd name="connsiteY238" fmla="*/ 426220 h 793560"/>
                    <a:gd name="connsiteX239" fmla="*/ 1594109 w 1787136"/>
                    <a:gd name="connsiteY239" fmla="*/ 426622 h 793560"/>
                    <a:gd name="connsiteX240" fmla="*/ 850111 w 1787136"/>
                    <a:gd name="connsiteY240" fmla="*/ 291671 h 793560"/>
                    <a:gd name="connsiteX241" fmla="*/ 858144 w 1787136"/>
                    <a:gd name="connsiteY241" fmla="*/ 295286 h 793560"/>
                    <a:gd name="connsiteX242" fmla="*/ 855573 w 1787136"/>
                    <a:gd name="connsiteY242" fmla="*/ 288458 h 793560"/>
                    <a:gd name="connsiteX243" fmla="*/ 849790 w 1787136"/>
                    <a:gd name="connsiteY243" fmla="*/ 291430 h 793560"/>
                    <a:gd name="connsiteX244" fmla="*/ 850111 w 1787136"/>
                    <a:gd name="connsiteY244" fmla="*/ 291671 h 793560"/>
                    <a:gd name="connsiteX245" fmla="*/ 1539887 w 1787136"/>
                    <a:gd name="connsiteY245" fmla="*/ 374007 h 793560"/>
                    <a:gd name="connsiteX246" fmla="*/ 1535871 w 1787136"/>
                    <a:gd name="connsiteY246" fmla="*/ 368946 h 793560"/>
                    <a:gd name="connsiteX247" fmla="*/ 1538120 w 1787136"/>
                    <a:gd name="connsiteY247" fmla="*/ 373606 h 793560"/>
                    <a:gd name="connsiteX248" fmla="*/ 1539887 w 1787136"/>
                    <a:gd name="connsiteY248" fmla="*/ 374007 h 793560"/>
                    <a:gd name="connsiteX249" fmla="*/ 1566797 w 1787136"/>
                    <a:gd name="connsiteY249" fmla="*/ 388868 h 793560"/>
                    <a:gd name="connsiteX250" fmla="*/ 1596278 w 1787136"/>
                    <a:gd name="connsiteY250" fmla="*/ 419553 h 793560"/>
                    <a:gd name="connsiteX251" fmla="*/ 1565994 w 1787136"/>
                    <a:gd name="connsiteY251" fmla="*/ 388145 h 793560"/>
                    <a:gd name="connsiteX252" fmla="*/ 1566797 w 1787136"/>
                    <a:gd name="connsiteY252" fmla="*/ 388868 h 793560"/>
                    <a:gd name="connsiteX253" fmla="*/ 1550250 w 1787136"/>
                    <a:gd name="connsiteY253" fmla="*/ 376658 h 793560"/>
                    <a:gd name="connsiteX254" fmla="*/ 1553543 w 1787136"/>
                    <a:gd name="connsiteY254" fmla="*/ 378586 h 793560"/>
                    <a:gd name="connsiteX255" fmla="*/ 1550812 w 1787136"/>
                    <a:gd name="connsiteY255" fmla="*/ 376497 h 793560"/>
                    <a:gd name="connsiteX256" fmla="*/ 1549527 w 1787136"/>
                    <a:gd name="connsiteY256" fmla="*/ 375453 h 793560"/>
                    <a:gd name="connsiteX257" fmla="*/ 1550250 w 1787136"/>
                    <a:gd name="connsiteY257" fmla="*/ 376658 h 793560"/>
                    <a:gd name="connsiteX258" fmla="*/ 1417869 w 1787136"/>
                    <a:gd name="connsiteY258" fmla="*/ 305327 h 793560"/>
                    <a:gd name="connsiteX259" fmla="*/ 1418913 w 1787136"/>
                    <a:gd name="connsiteY259" fmla="*/ 306050 h 793560"/>
                    <a:gd name="connsiteX260" fmla="*/ 1428231 w 1787136"/>
                    <a:gd name="connsiteY260" fmla="*/ 312154 h 793560"/>
                    <a:gd name="connsiteX261" fmla="*/ 1419958 w 1787136"/>
                    <a:gd name="connsiteY261" fmla="*/ 305005 h 793560"/>
                    <a:gd name="connsiteX262" fmla="*/ 1421645 w 1787136"/>
                    <a:gd name="connsiteY262" fmla="*/ 307014 h 793560"/>
                    <a:gd name="connsiteX263" fmla="*/ 1421404 w 1787136"/>
                    <a:gd name="connsiteY263" fmla="*/ 306933 h 793560"/>
                    <a:gd name="connsiteX264" fmla="*/ 1418994 w 1787136"/>
                    <a:gd name="connsiteY264" fmla="*/ 305086 h 793560"/>
                    <a:gd name="connsiteX265" fmla="*/ 1417387 w 1787136"/>
                    <a:gd name="connsiteY265" fmla="*/ 304604 h 793560"/>
                    <a:gd name="connsiteX266" fmla="*/ 1417869 w 1787136"/>
                    <a:gd name="connsiteY266" fmla="*/ 305327 h 793560"/>
                    <a:gd name="connsiteX267" fmla="*/ 1399153 w 1787136"/>
                    <a:gd name="connsiteY267" fmla="*/ 292313 h 793560"/>
                    <a:gd name="connsiteX268" fmla="*/ 1405659 w 1787136"/>
                    <a:gd name="connsiteY268" fmla="*/ 293438 h 793560"/>
                    <a:gd name="connsiteX269" fmla="*/ 1398751 w 1787136"/>
                    <a:gd name="connsiteY269" fmla="*/ 292233 h 793560"/>
                    <a:gd name="connsiteX270" fmla="*/ 1399153 w 1787136"/>
                    <a:gd name="connsiteY270" fmla="*/ 292313 h 793560"/>
                    <a:gd name="connsiteX271" fmla="*/ 1073423 w 1787136"/>
                    <a:gd name="connsiteY271" fmla="*/ 245884 h 793560"/>
                    <a:gd name="connsiteX272" fmla="*/ 1086597 w 1787136"/>
                    <a:gd name="connsiteY272" fmla="*/ 249418 h 793560"/>
                    <a:gd name="connsiteX273" fmla="*/ 1086998 w 1787136"/>
                    <a:gd name="connsiteY273" fmla="*/ 248936 h 793560"/>
                    <a:gd name="connsiteX274" fmla="*/ 1074065 w 1787136"/>
                    <a:gd name="connsiteY274" fmla="*/ 242269 h 793560"/>
                    <a:gd name="connsiteX275" fmla="*/ 1071977 w 1787136"/>
                    <a:gd name="connsiteY275" fmla="*/ 245482 h 793560"/>
                    <a:gd name="connsiteX276" fmla="*/ 1073423 w 1787136"/>
                    <a:gd name="connsiteY276" fmla="*/ 245884 h 793560"/>
                    <a:gd name="connsiteX277" fmla="*/ 1495787 w 1787136"/>
                    <a:gd name="connsiteY277" fmla="*/ 333843 h 793560"/>
                    <a:gd name="connsiteX278" fmla="*/ 1497474 w 1787136"/>
                    <a:gd name="connsiteY278" fmla="*/ 335610 h 793560"/>
                    <a:gd name="connsiteX279" fmla="*/ 1501410 w 1787136"/>
                    <a:gd name="connsiteY279" fmla="*/ 339386 h 793560"/>
                    <a:gd name="connsiteX280" fmla="*/ 1488317 w 1787136"/>
                    <a:gd name="connsiteY280" fmla="*/ 325007 h 793560"/>
                    <a:gd name="connsiteX281" fmla="*/ 1495787 w 1787136"/>
                    <a:gd name="connsiteY281" fmla="*/ 333843 h 793560"/>
                    <a:gd name="connsiteX282" fmla="*/ 1392566 w 1787136"/>
                    <a:gd name="connsiteY282" fmla="*/ 281228 h 793560"/>
                    <a:gd name="connsiteX283" fmla="*/ 1401322 w 1787136"/>
                    <a:gd name="connsiteY283" fmla="*/ 285325 h 793560"/>
                    <a:gd name="connsiteX284" fmla="*/ 1402527 w 1787136"/>
                    <a:gd name="connsiteY284" fmla="*/ 285084 h 793560"/>
                    <a:gd name="connsiteX285" fmla="*/ 1397707 w 1787136"/>
                    <a:gd name="connsiteY285" fmla="*/ 280666 h 793560"/>
                    <a:gd name="connsiteX286" fmla="*/ 1391602 w 1787136"/>
                    <a:gd name="connsiteY286" fmla="*/ 279381 h 793560"/>
                    <a:gd name="connsiteX287" fmla="*/ 1391762 w 1787136"/>
                    <a:gd name="connsiteY287" fmla="*/ 280827 h 793560"/>
                    <a:gd name="connsiteX288" fmla="*/ 1392566 w 1787136"/>
                    <a:gd name="connsiteY288" fmla="*/ 281228 h 793560"/>
                    <a:gd name="connsiteX289" fmla="*/ 1295610 w 1787136"/>
                    <a:gd name="connsiteY289" fmla="*/ 248213 h 793560"/>
                    <a:gd name="connsiteX290" fmla="*/ 1310310 w 1787136"/>
                    <a:gd name="connsiteY290" fmla="*/ 258254 h 793560"/>
                    <a:gd name="connsiteX291" fmla="*/ 1295128 w 1787136"/>
                    <a:gd name="connsiteY291" fmla="*/ 245322 h 793560"/>
                    <a:gd name="connsiteX292" fmla="*/ 1295610 w 1787136"/>
                    <a:gd name="connsiteY292" fmla="*/ 248213 h 793560"/>
                    <a:gd name="connsiteX293" fmla="*/ 1476990 w 1787136"/>
                    <a:gd name="connsiteY293" fmla="*/ 302274 h 793560"/>
                    <a:gd name="connsiteX294" fmla="*/ 1476990 w 1787136"/>
                    <a:gd name="connsiteY294" fmla="*/ 302274 h 793560"/>
                    <a:gd name="connsiteX295" fmla="*/ 1476990 w 1787136"/>
                    <a:gd name="connsiteY295" fmla="*/ 302274 h 793560"/>
                    <a:gd name="connsiteX296" fmla="*/ 1477714 w 1787136"/>
                    <a:gd name="connsiteY296" fmla="*/ 302756 h 793560"/>
                    <a:gd name="connsiteX297" fmla="*/ 1476990 w 1787136"/>
                    <a:gd name="connsiteY297" fmla="*/ 302274 h 793560"/>
                    <a:gd name="connsiteX298" fmla="*/ 1477874 w 1787136"/>
                    <a:gd name="connsiteY298" fmla="*/ 302756 h 793560"/>
                    <a:gd name="connsiteX299" fmla="*/ 1477874 w 1787136"/>
                    <a:gd name="connsiteY299" fmla="*/ 302756 h 793560"/>
                    <a:gd name="connsiteX300" fmla="*/ 1477874 w 1787136"/>
                    <a:gd name="connsiteY300" fmla="*/ 302756 h 793560"/>
                    <a:gd name="connsiteX301" fmla="*/ 1477954 w 1787136"/>
                    <a:gd name="connsiteY301" fmla="*/ 302836 h 793560"/>
                    <a:gd name="connsiteX302" fmla="*/ 1477874 w 1787136"/>
                    <a:gd name="connsiteY302" fmla="*/ 302756 h 793560"/>
                    <a:gd name="connsiteX303" fmla="*/ 1478115 w 1787136"/>
                    <a:gd name="connsiteY303" fmla="*/ 302917 h 793560"/>
                    <a:gd name="connsiteX304" fmla="*/ 1478115 w 1787136"/>
                    <a:gd name="connsiteY304" fmla="*/ 302917 h 793560"/>
                    <a:gd name="connsiteX305" fmla="*/ 1478115 w 1787136"/>
                    <a:gd name="connsiteY305" fmla="*/ 302917 h 793560"/>
                    <a:gd name="connsiteX306" fmla="*/ 1478115 w 1787136"/>
                    <a:gd name="connsiteY306" fmla="*/ 302917 h 793560"/>
                    <a:gd name="connsiteX307" fmla="*/ 1478115 w 1787136"/>
                    <a:gd name="connsiteY307" fmla="*/ 302917 h 793560"/>
                    <a:gd name="connsiteX308" fmla="*/ 1478356 w 1787136"/>
                    <a:gd name="connsiteY308" fmla="*/ 303078 h 793560"/>
                    <a:gd name="connsiteX309" fmla="*/ 1478356 w 1787136"/>
                    <a:gd name="connsiteY309" fmla="*/ 303078 h 793560"/>
                    <a:gd name="connsiteX310" fmla="*/ 1478356 w 1787136"/>
                    <a:gd name="connsiteY310" fmla="*/ 303078 h 793560"/>
                    <a:gd name="connsiteX311" fmla="*/ 1478356 w 1787136"/>
                    <a:gd name="connsiteY311" fmla="*/ 303078 h 793560"/>
                    <a:gd name="connsiteX312" fmla="*/ 1478356 w 1787136"/>
                    <a:gd name="connsiteY312" fmla="*/ 303078 h 793560"/>
                    <a:gd name="connsiteX313" fmla="*/ 1478356 w 1787136"/>
                    <a:gd name="connsiteY313" fmla="*/ 303078 h 793560"/>
                    <a:gd name="connsiteX314" fmla="*/ 1478356 w 1787136"/>
                    <a:gd name="connsiteY314" fmla="*/ 303078 h 793560"/>
                    <a:gd name="connsiteX315" fmla="*/ 1478356 w 1787136"/>
                    <a:gd name="connsiteY315" fmla="*/ 303078 h 793560"/>
                    <a:gd name="connsiteX316" fmla="*/ 1478356 w 1787136"/>
                    <a:gd name="connsiteY316" fmla="*/ 303078 h 793560"/>
                    <a:gd name="connsiteX317" fmla="*/ 1478356 w 1787136"/>
                    <a:gd name="connsiteY317" fmla="*/ 303078 h 793560"/>
                    <a:gd name="connsiteX318" fmla="*/ 1478356 w 1787136"/>
                    <a:gd name="connsiteY318" fmla="*/ 303078 h 793560"/>
                    <a:gd name="connsiteX319" fmla="*/ 1478356 w 1787136"/>
                    <a:gd name="connsiteY319" fmla="*/ 303078 h 793560"/>
                    <a:gd name="connsiteX320" fmla="*/ 1478356 w 1787136"/>
                    <a:gd name="connsiteY320" fmla="*/ 303078 h 793560"/>
                    <a:gd name="connsiteX321" fmla="*/ 1478356 w 1787136"/>
                    <a:gd name="connsiteY321" fmla="*/ 303078 h 793560"/>
                    <a:gd name="connsiteX322" fmla="*/ 1478356 w 1787136"/>
                    <a:gd name="connsiteY322" fmla="*/ 303078 h 793560"/>
                    <a:gd name="connsiteX323" fmla="*/ 1478356 w 1787136"/>
                    <a:gd name="connsiteY323" fmla="*/ 303078 h 793560"/>
                    <a:gd name="connsiteX324" fmla="*/ 1478356 w 1787136"/>
                    <a:gd name="connsiteY324" fmla="*/ 303078 h 793560"/>
                    <a:gd name="connsiteX325" fmla="*/ 1478356 w 1787136"/>
                    <a:gd name="connsiteY325" fmla="*/ 303078 h 793560"/>
                    <a:gd name="connsiteX326" fmla="*/ 1478356 w 1787136"/>
                    <a:gd name="connsiteY326" fmla="*/ 303078 h 793560"/>
                    <a:gd name="connsiteX327" fmla="*/ 1478356 w 1787136"/>
                    <a:gd name="connsiteY327" fmla="*/ 303078 h 793560"/>
                    <a:gd name="connsiteX328" fmla="*/ 1478356 w 1787136"/>
                    <a:gd name="connsiteY328" fmla="*/ 303078 h 793560"/>
                    <a:gd name="connsiteX329" fmla="*/ 1478356 w 1787136"/>
                    <a:gd name="connsiteY329" fmla="*/ 303078 h 793560"/>
                    <a:gd name="connsiteX330" fmla="*/ 1478356 w 1787136"/>
                    <a:gd name="connsiteY330" fmla="*/ 303078 h 793560"/>
                    <a:gd name="connsiteX331" fmla="*/ 1478356 w 1787136"/>
                    <a:gd name="connsiteY331" fmla="*/ 303078 h 793560"/>
                    <a:gd name="connsiteX332" fmla="*/ 1478356 w 1787136"/>
                    <a:gd name="connsiteY332" fmla="*/ 303078 h 793560"/>
                    <a:gd name="connsiteX333" fmla="*/ 1478356 w 1787136"/>
                    <a:gd name="connsiteY333" fmla="*/ 303078 h 793560"/>
                    <a:gd name="connsiteX334" fmla="*/ 1478356 w 1787136"/>
                    <a:gd name="connsiteY334" fmla="*/ 303078 h 793560"/>
                    <a:gd name="connsiteX335" fmla="*/ 1478356 w 1787136"/>
                    <a:gd name="connsiteY335" fmla="*/ 303078 h 793560"/>
                    <a:gd name="connsiteX336" fmla="*/ 1478356 w 1787136"/>
                    <a:gd name="connsiteY336" fmla="*/ 303078 h 793560"/>
                    <a:gd name="connsiteX337" fmla="*/ 1478356 w 1787136"/>
                    <a:gd name="connsiteY337" fmla="*/ 303078 h 793560"/>
                    <a:gd name="connsiteX338" fmla="*/ 1478356 w 1787136"/>
                    <a:gd name="connsiteY338" fmla="*/ 303078 h 793560"/>
                    <a:gd name="connsiteX339" fmla="*/ 1478356 w 1787136"/>
                    <a:gd name="connsiteY339" fmla="*/ 303078 h 793560"/>
                    <a:gd name="connsiteX340" fmla="*/ 1478356 w 1787136"/>
                    <a:gd name="connsiteY340" fmla="*/ 303078 h 793560"/>
                    <a:gd name="connsiteX341" fmla="*/ 1478356 w 1787136"/>
                    <a:gd name="connsiteY341" fmla="*/ 303078 h 793560"/>
                    <a:gd name="connsiteX342" fmla="*/ 1478356 w 1787136"/>
                    <a:gd name="connsiteY342" fmla="*/ 303078 h 793560"/>
                    <a:gd name="connsiteX343" fmla="*/ 1478356 w 1787136"/>
                    <a:gd name="connsiteY343" fmla="*/ 303078 h 793560"/>
                    <a:gd name="connsiteX344" fmla="*/ 1478356 w 1787136"/>
                    <a:gd name="connsiteY344" fmla="*/ 303078 h 793560"/>
                    <a:gd name="connsiteX345" fmla="*/ 1478356 w 1787136"/>
                    <a:gd name="connsiteY345" fmla="*/ 303078 h 793560"/>
                    <a:gd name="connsiteX346" fmla="*/ 1478356 w 1787136"/>
                    <a:gd name="connsiteY346" fmla="*/ 303078 h 793560"/>
                    <a:gd name="connsiteX347" fmla="*/ 1478356 w 1787136"/>
                    <a:gd name="connsiteY347" fmla="*/ 303078 h 793560"/>
                    <a:gd name="connsiteX348" fmla="*/ 1478356 w 1787136"/>
                    <a:gd name="connsiteY348" fmla="*/ 303078 h 793560"/>
                    <a:gd name="connsiteX349" fmla="*/ 1478356 w 1787136"/>
                    <a:gd name="connsiteY349" fmla="*/ 303078 h 793560"/>
                    <a:gd name="connsiteX350" fmla="*/ 1478356 w 1787136"/>
                    <a:gd name="connsiteY350" fmla="*/ 303078 h 793560"/>
                    <a:gd name="connsiteX351" fmla="*/ 1478356 w 1787136"/>
                    <a:gd name="connsiteY351" fmla="*/ 303078 h 793560"/>
                    <a:gd name="connsiteX352" fmla="*/ 1478356 w 1787136"/>
                    <a:gd name="connsiteY352" fmla="*/ 303078 h 793560"/>
                    <a:gd name="connsiteX353" fmla="*/ 1478356 w 1787136"/>
                    <a:gd name="connsiteY353" fmla="*/ 303078 h 793560"/>
                    <a:gd name="connsiteX354" fmla="*/ 1478356 w 1787136"/>
                    <a:gd name="connsiteY354" fmla="*/ 303078 h 793560"/>
                    <a:gd name="connsiteX355" fmla="*/ 1478356 w 1787136"/>
                    <a:gd name="connsiteY355" fmla="*/ 303078 h 793560"/>
                    <a:gd name="connsiteX356" fmla="*/ 1478356 w 1787136"/>
                    <a:gd name="connsiteY356" fmla="*/ 303078 h 793560"/>
                    <a:gd name="connsiteX357" fmla="*/ 1478356 w 1787136"/>
                    <a:gd name="connsiteY357" fmla="*/ 303078 h 793560"/>
                    <a:gd name="connsiteX358" fmla="*/ 1478356 w 1787136"/>
                    <a:gd name="connsiteY358" fmla="*/ 303078 h 793560"/>
                    <a:gd name="connsiteX359" fmla="*/ 1478356 w 1787136"/>
                    <a:gd name="connsiteY359" fmla="*/ 303078 h 793560"/>
                    <a:gd name="connsiteX360" fmla="*/ 1478356 w 1787136"/>
                    <a:gd name="connsiteY360" fmla="*/ 303078 h 793560"/>
                    <a:gd name="connsiteX361" fmla="*/ 1478356 w 1787136"/>
                    <a:gd name="connsiteY361" fmla="*/ 303078 h 793560"/>
                    <a:gd name="connsiteX362" fmla="*/ 1478276 w 1787136"/>
                    <a:gd name="connsiteY362" fmla="*/ 303078 h 793560"/>
                    <a:gd name="connsiteX363" fmla="*/ 1478276 w 1787136"/>
                    <a:gd name="connsiteY363" fmla="*/ 303078 h 793560"/>
                    <a:gd name="connsiteX364" fmla="*/ 1478276 w 1787136"/>
                    <a:gd name="connsiteY364" fmla="*/ 303078 h 793560"/>
                    <a:gd name="connsiteX365" fmla="*/ 1478276 w 1787136"/>
                    <a:gd name="connsiteY365" fmla="*/ 303078 h 793560"/>
                    <a:gd name="connsiteX366" fmla="*/ 1478276 w 1787136"/>
                    <a:gd name="connsiteY366" fmla="*/ 303078 h 793560"/>
                    <a:gd name="connsiteX367" fmla="*/ 1478276 w 1787136"/>
                    <a:gd name="connsiteY367" fmla="*/ 303078 h 793560"/>
                    <a:gd name="connsiteX368" fmla="*/ 1478276 w 1787136"/>
                    <a:gd name="connsiteY368" fmla="*/ 303078 h 793560"/>
                    <a:gd name="connsiteX369" fmla="*/ 1478276 w 1787136"/>
                    <a:gd name="connsiteY369" fmla="*/ 303078 h 793560"/>
                    <a:gd name="connsiteX370" fmla="*/ 1478276 w 1787136"/>
                    <a:gd name="connsiteY370" fmla="*/ 303078 h 793560"/>
                    <a:gd name="connsiteX371" fmla="*/ 1478276 w 1787136"/>
                    <a:gd name="connsiteY371" fmla="*/ 303078 h 793560"/>
                    <a:gd name="connsiteX372" fmla="*/ 1478276 w 1787136"/>
                    <a:gd name="connsiteY372" fmla="*/ 303078 h 793560"/>
                    <a:gd name="connsiteX373" fmla="*/ 1478276 w 1787136"/>
                    <a:gd name="connsiteY373" fmla="*/ 303078 h 793560"/>
                    <a:gd name="connsiteX374" fmla="*/ 1478276 w 1787136"/>
                    <a:gd name="connsiteY374" fmla="*/ 302997 h 793560"/>
                    <a:gd name="connsiteX375" fmla="*/ 1478276 w 1787136"/>
                    <a:gd name="connsiteY375" fmla="*/ 302997 h 793560"/>
                    <a:gd name="connsiteX376" fmla="*/ 1478276 w 1787136"/>
                    <a:gd name="connsiteY376" fmla="*/ 302997 h 793560"/>
                    <a:gd name="connsiteX377" fmla="*/ 1478276 w 1787136"/>
                    <a:gd name="connsiteY377" fmla="*/ 302997 h 793560"/>
                    <a:gd name="connsiteX378" fmla="*/ 1478276 w 1787136"/>
                    <a:gd name="connsiteY378" fmla="*/ 302997 h 793560"/>
                    <a:gd name="connsiteX379" fmla="*/ 1478276 w 1787136"/>
                    <a:gd name="connsiteY379" fmla="*/ 302997 h 793560"/>
                    <a:gd name="connsiteX380" fmla="*/ 1478276 w 1787136"/>
                    <a:gd name="connsiteY380" fmla="*/ 302997 h 793560"/>
                    <a:gd name="connsiteX381" fmla="*/ 1478276 w 1787136"/>
                    <a:gd name="connsiteY381" fmla="*/ 302997 h 793560"/>
                    <a:gd name="connsiteX382" fmla="*/ 1478276 w 1787136"/>
                    <a:gd name="connsiteY382" fmla="*/ 302997 h 793560"/>
                    <a:gd name="connsiteX383" fmla="*/ 1478276 w 1787136"/>
                    <a:gd name="connsiteY383" fmla="*/ 302997 h 793560"/>
                    <a:gd name="connsiteX384" fmla="*/ 1478276 w 1787136"/>
                    <a:gd name="connsiteY384" fmla="*/ 302997 h 793560"/>
                    <a:gd name="connsiteX385" fmla="*/ 1478276 w 1787136"/>
                    <a:gd name="connsiteY385" fmla="*/ 302997 h 793560"/>
                    <a:gd name="connsiteX386" fmla="*/ 1478276 w 1787136"/>
                    <a:gd name="connsiteY386" fmla="*/ 302997 h 793560"/>
                    <a:gd name="connsiteX387" fmla="*/ 1478276 w 1787136"/>
                    <a:gd name="connsiteY387" fmla="*/ 302997 h 793560"/>
                    <a:gd name="connsiteX388" fmla="*/ 1478276 w 1787136"/>
                    <a:gd name="connsiteY388" fmla="*/ 302997 h 793560"/>
                    <a:gd name="connsiteX389" fmla="*/ 1478276 w 1787136"/>
                    <a:gd name="connsiteY389" fmla="*/ 302997 h 793560"/>
                    <a:gd name="connsiteX390" fmla="*/ 1478276 w 1787136"/>
                    <a:gd name="connsiteY390" fmla="*/ 302997 h 793560"/>
                    <a:gd name="connsiteX391" fmla="*/ 1478276 w 1787136"/>
                    <a:gd name="connsiteY391" fmla="*/ 302997 h 793560"/>
                    <a:gd name="connsiteX392" fmla="*/ 1478276 w 1787136"/>
                    <a:gd name="connsiteY392" fmla="*/ 302997 h 793560"/>
                    <a:gd name="connsiteX393" fmla="*/ 1478276 w 1787136"/>
                    <a:gd name="connsiteY393" fmla="*/ 302997 h 793560"/>
                    <a:gd name="connsiteX394" fmla="*/ 1478276 w 1787136"/>
                    <a:gd name="connsiteY394" fmla="*/ 302997 h 793560"/>
                    <a:gd name="connsiteX395" fmla="*/ 1478276 w 1787136"/>
                    <a:gd name="connsiteY395" fmla="*/ 302997 h 793560"/>
                    <a:gd name="connsiteX396" fmla="*/ 1478276 w 1787136"/>
                    <a:gd name="connsiteY396" fmla="*/ 302997 h 793560"/>
                    <a:gd name="connsiteX397" fmla="*/ 1478276 w 1787136"/>
                    <a:gd name="connsiteY397" fmla="*/ 302997 h 793560"/>
                    <a:gd name="connsiteX398" fmla="*/ 1478276 w 1787136"/>
                    <a:gd name="connsiteY398" fmla="*/ 302997 h 793560"/>
                    <a:gd name="connsiteX399" fmla="*/ 1478276 w 1787136"/>
                    <a:gd name="connsiteY399" fmla="*/ 302997 h 793560"/>
                    <a:gd name="connsiteX400" fmla="*/ 1478276 w 1787136"/>
                    <a:gd name="connsiteY400" fmla="*/ 302997 h 793560"/>
                    <a:gd name="connsiteX401" fmla="*/ 1478276 w 1787136"/>
                    <a:gd name="connsiteY401" fmla="*/ 302997 h 793560"/>
                    <a:gd name="connsiteX402" fmla="*/ 693552 w 1787136"/>
                    <a:gd name="connsiteY402" fmla="*/ 211182 h 793560"/>
                    <a:gd name="connsiteX403" fmla="*/ 695560 w 1787136"/>
                    <a:gd name="connsiteY403" fmla="*/ 212628 h 793560"/>
                    <a:gd name="connsiteX404" fmla="*/ 697408 w 1787136"/>
                    <a:gd name="connsiteY404" fmla="*/ 211102 h 793560"/>
                    <a:gd name="connsiteX405" fmla="*/ 695319 w 1787136"/>
                    <a:gd name="connsiteY405" fmla="*/ 210540 h 793560"/>
                    <a:gd name="connsiteX406" fmla="*/ 693552 w 1787136"/>
                    <a:gd name="connsiteY406" fmla="*/ 211182 h 793560"/>
                    <a:gd name="connsiteX407" fmla="*/ 693552 w 1787136"/>
                    <a:gd name="connsiteY407" fmla="*/ 211182 h 793560"/>
                    <a:gd name="connsiteX408" fmla="*/ 1464700 w 1787136"/>
                    <a:gd name="connsiteY408" fmla="*/ 288779 h 793560"/>
                    <a:gd name="connsiteX409" fmla="*/ 1472412 w 1787136"/>
                    <a:gd name="connsiteY409" fmla="*/ 294884 h 793560"/>
                    <a:gd name="connsiteX410" fmla="*/ 1464700 w 1787136"/>
                    <a:gd name="connsiteY410" fmla="*/ 288779 h 793560"/>
                    <a:gd name="connsiteX411" fmla="*/ 1464700 w 1787136"/>
                    <a:gd name="connsiteY411" fmla="*/ 288779 h 793560"/>
                    <a:gd name="connsiteX412" fmla="*/ 1441084 w 1787136"/>
                    <a:gd name="connsiteY412" fmla="*/ 270866 h 793560"/>
                    <a:gd name="connsiteX413" fmla="*/ 1444056 w 1787136"/>
                    <a:gd name="connsiteY413" fmla="*/ 272874 h 793560"/>
                    <a:gd name="connsiteX414" fmla="*/ 1440843 w 1787136"/>
                    <a:gd name="connsiteY414" fmla="*/ 270705 h 793560"/>
                    <a:gd name="connsiteX415" fmla="*/ 1441084 w 1787136"/>
                    <a:gd name="connsiteY415" fmla="*/ 270866 h 793560"/>
                    <a:gd name="connsiteX416" fmla="*/ 1140256 w 1787136"/>
                    <a:gd name="connsiteY416" fmla="*/ 189092 h 793560"/>
                    <a:gd name="connsiteX417" fmla="*/ 1253438 w 1787136"/>
                    <a:gd name="connsiteY417" fmla="*/ 237530 h 793560"/>
                    <a:gd name="connsiteX418" fmla="*/ 1213515 w 1787136"/>
                    <a:gd name="connsiteY418" fmla="*/ 222348 h 793560"/>
                    <a:gd name="connsiteX419" fmla="*/ 1135918 w 1787136"/>
                    <a:gd name="connsiteY419" fmla="*/ 184995 h 793560"/>
                    <a:gd name="connsiteX420" fmla="*/ 1140256 w 1787136"/>
                    <a:gd name="connsiteY420" fmla="*/ 189092 h 793560"/>
                    <a:gd name="connsiteX421" fmla="*/ 1238175 w 1787136"/>
                    <a:gd name="connsiteY421" fmla="*/ 217609 h 793560"/>
                    <a:gd name="connsiteX422" fmla="*/ 1241389 w 1787136"/>
                    <a:gd name="connsiteY422" fmla="*/ 219215 h 793560"/>
                    <a:gd name="connsiteX423" fmla="*/ 1244682 w 1787136"/>
                    <a:gd name="connsiteY423" fmla="*/ 216484 h 793560"/>
                    <a:gd name="connsiteX424" fmla="*/ 1240184 w 1787136"/>
                    <a:gd name="connsiteY424" fmla="*/ 215520 h 793560"/>
                    <a:gd name="connsiteX425" fmla="*/ 1223315 w 1787136"/>
                    <a:gd name="connsiteY425" fmla="*/ 193028 h 793560"/>
                    <a:gd name="connsiteX426" fmla="*/ 1231990 w 1787136"/>
                    <a:gd name="connsiteY426" fmla="*/ 199374 h 793560"/>
                    <a:gd name="connsiteX427" fmla="*/ 1240666 w 1787136"/>
                    <a:gd name="connsiteY427" fmla="*/ 204676 h 793560"/>
                    <a:gd name="connsiteX428" fmla="*/ 1233275 w 1787136"/>
                    <a:gd name="connsiteY428" fmla="*/ 199133 h 793560"/>
                    <a:gd name="connsiteX429" fmla="*/ 1240585 w 1787136"/>
                    <a:gd name="connsiteY429" fmla="*/ 196643 h 793560"/>
                    <a:gd name="connsiteX430" fmla="*/ 1230946 w 1787136"/>
                    <a:gd name="connsiteY430" fmla="*/ 193109 h 793560"/>
                    <a:gd name="connsiteX431" fmla="*/ 1230946 w 1787136"/>
                    <a:gd name="connsiteY431" fmla="*/ 193510 h 793560"/>
                    <a:gd name="connsiteX432" fmla="*/ 1225725 w 1787136"/>
                    <a:gd name="connsiteY432" fmla="*/ 191421 h 793560"/>
                    <a:gd name="connsiteX433" fmla="*/ 1223234 w 1787136"/>
                    <a:gd name="connsiteY433" fmla="*/ 190940 h 793560"/>
                    <a:gd name="connsiteX434" fmla="*/ 1221387 w 1787136"/>
                    <a:gd name="connsiteY434" fmla="*/ 189815 h 793560"/>
                    <a:gd name="connsiteX435" fmla="*/ 1218977 w 1787136"/>
                    <a:gd name="connsiteY435" fmla="*/ 190136 h 793560"/>
                    <a:gd name="connsiteX436" fmla="*/ 1233356 w 1787136"/>
                    <a:gd name="connsiteY436" fmla="*/ 211182 h 793560"/>
                    <a:gd name="connsiteX437" fmla="*/ 1233918 w 1787136"/>
                    <a:gd name="connsiteY437" fmla="*/ 209656 h 793560"/>
                    <a:gd name="connsiteX438" fmla="*/ 1237613 w 1787136"/>
                    <a:gd name="connsiteY438" fmla="*/ 217368 h 793560"/>
                    <a:gd name="connsiteX439" fmla="*/ 1238175 w 1787136"/>
                    <a:gd name="connsiteY439" fmla="*/ 217609 h 793560"/>
                    <a:gd name="connsiteX440" fmla="*/ 1055911 w 1787136"/>
                    <a:gd name="connsiteY440" fmla="*/ 116395 h 793560"/>
                    <a:gd name="connsiteX441" fmla="*/ 1070451 w 1787136"/>
                    <a:gd name="connsiteY441" fmla="*/ 120331 h 793560"/>
                    <a:gd name="connsiteX442" fmla="*/ 1066675 w 1787136"/>
                    <a:gd name="connsiteY442" fmla="*/ 117520 h 793560"/>
                    <a:gd name="connsiteX443" fmla="*/ 1066033 w 1787136"/>
                    <a:gd name="connsiteY443" fmla="*/ 117439 h 793560"/>
                    <a:gd name="connsiteX444" fmla="*/ 1061695 w 1787136"/>
                    <a:gd name="connsiteY444" fmla="*/ 117038 h 793560"/>
                    <a:gd name="connsiteX445" fmla="*/ 1055429 w 1787136"/>
                    <a:gd name="connsiteY445" fmla="*/ 116235 h 793560"/>
                    <a:gd name="connsiteX446" fmla="*/ 1055911 w 1787136"/>
                    <a:gd name="connsiteY446" fmla="*/ 116395 h 793560"/>
                    <a:gd name="connsiteX447" fmla="*/ 1021772 w 1787136"/>
                    <a:gd name="connsiteY447" fmla="*/ 105149 h 793560"/>
                    <a:gd name="connsiteX448" fmla="*/ 1031010 w 1787136"/>
                    <a:gd name="connsiteY448" fmla="*/ 106836 h 793560"/>
                    <a:gd name="connsiteX449" fmla="*/ 1036793 w 1787136"/>
                    <a:gd name="connsiteY449" fmla="*/ 109808 h 793560"/>
                    <a:gd name="connsiteX450" fmla="*/ 1038480 w 1787136"/>
                    <a:gd name="connsiteY450" fmla="*/ 112379 h 793560"/>
                    <a:gd name="connsiteX451" fmla="*/ 1041774 w 1787136"/>
                    <a:gd name="connsiteY451" fmla="*/ 112700 h 793560"/>
                    <a:gd name="connsiteX452" fmla="*/ 1041693 w 1787136"/>
                    <a:gd name="connsiteY452" fmla="*/ 112941 h 793560"/>
                    <a:gd name="connsiteX453" fmla="*/ 1040408 w 1787136"/>
                    <a:gd name="connsiteY453" fmla="*/ 113503 h 793560"/>
                    <a:gd name="connsiteX454" fmla="*/ 1048441 w 1787136"/>
                    <a:gd name="connsiteY454" fmla="*/ 114789 h 793560"/>
                    <a:gd name="connsiteX455" fmla="*/ 1046111 w 1787136"/>
                    <a:gd name="connsiteY455" fmla="*/ 111656 h 793560"/>
                    <a:gd name="connsiteX456" fmla="*/ 1046433 w 1787136"/>
                    <a:gd name="connsiteY456" fmla="*/ 111174 h 793560"/>
                    <a:gd name="connsiteX457" fmla="*/ 1039283 w 1787136"/>
                    <a:gd name="connsiteY457" fmla="*/ 107720 h 793560"/>
                    <a:gd name="connsiteX458" fmla="*/ 1044746 w 1787136"/>
                    <a:gd name="connsiteY458" fmla="*/ 106917 h 793560"/>
                    <a:gd name="connsiteX459" fmla="*/ 1042175 w 1787136"/>
                    <a:gd name="connsiteY459" fmla="*/ 105390 h 793560"/>
                    <a:gd name="connsiteX460" fmla="*/ 1042577 w 1787136"/>
                    <a:gd name="connsiteY460" fmla="*/ 105471 h 793560"/>
                    <a:gd name="connsiteX461" fmla="*/ 1046433 w 1787136"/>
                    <a:gd name="connsiteY461" fmla="*/ 105230 h 793560"/>
                    <a:gd name="connsiteX462" fmla="*/ 1041372 w 1787136"/>
                    <a:gd name="connsiteY462" fmla="*/ 103382 h 793560"/>
                    <a:gd name="connsiteX463" fmla="*/ 1048441 w 1787136"/>
                    <a:gd name="connsiteY463" fmla="*/ 103222 h 793560"/>
                    <a:gd name="connsiteX464" fmla="*/ 1038480 w 1787136"/>
                    <a:gd name="connsiteY464" fmla="*/ 106274 h 793560"/>
                    <a:gd name="connsiteX465" fmla="*/ 1030528 w 1787136"/>
                    <a:gd name="connsiteY465" fmla="*/ 101695 h 793560"/>
                    <a:gd name="connsiteX466" fmla="*/ 1032777 w 1787136"/>
                    <a:gd name="connsiteY466" fmla="*/ 104266 h 793560"/>
                    <a:gd name="connsiteX467" fmla="*/ 1027636 w 1787136"/>
                    <a:gd name="connsiteY467" fmla="*/ 102659 h 793560"/>
                    <a:gd name="connsiteX468" fmla="*/ 1023218 w 1787136"/>
                    <a:gd name="connsiteY468" fmla="*/ 102258 h 793560"/>
                    <a:gd name="connsiteX469" fmla="*/ 1022896 w 1787136"/>
                    <a:gd name="connsiteY469" fmla="*/ 101374 h 793560"/>
                    <a:gd name="connsiteX470" fmla="*/ 1018157 w 1787136"/>
                    <a:gd name="connsiteY470" fmla="*/ 100571 h 793560"/>
                    <a:gd name="connsiteX471" fmla="*/ 1020728 w 1787136"/>
                    <a:gd name="connsiteY471" fmla="*/ 104587 h 793560"/>
                    <a:gd name="connsiteX472" fmla="*/ 1021772 w 1787136"/>
                    <a:gd name="connsiteY472" fmla="*/ 105149 h 793560"/>
                    <a:gd name="connsiteX473" fmla="*/ 170376 w 1787136"/>
                    <a:gd name="connsiteY473" fmla="*/ 189413 h 793560"/>
                    <a:gd name="connsiteX474" fmla="*/ 170536 w 1787136"/>
                    <a:gd name="connsiteY474" fmla="*/ 189413 h 793560"/>
                    <a:gd name="connsiteX475" fmla="*/ 172143 w 1787136"/>
                    <a:gd name="connsiteY475" fmla="*/ 188128 h 793560"/>
                    <a:gd name="connsiteX476" fmla="*/ 171179 w 1787136"/>
                    <a:gd name="connsiteY476" fmla="*/ 188369 h 793560"/>
                    <a:gd name="connsiteX477" fmla="*/ 171259 w 1787136"/>
                    <a:gd name="connsiteY477" fmla="*/ 188208 h 793560"/>
                    <a:gd name="connsiteX478" fmla="*/ 170376 w 1787136"/>
                    <a:gd name="connsiteY478" fmla="*/ 189413 h 793560"/>
                    <a:gd name="connsiteX479" fmla="*/ 1129010 w 1787136"/>
                    <a:gd name="connsiteY479" fmla="*/ 86353 h 793560"/>
                    <a:gd name="connsiteX480" fmla="*/ 1146521 w 1787136"/>
                    <a:gd name="connsiteY480" fmla="*/ 92699 h 793560"/>
                    <a:gd name="connsiteX481" fmla="*/ 1152225 w 1787136"/>
                    <a:gd name="connsiteY481" fmla="*/ 94787 h 793560"/>
                    <a:gd name="connsiteX482" fmla="*/ 1151020 w 1787136"/>
                    <a:gd name="connsiteY482" fmla="*/ 94225 h 793560"/>
                    <a:gd name="connsiteX483" fmla="*/ 1128528 w 1787136"/>
                    <a:gd name="connsiteY483" fmla="*/ 86112 h 793560"/>
                    <a:gd name="connsiteX484" fmla="*/ 1129010 w 1787136"/>
                    <a:gd name="connsiteY484" fmla="*/ 86353 h 793560"/>
                    <a:gd name="connsiteX485" fmla="*/ 1123949 w 1787136"/>
                    <a:gd name="connsiteY485" fmla="*/ 83621 h 793560"/>
                    <a:gd name="connsiteX486" fmla="*/ 1139292 w 1787136"/>
                    <a:gd name="connsiteY486" fmla="*/ 89164 h 793560"/>
                    <a:gd name="connsiteX487" fmla="*/ 1134633 w 1787136"/>
                    <a:gd name="connsiteY487" fmla="*/ 87477 h 793560"/>
                    <a:gd name="connsiteX488" fmla="*/ 1122985 w 1787136"/>
                    <a:gd name="connsiteY488" fmla="*/ 83300 h 793560"/>
                    <a:gd name="connsiteX489" fmla="*/ 1123949 w 1787136"/>
                    <a:gd name="connsiteY489" fmla="*/ 83621 h 793560"/>
                    <a:gd name="connsiteX490" fmla="*/ 367741 w 1787136"/>
                    <a:gd name="connsiteY490" fmla="*/ 89646 h 793560"/>
                    <a:gd name="connsiteX491" fmla="*/ 375132 w 1787136"/>
                    <a:gd name="connsiteY491" fmla="*/ 86594 h 793560"/>
                    <a:gd name="connsiteX492" fmla="*/ 367260 w 1787136"/>
                    <a:gd name="connsiteY492" fmla="*/ 89566 h 793560"/>
                    <a:gd name="connsiteX493" fmla="*/ 367741 w 1787136"/>
                    <a:gd name="connsiteY493" fmla="*/ 89646 h 793560"/>
                    <a:gd name="connsiteX494" fmla="*/ 370955 w 1787136"/>
                    <a:gd name="connsiteY494" fmla="*/ 87076 h 793560"/>
                    <a:gd name="connsiteX495" fmla="*/ 371115 w 1787136"/>
                    <a:gd name="connsiteY495" fmla="*/ 87557 h 793560"/>
                    <a:gd name="connsiteX496" fmla="*/ 373204 w 1787136"/>
                    <a:gd name="connsiteY496" fmla="*/ 86192 h 793560"/>
                    <a:gd name="connsiteX497" fmla="*/ 372802 w 1787136"/>
                    <a:gd name="connsiteY497" fmla="*/ 85710 h 793560"/>
                    <a:gd name="connsiteX498" fmla="*/ 372963 w 1787136"/>
                    <a:gd name="connsiteY498" fmla="*/ 85469 h 793560"/>
                    <a:gd name="connsiteX499" fmla="*/ 368143 w 1787136"/>
                    <a:gd name="connsiteY499" fmla="*/ 87557 h 793560"/>
                    <a:gd name="connsiteX500" fmla="*/ 370955 w 1787136"/>
                    <a:gd name="connsiteY500" fmla="*/ 87076 h 793560"/>
                    <a:gd name="connsiteX501" fmla="*/ 1111498 w 1787136"/>
                    <a:gd name="connsiteY501" fmla="*/ 78239 h 793560"/>
                    <a:gd name="connsiteX502" fmla="*/ 1131420 w 1787136"/>
                    <a:gd name="connsiteY502" fmla="*/ 85710 h 793560"/>
                    <a:gd name="connsiteX503" fmla="*/ 1110856 w 1787136"/>
                    <a:gd name="connsiteY503" fmla="*/ 78079 h 793560"/>
                    <a:gd name="connsiteX504" fmla="*/ 1111498 w 1787136"/>
                    <a:gd name="connsiteY504" fmla="*/ 78239 h 793560"/>
                    <a:gd name="connsiteX505" fmla="*/ 530165 w 1787136"/>
                    <a:gd name="connsiteY505" fmla="*/ 34862 h 793560"/>
                    <a:gd name="connsiteX506" fmla="*/ 530084 w 1787136"/>
                    <a:gd name="connsiteY506" fmla="*/ 34461 h 793560"/>
                    <a:gd name="connsiteX507" fmla="*/ 528719 w 1787136"/>
                    <a:gd name="connsiteY507" fmla="*/ 34380 h 793560"/>
                    <a:gd name="connsiteX508" fmla="*/ 530165 w 1787136"/>
                    <a:gd name="connsiteY508" fmla="*/ 34862 h 793560"/>
                    <a:gd name="connsiteX509" fmla="*/ 570891 w 1787136"/>
                    <a:gd name="connsiteY509" fmla="*/ 25705 h 793560"/>
                    <a:gd name="connsiteX510" fmla="*/ 575470 w 1787136"/>
                    <a:gd name="connsiteY510" fmla="*/ 25303 h 793560"/>
                    <a:gd name="connsiteX511" fmla="*/ 570570 w 1787136"/>
                    <a:gd name="connsiteY511" fmla="*/ 25705 h 793560"/>
                    <a:gd name="connsiteX512" fmla="*/ 570891 w 1787136"/>
                    <a:gd name="connsiteY512" fmla="*/ 25705 h 793560"/>
                    <a:gd name="connsiteX513" fmla="*/ 868586 w 1787136"/>
                    <a:gd name="connsiteY513" fmla="*/ 11487 h 793560"/>
                    <a:gd name="connsiteX514" fmla="*/ 904573 w 1787136"/>
                    <a:gd name="connsiteY514" fmla="*/ 17833 h 793560"/>
                    <a:gd name="connsiteX515" fmla="*/ 924334 w 1787136"/>
                    <a:gd name="connsiteY515" fmla="*/ 22010 h 793560"/>
                    <a:gd name="connsiteX516" fmla="*/ 915016 w 1787136"/>
                    <a:gd name="connsiteY516" fmla="*/ 19921 h 793560"/>
                    <a:gd name="connsiteX517" fmla="*/ 865534 w 1787136"/>
                    <a:gd name="connsiteY517" fmla="*/ 10764 h 793560"/>
                    <a:gd name="connsiteX518" fmla="*/ 868586 w 1787136"/>
                    <a:gd name="connsiteY518" fmla="*/ 11487 h 793560"/>
                    <a:gd name="connsiteX519" fmla="*/ 0 w 1787136"/>
                    <a:gd name="connsiteY519" fmla="*/ 237450 h 793560"/>
                    <a:gd name="connsiteX520" fmla="*/ 2892 w 1787136"/>
                    <a:gd name="connsiteY520" fmla="*/ 233835 h 793560"/>
                    <a:gd name="connsiteX521" fmla="*/ 2892 w 1787136"/>
                    <a:gd name="connsiteY521" fmla="*/ 233835 h 793560"/>
                    <a:gd name="connsiteX522" fmla="*/ 56390 w 1787136"/>
                    <a:gd name="connsiteY522" fmla="*/ 204354 h 793560"/>
                    <a:gd name="connsiteX523" fmla="*/ 50767 w 1787136"/>
                    <a:gd name="connsiteY523" fmla="*/ 211584 h 793560"/>
                    <a:gd name="connsiteX524" fmla="*/ 360994 w 1787136"/>
                    <a:gd name="connsiteY524" fmla="*/ 98000 h 793560"/>
                    <a:gd name="connsiteX525" fmla="*/ 549283 w 1787136"/>
                    <a:gd name="connsiteY525" fmla="*/ 30846 h 793560"/>
                    <a:gd name="connsiteX526" fmla="*/ 531209 w 1787136"/>
                    <a:gd name="connsiteY526" fmla="*/ 32131 h 793560"/>
                    <a:gd name="connsiteX527" fmla="*/ 602781 w 1787136"/>
                    <a:gd name="connsiteY527" fmla="*/ 24741 h 793560"/>
                    <a:gd name="connsiteX528" fmla="*/ 593784 w 1787136"/>
                    <a:gd name="connsiteY528" fmla="*/ 26267 h 793560"/>
                    <a:gd name="connsiteX529" fmla="*/ 718935 w 1787136"/>
                    <a:gd name="connsiteY529" fmla="*/ 19198 h 793560"/>
                    <a:gd name="connsiteX530" fmla="*/ 701504 w 1787136"/>
                    <a:gd name="connsiteY530" fmla="*/ 14298 h 793560"/>
                    <a:gd name="connsiteX531" fmla="*/ 839749 w 1787136"/>
                    <a:gd name="connsiteY531" fmla="*/ 13334 h 793560"/>
                    <a:gd name="connsiteX532" fmla="*/ 831314 w 1787136"/>
                    <a:gd name="connsiteY532" fmla="*/ 9800 h 793560"/>
                    <a:gd name="connsiteX533" fmla="*/ 844890 w 1787136"/>
                    <a:gd name="connsiteY533" fmla="*/ 10684 h 793560"/>
                    <a:gd name="connsiteX534" fmla="*/ 921683 w 1787136"/>
                    <a:gd name="connsiteY534" fmla="*/ 24098 h 793560"/>
                    <a:gd name="connsiteX535" fmla="*/ 776209 w 1787136"/>
                    <a:gd name="connsiteY535" fmla="*/ 0 h 793560"/>
                    <a:gd name="connsiteX536" fmla="*/ 816534 w 1787136"/>
                    <a:gd name="connsiteY536" fmla="*/ 3936 h 793560"/>
                    <a:gd name="connsiteX537" fmla="*/ 937508 w 1787136"/>
                    <a:gd name="connsiteY537" fmla="*/ 24902 h 793560"/>
                    <a:gd name="connsiteX538" fmla="*/ 1135838 w 1787136"/>
                    <a:gd name="connsiteY538" fmla="*/ 87557 h 793560"/>
                    <a:gd name="connsiteX539" fmla="*/ 1327902 w 1787136"/>
                    <a:gd name="connsiteY539" fmla="*/ 187164 h 793560"/>
                    <a:gd name="connsiteX540" fmla="*/ 1493136 w 1787136"/>
                    <a:gd name="connsiteY540" fmla="*/ 313038 h 793560"/>
                    <a:gd name="connsiteX541" fmla="*/ 1632827 w 1787136"/>
                    <a:gd name="connsiteY541" fmla="*/ 462287 h 793560"/>
                    <a:gd name="connsiteX542" fmla="*/ 1745607 w 1787136"/>
                    <a:gd name="connsiteY542" fmla="*/ 632503 h 793560"/>
                    <a:gd name="connsiteX543" fmla="*/ 1770750 w 1787136"/>
                    <a:gd name="connsiteY543" fmla="*/ 680940 h 793560"/>
                    <a:gd name="connsiteX544" fmla="*/ 1770027 w 1787136"/>
                    <a:gd name="connsiteY544" fmla="*/ 679575 h 793560"/>
                    <a:gd name="connsiteX545" fmla="*/ 1773481 w 1787136"/>
                    <a:gd name="connsiteY545" fmla="*/ 688009 h 793560"/>
                    <a:gd name="connsiteX546" fmla="*/ 1772276 w 1787136"/>
                    <a:gd name="connsiteY546" fmla="*/ 686001 h 793560"/>
                    <a:gd name="connsiteX547" fmla="*/ 1772437 w 1787136"/>
                    <a:gd name="connsiteY547" fmla="*/ 686483 h 793560"/>
                    <a:gd name="connsiteX548" fmla="*/ 1771794 w 1787136"/>
                    <a:gd name="connsiteY548" fmla="*/ 685118 h 793560"/>
                    <a:gd name="connsiteX549" fmla="*/ 1774686 w 1787136"/>
                    <a:gd name="connsiteY549" fmla="*/ 695962 h 793560"/>
                    <a:gd name="connsiteX550" fmla="*/ 1760789 w 1787136"/>
                    <a:gd name="connsiteY550" fmla="*/ 679334 h 793560"/>
                    <a:gd name="connsiteX551" fmla="*/ 1759665 w 1787136"/>
                    <a:gd name="connsiteY551" fmla="*/ 679414 h 793560"/>
                    <a:gd name="connsiteX552" fmla="*/ 1760147 w 1787136"/>
                    <a:gd name="connsiteY552" fmla="*/ 680057 h 793560"/>
                    <a:gd name="connsiteX553" fmla="*/ 1762958 w 1787136"/>
                    <a:gd name="connsiteY553" fmla="*/ 684475 h 793560"/>
                    <a:gd name="connsiteX554" fmla="*/ 1782478 w 1787136"/>
                    <a:gd name="connsiteY554" fmla="*/ 741990 h 793560"/>
                    <a:gd name="connsiteX555" fmla="*/ 1782237 w 1787136"/>
                    <a:gd name="connsiteY555" fmla="*/ 743034 h 793560"/>
                    <a:gd name="connsiteX556" fmla="*/ 1782960 w 1787136"/>
                    <a:gd name="connsiteY556" fmla="*/ 743757 h 793560"/>
                    <a:gd name="connsiteX557" fmla="*/ 1787137 w 1787136"/>
                    <a:gd name="connsiteY557" fmla="*/ 792275 h 793560"/>
                    <a:gd name="connsiteX558" fmla="*/ 1777417 w 1787136"/>
                    <a:gd name="connsiteY558" fmla="*/ 793560 h 793560"/>
                    <a:gd name="connsiteX559" fmla="*/ 1746170 w 1787136"/>
                    <a:gd name="connsiteY559" fmla="*/ 727611 h 793560"/>
                    <a:gd name="connsiteX560" fmla="*/ 1745768 w 1787136"/>
                    <a:gd name="connsiteY560" fmla="*/ 729378 h 793560"/>
                    <a:gd name="connsiteX561" fmla="*/ 1665922 w 1787136"/>
                    <a:gd name="connsiteY561" fmla="*/ 630735 h 793560"/>
                    <a:gd name="connsiteX562" fmla="*/ 1632747 w 1787136"/>
                    <a:gd name="connsiteY562" fmla="*/ 601496 h 793560"/>
                    <a:gd name="connsiteX563" fmla="*/ 1630096 w 1787136"/>
                    <a:gd name="connsiteY563" fmla="*/ 598765 h 793560"/>
                    <a:gd name="connsiteX564" fmla="*/ 1629132 w 1787136"/>
                    <a:gd name="connsiteY564" fmla="*/ 596998 h 793560"/>
                    <a:gd name="connsiteX565" fmla="*/ 1605274 w 1787136"/>
                    <a:gd name="connsiteY565" fmla="*/ 574827 h 793560"/>
                    <a:gd name="connsiteX566" fmla="*/ 1596358 w 1787136"/>
                    <a:gd name="connsiteY566" fmla="*/ 582779 h 793560"/>
                    <a:gd name="connsiteX567" fmla="*/ 1593466 w 1787136"/>
                    <a:gd name="connsiteY567" fmla="*/ 601898 h 793560"/>
                    <a:gd name="connsiteX568" fmla="*/ 1590735 w 1787136"/>
                    <a:gd name="connsiteY568" fmla="*/ 600693 h 793560"/>
                    <a:gd name="connsiteX569" fmla="*/ 1590574 w 1787136"/>
                    <a:gd name="connsiteY569" fmla="*/ 601978 h 793560"/>
                    <a:gd name="connsiteX570" fmla="*/ 1585996 w 1787136"/>
                    <a:gd name="connsiteY570" fmla="*/ 602942 h 793560"/>
                    <a:gd name="connsiteX571" fmla="*/ 1582140 w 1787136"/>
                    <a:gd name="connsiteY571" fmla="*/ 611457 h 793560"/>
                    <a:gd name="connsiteX572" fmla="*/ 1583184 w 1787136"/>
                    <a:gd name="connsiteY572" fmla="*/ 611858 h 793560"/>
                    <a:gd name="connsiteX573" fmla="*/ 1589771 w 1787136"/>
                    <a:gd name="connsiteY573" fmla="*/ 633788 h 793560"/>
                    <a:gd name="connsiteX574" fmla="*/ 1582220 w 1787136"/>
                    <a:gd name="connsiteY574" fmla="*/ 639170 h 793560"/>
                    <a:gd name="connsiteX575" fmla="*/ 1552901 w 1787136"/>
                    <a:gd name="connsiteY575" fmla="*/ 616196 h 793560"/>
                    <a:gd name="connsiteX576" fmla="*/ 1546073 w 1787136"/>
                    <a:gd name="connsiteY576" fmla="*/ 622703 h 793560"/>
                    <a:gd name="connsiteX577" fmla="*/ 1548241 w 1787136"/>
                    <a:gd name="connsiteY577" fmla="*/ 640857 h 793560"/>
                    <a:gd name="connsiteX578" fmla="*/ 1547518 w 1787136"/>
                    <a:gd name="connsiteY578" fmla="*/ 641098 h 793560"/>
                    <a:gd name="connsiteX579" fmla="*/ 1547759 w 1787136"/>
                    <a:gd name="connsiteY579" fmla="*/ 650094 h 793560"/>
                    <a:gd name="connsiteX580" fmla="*/ 1546153 w 1787136"/>
                    <a:gd name="connsiteY580" fmla="*/ 647765 h 793560"/>
                    <a:gd name="connsiteX581" fmla="*/ 1558363 w 1787136"/>
                    <a:gd name="connsiteY581" fmla="*/ 709216 h 793560"/>
                    <a:gd name="connsiteX582" fmla="*/ 1536273 w 1787136"/>
                    <a:gd name="connsiteY582" fmla="*/ 746568 h 793560"/>
                    <a:gd name="connsiteX583" fmla="*/ 1537638 w 1787136"/>
                    <a:gd name="connsiteY583" fmla="*/ 747532 h 793560"/>
                    <a:gd name="connsiteX584" fmla="*/ 1492976 w 1787136"/>
                    <a:gd name="connsiteY584" fmla="*/ 766088 h 793560"/>
                    <a:gd name="connsiteX585" fmla="*/ 1492735 w 1787136"/>
                    <a:gd name="connsiteY585" fmla="*/ 764240 h 793560"/>
                    <a:gd name="connsiteX586" fmla="*/ 1532176 w 1787136"/>
                    <a:gd name="connsiteY586" fmla="*/ 710662 h 793560"/>
                    <a:gd name="connsiteX587" fmla="*/ 1512496 w 1787136"/>
                    <a:gd name="connsiteY587" fmla="*/ 644391 h 793560"/>
                    <a:gd name="connsiteX588" fmla="*/ 1492012 w 1787136"/>
                    <a:gd name="connsiteY588" fmla="*/ 652826 h 793560"/>
                    <a:gd name="connsiteX589" fmla="*/ 1491369 w 1787136"/>
                    <a:gd name="connsiteY589" fmla="*/ 652022 h 793560"/>
                    <a:gd name="connsiteX590" fmla="*/ 1486791 w 1787136"/>
                    <a:gd name="connsiteY590" fmla="*/ 653147 h 793560"/>
                    <a:gd name="connsiteX591" fmla="*/ 1482614 w 1787136"/>
                    <a:gd name="connsiteY591" fmla="*/ 656681 h 793560"/>
                    <a:gd name="connsiteX592" fmla="*/ 1476750 w 1787136"/>
                    <a:gd name="connsiteY592" fmla="*/ 665357 h 793560"/>
                    <a:gd name="connsiteX593" fmla="*/ 1456748 w 1787136"/>
                    <a:gd name="connsiteY593" fmla="*/ 670739 h 793560"/>
                    <a:gd name="connsiteX594" fmla="*/ 1463174 w 1787136"/>
                    <a:gd name="connsiteY594" fmla="*/ 686001 h 793560"/>
                    <a:gd name="connsiteX595" fmla="*/ 1426545 w 1787136"/>
                    <a:gd name="connsiteY595" fmla="*/ 660698 h 793560"/>
                    <a:gd name="connsiteX596" fmla="*/ 1381481 w 1787136"/>
                    <a:gd name="connsiteY596" fmla="*/ 639973 h 793560"/>
                    <a:gd name="connsiteX597" fmla="*/ 1381159 w 1787136"/>
                    <a:gd name="connsiteY597" fmla="*/ 641017 h 793560"/>
                    <a:gd name="connsiteX598" fmla="*/ 1378910 w 1787136"/>
                    <a:gd name="connsiteY598" fmla="*/ 635796 h 793560"/>
                    <a:gd name="connsiteX599" fmla="*/ 1375938 w 1787136"/>
                    <a:gd name="connsiteY599" fmla="*/ 633306 h 793560"/>
                    <a:gd name="connsiteX600" fmla="*/ 1375135 w 1787136"/>
                    <a:gd name="connsiteY600" fmla="*/ 621176 h 793560"/>
                    <a:gd name="connsiteX601" fmla="*/ 1409917 w 1787136"/>
                    <a:gd name="connsiteY601" fmla="*/ 585189 h 793560"/>
                    <a:gd name="connsiteX602" fmla="*/ 1408230 w 1787136"/>
                    <a:gd name="connsiteY602" fmla="*/ 585350 h 793560"/>
                    <a:gd name="connsiteX603" fmla="*/ 1341477 w 1787136"/>
                    <a:gd name="connsiteY603" fmla="*/ 538920 h 793560"/>
                    <a:gd name="connsiteX604" fmla="*/ 1338987 w 1787136"/>
                    <a:gd name="connsiteY604" fmla="*/ 539402 h 793560"/>
                    <a:gd name="connsiteX605" fmla="*/ 1344690 w 1787136"/>
                    <a:gd name="connsiteY605" fmla="*/ 546632 h 793560"/>
                    <a:gd name="connsiteX606" fmla="*/ 1334489 w 1787136"/>
                    <a:gd name="connsiteY606" fmla="*/ 548158 h 793560"/>
                    <a:gd name="connsiteX607" fmla="*/ 1276171 w 1787136"/>
                    <a:gd name="connsiteY607" fmla="*/ 519160 h 793560"/>
                    <a:gd name="connsiteX608" fmla="*/ 1202992 w 1787136"/>
                    <a:gd name="connsiteY608" fmla="*/ 506388 h 793560"/>
                    <a:gd name="connsiteX609" fmla="*/ 1199377 w 1787136"/>
                    <a:gd name="connsiteY609" fmla="*/ 505745 h 793560"/>
                    <a:gd name="connsiteX610" fmla="*/ 1190380 w 1787136"/>
                    <a:gd name="connsiteY610" fmla="*/ 498837 h 793560"/>
                    <a:gd name="connsiteX611" fmla="*/ 1163069 w 1787136"/>
                    <a:gd name="connsiteY611" fmla="*/ 489519 h 793560"/>
                    <a:gd name="connsiteX612" fmla="*/ 1153831 w 1787136"/>
                    <a:gd name="connsiteY612" fmla="*/ 474337 h 793560"/>
                    <a:gd name="connsiteX613" fmla="*/ 1149413 w 1787136"/>
                    <a:gd name="connsiteY613" fmla="*/ 475140 h 793560"/>
                    <a:gd name="connsiteX614" fmla="*/ 1102582 w 1787136"/>
                    <a:gd name="connsiteY614" fmla="*/ 446463 h 793560"/>
                    <a:gd name="connsiteX615" fmla="*/ 1130616 w 1787136"/>
                    <a:gd name="connsiteY615" fmla="*/ 438430 h 793560"/>
                    <a:gd name="connsiteX616" fmla="*/ 1105072 w 1787136"/>
                    <a:gd name="connsiteY616" fmla="*/ 430638 h 793560"/>
                    <a:gd name="connsiteX617" fmla="*/ 1126680 w 1787136"/>
                    <a:gd name="connsiteY617" fmla="*/ 421079 h 793560"/>
                    <a:gd name="connsiteX618" fmla="*/ 1095513 w 1787136"/>
                    <a:gd name="connsiteY618" fmla="*/ 422927 h 793560"/>
                    <a:gd name="connsiteX619" fmla="*/ 1118406 w 1787136"/>
                    <a:gd name="connsiteY619" fmla="*/ 395615 h 793560"/>
                    <a:gd name="connsiteX620" fmla="*/ 1063944 w 1787136"/>
                    <a:gd name="connsiteY620" fmla="*/ 365974 h 793560"/>
                    <a:gd name="connsiteX621" fmla="*/ 1131821 w 1787136"/>
                    <a:gd name="connsiteY621" fmla="*/ 357942 h 793560"/>
                    <a:gd name="connsiteX622" fmla="*/ 1055510 w 1787136"/>
                    <a:gd name="connsiteY622" fmla="*/ 327417 h 793560"/>
                    <a:gd name="connsiteX623" fmla="*/ 1056474 w 1787136"/>
                    <a:gd name="connsiteY623" fmla="*/ 336414 h 793560"/>
                    <a:gd name="connsiteX624" fmla="*/ 1072700 w 1787136"/>
                    <a:gd name="connsiteY624" fmla="*/ 343965 h 793560"/>
                    <a:gd name="connsiteX625" fmla="*/ 1063462 w 1787136"/>
                    <a:gd name="connsiteY625" fmla="*/ 343884 h 793560"/>
                    <a:gd name="connsiteX626" fmla="*/ 1073342 w 1787136"/>
                    <a:gd name="connsiteY626" fmla="*/ 347579 h 793560"/>
                    <a:gd name="connsiteX627" fmla="*/ 1002011 w 1787136"/>
                    <a:gd name="connsiteY627" fmla="*/ 351274 h 793560"/>
                    <a:gd name="connsiteX628" fmla="*/ 1012052 w 1787136"/>
                    <a:gd name="connsiteY628" fmla="*/ 353283 h 793560"/>
                    <a:gd name="connsiteX629" fmla="*/ 986267 w 1787136"/>
                    <a:gd name="connsiteY629" fmla="*/ 364127 h 793560"/>
                    <a:gd name="connsiteX630" fmla="*/ 993336 w 1787136"/>
                    <a:gd name="connsiteY630" fmla="*/ 369830 h 793560"/>
                    <a:gd name="connsiteX631" fmla="*/ 1001529 w 1787136"/>
                    <a:gd name="connsiteY631" fmla="*/ 392081 h 793560"/>
                    <a:gd name="connsiteX632" fmla="*/ 1000967 w 1787136"/>
                    <a:gd name="connsiteY632" fmla="*/ 392723 h 793560"/>
                    <a:gd name="connsiteX633" fmla="*/ 940882 w 1787136"/>
                    <a:gd name="connsiteY633" fmla="*/ 380514 h 793560"/>
                    <a:gd name="connsiteX634" fmla="*/ 964418 w 1787136"/>
                    <a:gd name="connsiteY634" fmla="*/ 344928 h 793560"/>
                    <a:gd name="connsiteX635" fmla="*/ 679816 w 1787136"/>
                    <a:gd name="connsiteY635" fmla="*/ 216886 h 793560"/>
                    <a:gd name="connsiteX636" fmla="*/ 732511 w 1787136"/>
                    <a:gd name="connsiteY636" fmla="*/ 201061 h 793560"/>
                    <a:gd name="connsiteX637" fmla="*/ 737411 w 1787136"/>
                    <a:gd name="connsiteY637" fmla="*/ 203310 h 793560"/>
                    <a:gd name="connsiteX638" fmla="*/ 736045 w 1787136"/>
                    <a:gd name="connsiteY638" fmla="*/ 192627 h 793560"/>
                    <a:gd name="connsiteX639" fmla="*/ 506950 w 1787136"/>
                    <a:gd name="connsiteY639" fmla="*/ 168448 h 793560"/>
                    <a:gd name="connsiteX640" fmla="*/ 486868 w 1787136"/>
                    <a:gd name="connsiteY640" fmla="*/ 172625 h 793560"/>
                    <a:gd name="connsiteX641" fmla="*/ 495543 w 1787136"/>
                    <a:gd name="connsiteY641" fmla="*/ 174713 h 793560"/>
                    <a:gd name="connsiteX642" fmla="*/ 440920 w 1787136"/>
                    <a:gd name="connsiteY642" fmla="*/ 183550 h 793560"/>
                    <a:gd name="connsiteX643" fmla="*/ 359066 w 1787136"/>
                    <a:gd name="connsiteY643" fmla="*/ 170536 h 793560"/>
                    <a:gd name="connsiteX644" fmla="*/ 365573 w 1787136"/>
                    <a:gd name="connsiteY644" fmla="*/ 178248 h 793560"/>
                    <a:gd name="connsiteX645" fmla="*/ 289341 w 1787136"/>
                    <a:gd name="connsiteY645" fmla="*/ 179292 h 793560"/>
                    <a:gd name="connsiteX646" fmla="*/ 416501 w 1787136"/>
                    <a:gd name="connsiteY646" fmla="*/ 279863 h 793560"/>
                    <a:gd name="connsiteX647" fmla="*/ 320830 w 1787136"/>
                    <a:gd name="connsiteY647" fmla="*/ 242430 h 793560"/>
                    <a:gd name="connsiteX648" fmla="*/ 313279 w 1787136"/>
                    <a:gd name="connsiteY648" fmla="*/ 239458 h 793560"/>
                    <a:gd name="connsiteX649" fmla="*/ 313279 w 1787136"/>
                    <a:gd name="connsiteY649" fmla="*/ 239458 h 793560"/>
                    <a:gd name="connsiteX650" fmla="*/ 313279 w 1787136"/>
                    <a:gd name="connsiteY650" fmla="*/ 239458 h 793560"/>
                    <a:gd name="connsiteX651" fmla="*/ 313279 w 1787136"/>
                    <a:gd name="connsiteY651" fmla="*/ 239458 h 793560"/>
                    <a:gd name="connsiteX652" fmla="*/ 313279 w 1787136"/>
                    <a:gd name="connsiteY652" fmla="*/ 239458 h 793560"/>
                    <a:gd name="connsiteX653" fmla="*/ 313279 w 1787136"/>
                    <a:gd name="connsiteY653" fmla="*/ 239458 h 793560"/>
                    <a:gd name="connsiteX654" fmla="*/ 313279 w 1787136"/>
                    <a:gd name="connsiteY654" fmla="*/ 239458 h 793560"/>
                    <a:gd name="connsiteX655" fmla="*/ 313279 w 1787136"/>
                    <a:gd name="connsiteY655" fmla="*/ 239458 h 793560"/>
                    <a:gd name="connsiteX656" fmla="*/ 324284 w 1787136"/>
                    <a:gd name="connsiteY656" fmla="*/ 223553 h 793560"/>
                    <a:gd name="connsiteX657" fmla="*/ 323882 w 1787136"/>
                    <a:gd name="connsiteY657" fmla="*/ 222910 h 793560"/>
                    <a:gd name="connsiteX658" fmla="*/ 326051 w 1787136"/>
                    <a:gd name="connsiteY658" fmla="*/ 214074 h 793560"/>
                    <a:gd name="connsiteX659" fmla="*/ 307415 w 1787136"/>
                    <a:gd name="connsiteY659" fmla="*/ 202748 h 793560"/>
                    <a:gd name="connsiteX660" fmla="*/ 103061 w 1787136"/>
                    <a:gd name="connsiteY660" fmla="*/ 233273 h 793560"/>
                    <a:gd name="connsiteX661" fmla="*/ 103543 w 1787136"/>
                    <a:gd name="connsiteY661" fmla="*/ 224035 h 793560"/>
                    <a:gd name="connsiteX662" fmla="*/ 151258 w 1787136"/>
                    <a:gd name="connsiteY662" fmla="*/ 194394 h 793560"/>
                    <a:gd name="connsiteX663" fmla="*/ 107559 w 1787136"/>
                    <a:gd name="connsiteY663" fmla="*/ 202909 h 793560"/>
                    <a:gd name="connsiteX664" fmla="*/ 111576 w 1787136"/>
                    <a:gd name="connsiteY664" fmla="*/ 191261 h 793560"/>
                    <a:gd name="connsiteX665" fmla="*/ 101454 w 1787136"/>
                    <a:gd name="connsiteY665" fmla="*/ 196322 h 793560"/>
                    <a:gd name="connsiteX666" fmla="*/ 14379 w 1787136"/>
                    <a:gd name="connsiteY666" fmla="*/ 245322 h 793560"/>
                    <a:gd name="connsiteX667" fmla="*/ 22251 w 1787136"/>
                    <a:gd name="connsiteY667" fmla="*/ 238253 h 793560"/>
                    <a:gd name="connsiteX668" fmla="*/ 20725 w 1787136"/>
                    <a:gd name="connsiteY668" fmla="*/ 232791 h 793560"/>
                    <a:gd name="connsiteX669" fmla="*/ 402 w 1787136"/>
                    <a:gd name="connsiteY669" fmla="*/ 237289 h 793560"/>
                    <a:gd name="connsiteX670" fmla="*/ 0 w 1787136"/>
                    <a:gd name="connsiteY670" fmla="*/ 237450 h 793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</a:cxnLst>
                  <a:rect l="l" t="t" r="r" b="b"/>
                  <a:pathLst>
                    <a:path w="1787136" h="793560">
                      <a:moveTo>
                        <a:pt x="552737" y="21046"/>
                      </a:moveTo>
                      <a:cubicBezTo>
                        <a:pt x="552255" y="21046"/>
                        <a:pt x="551693" y="20965"/>
                        <a:pt x="551211" y="20965"/>
                      </a:cubicBezTo>
                      <a:cubicBezTo>
                        <a:pt x="556673" y="18074"/>
                        <a:pt x="559806" y="16708"/>
                        <a:pt x="564866" y="16307"/>
                      </a:cubicBezTo>
                      <a:cubicBezTo>
                        <a:pt x="573060" y="15985"/>
                        <a:pt x="581173" y="17351"/>
                        <a:pt x="589286" y="17029"/>
                      </a:cubicBezTo>
                      <a:cubicBezTo>
                        <a:pt x="576996" y="17672"/>
                        <a:pt x="565107" y="21447"/>
                        <a:pt x="552737" y="21046"/>
                      </a:cubicBezTo>
                      <a:moveTo>
                        <a:pt x="572417" y="13094"/>
                      </a:moveTo>
                      <a:lnTo>
                        <a:pt x="572417" y="13094"/>
                      </a:lnTo>
                      <a:cubicBezTo>
                        <a:pt x="574425" y="13575"/>
                        <a:pt x="576353" y="14057"/>
                        <a:pt x="578281" y="14620"/>
                      </a:cubicBezTo>
                      <a:cubicBezTo>
                        <a:pt x="576353" y="14138"/>
                        <a:pt x="574345" y="13656"/>
                        <a:pt x="572417" y="13094"/>
                      </a:cubicBezTo>
                      <a:moveTo>
                        <a:pt x="904573" y="17913"/>
                      </a:moveTo>
                      <a:lnTo>
                        <a:pt x="904413" y="17913"/>
                      </a:lnTo>
                      <a:lnTo>
                        <a:pt x="904573" y="17913"/>
                      </a:lnTo>
                      <a:lnTo>
                        <a:pt x="904573" y="17913"/>
                      </a:lnTo>
                      <a:cubicBezTo>
                        <a:pt x="904654" y="17913"/>
                        <a:pt x="904573" y="17913"/>
                        <a:pt x="904573" y="17913"/>
                      </a:cubicBezTo>
                      <a:moveTo>
                        <a:pt x="477068" y="20484"/>
                      </a:moveTo>
                      <a:cubicBezTo>
                        <a:pt x="476506" y="20403"/>
                        <a:pt x="475783" y="20323"/>
                        <a:pt x="475220" y="20243"/>
                      </a:cubicBezTo>
                      <a:cubicBezTo>
                        <a:pt x="482691" y="19118"/>
                        <a:pt x="482691" y="19118"/>
                        <a:pt x="490884" y="17351"/>
                      </a:cubicBezTo>
                      <a:cubicBezTo>
                        <a:pt x="512894" y="12531"/>
                        <a:pt x="512894" y="12531"/>
                        <a:pt x="513858" y="12612"/>
                      </a:cubicBezTo>
                      <a:cubicBezTo>
                        <a:pt x="515706" y="12933"/>
                        <a:pt x="515866" y="13013"/>
                        <a:pt x="516107" y="13495"/>
                      </a:cubicBezTo>
                      <a:cubicBezTo>
                        <a:pt x="514420" y="15182"/>
                        <a:pt x="491768" y="21769"/>
                        <a:pt x="477068" y="20484"/>
                      </a:cubicBezTo>
                      <a:moveTo>
                        <a:pt x="525586" y="11326"/>
                      </a:moveTo>
                      <a:cubicBezTo>
                        <a:pt x="524622" y="11326"/>
                        <a:pt x="523417" y="11326"/>
                        <a:pt x="522534" y="11326"/>
                      </a:cubicBezTo>
                      <a:cubicBezTo>
                        <a:pt x="552897" y="4900"/>
                        <a:pt x="552897" y="4900"/>
                        <a:pt x="557155" y="4739"/>
                      </a:cubicBezTo>
                      <a:cubicBezTo>
                        <a:pt x="568320" y="4338"/>
                        <a:pt x="579406" y="3053"/>
                        <a:pt x="590491" y="2972"/>
                      </a:cubicBezTo>
                      <a:cubicBezTo>
                        <a:pt x="594025" y="2972"/>
                        <a:pt x="594427" y="4016"/>
                        <a:pt x="594507" y="4418"/>
                      </a:cubicBezTo>
                      <a:cubicBezTo>
                        <a:pt x="597560" y="4177"/>
                        <a:pt x="597560" y="4177"/>
                        <a:pt x="598042" y="4498"/>
                      </a:cubicBezTo>
                      <a:cubicBezTo>
                        <a:pt x="570971" y="9961"/>
                        <a:pt x="566553" y="10603"/>
                        <a:pt x="545427" y="11487"/>
                      </a:cubicBezTo>
                      <a:cubicBezTo>
                        <a:pt x="547997" y="10362"/>
                        <a:pt x="548479" y="10121"/>
                        <a:pt x="549042" y="9238"/>
                      </a:cubicBezTo>
                      <a:cubicBezTo>
                        <a:pt x="548881" y="8836"/>
                        <a:pt x="548881" y="8836"/>
                        <a:pt x="545668" y="7390"/>
                      </a:cubicBezTo>
                      <a:cubicBezTo>
                        <a:pt x="546712" y="10924"/>
                        <a:pt x="541812" y="11406"/>
                        <a:pt x="525586" y="11326"/>
                      </a:cubicBezTo>
                      <a:moveTo>
                        <a:pt x="1455382" y="645837"/>
                      </a:moveTo>
                      <a:cubicBezTo>
                        <a:pt x="1462773" y="641660"/>
                        <a:pt x="1463977" y="640937"/>
                        <a:pt x="1464138" y="640776"/>
                      </a:cubicBezTo>
                      <a:cubicBezTo>
                        <a:pt x="1464058" y="640776"/>
                        <a:pt x="1463817" y="640857"/>
                        <a:pt x="1454900" y="645676"/>
                      </a:cubicBezTo>
                      <a:lnTo>
                        <a:pt x="1455382" y="645837"/>
                      </a:lnTo>
                      <a:moveTo>
                        <a:pt x="1461327" y="585993"/>
                      </a:moveTo>
                      <a:cubicBezTo>
                        <a:pt x="1462371" y="585912"/>
                        <a:pt x="1463495" y="585832"/>
                        <a:pt x="1464540" y="585671"/>
                      </a:cubicBezTo>
                      <a:cubicBezTo>
                        <a:pt x="1464941" y="585591"/>
                        <a:pt x="1465343" y="585591"/>
                        <a:pt x="1465745" y="585511"/>
                      </a:cubicBezTo>
                      <a:cubicBezTo>
                        <a:pt x="1465664" y="585511"/>
                        <a:pt x="1465584" y="585430"/>
                        <a:pt x="1461086" y="585752"/>
                      </a:cubicBezTo>
                      <a:lnTo>
                        <a:pt x="1461327" y="585993"/>
                      </a:lnTo>
                      <a:moveTo>
                        <a:pt x="1639896" y="599729"/>
                      </a:moveTo>
                      <a:cubicBezTo>
                        <a:pt x="1639896" y="599488"/>
                        <a:pt x="1639815" y="599166"/>
                        <a:pt x="1639735" y="598925"/>
                      </a:cubicBezTo>
                      <a:cubicBezTo>
                        <a:pt x="1639815" y="599247"/>
                        <a:pt x="1639896" y="599488"/>
                        <a:pt x="1639896" y="599729"/>
                      </a:cubicBezTo>
                      <a:cubicBezTo>
                        <a:pt x="1639896" y="599729"/>
                        <a:pt x="1639896" y="599729"/>
                        <a:pt x="1639896" y="599729"/>
                      </a:cubicBezTo>
                      <a:moveTo>
                        <a:pt x="1575312" y="517955"/>
                      </a:moveTo>
                      <a:cubicBezTo>
                        <a:pt x="1576115" y="518357"/>
                        <a:pt x="1576999" y="518678"/>
                        <a:pt x="1577802" y="518999"/>
                      </a:cubicBezTo>
                      <a:cubicBezTo>
                        <a:pt x="1578445" y="519240"/>
                        <a:pt x="1579730" y="519642"/>
                        <a:pt x="1580292" y="519481"/>
                      </a:cubicBezTo>
                      <a:cubicBezTo>
                        <a:pt x="1581095" y="519160"/>
                        <a:pt x="1580533" y="518116"/>
                        <a:pt x="1580533" y="518035"/>
                      </a:cubicBezTo>
                      <a:cubicBezTo>
                        <a:pt x="1580533" y="517955"/>
                        <a:pt x="1575874" y="515063"/>
                        <a:pt x="1574830" y="517714"/>
                      </a:cubicBezTo>
                      <a:cubicBezTo>
                        <a:pt x="1574991" y="517794"/>
                        <a:pt x="1575151" y="517875"/>
                        <a:pt x="1575312" y="517955"/>
                      </a:cubicBezTo>
                      <a:moveTo>
                        <a:pt x="1196244" y="452568"/>
                      </a:moveTo>
                      <a:cubicBezTo>
                        <a:pt x="1196485" y="452648"/>
                        <a:pt x="1196807" y="452889"/>
                        <a:pt x="1197128" y="452969"/>
                      </a:cubicBezTo>
                      <a:cubicBezTo>
                        <a:pt x="1198815" y="453773"/>
                        <a:pt x="1200421" y="454255"/>
                        <a:pt x="1201867" y="454416"/>
                      </a:cubicBezTo>
                      <a:cubicBezTo>
                        <a:pt x="1205000" y="454496"/>
                        <a:pt x="1205723" y="452006"/>
                        <a:pt x="1203875" y="446865"/>
                      </a:cubicBezTo>
                      <a:cubicBezTo>
                        <a:pt x="1203956" y="447668"/>
                        <a:pt x="1203393" y="449837"/>
                        <a:pt x="1200984" y="451604"/>
                      </a:cubicBezTo>
                      <a:cubicBezTo>
                        <a:pt x="1201144" y="451845"/>
                        <a:pt x="1201305" y="452086"/>
                        <a:pt x="1201385" y="452327"/>
                      </a:cubicBezTo>
                      <a:cubicBezTo>
                        <a:pt x="1196967" y="450399"/>
                        <a:pt x="1196003" y="451363"/>
                        <a:pt x="1195602" y="452487"/>
                      </a:cubicBezTo>
                      <a:cubicBezTo>
                        <a:pt x="1195762" y="452487"/>
                        <a:pt x="1196003" y="452487"/>
                        <a:pt x="1196244" y="452568"/>
                      </a:cubicBezTo>
                      <a:moveTo>
                        <a:pt x="1248216" y="447989"/>
                      </a:moveTo>
                      <a:cubicBezTo>
                        <a:pt x="1249020" y="448070"/>
                        <a:pt x="1249823" y="448150"/>
                        <a:pt x="1250626" y="448230"/>
                      </a:cubicBezTo>
                      <a:cubicBezTo>
                        <a:pt x="1250626" y="448230"/>
                        <a:pt x="1250626" y="448230"/>
                        <a:pt x="1250626" y="448230"/>
                      </a:cubicBezTo>
                      <a:cubicBezTo>
                        <a:pt x="1250466" y="448230"/>
                        <a:pt x="1248618" y="447989"/>
                        <a:pt x="1247895" y="447909"/>
                      </a:cubicBezTo>
                      <a:cubicBezTo>
                        <a:pt x="1247975" y="447909"/>
                        <a:pt x="1248136" y="447909"/>
                        <a:pt x="1248216" y="447989"/>
                      </a:cubicBezTo>
                      <a:moveTo>
                        <a:pt x="1236007" y="447186"/>
                      </a:moveTo>
                      <a:cubicBezTo>
                        <a:pt x="1238015" y="447186"/>
                        <a:pt x="1238577" y="447106"/>
                        <a:pt x="1238818" y="446222"/>
                      </a:cubicBezTo>
                      <a:cubicBezTo>
                        <a:pt x="1236408" y="445419"/>
                        <a:pt x="1235364" y="445660"/>
                        <a:pt x="1235685" y="447106"/>
                      </a:cubicBezTo>
                      <a:lnTo>
                        <a:pt x="1236007" y="447186"/>
                      </a:lnTo>
                      <a:moveTo>
                        <a:pt x="1200823" y="444375"/>
                      </a:moveTo>
                      <a:cubicBezTo>
                        <a:pt x="1200903" y="444455"/>
                        <a:pt x="1201064" y="444535"/>
                        <a:pt x="1201225" y="444535"/>
                      </a:cubicBezTo>
                      <a:cubicBezTo>
                        <a:pt x="1201787" y="444535"/>
                        <a:pt x="1202590" y="444375"/>
                        <a:pt x="1204277" y="443732"/>
                      </a:cubicBezTo>
                      <a:cubicBezTo>
                        <a:pt x="1203393" y="443571"/>
                        <a:pt x="1202269" y="443330"/>
                        <a:pt x="1201385" y="443089"/>
                      </a:cubicBezTo>
                      <a:cubicBezTo>
                        <a:pt x="1201064" y="443491"/>
                        <a:pt x="1200582" y="444134"/>
                        <a:pt x="1200823" y="444375"/>
                      </a:cubicBezTo>
                      <a:moveTo>
                        <a:pt x="1233115" y="445660"/>
                      </a:moveTo>
                      <a:cubicBezTo>
                        <a:pt x="1234480" y="446302"/>
                        <a:pt x="1234802" y="446383"/>
                        <a:pt x="1234882" y="446383"/>
                      </a:cubicBezTo>
                      <a:cubicBezTo>
                        <a:pt x="1235043" y="446383"/>
                        <a:pt x="1235364" y="446383"/>
                        <a:pt x="1234400" y="445499"/>
                      </a:cubicBezTo>
                      <a:cubicBezTo>
                        <a:pt x="1233918" y="445017"/>
                        <a:pt x="1233516" y="444615"/>
                        <a:pt x="1233034" y="444214"/>
                      </a:cubicBezTo>
                      <a:cubicBezTo>
                        <a:pt x="1232954" y="444615"/>
                        <a:pt x="1232954" y="445178"/>
                        <a:pt x="1232874" y="445579"/>
                      </a:cubicBezTo>
                      <a:cubicBezTo>
                        <a:pt x="1232954" y="445579"/>
                        <a:pt x="1233034" y="445660"/>
                        <a:pt x="1233115" y="445660"/>
                      </a:cubicBezTo>
                      <a:moveTo>
                        <a:pt x="1194156" y="441402"/>
                      </a:moveTo>
                      <a:cubicBezTo>
                        <a:pt x="1194959" y="442366"/>
                        <a:pt x="1195521" y="442446"/>
                        <a:pt x="1195843" y="442446"/>
                      </a:cubicBezTo>
                      <a:cubicBezTo>
                        <a:pt x="1196566" y="442446"/>
                        <a:pt x="1197048" y="442125"/>
                        <a:pt x="1197770" y="441242"/>
                      </a:cubicBezTo>
                      <a:lnTo>
                        <a:pt x="1197449" y="441161"/>
                      </a:lnTo>
                      <a:cubicBezTo>
                        <a:pt x="1196405" y="441242"/>
                        <a:pt x="1195120" y="441242"/>
                        <a:pt x="1194075" y="441322"/>
                      </a:cubicBezTo>
                      <a:cubicBezTo>
                        <a:pt x="1194075" y="441322"/>
                        <a:pt x="1194075" y="441402"/>
                        <a:pt x="1194156" y="441402"/>
                      </a:cubicBezTo>
                      <a:moveTo>
                        <a:pt x="1226367" y="443491"/>
                      </a:moveTo>
                      <a:cubicBezTo>
                        <a:pt x="1226528" y="443812"/>
                        <a:pt x="1226689" y="444053"/>
                        <a:pt x="1226930" y="444294"/>
                      </a:cubicBezTo>
                      <a:cubicBezTo>
                        <a:pt x="1227813" y="443169"/>
                        <a:pt x="1228697" y="443250"/>
                        <a:pt x="1229982" y="444615"/>
                      </a:cubicBezTo>
                      <a:cubicBezTo>
                        <a:pt x="1230143" y="444214"/>
                        <a:pt x="1230464" y="443250"/>
                        <a:pt x="1229339" y="442286"/>
                      </a:cubicBezTo>
                      <a:cubicBezTo>
                        <a:pt x="1228616" y="441643"/>
                        <a:pt x="1228295" y="441402"/>
                        <a:pt x="1226849" y="441965"/>
                      </a:cubicBezTo>
                      <a:cubicBezTo>
                        <a:pt x="1226207" y="442286"/>
                        <a:pt x="1226046" y="442768"/>
                        <a:pt x="1226367" y="443491"/>
                      </a:cubicBezTo>
                      <a:moveTo>
                        <a:pt x="1225966" y="441804"/>
                      </a:moveTo>
                      <a:cubicBezTo>
                        <a:pt x="1226528" y="441563"/>
                        <a:pt x="1227251" y="441161"/>
                        <a:pt x="1227813" y="440920"/>
                      </a:cubicBezTo>
                      <a:cubicBezTo>
                        <a:pt x="1227171" y="441081"/>
                        <a:pt x="1226769" y="441081"/>
                        <a:pt x="1226287" y="441081"/>
                      </a:cubicBezTo>
                      <a:cubicBezTo>
                        <a:pt x="1225564" y="441001"/>
                        <a:pt x="1225323" y="440760"/>
                        <a:pt x="1225403" y="440117"/>
                      </a:cubicBezTo>
                      <a:cubicBezTo>
                        <a:pt x="1223716" y="439876"/>
                        <a:pt x="1223234" y="439956"/>
                        <a:pt x="1223315" y="440679"/>
                      </a:cubicBezTo>
                      <a:lnTo>
                        <a:pt x="1225966" y="441804"/>
                      </a:lnTo>
                      <a:moveTo>
                        <a:pt x="1222351" y="438350"/>
                      </a:moveTo>
                      <a:cubicBezTo>
                        <a:pt x="1222512" y="438671"/>
                        <a:pt x="1222993" y="438671"/>
                        <a:pt x="1223234" y="438671"/>
                      </a:cubicBezTo>
                      <a:cubicBezTo>
                        <a:pt x="1223716" y="438671"/>
                        <a:pt x="1224279" y="438671"/>
                        <a:pt x="1225082" y="438510"/>
                      </a:cubicBezTo>
                      <a:cubicBezTo>
                        <a:pt x="1224279" y="438189"/>
                        <a:pt x="1223234" y="437788"/>
                        <a:pt x="1222431" y="437386"/>
                      </a:cubicBezTo>
                      <a:cubicBezTo>
                        <a:pt x="1222431" y="437627"/>
                        <a:pt x="1222190" y="438029"/>
                        <a:pt x="1222351" y="438350"/>
                      </a:cubicBezTo>
                      <a:moveTo>
                        <a:pt x="1657889" y="541652"/>
                      </a:moveTo>
                      <a:cubicBezTo>
                        <a:pt x="1657969" y="541812"/>
                        <a:pt x="1658050" y="541973"/>
                        <a:pt x="1658130" y="542134"/>
                      </a:cubicBezTo>
                      <a:cubicBezTo>
                        <a:pt x="1658451" y="542214"/>
                        <a:pt x="1658853" y="542375"/>
                        <a:pt x="1659174" y="542455"/>
                      </a:cubicBezTo>
                      <a:cubicBezTo>
                        <a:pt x="1657568" y="540286"/>
                        <a:pt x="1657246" y="540045"/>
                        <a:pt x="1657166" y="540045"/>
                      </a:cubicBezTo>
                      <a:cubicBezTo>
                        <a:pt x="1657086" y="540125"/>
                        <a:pt x="1657086" y="540206"/>
                        <a:pt x="1657889" y="541652"/>
                      </a:cubicBezTo>
                      <a:moveTo>
                        <a:pt x="1618287" y="519883"/>
                      </a:moveTo>
                      <a:cubicBezTo>
                        <a:pt x="1619412" y="519722"/>
                        <a:pt x="1620778" y="519561"/>
                        <a:pt x="1619974" y="518919"/>
                      </a:cubicBezTo>
                      <a:cubicBezTo>
                        <a:pt x="1619251" y="518357"/>
                        <a:pt x="1617002" y="517794"/>
                        <a:pt x="1616279" y="517634"/>
                      </a:cubicBezTo>
                      <a:lnTo>
                        <a:pt x="1618287" y="519883"/>
                      </a:lnTo>
                      <a:moveTo>
                        <a:pt x="1606238" y="510966"/>
                      </a:moveTo>
                      <a:cubicBezTo>
                        <a:pt x="1607202" y="512492"/>
                        <a:pt x="1611218" y="515866"/>
                        <a:pt x="1611299" y="515866"/>
                      </a:cubicBezTo>
                      <a:cubicBezTo>
                        <a:pt x="1611299" y="515866"/>
                        <a:pt x="1611379" y="515866"/>
                        <a:pt x="1611379" y="515866"/>
                      </a:cubicBezTo>
                      <a:cubicBezTo>
                        <a:pt x="1611379" y="515706"/>
                        <a:pt x="1611299" y="515304"/>
                        <a:pt x="1606399" y="509601"/>
                      </a:cubicBezTo>
                      <a:cubicBezTo>
                        <a:pt x="1606078" y="509601"/>
                        <a:pt x="1605355" y="509520"/>
                        <a:pt x="1606238" y="510966"/>
                      </a:cubicBezTo>
                      <a:moveTo>
                        <a:pt x="1120656" y="429996"/>
                      </a:moveTo>
                      <a:cubicBezTo>
                        <a:pt x="1124511" y="431120"/>
                        <a:pt x="1126279" y="431201"/>
                        <a:pt x="1127002" y="431201"/>
                      </a:cubicBezTo>
                      <a:cubicBezTo>
                        <a:pt x="1132384" y="431120"/>
                        <a:pt x="1129572" y="426943"/>
                        <a:pt x="1129492" y="426943"/>
                      </a:cubicBezTo>
                      <a:cubicBezTo>
                        <a:pt x="1129492" y="426943"/>
                        <a:pt x="1125797" y="424614"/>
                        <a:pt x="1122503" y="426381"/>
                      </a:cubicBezTo>
                      <a:cubicBezTo>
                        <a:pt x="1123226" y="427666"/>
                        <a:pt x="1123547" y="428389"/>
                        <a:pt x="1123628" y="429755"/>
                      </a:cubicBezTo>
                      <a:cubicBezTo>
                        <a:pt x="1122583" y="429755"/>
                        <a:pt x="1121138" y="429835"/>
                        <a:pt x="1120093" y="429835"/>
                      </a:cubicBezTo>
                      <a:cubicBezTo>
                        <a:pt x="1120334" y="429915"/>
                        <a:pt x="1120495" y="429996"/>
                        <a:pt x="1120656" y="429996"/>
                      </a:cubicBezTo>
                      <a:moveTo>
                        <a:pt x="1147325" y="425979"/>
                      </a:moveTo>
                      <a:cubicBezTo>
                        <a:pt x="1148369" y="427184"/>
                        <a:pt x="1149092" y="427265"/>
                        <a:pt x="1149333" y="427265"/>
                      </a:cubicBezTo>
                      <a:cubicBezTo>
                        <a:pt x="1149975" y="427265"/>
                        <a:pt x="1150457" y="426863"/>
                        <a:pt x="1150859" y="425979"/>
                      </a:cubicBezTo>
                      <a:cubicBezTo>
                        <a:pt x="1149734" y="425899"/>
                        <a:pt x="1148208" y="425819"/>
                        <a:pt x="1147084" y="425819"/>
                      </a:cubicBezTo>
                      <a:cubicBezTo>
                        <a:pt x="1147244" y="425819"/>
                        <a:pt x="1147325" y="425899"/>
                        <a:pt x="1147325" y="425979"/>
                      </a:cubicBezTo>
                      <a:moveTo>
                        <a:pt x="1636361" y="523658"/>
                      </a:moveTo>
                      <a:cubicBezTo>
                        <a:pt x="1637325" y="524060"/>
                        <a:pt x="1638610" y="524542"/>
                        <a:pt x="1639735" y="524622"/>
                      </a:cubicBezTo>
                      <a:cubicBezTo>
                        <a:pt x="1637325" y="522453"/>
                        <a:pt x="1636201" y="522132"/>
                        <a:pt x="1636201" y="523578"/>
                      </a:cubicBezTo>
                      <a:cubicBezTo>
                        <a:pt x="1636281" y="523658"/>
                        <a:pt x="1636361" y="523658"/>
                        <a:pt x="1636361" y="523658"/>
                      </a:cubicBezTo>
                      <a:moveTo>
                        <a:pt x="1165157" y="426702"/>
                      </a:moveTo>
                      <a:cubicBezTo>
                        <a:pt x="1171021" y="426702"/>
                        <a:pt x="1174234" y="426702"/>
                        <a:pt x="1174475" y="426542"/>
                      </a:cubicBezTo>
                      <a:cubicBezTo>
                        <a:pt x="1174315" y="426461"/>
                        <a:pt x="1174074" y="426461"/>
                        <a:pt x="1173913" y="426381"/>
                      </a:cubicBezTo>
                      <a:cubicBezTo>
                        <a:pt x="1172467" y="426220"/>
                        <a:pt x="1171021" y="426301"/>
                        <a:pt x="1169575" y="425899"/>
                      </a:cubicBezTo>
                      <a:cubicBezTo>
                        <a:pt x="1168451" y="425578"/>
                        <a:pt x="1167728" y="425578"/>
                        <a:pt x="1167326" y="425578"/>
                      </a:cubicBezTo>
                      <a:cubicBezTo>
                        <a:pt x="1165800" y="425578"/>
                        <a:pt x="1164916" y="426381"/>
                        <a:pt x="1164595" y="426702"/>
                      </a:cubicBezTo>
                      <a:cubicBezTo>
                        <a:pt x="1164756" y="426702"/>
                        <a:pt x="1164997" y="426702"/>
                        <a:pt x="1165157" y="426702"/>
                      </a:cubicBezTo>
                      <a:moveTo>
                        <a:pt x="1577641" y="494499"/>
                      </a:moveTo>
                      <a:cubicBezTo>
                        <a:pt x="1579650" y="496186"/>
                        <a:pt x="1580774" y="496668"/>
                        <a:pt x="1581417" y="496909"/>
                      </a:cubicBezTo>
                      <a:cubicBezTo>
                        <a:pt x="1582863" y="497471"/>
                        <a:pt x="1583746" y="497311"/>
                        <a:pt x="1584550" y="496507"/>
                      </a:cubicBezTo>
                      <a:cubicBezTo>
                        <a:pt x="1580614" y="494339"/>
                        <a:pt x="1578284" y="493857"/>
                        <a:pt x="1576999" y="493937"/>
                      </a:cubicBezTo>
                      <a:cubicBezTo>
                        <a:pt x="1577159" y="494098"/>
                        <a:pt x="1577400" y="494339"/>
                        <a:pt x="1577641" y="494499"/>
                      </a:cubicBezTo>
                      <a:moveTo>
                        <a:pt x="1594269" y="499801"/>
                      </a:moveTo>
                      <a:cubicBezTo>
                        <a:pt x="1594510" y="500122"/>
                        <a:pt x="1594751" y="500443"/>
                        <a:pt x="1594992" y="500845"/>
                      </a:cubicBezTo>
                      <a:cubicBezTo>
                        <a:pt x="1595394" y="501006"/>
                        <a:pt x="1595796" y="501166"/>
                        <a:pt x="1596117" y="501327"/>
                      </a:cubicBezTo>
                      <a:cubicBezTo>
                        <a:pt x="1594751" y="500042"/>
                        <a:pt x="1594109" y="499479"/>
                        <a:pt x="1594109" y="499640"/>
                      </a:cubicBezTo>
                      <a:cubicBezTo>
                        <a:pt x="1594189" y="499640"/>
                        <a:pt x="1594189" y="499720"/>
                        <a:pt x="1594269" y="499801"/>
                      </a:cubicBezTo>
                      <a:moveTo>
                        <a:pt x="1686486" y="553861"/>
                      </a:moveTo>
                      <a:cubicBezTo>
                        <a:pt x="1686486" y="553540"/>
                        <a:pt x="1686486" y="553219"/>
                        <a:pt x="1686486" y="552817"/>
                      </a:cubicBezTo>
                      <a:cubicBezTo>
                        <a:pt x="1686406" y="553138"/>
                        <a:pt x="1686486" y="553540"/>
                        <a:pt x="1686486" y="553861"/>
                      </a:cubicBezTo>
                      <a:cubicBezTo>
                        <a:pt x="1686486" y="553861"/>
                        <a:pt x="1686486" y="553861"/>
                        <a:pt x="1686486" y="553861"/>
                      </a:cubicBezTo>
                      <a:moveTo>
                        <a:pt x="1551856" y="483333"/>
                      </a:moveTo>
                      <a:cubicBezTo>
                        <a:pt x="1552499" y="483494"/>
                        <a:pt x="1552660" y="483414"/>
                        <a:pt x="1552499" y="483092"/>
                      </a:cubicBezTo>
                      <a:cubicBezTo>
                        <a:pt x="1552258" y="482691"/>
                        <a:pt x="1551374" y="481888"/>
                        <a:pt x="1551053" y="481647"/>
                      </a:cubicBezTo>
                      <a:lnTo>
                        <a:pt x="1551856" y="483333"/>
                      </a:lnTo>
                      <a:cubicBezTo>
                        <a:pt x="1551856" y="483333"/>
                        <a:pt x="1551856" y="483333"/>
                        <a:pt x="1551856" y="483333"/>
                      </a:cubicBezTo>
                      <a:moveTo>
                        <a:pt x="1133990" y="410797"/>
                      </a:moveTo>
                      <a:cubicBezTo>
                        <a:pt x="1134552" y="411842"/>
                        <a:pt x="1137444" y="413448"/>
                        <a:pt x="1138328" y="414011"/>
                      </a:cubicBezTo>
                      <a:cubicBezTo>
                        <a:pt x="1135998" y="412163"/>
                        <a:pt x="1133990" y="410155"/>
                        <a:pt x="1136802" y="409833"/>
                      </a:cubicBezTo>
                      <a:cubicBezTo>
                        <a:pt x="1136882" y="409833"/>
                        <a:pt x="1136962" y="409833"/>
                        <a:pt x="1137043" y="409833"/>
                      </a:cubicBezTo>
                      <a:cubicBezTo>
                        <a:pt x="1134633" y="409673"/>
                        <a:pt x="1133588" y="409994"/>
                        <a:pt x="1133990" y="410797"/>
                      </a:cubicBezTo>
                      <a:moveTo>
                        <a:pt x="1560371" y="473855"/>
                      </a:moveTo>
                      <a:cubicBezTo>
                        <a:pt x="1560612" y="474176"/>
                        <a:pt x="1560853" y="474498"/>
                        <a:pt x="1561094" y="474819"/>
                      </a:cubicBezTo>
                      <a:lnTo>
                        <a:pt x="1562781" y="476425"/>
                      </a:lnTo>
                      <a:cubicBezTo>
                        <a:pt x="1562299" y="475461"/>
                        <a:pt x="1562299" y="474979"/>
                        <a:pt x="1562781" y="474658"/>
                      </a:cubicBezTo>
                      <a:cubicBezTo>
                        <a:pt x="1561255" y="473775"/>
                        <a:pt x="1560050" y="473132"/>
                        <a:pt x="1560210" y="473614"/>
                      </a:cubicBezTo>
                      <a:cubicBezTo>
                        <a:pt x="1560291" y="473694"/>
                        <a:pt x="1560371" y="473775"/>
                        <a:pt x="1560371" y="473855"/>
                      </a:cubicBezTo>
                      <a:moveTo>
                        <a:pt x="1143469" y="406540"/>
                      </a:moveTo>
                      <a:cubicBezTo>
                        <a:pt x="1144031" y="407825"/>
                        <a:pt x="1144754" y="409030"/>
                        <a:pt x="1145397" y="410235"/>
                      </a:cubicBezTo>
                      <a:cubicBezTo>
                        <a:pt x="1146923" y="409673"/>
                        <a:pt x="1150216" y="410797"/>
                        <a:pt x="1154795" y="412484"/>
                      </a:cubicBezTo>
                      <a:cubicBezTo>
                        <a:pt x="1154554" y="412163"/>
                        <a:pt x="1154072" y="411440"/>
                        <a:pt x="1155197" y="411681"/>
                      </a:cubicBezTo>
                      <a:cubicBezTo>
                        <a:pt x="1155679" y="411761"/>
                        <a:pt x="1156161" y="411922"/>
                        <a:pt x="1156562" y="412083"/>
                      </a:cubicBezTo>
                      <a:cubicBezTo>
                        <a:pt x="1156241" y="411440"/>
                        <a:pt x="1155598" y="410797"/>
                        <a:pt x="1153590" y="411360"/>
                      </a:cubicBezTo>
                      <a:cubicBezTo>
                        <a:pt x="1153670" y="411199"/>
                        <a:pt x="1153751" y="411038"/>
                        <a:pt x="1153831" y="410878"/>
                      </a:cubicBezTo>
                      <a:cubicBezTo>
                        <a:pt x="1153831" y="410878"/>
                        <a:pt x="1153831" y="410878"/>
                        <a:pt x="1153831" y="410878"/>
                      </a:cubicBezTo>
                      <a:lnTo>
                        <a:pt x="1153831" y="410878"/>
                      </a:lnTo>
                      <a:lnTo>
                        <a:pt x="1153831" y="410878"/>
                      </a:lnTo>
                      <a:cubicBezTo>
                        <a:pt x="1153831" y="410878"/>
                        <a:pt x="1153831" y="410878"/>
                        <a:pt x="1153831" y="410878"/>
                      </a:cubicBezTo>
                      <a:cubicBezTo>
                        <a:pt x="1153831" y="410878"/>
                        <a:pt x="1153831" y="410878"/>
                        <a:pt x="1153831" y="410878"/>
                      </a:cubicBezTo>
                      <a:lnTo>
                        <a:pt x="1153831" y="410878"/>
                      </a:lnTo>
                      <a:lnTo>
                        <a:pt x="1153831" y="410878"/>
                      </a:lnTo>
                      <a:lnTo>
                        <a:pt x="1153831" y="410878"/>
                      </a:lnTo>
                      <a:cubicBezTo>
                        <a:pt x="1152225" y="410797"/>
                        <a:pt x="1148770" y="410637"/>
                        <a:pt x="1150538" y="409191"/>
                      </a:cubicBezTo>
                      <a:cubicBezTo>
                        <a:pt x="1150939" y="408869"/>
                        <a:pt x="1151662" y="408548"/>
                        <a:pt x="1152144" y="408227"/>
                      </a:cubicBezTo>
                      <a:cubicBezTo>
                        <a:pt x="1151261" y="407906"/>
                        <a:pt x="1149011" y="407183"/>
                        <a:pt x="1145397" y="407183"/>
                      </a:cubicBezTo>
                      <a:cubicBezTo>
                        <a:pt x="1143951" y="405496"/>
                        <a:pt x="1143388" y="405014"/>
                        <a:pt x="1143147" y="405094"/>
                      </a:cubicBezTo>
                      <a:cubicBezTo>
                        <a:pt x="1142987" y="405255"/>
                        <a:pt x="1142906" y="405496"/>
                        <a:pt x="1143469" y="406540"/>
                      </a:cubicBezTo>
                      <a:moveTo>
                        <a:pt x="1555230" y="471686"/>
                      </a:moveTo>
                      <a:cubicBezTo>
                        <a:pt x="1556837" y="473935"/>
                        <a:pt x="1559487" y="474899"/>
                        <a:pt x="1559809" y="473775"/>
                      </a:cubicBezTo>
                      <a:cubicBezTo>
                        <a:pt x="1559487" y="473694"/>
                        <a:pt x="1559166" y="473614"/>
                        <a:pt x="1558925" y="473533"/>
                      </a:cubicBezTo>
                      <a:cubicBezTo>
                        <a:pt x="1557158" y="472810"/>
                        <a:pt x="1555953" y="471766"/>
                        <a:pt x="1554909" y="469838"/>
                      </a:cubicBezTo>
                      <a:cubicBezTo>
                        <a:pt x="1554748" y="470079"/>
                        <a:pt x="1554507" y="470642"/>
                        <a:pt x="1555230" y="471686"/>
                      </a:cubicBezTo>
                      <a:moveTo>
                        <a:pt x="1656765" y="520686"/>
                      </a:moveTo>
                      <a:cubicBezTo>
                        <a:pt x="1656845" y="520766"/>
                        <a:pt x="1656845" y="520766"/>
                        <a:pt x="1656925" y="520766"/>
                      </a:cubicBezTo>
                      <a:cubicBezTo>
                        <a:pt x="1657487" y="521168"/>
                        <a:pt x="1658773" y="521971"/>
                        <a:pt x="1658451" y="520525"/>
                      </a:cubicBezTo>
                      <a:cubicBezTo>
                        <a:pt x="1658451" y="520445"/>
                        <a:pt x="1658451" y="520365"/>
                        <a:pt x="1658371" y="520284"/>
                      </a:cubicBezTo>
                      <a:cubicBezTo>
                        <a:pt x="1658210" y="520124"/>
                        <a:pt x="1657969" y="519802"/>
                        <a:pt x="1657728" y="519642"/>
                      </a:cubicBezTo>
                      <a:cubicBezTo>
                        <a:pt x="1657969" y="520686"/>
                        <a:pt x="1657568" y="520927"/>
                        <a:pt x="1656524" y="520284"/>
                      </a:cubicBezTo>
                      <a:cubicBezTo>
                        <a:pt x="1656363" y="520204"/>
                        <a:pt x="1656202" y="520043"/>
                        <a:pt x="1656042" y="519963"/>
                      </a:cubicBezTo>
                      <a:cubicBezTo>
                        <a:pt x="1656283" y="520204"/>
                        <a:pt x="1656524" y="520445"/>
                        <a:pt x="1656765" y="520686"/>
                      </a:cubicBezTo>
                      <a:moveTo>
                        <a:pt x="1162025" y="395535"/>
                      </a:moveTo>
                      <a:cubicBezTo>
                        <a:pt x="1162266" y="395937"/>
                        <a:pt x="1162988" y="396338"/>
                        <a:pt x="1163390" y="396499"/>
                      </a:cubicBezTo>
                      <a:cubicBezTo>
                        <a:pt x="1164836" y="396097"/>
                        <a:pt x="1165077" y="395374"/>
                        <a:pt x="1164354" y="394250"/>
                      </a:cubicBezTo>
                      <a:cubicBezTo>
                        <a:pt x="1163069" y="394491"/>
                        <a:pt x="1161543" y="394732"/>
                        <a:pt x="1162025" y="395535"/>
                      </a:cubicBezTo>
                      <a:moveTo>
                        <a:pt x="1461889" y="430879"/>
                      </a:moveTo>
                      <a:lnTo>
                        <a:pt x="1466548" y="432245"/>
                      </a:lnTo>
                      <a:cubicBezTo>
                        <a:pt x="1466548" y="432245"/>
                        <a:pt x="1466548" y="432245"/>
                        <a:pt x="1466548" y="432245"/>
                      </a:cubicBezTo>
                      <a:cubicBezTo>
                        <a:pt x="1466146" y="432084"/>
                        <a:pt x="1465745" y="432004"/>
                        <a:pt x="1465343" y="431843"/>
                      </a:cubicBezTo>
                      <a:cubicBezTo>
                        <a:pt x="1464138" y="431442"/>
                        <a:pt x="1462853" y="431040"/>
                        <a:pt x="1461648" y="430719"/>
                      </a:cubicBezTo>
                      <a:cubicBezTo>
                        <a:pt x="1461728" y="430799"/>
                        <a:pt x="1461808" y="430879"/>
                        <a:pt x="1461889" y="430879"/>
                      </a:cubicBezTo>
                      <a:moveTo>
                        <a:pt x="1457471" y="431040"/>
                      </a:moveTo>
                      <a:cubicBezTo>
                        <a:pt x="1458354" y="431201"/>
                        <a:pt x="1459318" y="431522"/>
                        <a:pt x="1460282" y="431602"/>
                      </a:cubicBezTo>
                      <a:cubicBezTo>
                        <a:pt x="1460523" y="431602"/>
                        <a:pt x="1461086" y="431602"/>
                        <a:pt x="1460764" y="431120"/>
                      </a:cubicBezTo>
                      <a:cubicBezTo>
                        <a:pt x="1460282" y="430397"/>
                        <a:pt x="1457953" y="429032"/>
                        <a:pt x="1457230" y="428550"/>
                      </a:cubicBezTo>
                      <a:cubicBezTo>
                        <a:pt x="1457551" y="429594"/>
                        <a:pt x="1457551" y="430237"/>
                        <a:pt x="1457069" y="430799"/>
                      </a:cubicBezTo>
                      <a:lnTo>
                        <a:pt x="1457471" y="431040"/>
                      </a:lnTo>
                      <a:moveTo>
                        <a:pt x="1532578" y="446142"/>
                      </a:moveTo>
                      <a:cubicBezTo>
                        <a:pt x="1533461" y="446302"/>
                        <a:pt x="1534345" y="446463"/>
                        <a:pt x="1535228" y="446624"/>
                      </a:cubicBezTo>
                      <a:cubicBezTo>
                        <a:pt x="1534345" y="446383"/>
                        <a:pt x="1533381" y="446302"/>
                        <a:pt x="1532417" y="446142"/>
                      </a:cubicBezTo>
                      <a:cubicBezTo>
                        <a:pt x="1532417" y="446142"/>
                        <a:pt x="1532497" y="446142"/>
                        <a:pt x="1532578" y="446142"/>
                      </a:cubicBezTo>
                      <a:moveTo>
                        <a:pt x="1406944" y="401961"/>
                      </a:moveTo>
                      <a:cubicBezTo>
                        <a:pt x="1410720" y="402202"/>
                        <a:pt x="1414415" y="402443"/>
                        <a:pt x="1418190" y="402684"/>
                      </a:cubicBezTo>
                      <a:cubicBezTo>
                        <a:pt x="1414254" y="402363"/>
                        <a:pt x="1410399" y="402122"/>
                        <a:pt x="1406463" y="401961"/>
                      </a:cubicBezTo>
                      <a:cubicBezTo>
                        <a:pt x="1406623" y="401881"/>
                        <a:pt x="1406784" y="401961"/>
                        <a:pt x="1406944" y="401961"/>
                      </a:cubicBezTo>
                      <a:moveTo>
                        <a:pt x="1537397" y="432004"/>
                      </a:moveTo>
                      <a:cubicBezTo>
                        <a:pt x="1538281" y="432486"/>
                        <a:pt x="1539004" y="432807"/>
                        <a:pt x="1539325" y="432887"/>
                      </a:cubicBezTo>
                      <a:cubicBezTo>
                        <a:pt x="1540771" y="433450"/>
                        <a:pt x="1541735" y="433611"/>
                        <a:pt x="1542538" y="433450"/>
                      </a:cubicBezTo>
                      <a:cubicBezTo>
                        <a:pt x="1539405" y="431602"/>
                        <a:pt x="1537477" y="430960"/>
                        <a:pt x="1537156" y="431843"/>
                      </a:cubicBezTo>
                      <a:cubicBezTo>
                        <a:pt x="1537236" y="431843"/>
                        <a:pt x="1537317" y="431924"/>
                        <a:pt x="1537397" y="432004"/>
                      </a:cubicBezTo>
                      <a:moveTo>
                        <a:pt x="1629855" y="460360"/>
                      </a:moveTo>
                      <a:cubicBezTo>
                        <a:pt x="1631059" y="461806"/>
                        <a:pt x="1632425" y="463091"/>
                        <a:pt x="1633630" y="464537"/>
                      </a:cubicBezTo>
                      <a:cubicBezTo>
                        <a:pt x="1631220" y="461484"/>
                        <a:pt x="1630096" y="460199"/>
                        <a:pt x="1629614" y="460119"/>
                      </a:cubicBezTo>
                      <a:cubicBezTo>
                        <a:pt x="1629774" y="460119"/>
                        <a:pt x="1629855" y="460279"/>
                        <a:pt x="1629855" y="460360"/>
                      </a:cubicBezTo>
                      <a:moveTo>
                        <a:pt x="1594109" y="426622"/>
                      </a:moveTo>
                      <a:cubicBezTo>
                        <a:pt x="1594109" y="426622"/>
                        <a:pt x="1606560" y="437145"/>
                        <a:pt x="1606640" y="437225"/>
                      </a:cubicBezTo>
                      <a:cubicBezTo>
                        <a:pt x="1606720" y="437225"/>
                        <a:pt x="1606720" y="437306"/>
                        <a:pt x="1606801" y="437386"/>
                      </a:cubicBezTo>
                      <a:cubicBezTo>
                        <a:pt x="1606640" y="437225"/>
                        <a:pt x="1602222" y="432807"/>
                        <a:pt x="1592904" y="424935"/>
                      </a:cubicBezTo>
                      <a:cubicBezTo>
                        <a:pt x="1594109" y="426060"/>
                        <a:pt x="1594430" y="426461"/>
                        <a:pt x="1594591" y="426702"/>
                      </a:cubicBezTo>
                      <a:cubicBezTo>
                        <a:pt x="1594430" y="426702"/>
                        <a:pt x="1594350" y="426622"/>
                        <a:pt x="1593787" y="426220"/>
                      </a:cubicBezTo>
                      <a:cubicBezTo>
                        <a:pt x="1593868" y="426381"/>
                        <a:pt x="1593948" y="426542"/>
                        <a:pt x="1594109" y="426622"/>
                      </a:cubicBezTo>
                      <a:moveTo>
                        <a:pt x="850111" y="291671"/>
                      </a:moveTo>
                      <a:cubicBezTo>
                        <a:pt x="852360" y="293519"/>
                        <a:pt x="855332" y="294482"/>
                        <a:pt x="858144" y="295286"/>
                      </a:cubicBezTo>
                      <a:cubicBezTo>
                        <a:pt x="861116" y="289100"/>
                        <a:pt x="860232" y="286771"/>
                        <a:pt x="855573" y="288458"/>
                      </a:cubicBezTo>
                      <a:cubicBezTo>
                        <a:pt x="853404" y="289261"/>
                        <a:pt x="850914" y="290707"/>
                        <a:pt x="849790" y="291430"/>
                      </a:cubicBezTo>
                      <a:cubicBezTo>
                        <a:pt x="849870" y="291430"/>
                        <a:pt x="850031" y="291591"/>
                        <a:pt x="850111" y="291671"/>
                      </a:cubicBezTo>
                      <a:moveTo>
                        <a:pt x="1539887" y="374007"/>
                      </a:moveTo>
                      <a:cubicBezTo>
                        <a:pt x="1537397" y="370473"/>
                        <a:pt x="1536032" y="368786"/>
                        <a:pt x="1535871" y="368946"/>
                      </a:cubicBezTo>
                      <a:cubicBezTo>
                        <a:pt x="1535791" y="369187"/>
                        <a:pt x="1536433" y="370553"/>
                        <a:pt x="1538120" y="373606"/>
                      </a:cubicBezTo>
                      <a:cubicBezTo>
                        <a:pt x="1538602" y="373766"/>
                        <a:pt x="1539325" y="373927"/>
                        <a:pt x="1539887" y="374007"/>
                      </a:cubicBezTo>
                      <a:moveTo>
                        <a:pt x="1566797" y="388868"/>
                      </a:moveTo>
                      <a:cubicBezTo>
                        <a:pt x="1574910" y="396017"/>
                        <a:pt x="1584550" y="406058"/>
                        <a:pt x="1596278" y="419553"/>
                      </a:cubicBezTo>
                      <a:cubicBezTo>
                        <a:pt x="1591136" y="413127"/>
                        <a:pt x="1577882" y="397222"/>
                        <a:pt x="1565994" y="388145"/>
                      </a:cubicBezTo>
                      <a:cubicBezTo>
                        <a:pt x="1566235" y="388386"/>
                        <a:pt x="1566556" y="388627"/>
                        <a:pt x="1566797" y="388868"/>
                      </a:cubicBezTo>
                      <a:moveTo>
                        <a:pt x="1550250" y="376658"/>
                      </a:moveTo>
                      <a:cubicBezTo>
                        <a:pt x="1551374" y="377301"/>
                        <a:pt x="1552419" y="377943"/>
                        <a:pt x="1553543" y="378586"/>
                      </a:cubicBezTo>
                      <a:cubicBezTo>
                        <a:pt x="1552178" y="377381"/>
                        <a:pt x="1551374" y="376819"/>
                        <a:pt x="1550812" y="376497"/>
                      </a:cubicBezTo>
                      <a:cubicBezTo>
                        <a:pt x="1549768" y="375533"/>
                        <a:pt x="1549607" y="375453"/>
                        <a:pt x="1549527" y="375453"/>
                      </a:cubicBezTo>
                      <a:cubicBezTo>
                        <a:pt x="1549366" y="375614"/>
                        <a:pt x="1549928" y="376497"/>
                        <a:pt x="1550250" y="376658"/>
                      </a:cubicBezTo>
                      <a:moveTo>
                        <a:pt x="1417869" y="305327"/>
                      </a:moveTo>
                      <a:cubicBezTo>
                        <a:pt x="1418110" y="305568"/>
                        <a:pt x="1418592" y="305889"/>
                        <a:pt x="1418913" y="306050"/>
                      </a:cubicBezTo>
                      <a:cubicBezTo>
                        <a:pt x="1423733" y="308540"/>
                        <a:pt x="1427107" y="311271"/>
                        <a:pt x="1428231" y="312154"/>
                      </a:cubicBezTo>
                      <a:cubicBezTo>
                        <a:pt x="1428231" y="309263"/>
                        <a:pt x="1422448" y="306210"/>
                        <a:pt x="1419958" y="305005"/>
                      </a:cubicBezTo>
                      <a:cubicBezTo>
                        <a:pt x="1421243" y="306371"/>
                        <a:pt x="1421645" y="306853"/>
                        <a:pt x="1421645" y="307014"/>
                      </a:cubicBezTo>
                      <a:cubicBezTo>
                        <a:pt x="1421564" y="307014"/>
                        <a:pt x="1421484" y="306933"/>
                        <a:pt x="1421404" y="306933"/>
                      </a:cubicBezTo>
                      <a:cubicBezTo>
                        <a:pt x="1420841" y="306612"/>
                        <a:pt x="1419315" y="305327"/>
                        <a:pt x="1418994" y="305086"/>
                      </a:cubicBezTo>
                      <a:cubicBezTo>
                        <a:pt x="1418512" y="304684"/>
                        <a:pt x="1417789" y="304122"/>
                        <a:pt x="1417387" y="304604"/>
                      </a:cubicBezTo>
                      <a:cubicBezTo>
                        <a:pt x="1417468" y="304764"/>
                        <a:pt x="1417548" y="304925"/>
                        <a:pt x="1417869" y="305327"/>
                      </a:cubicBezTo>
                      <a:moveTo>
                        <a:pt x="1399153" y="292313"/>
                      </a:moveTo>
                      <a:cubicBezTo>
                        <a:pt x="1401322" y="292715"/>
                        <a:pt x="1403490" y="293037"/>
                        <a:pt x="1405659" y="293438"/>
                      </a:cubicBezTo>
                      <a:cubicBezTo>
                        <a:pt x="1403330" y="293037"/>
                        <a:pt x="1401081" y="292635"/>
                        <a:pt x="1398751" y="292233"/>
                      </a:cubicBezTo>
                      <a:cubicBezTo>
                        <a:pt x="1398912" y="292313"/>
                        <a:pt x="1399072" y="292313"/>
                        <a:pt x="1399153" y="292313"/>
                      </a:cubicBezTo>
                      <a:moveTo>
                        <a:pt x="1073423" y="245884"/>
                      </a:moveTo>
                      <a:cubicBezTo>
                        <a:pt x="1082741" y="248776"/>
                        <a:pt x="1085231" y="249338"/>
                        <a:pt x="1086597" y="249418"/>
                      </a:cubicBezTo>
                      <a:cubicBezTo>
                        <a:pt x="1086918" y="249418"/>
                        <a:pt x="1087480" y="249418"/>
                        <a:pt x="1086998" y="248936"/>
                      </a:cubicBezTo>
                      <a:cubicBezTo>
                        <a:pt x="1086034" y="247972"/>
                        <a:pt x="1081697" y="245723"/>
                        <a:pt x="1074065" y="242269"/>
                      </a:cubicBezTo>
                      <a:cubicBezTo>
                        <a:pt x="1074146" y="244277"/>
                        <a:pt x="1072941" y="245081"/>
                        <a:pt x="1071977" y="245482"/>
                      </a:cubicBezTo>
                      <a:cubicBezTo>
                        <a:pt x="1072379" y="245563"/>
                        <a:pt x="1073021" y="245804"/>
                        <a:pt x="1073423" y="245884"/>
                      </a:cubicBezTo>
                      <a:moveTo>
                        <a:pt x="1495787" y="333843"/>
                      </a:moveTo>
                      <a:cubicBezTo>
                        <a:pt x="1496269" y="334405"/>
                        <a:pt x="1496992" y="335128"/>
                        <a:pt x="1497474" y="335610"/>
                      </a:cubicBezTo>
                      <a:cubicBezTo>
                        <a:pt x="1498679" y="336976"/>
                        <a:pt x="1500286" y="337940"/>
                        <a:pt x="1501410" y="339386"/>
                      </a:cubicBezTo>
                      <a:cubicBezTo>
                        <a:pt x="1501169" y="337056"/>
                        <a:pt x="1496751" y="332236"/>
                        <a:pt x="1488317" y="325007"/>
                      </a:cubicBezTo>
                      <a:cubicBezTo>
                        <a:pt x="1491369" y="328863"/>
                        <a:pt x="1492333" y="330068"/>
                        <a:pt x="1495787" y="333843"/>
                      </a:cubicBezTo>
                      <a:moveTo>
                        <a:pt x="1392566" y="281228"/>
                      </a:moveTo>
                      <a:cubicBezTo>
                        <a:pt x="1398912" y="284522"/>
                        <a:pt x="1400518" y="285084"/>
                        <a:pt x="1401322" y="285325"/>
                      </a:cubicBezTo>
                      <a:cubicBezTo>
                        <a:pt x="1401884" y="285486"/>
                        <a:pt x="1402848" y="285807"/>
                        <a:pt x="1402527" y="285084"/>
                      </a:cubicBezTo>
                      <a:cubicBezTo>
                        <a:pt x="1401884" y="283960"/>
                        <a:pt x="1397707" y="280666"/>
                        <a:pt x="1397707" y="280666"/>
                      </a:cubicBezTo>
                      <a:cubicBezTo>
                        <a:pt x="1395699" y="279622"/>
                        <a:pt x="1392164" y="278015"/>
                        <a:pt x="1391602" y="279381"/>
                      </a:cubicBezTo>
                      <a:cubicBezTo>
                        <a:pt x="1391441" y="279782"/>
                        <a:pt x="1391602" y="280425"/>
                        <a:pt x="1391762" y="280827"/>
                      </a:cubicBezTo>
                      <a:cubicBezTo>
                        <a:pt x="1391923" y="280907"/>
                        <a:pt x="1392245" y="281148"/>
                        <a:pt x="1392566" y="281228"/>
                      </a:cubicBezTo>
                      <a:moveTo>
                        <a:pt x="1295610" y="248213"/>
                      </a:moveTo>
                      <a:cubicBezTo>
                        <a:pt x="1297859" y="250382"/>
                        <a:pt x="1302036" y="254318"/>
                        <a:pt x="1310310" y="258254"/>
                      </a:cubicBezTo>
                      <a:cubicBezTo>
                        <a:pt x="1306936" y="253917"/>
                        <a:pt x="1301715" y="249499"/>
                        <a:pt x="1295128" y="245322"/>
                      </a:cubicBezTo>
                      <a:cubicBezTo>
                        <a:pt x="1293602" y="246125"/>
                        <a:pt x="1294325" y="246928"/>
                        <a:pt x="1295610" y="248213"/>
                      </a:cubicBezTo>
                      <a:moveTo>
                        <a:pt x="1476990" y="302274"/>
                      </a:moveTo>
                      <a:cubicBezTo>
                        <a:pt x="1476990" y="302274"/>
                        <a:pt x="1476990" y="302274"/>
                        <a:pt x="1476990" y="302274"/>
                      </a:cubicBezTo>
                      <a:cubicBezTo>
                        <a:pt x="1476990" y="302274"/>
                        <a:pt x="1476990" y="302274"/>
                        <a:pt x="1476990" y="302274"/>
                      </a:cubicBezTo>
                      <a:cubicBezTo>
                        <a:pt x="1477231" y="302435"/>
                        <a:pt x="1477473" y="302595"/>
                        <a:pt x="1477714" y="302756"/>
                      </a:cubicBezTo>
                      <a:cubicBezTo>
                        <a:pt x="1477553" y="302595"/>
                        <a:pt x="1477312" y="302435"/>
                        <a:pt x="1476990" y="302274"/>
                      </a:cubicBezTo>
                      <a:moveTo>
                        <a:pt x="1477874" y="302756"/>
                      </a:moveTo>
                      <a:cubicBezTo>
                        <a:pt x="1477874" y="302756"/>
                        <a:pt x="1477874" y="302756"/>
                        <a:pt x="1477874" y="302756"/>
                      </a:cubicBezTo>
                      <a:cubicBezTo>
                        <a:pt x="1477874" y="302756"/>
                        <a:pt x="1477874" y="302756"/>
                        <a:pt x="1477874" y="302756"/>
                      </a:cubicBezTo>
                      <a:cubicBezTo>
                        <a:pt x="1477874" y="302756"/>
                        <a:pt x="1477954" y="302756"/>
                        <a:pt x="1477954" y="302836"/>
                      </a:cubicBezTo>
                      <a:cubicBezTo>
                        <a:pt x="1477954" y="302836"/>
                        <a:pt x="1477874" y="302756"/>
                        <a:pt x="1477874" y="302756"/>
                      </a:cubicBezTo>
                      <a:moveTo>
                        <a:pt x="1478115" y="302917"/>
                      </a:moveTo>
                      <a:lnTo>
                        <a:pt x="1478115" y="302917"/>
                      </a:lnTo>
                      <a:lnTo>
                        <a:pt x="1478115" y="302917"/>
                      </a:lnTo>
                      <a:cubicBezTo>
                        <a:pt x="1478115" y="302917"/>
                        <a:pt x="1478115" y="302917"/>
                        <a:pt x="1478115" y="302917"/>
                      </a:cubicBezTo>
                      <a:cubicBezTo>
                        <a:pt x="1478115" y="302917"/>
                        <a:pt x="1478115" y="302917"/>
                        <a:pt x="1478115" y="302917"/>
                      </a:cubicBez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276" y="303078"/>
                      </a:moveTo>
                      <a:lnTo>
                        <a:pt x="1478276" y="303078"/>
                      </a:lnTo>
                      <a:lnTo>
                        <a:pt x="1478276" y="303078"/>
                      </a:lnTo>
                      <a:moveTo>
                        <a:pt x="1478276" y="303078"/>
                      </a:moveTo>
                      <a:cubicBezTo>
                        <a:pt x="1478276" y="303078"/>
                        <a:pt x="1478276" y="303078"/>
                        <a:pt x="1478276" y="303078"/>
                      </a:cubicBezTo>
                      <a:cubicBezTo>
                        <a:pt x="1478276" y="303078"/>
                        <a:pt x="1478276" y="303078"/>
                        <a:pt x="1478276" y="303078"/>
                      </a:cubicBezTo>
                      <a:moveTo>
                        <a:pt x="1478276" y="303078"/>
                      </a:moveTo>
                      <a:cubicBezTo>
                        <a:pt x="1478276" y="303078"/>
                        <a:pt x="1478276" y="303078"/>
                        <a:pt x="1478276" y="303078"/>
                      </a:cubicBezTo>
                      <a:cubicBezTo>
                        <a:pt x="1478276" y="303078"/>
                        <a:pt x="1478276" y="303078"/>
                        <a:pt x="1478276" y="303078"/>
                      </a:cubicBezTo>
                      <a:moveTo>
                        <a:pt x="1478276" y="303078"/>
                      </a:moveTo>
                      <a:lnTo>
                        <a:pt x="1478276" y="303078"/>
                      </a:lnTo>
                      <a:lnTo>
                        <a:pt x="1478276" y="303078"/>
                      </a:ln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cubicBezTo>
                        <a:pt x="1478276" y="302997"/>
                        <a:pt x="1478276" y="302997"/>
                        <a:pt x="1478276" y="302997"/>
                      </a:cubicBezTo>
                      <a:cubicBezTo>
                        <a:pt x="1478276" y="302997"/>
                        <a:pt x="1478276" y="302997"/>
                        <a:pt x="1478276" y="302997"/>
                      </a:cubicBezTo>
                      <a:moveTo>
                        <a:pt x="1478276" y="302997"/>
                      </a:moveTo>
                      <a:cubicBezTo>
                        <a:pt x="1478276" y="302997"/>
                        <a:pt x="1478276" y="302997"/>
                        <a:pt x="1478276" y="302997"/>
                      </a:cubicBezTo>
                      <a:cubicBezTo>
                        <a:pt x="1478276" y="302997"/>
                        <a:pt x="1478276" y="302997"/>
                        <a:pt x="1478276" y="302997"/>
                      </a:cubicBez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cubicBezTo>
                        <a:pt x="1478276" y="302997"/>
                        <a:pt x="1478276" y="302997"/>
                        <a:pt x="1478276" y="302997"/>
                      </a:cubicBezTo>
                      <a:cubicBezTo>
                        <a:pt x="1478276" y="302997"/>
                        <a:pt x="1478276" y="302997"/>
                        <a:pt x="1478276" y="302997"/>
                      </a:cubicBez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cubicBezTo>
                        <a:pt x="1478276" y="302997"/>
                        <a:pt x="1478276" y="302997"/>
                        <a:pt x="1478276" y="302997"/>
                      </a:cubicBezTo>
                      <a:cubicBezTo>
                        <a:pt x="1478276" y="302997"/>
                        <a:pt x="1478276" y="302997"/>
                        <a:pt x="1478276" y="302997"/>
                      </a:cubicBezTo>
                      <a:lnTo>
                        <a:pt x="1478276" y="302997"/>
                      </a:lnTo>
                      <a:moveTo>
                        <a:pt x="693552" y="211182"/>
                      </a:moveTo>
                      <a:cubicBezTo>
                        <a:pt x="693712" y="211503"/>
                        <a:pt x="694194" y="211744"/>
                        <a:pt x="695560" y="212628"/>
                      </a:cubicBezTo>
                      <a:cubicBezTo>
                        <a:pt x="697649" y="212146"/>
                        <a:pt x="698291" y="211584"/>
                        <a:pt x="697408" y="211102"/>
                      </a:cubicBezTo>
                      <a:cubicBezTo>
                        <a:pt x="696524" y="210540"/>
                        <a:pt x="695801" y="210540"/>
                        <a:pt x="695319" y="210540"/>
                      </a:cubicBezTo>
                      <a:cubicBezTo>
                        <a:pt x="694034" y="210620"/>
                        <a:pt x="693391" y="210781"/>
                        <a:pt x="693552" y="211182"/>
                      </a:cubicBezTo>
                      <a:cubicBezTo>
                        <a:pt x="693552" y="211182"/>
                        <a:pt x="693552" y="211182"/>
                        <a:pt x="693552" y="211182"/>
                      </a:cubicBezTo>
                      <a:moveTo>
                        <a:pt x="1464700" y="288779"/>
                      </a:moveTo>
                      <a:cubicBezTo>
                        <a:pt x="1467190" y="290868"/>
                        <a:pt x="1469841" y="292795"/>
                        <a:pt x="1472412" y="294884"/>
                      </a:cubicBezTo>
                      <a:cubicBezTo>
                        <a:pt x="1467271" y="290386"/>
                        <a:pt x="1465263" y="289100"/>
                        <a:pt x="1464700" y="288779"/>
                      </a:cubicBezTo>
                      <a:cubicBezTo>
                        <a:pt x="1464700" y="288779"/>
                        <a:pt x="1464700" y="288779"/>
                        <a:pt x="1464700" y="288779"/>
                      </a:cubicBezTo>
                      <a:moveTo>
                        <a:pt x="1441084" y="270866"/>
                      </a:moveTo>
                      <a:cubicBezTo>
                        <a:pt x="1442048" y="271509"/>
                        <a:pt x="1443092" y="272231"/>
                        <a:pt x="1444056" y="272874"/>
                      </a:cubicBezTo>
                      <a:cubicBezTo>
                        <a:pt x="1443012" y="272151"/>
                        <a:pt x="1441887" y="271428"/>
                        <a:pt x="1440843" y="270705"/>
                      </a:cubicBezTo>
                      <a:cubicBezTo>
                        <a:pt x="1440923" y="270786"/>
                        <a:pt x="1441084" y="270866"/>
                        <a:pt x="1441084" y="270866"/>
                      </a:cubicBezTo>
                      <a:moveTo>
                        <a:pt x="1140256" y="189092"/>
                      </a:moveTo>
                      <a:cubicBezTo>
                        <a:pt x="1168852" y="215118"/>
                        <a:pt x="1250064" y="236566"/>
                        <a:pt x="1253438" y="237530"/>
                      </a:cubicBezTo>
                      <a:cubicBezTo>
                        <a:pt x="1248056" y="236004"/>
                        <a:pt x="1237934" y="233273"/>
                        <a:pt x="1213515" y="222348"/>
                      </a:cubicBezTo>
                      <a:cubicBezTo>
                        <a:pt x="1187328" y="210620"/>
                        <a:pt x="1162105" y="196804"/>
                        <a:pt x="1135918" y="184995"/>
                      </a:cubicBezTo>
                      <a:cubicBezTo>
                        <a:pt x="1137284" y="186200"/>
                        <a:pt x="1138970" y="187887"/>
                        <a:pt x="1140256" y="189092"/>
                      </a:cubicBezTo>
                      <a:moveTo>
                        <a:pt x="1238175" y="217609"/>
                      </a:moveTo>
                      <a:cubicBezTo>
                        <a:pt x="1239782" y="218171"/>
                        <a:pt x="1240826" y="218894"/>
                        <a:pt x="1241389" y="219215"/>
                      </a:cubicBezTo>
                      <a:cubicBezTo>
                        <a:pt x="1240264" y="217207"/>
                        <a:pt x="1241067" y="216564"/>
                        <a:pt x="1244682" y="216484"/>
                      </a:cubicBezTo>
                      <a:cubicBezTo>
                        <a:pt x="1242031" y="216002"/>
                        <a:pt x="1240184" y="215520"/>
                        <a:pt x="1240184" y="215520"/>
                      </a:cubicBezTo>
                      <a:cubicBezTo>
                        <a:pt x="1240023" y="215359"/>
                        <a:pt x="1223556" y="195358"/>
                        <a:pt x="1223315" y="193028"/>
                      </a:cubicBezTo>
                      <a:cubicBezTo>
                        <a:pt x="1224279" y="192707"/>
                        <a:pt x="1228536" y="196322"/>
                        <a:pt x="1231990" y="199374"/>
                      </a:cubicBezTo>
                      <a:cubicBezTo>
                        <a:pt x="1235043" y="202105"/>
                        <a:pt x="1235123" y="202105"/>
                        <a:pt x="1240666" y="204676"/>
                      </a:cubicBezTo>
                      <a:cubicBezTo>
                        <a:pt x="1236649" y="202426"/>
                        <a:pt x="1234962" y="201141"/>
                        <a:pt x="1233275" y="199133"/>
                      </a:cubicBezTo>
                      <a:cubicBezTo>
                        <a:pt x="1239621" y="201382"/>
                        <a:pt x="1240184" y="199936"/>
                        <a:pt x="1240585" y="196643"/>
                      </a:cubicBezTo>
                      <a:cubicBezTo>
                        <a:pt x="1231508" y="192787"/>
                        <a:pt x="1231508" y="192787"/>
                        <a:pt x="1230946" y="193109"/>
                      </a:cubicBezTo>
                      <a:cubicBezTo>
                        <a:pt x="1230946" y="193269"/>
                        <a:pt x="1230946" y="193430"/>
                        <a:pt x="1230946" y="193510"/>
                      </a:cubicBezTo>
                      <a:cubicBezTo>
                        <a:pt x="1228777" y="192787"/>
                        <a:pt x="1227331" y="192225"/>
                        <a:pt x="1225725" y="191421"/>
                      </a:cubicBezTo>
                      <a:cubicBezTo>
                        <a:pt x="1224921" y="191261"/>
                        <a:pt x="1224038" y="191100"/>
                        <a:pt x="1223234" y="190940"/>
                      </a:cubicBezTo>
                      <a:cubicBezTo>
                        <a:pt x="1222672" y="190618"/>
                        <a:pt x="1221949" y="190136"/>
                        <a:pt x="1221387" y="189815"/>
                      </a:cubicBezTo>
                      <a:cubicBezTo>
                        <a:pt x="1221548" y="190377"/>
                        <a:pt x="1221387" y="190779"/>
                        <a:pt x="1218977" y="190136"/>
                      </a:cubicBezTo>
                      <a:cubicBezTo>
                        <a:pt x="1220905" y="195518"/>
                        <a:pt x="1225966" y="202989"/>
                        <a:pt x="1233356" y="211182"/>
                      </a:cubicBezTo>
                      <a:cubicBezTo>
                        <a:pt x="1233838" y="210781"/>
                        <a:pt x="1234079" y="210379"/>
                        <a:pt x="1233918" y="209656"/>
                      </a:cubicBezTo>
                      <a:cubicBezTo>
                        <a:pt x="1238497" y="213351"/>
                        <a:pt x="1239461" y="215440"/>
                        <a:pt x="1237613" y="217368"/>
                      </a:cubicBezTo>
                      <a:cubicBezTo>
                        <a:pt x="1237854" y="217528"/>
                        <a:pt x="1238015" y="217609"/>
                        <a:pt x="1238175" y="217609"/>
                      </a:cubicBezTo>
                      <a:moveTo>
                        <a:pt x="1055911" y="116395"/>
                      </a:moveTo>
                      <a:cubicBezTo>
                        <a:pt x="1062900" y="118082"/>
                        <a:pt x="1068603" y="119769"/>
                        <a:pt x="1070451" y="120331"/>
                      </a:cubicBezTo>
                      <a:cubicBezTo>
                        <a:pt x="1069005" y="118725"/>
                        <a:pt x="1066756" y="117520"/>
                        <a:pt x="1066675" y="117520"/>
                      </a:cubicBezTo>
                      <a:cubicBezTo>
                        <a:pt x="1066515" y="117439"/>
                        <a:pt x="1066193" y="117520"/>
                        <a:pt x="1066033" y="117439"/>
                      </a:cubicBezTo>
                      <a:cubicBezTo>
                        <a:pt x="1064587" y="117279"/>
                        <a:pt x="1063141" y="117199"/>
                        <a:pt x="1061695" y="117038"/>
                      </a:cubicBezTo>
                      <a:cubicBezTo>
                        <a:pt x="1059606" y="116797"/>
                        <a:pt x="1057518" y="116556"/>
                        <a:pt x="1055429" y="116235"/>
                      </a:cubicBezTo>
                      <a:cubicBezTo>
                        <a:pt x="1055590" y="116315"/>
                        <a:pt x="1055751" y="116395"/>
                        <a:pt x="1055911" y="116395"/>
                      </a:cubicBezTo>
                      <a:moveTo>
                        <a:pt x="1021772" y="105149"/>
                      </a:moveTo>
                      <a:cubicBezTo>
                        <a:pt x="1025949" y="107720"/>
                        <a:pt x="1029483" y="107077"/>
                        <a:pt x="1031010" y="106836"/>
                      </a:cubicBezTo>
                      <a:cubicBezTo>
                        <a:pt x="1031251" y="105471"/>
                        <a:pt x="1031733" y="102499"/>
                        <a:pt x="1036793" y="109808"/>
                      </a:cubicBezTo>
                      <a:cubicBezTo>
                        <a:pt x="1037355" y="110531"/>
                        <a:pt x="1037998" y="111575"/>
                        <a:pt x="1038480" y="112379"/>
                      </a:cubicBezTo>
                      <a:cubicBezTo>
                        <a:pt x="1041211" y="112379"/>
                        <a:pt x="1041533" y="112540"/>
                        <a:pt x="1041774" y="112700"/>
                      </a:cubicBezTo>
                      <a:cubicBezTo>
                        <a:pt x="1041774" y="112781"/>
                        <a:pt x="1041774" y="112861"/>
                        <a:pt x="1041693" y="112941"/>
                      </a:cubicBezTo>
                      <a:cubicBezTo>
                        <a:pt x="1041292" y="113182"/>
                        <a:pt x="1041211" y="113182"/>
                        <a:pt x="1040408" y="113503"/>
                      </a:cubicBezTo>
                      <a:cubicBezTo>
                        <a:pt x="1043059" y="113825"/>
                        <a:pt x="1044987" y="114146"/>
                        <a:pt x="1048441" y="114789"/>
                      </a:cubicBezTo>
                      <a:cubicBezTo>
                        <a:pt x="1045870" y="113744"/>
                        <a:pt x="1045308" y="113022"/>
                        <a:pt x="1046111" y="111656"/>
                      </a:cubicBezTo>
                      <a:cubicBezTo>
                        <a:pt x="1046192" y="111495"/>
                        <a:pt x="1046352" y="111334"/>
                        <a:pt x="1046433" y="111174"/>
                      </a:cubicBezTo>
                      <a:cubicBezTo>
                        <a:pt x="1043380" y="110371"/>
                        <a:pt x="1037677" y="108844"/>
                        <a:pt x="1039283" y="107720"/>
                      </a:cubicBezTo>
                      <a:cubicBezTo>
                        <a:pt x="1040167" y="107158"/>
                        <a:pt x="1042978" y="106997"/>
                        <a:pt x="1044746" y="106917"/>
                      </a:cubicBezTo>
                      <a:cubicBezTo>
                        <a:pt x="1043862" y="106435"/>
                        <a:pt x="1043059" y="105872"/>
                        <a:pt x="1042175" y="105390"/>
                      </a:cubicBezTo>
                      <a:cubicBezTo>
                        <a:pt x="1042255" y="105390"/>
                        <a:pt x="1042416" y="105390"/>
                        <a:pt x="1042577" y="105471"/>
                      </a:cubicBezTo>
                      <a:cubicBezTo>
                        <a:pt x="1044585" y="105631"/>
                        <a:pt x="1045629" y="105551"/>
                        <a:pt x="1046433" y="105230"/>
                      </a:cubicBezTo>
                      <a:cubicBezTo>
                        <a:pt x="1043219" y="104346"/>
                        <a:pt x="1041774" y="103944"/>
                        <a:pt x="1041372" y="103382"/>
                      </a:cubicBezTo>
                      <a:cubicBezTo>
                        <a:pt x="1041613" y="102981"/>
                        <a:pt x="1042737" y="102900"/>
                        <a:pt x="1048441" y="103222"/>
                      </a:cubicBezTo>
                      <a:cubicBezTo>
                        <a:pt x="1036311" y="100330"/>
                        <a:pt x="1036954" y="102177"/>
                        <a:pt x="1038480" y="106274"/>
                      </a:cubicBezTo>
                      <a:cubicBezTo>
                        <a:pt x="1035749" y="104667"/>
                        <a:pt x="1033339" y="103302"/>
                        <a:pt x="1030528" y="101695"/>
                      </a:cubicBezTo>
                      <a:cubicBezTo>
                        <a:pt x="1032455" y="103382"/>
                        <a:pt x="1032696" y="103784"/>
                        <a:pt x="1032777" y="104266"/>
                      </a:cubicBezTo>
                      <a:cubicBezTo>
                        <a:pt x="1032455" y="104587"/>
                        <a:pt x="1031572" y="104426"/>
                        <a:pt x="1027636" y="102659"/>
                      </a:cubicBezTo>
                      <a:cubicBezTo>
                        <a:pt x="1025949" y="106113"/>
                        <a:pt x="1024583" y="106033"/>
                        <a:pt x="1023218" y="102258"/>
                      </a:cubicBezTo>
                      <a:cubicBezTo>
                        <a:pt x="1023137" y="102016"/>
                        <a:pt x="1022977" y="101615"/>
                        <a:pt x="1022896" y="101374"/>
                      </a:cubicBezTo>
                      <a:cubicBezTo>
                        <a:pt x="1021049" y="100972"/>
                        <a:pt x="1019764" y="100731"/>
                        <a:pt x="1018157" y="100571"/>
                      </a:cubicBezTo>
                      <a:cubicBezTo>
                        <a:pt x="1020326" y="102338"/>
                        <a:pt x="1021210" y="103703"/>
                        <a:pt x="1020728" y="104587"/>
                      </a:cubicBezTo>
                      <a:cubicBezTo>
                        <a:pt x="1021210" y="104828"/>
                        <a:pt x="1021531" y="104989"/>
                        <a:pt x="1021772" y="105149"/>
                      </a:cubicBezTo>
                      <a:moveTo>
                        <a:pt x="170376" y="189413"/>
                      </a:moveTo>
                      <a:cubicBezTo>
                        <a:pt x="170376" y="189494"/>
                        <a:pt x="170376" y="189494"/>
                        <a:pt x="170536" y="189413"/>
                      </a:cubicBezTo>
                      <a:cubicBezTo>
                        <a:pt x="170938" y="189253"/>
                        <a:pt x="171822" y="188369"/>
                        <a:pt x="172143" y="188128"/>
                      </a:cubicBezTo>
                      <a:cubicBezTo>
                        <a:pt x="171822" y="188208"/>
                        <a:pt x="171500" y="188289"/>
                        <a:pt x="171179" y="188369"/>
                      </a:cubicBezTo>
                      <a:cubicBezTo>
                        <a:pt x="171179" y="188289"/>
                        <a:pt x="171259" y="188289"/>
                        <a:pt x="171259" y="188208"/>
                      </a:cubicBezTo>
                      <a:cubicBezTo>
                        <a:pt x="171259" y="188289"/>
                        <a:pt x="170456" y="189253"/>
                        <a:pt x="170376" y="189413"/>
                      </a:cubicBezTo>
                      <a:moveTo>
                        <a:pt x="1129010" y="86353"/>
                      </a:moveTo>
                      <a:cubicBezTo>
                        <a:pt x="1134874" y="88441"/>
                        <a:pt x="1140657" y="90610"/>
                        <a:pt x="1146521" y="92699"/>
                      </a:cubicBezTo>
                      <a:cubicBezTo>
                        <a:pt x="1148449" y="93421"/>
                        <a:pt x="1150377" y="94064"/>
                        <a:pt x="1152225" y="94787"/>
                      </a:cubicBezTo>
                      <a:cubicBezTo>
                        <a:pt x="1151823" y="94626"/>
                        <a:pt x="1151421" y="94385"/>
                        <a:pt x="1151020" y="94225"/>
                      </a:cubicBezTo>
                      <a:cubicBezTo>
                        <a:pt x="1148047" y="93100"/>
                        <a:pt x="1139051" y="89566"/>
                        <a:pt x="1128528" y="86112"/>
                      </a:cubicBezTo>
                      <a:cubicBezTo>
                        <a:pt x="1128688" y="86192"/>
                        <a:pt x="1128849" y="86272"/>
                        <a:pt x="1129010" y="86353"/>
                      </a:cubicBezTo>
                      <a:moveTo>
                        <a:pt x="1123949" y="83621"/>
                      </a:moveTo>
                      <a:cubicBezTo>
                        <a:pt x="1137685" y="88843"/>
                        <a:pt x="1138890" y="89084"/>
                        <a:pt x="1139292" y="89164"/>
                      </a:cubicBezTo>
                      <a:cubicBezTo>
                        <a:pt x="1137765" y="88602"/>
                        <a:pt x="1136159" y="88039"/>
                        <a:pt x="1134633" y="87477"/>
                      </a:cubicBezTo>
                      <a:cubicBezTo>
                        <a:pt x="1130777" y="86031"/>
                        <a:pt x="1126921" y="84666"/>
                        <a:pt x="1122985" y="83300"/>
                      </a:cubicBezTo>
                      <a:cubicBezTo>
                        <a:pt x="1123306" y="83380"/>
                        <a:pt x="1123628" y="83541"/>
                        <a:pt x="1123949" y="83621"/>
                      </a:cubicBezTo>
                      <a:moveTo>
                        <a:pt x="367741" y="89646"/>
                      </a:moveTo>
                      <a:cubicBezTo>
                        <a:pt x="370071" y="89084"/>
                        <a:pt x="374168" y="87959"/>
                        <a:pt x="375132" y="86594"/>
                      </a:cubicBezTo>
                      <a:cubicBezTo>
                        <a:pt x="372160" y="87477"/>
                        <a:pt x="369589" y="88441"/>
                        <a:pt x="367260" y="89566"/>
                      </a:cubicBezTo>
                      <a:lnTo>
                        <a:pt x="367741" y="89646"/>
                      </a:lnTo>
                      <a:moveTo>
                        <a:pt x="370955" y="87076"/>
                      </a:moveTo>
                      <a:cubicBezTo>
                        <a:pt x="370874" y="87477"/>
                        <a:pt x="370874" y="87557"/>
                        <a:pt x="371115" y="87557"/>
                      </a:cubicBezTo>
                      <a:cubicBezTo>
                        <a:pt x="371517" y="87477"/>
                        <a:pt x="371999" y="87076"/>
                        <a:pt x="373204" y="86192"/>
                      </a:cubicBezTo>
                      <a:lnTo>
                        <a:pt x="372802" y="85710"/>
                      </a:lnTo>
                      <a:cubicBezTo>
                        <a:pt x="372882" y="85630"/>
                        <a:pt x="372882" y="85549"/>
                        <a:pt x="372963" y="85469"/>
                      </a:cubicBezTo>
                      <a:cubicBezTo>
                        <a:pt x="371035" y="86031"/>
                        <a:pt x="369268" y="86754"/>
                        <a:pt x="368143" y="87557"/>
                      </a:cubicBezTo>
                      <a:cubicBezTo>
                        <a:pt x="369027" y="87397"/>
                        <a:pt x="370151" y="87236"/>
                        <a:pt x="370955" y="87076"/>
                      </a:cubicBezTo>
                      <a:moveTo>
                        <a:pt x="1111498" y="78239"/>
                      </a:moveTo>
                      <a:cubicBezTo>
                        <a:pt x="1115515" y="79444"/>
                        <a:pt x="1121861" y="81854"/>
                        <a:pt x="1131420" y="85710"/>
                      </a:cubicBezTo>
                      <a:cubicBezTo>
                        <a:pt x="1131259" y="85630"/>
                        <a:pt x="1111980" y="77838"/>
                        <a:pt x="1110856" y="78079"/>
                      </a:cubicBezTo>
                      <a:cubicBezTo>
                        <a:pt x="1111016" y="78159"/>
                        <a:pt x="1111338" y="78239"/>
                        <a:pt x="1111498" y="78239"/>
                      </a:cubicBezTo>
                      <a:moveTo>
                        <a:pt x="530165" y="34862"/>
                      </a:moveTo>
                      <a:cubicBezTo>
                        <a:pt x="530406" y="34702"/>
                        <a:pt x="530566" y="34541"/>
                        <a:pt x="530084" y="34461"/>
                      </a:cubicBezTo>
                      <a:cubicBezTo>
                        <a:pt x="529683" y="34380"/>
                        <a:pt x="529201" y="34380"/>
                        <a:pt x="528719" y="34380"/>
                      </a:cubicBezTo>
                      <a:lnTo>
                        <a:pt x="530165" y="34862"/>
                      </a:lnTo>
                      <a:moveTo>
                        <a:pt x="570891" y="25705"/>
                      </a:moveTo>
                      <a:cubicBezTo>
                        <a:pt x="572417" y="25544"/>
                        <a:pt x="573943" y="25464"/>
                        <a:pt x="575470" y="25303"/>
                      </a:cubicBezTo>
                      <a:cubicBezTo>
                        <a:pt x="573863" y="25464"/>
                        <a:pt x="572176" y="25544"/>
                        <a:pt x="570570" y="25705"/>
                      </a:cubicBezTo>
                      <a:cubicBezTo>
                        <a:pt x="570650" y="25785"/>
                        <a:pt x="570811" y="25785"/>
                        <a:pt x="570891" y="25705"/>
                      </a:cubicBezTo>
                      <a:moveTo>
                        <a:pt x="868586" y="11487"/>
                      </a:moveTo>
                      <a:cubicBezTo>
                        <a:pt x="885937" y="14379"/>
                        <a:pt x="896541" y="16307"/>
                        <a:pt x="904573" y="17833"/>
                      </a:cubicBezTo>
                      <a:lnTo>
                        <a:pt x="924334" y="22010"/>
                      </a:lnTo>
                      <a:cubicBezTo>
                        <a:pt x="921201" y="21287"/>
                        <a:pt x="918069" y="20725"/>
                        <a:pt x="915016" y="19921"/>
                      </a:cubicBezTo>
                      <a:lnTo>
                        <a:pt x="865534" y="10764"/>
                      </a:lnTo>
                      <a:cubicBezTo>
                        <a:pt x="866337" y="11406"/>
                        <a:pt x="867703" y="11326"/>
                        <a:pt x="868586" y="11487"/>
                      </a:cubicBezTo>
                      <a:moveTo>
                        <a:pt x="0" y="237450"/>
                      </a:moveTo>
                      <a:cubicBezTo>
                        <a:pt x="964" y="236245"/>
                        <a:pt x="1928" y="235040"/>
                        <a:pt x="2892" y="233835"/>
                      </a:cubicBezTo>
                      <a:lnTo>
                        <a:pt x="2892" y="233835"/>
                      </a:lnTo>
                      <a:cubicBezTo>
                        <a:pt x="41530" y="208772"/>
                        <a:pt x="41530" y="208772"/>
                        <a:pt x="56390" y="204354"/>
                      </a:cubicBezTo>
                      <a:cubicBezTo>
                        <a:pt x="54703" y="206523"/>
                        <a:pt x="52454" y="209415"/>
                        <a:pt x="50767" y="211584"/>
                      </a:cubicBezTo>
                      <a:cubicBezTo>
                        <a:pt x="198089" y="108121"/>
                        <a:pt x="273597" y="103382"/>
                        <a:pt x="360994" y="98000"/>
                      </a:cubicBezTo>
                      <a:cubicBezTo>
                        <a:pt x="377060" y="64825"/>
                        <a:pt x="547596" y="31087"/>
                        <a:pt x="549283" y="30846"/>
                      </a:cubicBezTo>
                      <a:cubicBezTo>
                        <a:pt x="543820" y="30846"/>
                        <a:pt x="536591" y="31328"/>
                        <a:pt x="531209" y="32131"/>
                      </a:cubicBezTo>
                      <a:cubicBezTo>
                        <a:pt x="547114" y="27713"/>
                        <a:pt x="571132" y="21046"/>
                        <a:pt x="602781" y="24741"/>
                      </a:cubicBezTo>
                      <a:cubicBezTo>
                        <a:pt x="600130" y="25223"/>
                        <a:pt x="596516" y="25785"/>
                        <a:pt x="593784" y="26267"/>
                      </a:cubicBezTo>
                      <a:cubicBezTo>
                        <a:pt x="685198" y="35505"/>
                        <a:pt x="718775" y="19439"/>
                        <a:pt x="718935" y="19198"/>
                      </a:cubicBezTo>
                      <a:cubicBezTo>
                        <a:pt x="713553" y="18475"/>
                        <a:pt x="706485" y="16467"/>
                        <a:pt x="701504" y="14298"/>
                      </a:cubicBezTo>
                      <a:cubicBezTo>
                        <a:pt x="717731" y="2731"/>
                        <a:pt x="838785" y="13094"/>
                        <a:pt x="839749" y="13334"/>
                      </a:cubicBezTo>
                      <a:cubicBezTo>
                        <a:pt x="837178" y="12290"/>
                        <a:pt x="833804" y="10844"/>
                        <a:pt x="831314" y="9800"/>
                      </a:cubicBezTo>
                      <a:cubicBezTo>
                        <a:pt x="835331" y="10362"/>
                        <a:pt x="840793" y="11005"/>
                        <a:pt x="844890" y="10684"/>
                      </a:cubicBezTo>
                      <a:cubicBezTo>
                        <a:pt x="865534" y="13495"/>
                        <a:pt x="921121" y="24018"/>
                        <a:pt x="921683" y="24098"/>
                      </a:cubicBezTo>
                      <a:cubicBezTo>
                        <a:pt x="911321" y="21930"/>
                        <a:pt x="911321" y="21930"/>
                        <a:pt x="776209" y="0"/>
                      </a:cubicBezTo>
                      <a:lnTo>
                        <a:pt x="816534" y="3936"/>
                      </a:lnTo>
                      <a:cubicBezTo>
                        <a:pt x="884973" y="13897"/>
                        <a:pt x="892122" y="14941"/>
                        <a:pt x="937508" y="24902"/>
                      </a:cubicBezTo>
                      <a:cubicBezTo>
                        <a:pt x="1026431" y="47554"/>
                        <a:pt x="1050529" y="55185"/>
                        <a:pt x="1135838" y="87557"/>
                      </a:cubicBezTo>
                      <a:cubicBezTo>
                        <a:pt x="1225805" y="128123"/>
                        <a:pt x="1244521" y="136638"/>
                        <a:pt x="1327902" y="187164"/>
                      </a:cubicBezTo>
                      <a:cubicBezTo>
                        <a:pt x="1418833" y="249659"/>
                        <a:pt x="1430481" y="257772"/>
                        <a:pt x="1493136" y="313038"/>
                      </a:cubicBezTo>
                      <a:cubicBezTo>
                        <a:pt x="1577320" y="395053"/>
                        <a:pt x="1584148" y="401801"/>
                        <a:pt x="1632827" y="462287"/>
                      </a:cubicBezTo>
                      <a:cubicBezTo>
                        <a:pt x="1704640" y="560770"/>
                        <a:pt x="1708978" y="566634"/>
                        <a:pt x="1745607" y="632503"/>
                      </a:cubicBezTo>
                      <a:lnTo>
                        <a:pt x="1770750" y="680940"/>
                      </a:lnTo>
                      <a:lnTo>
                        <a:pt x="1770027" y="679575"/>
                      </a:lnTo>
                      <a:cubicBezTo>
                        <a:pt x="1771071" y="682065"/>
                        <a:pt x="1772437" y="685439"/>
                        <a:pt x="1773481" y="688009"/>
                      </a:cubicBezTo>
                      <a:cubicBezTo>
                        <a:pt x="1773080" y="687447"/>
                        <a:pt x="1772598" y="686644"/>
                        <a:pt x="1772276" y="686001"/>
                      </a:cubicBezTo>
                      <a:lnTo>
                        <a:pt x="1772437" y="686483"/>
                      </a:lnTo>
                      <a:lnTo>
                        <a:pt x="1771794" y="685118"/>
                      </a:lnTo>
                      <a:cubicBezTo>
                        <a:pt x="1772678" y="688331"/>
                        <a:pt x="1773802" y="692668"/>
                        <a:pt x="1774686" y="695962"/>
                      </a:cubicBezTo>
                      <a:cubicBezTo>
                        <a:pt x="1769545" y="690821"/>
                        <a:pt x="1765770" y="684636"/>
                        <a:pt x="1760789" y="679334"/>
                      </a:cubicBezTo>
                      <a:lnTo>
                        <a:pt x="1759665" y="679414"/>
                      </a:lnTo>
                      <a:lnTo>
                        <a:pt x="1760147" y="680057"/>
                      </a:lnTo>
                      <a:lnTo>
                        <a:pt x="1762958" y="684475"/>
                      </a:lnTo>
                      <a:cubicBezTo>
                        <a:pt x="1770670" y="703271"/>
                        <a:pt x="1772678" y="723916"/>
                        <a:pt x="1782478" y="741990"/>
                      </a:cubicBezTo>
                      <a:lnTo>
                        <a:pt x="1782237" y="743034"/>
                      </a:lnTo>
                      <a:cubicBezTo>
                        <a:pt x="1782478" y="743275"/>
                        <a:pt x="1782719" y="743516"/>
                        <a:pt x="1782960" y="743757"/>
                      </a:cubicBezTo>
                      <a:cubicBezTo>
                        <a:pt x="1785611" y="764401"/>
                        <a:pt x="1786093" y="769783"/>
                        <a:pt x="1787137" y="792275"/>
                      </a:cubicBezTo>
                      <a:cubicBezTo>
                        <a:pt x="1784245" y="792677"/>
                        <a:pt x="1780309" y="793159"/>
                        <a:pt x="1777417" y="793560"/>
                      </a:cubicBezTo>
                      <a:cubicBezTo>
                        <a:pt x="1772357" y="787375"/>
                        <a:pt x="1761914" y="774442"/>
                        <a:pt x="1746170" y="727611"/>
                      </a:cubicBezTo>
                      <a:cubicBezTo>
                        <a:pt x="1746089" y="728093"/>
                        <a:pt x="1745929" y="728816"/>
                        <a:pt x="1745768" y="729378"/>
                      </a:cubicBezTo>
                      <a:cubicBezTo>
                        <a:pt x="1737896" y="693552"/>
                        <a:pt x="1666645" y="631378"/>
                        <a:pt x="1665922" y="630735"/>
                      </a:cubicBezTo>
                      <a:cubicBezTo>
                        <a:pt x="1645760" y="602621"/>
                        <a:pt x="1639735" y="602058"/>
                        <a:pt x="1632747" y="601496"/>
                      </a:cubicBezTo>
                      <a:cubicBezTo>
                        <a:pt x="1630658" y="599006"/>
                        <a:pt x="1630337" y="598845"/>
                        <a:pt x="1630096" y="598765"/>
                      </a:cubicBezTo>
                      <a:lnTo>
                        <a:pt x="1629132" y="596998"/>
                      </a:lnTo>
                      <a:cubicBezTo>
                        <a:pt x="1612504" y="590411"/>
                        <a:pt x="1612504" y="590411"/>
                        <a:pt x="1605274" y="574827"/>
                      </a:cubicBezTo>
                      <a:cubicBezTo>
                        <a:pt x="1602543" y="577157"/>
                        <a:pt x="1598768" y="580129"/>
                        <a:pt x="1596358" y="582779"/>
                      </a:cubicBezTo>
                      <a:cubicBezTo>
                        <a:pt x="1598607" y="594427"/>
                        <a:pt x="1599571" y="599327"/>
                        <a:pt x="1593466" y="601898"/>
                      </a:cubicBezTo>
                      <a:lnTo>
                        <a:pt x="1590735" y="600693"/>
                      </a:lnTo>
                      <a:lnTo>
                        <a:pt x="1590574" y="601978"/>
                      </a:lnTo>
                      <a:lnTo>
                        <a:pt x="1585996" y="602942"/>
                      </a:lnTo>
                      <a:cubicBezTo>
                        <a:pt x="1584871" y="605512"/>
                        <a:pt x="1583264" y="608886"/>
                        <a:pt x="1582140" y="611457"/>
                      </a:cubicBezTo>
                      <a:cubicBezTo>
                        <a:pt x="1582461" y="611537"/>
                        <a:pt x="1582863" y="611698"/>
                        <a:pt x="1583184" y="611858"/>
                      </a:cubicBezTo>
                      <a:cubicBezTo>
                        <a:pt x="1585353" y="618365"/>
                        <a:pt x="1588004" y="627121"/>
                        <a:pt x="1589771" y="633788"/>
                      </a:cubicBezTo>
                      <a:cubicBezTo>
                        <a:pt x="1587522" y="635394"/>
                        <a:pt x="1584550" y="637563"/>
                        <a:pt x="1582220" y="639170"/>
                      </a:cubicBezTo>
                      <a:cubicBezTo>
                        <a:pt x="1581979" y="639089"/>
                        <a:pt x="1559487" y="627362"/>
                        <a:pt x="1552901" y="616196"/>
                      </a:cubicBezTo>
                      <a:cubicBezTo>
                        <a:pt x="1550812" y="618124"/>
                        <a:pt x="1548081" y="620775"/>
                        <a:pt x="1546073" y="622703"/>
                      </a:cubicBezTo>
                      <a:cubicBezTo>
                        <a:pt x="1547036" y="628085"/>
                        <a:pt x="1547920" y="635394"/>
                        <a:pt x="1548241" y="640857"/>
                      </a:cubicBezTo>
                      <a:cubicBezTo>
                        <a:pt x="1548000" y="640937"/>
                        <a:pt x="1547759" y="641017"/>
                        <a:pt x="1547518" y="641098"/>
                      </a:cubicBezTo>
                      <a:cubicBezTo>
                        <a:pt x="1547599" y="643829"/>
                        <a:pt x="1547679" y="647363"/>
                        <a:pt x="1547759" y="650094"/>
                      </a:cubicBezTo>
                      <a:cubicBezTo>
                        <a:pt x="1547277" y="649371"/>
                        <a:pt x="1546635" y="648488"/>
                        <a:pt x="1546153" y="647765"/>
                      </a:cubicBezTo>
                      <a:cubicBezTo>
                        <a:pt x="1540691" y="670176"/>
                        <a:pt x="1558363" y="687929"/>
                        <a:pt x="1558363" y="709216"/>
                      </a:cubicBezTo>
                      <a:cubicBezTo>
                        <a:pt x="1542779" y="715080"/>
                        <a:pt x="1539968" y="716124"/>
                        <a:pt x="1536273" y="746568"/>
                      </a:cubicBezTo>
                      <a:cubicBezTo>
                        <a:pt x="1536674" y="746809"/>
                        <a:pt x="1537236" y="747211"/>
                        <a:pt x="1537638" y="747532"/>
                      </a:cubicBezTo>
                      <a:cubicBezTo>
                        <a:pt x="1525027" y="762232"/>
                        <a:pt x="1518761" y="764883"/>
                        <a:pt x="1492976" y="766088"/>
                      </a:cubicBezTo>
                      <a:cubicBezTo>
                        <a:pt x="1492896" y="765526"/>
                        <a:pt x="1492815" y="764803"/>
                        <a:pt x="1492735" y="764240"/>
                      </a:cubicBezTo>
                      <a:cubicBezTo>
                        <a:pt x="1499241" y="729860"/>
                        <a:pt x="1513058" y="721827"/>
                        <a:pt x="1532176" y="710662"/>
                      </a:cubicBezTo>
                      <a:cubicBezTo>
                        <a:pt x="1539405" y="669935"/>
                        <a:pt x="1539405" y="669935"/>
                        <a:pt x="1512496" y="644391"/>
                      </a:cubicBezTo>
                      <a:cubicBezTo>
                        <a:pt x="1507676" y="648970"/>
                        <a:pt x="1498599" y="652504"/>
                        <a:pt x="1492012" y="652826"/>
                      </a:cubicBezTo>
                      <a:cubicBezTo>
                        <a:pt x="1491851" y="652585"/>
                        <a:pt x="1491610" y="652263"/>
                        <a:pt x="1491369" y="652022"/>
                      </a:cubicBezTo>
                      <a:lnTo>
                        <a:pt x="1486791" y="653147"/>
                      </a:lnTo>
                      <a:lnTo>
                        <a:pt x="1482614" y="656681"/>
                      </a:lnTo>
                      <a:cubicBezTo>
                        <a:pt x="1480846" y="659252"/>
                        <a:pt x="1478517" y="662706"/>
                        <a:pt x="1476750" y="665357"/>
                      </a:cubicBezTo>
                      <a:cubicBezTo>
                        <a:pt x="1470564" y="666080"/>
                        <a:pt x="1462451" y="668168"/>
                        <a:pt x="1456748" y="670739"/>
                      </a:cubicBezTo>
                      <a:cubicBezTo>
                        <a:pt x="1457471" y="675639"/>
                        <a:pt x="1459961" y="682226"/>
                        <a:pt x="1463174" y="686001"/>
                      </a:cubicBezTo>
                      <a:cubicBezTo>
                        <a:pt x="1450402" y="681583"/>
                        <a:pt x="1450402" y="681583"/>
                        <a:pt x="1426545" y="660698"/>
                      </a:cubicBezTo>
                      <a:cubicBezTo>
                        <a:pt x="1396743" y="653066"/>
                        <a:pt x="1395538" y="652745"/>
                        <a:pt x="1381481" y="639973"/>
                      </a:cubicBezTo>
                      <a:cubicBezTo>
                        <a:pt x="1381400" y="640294"/>
                        <a:pt x="1381320" y="640696"/>
                        <a:pt x="1381159" y="641017"/>
                      </a:cubicBezTo>
                      <a:lnTo>
                        <a:pt x="1378910" y="635796"/>
                      </a:lnTo>
                      <a:lnTo>
                        <a:pt x="1375938" y="633306"/>
                      </a:lnTo>
                      <a:cubicBezTo>
                        <a:pt x="1375938" y="629691"/>
                        <a:pt x="1376340" y="624631"/>
                        <a:pt x="1375135" y="621176"/>
                      </a:cubicBezTo>
                      <a:cubicBezTo>
                        <a:pt x="1381320" y="600130"/>
                        <a:pt x="1385256" y="596034"/>
                        <a:pt x="1409917" y="585189"/>
                      </a:cubicBezTo>
                      <a:cubicBezTo>
                        <a:pt x="1409435" y="585270"/>
                        <a:pt x="1408712" y="585350"/>
                        <a:pt x="1408230" y="585350"/>
                      </a:cubicBezTo>
                      <a:cubicBezTo>
                        <a:pt x="1407346" y="553058"/>
                        <a:pt x="1397305" y="550889"/>
                        <a:pt x="1341477" y="538920"/>
                      </a:cubicBezTo>
                      <a:lnTo>
                        <a:pt x="1338987" y="539402"/>
                      </a:lnTo>
                      <a:cubicBezTo>
                        <a:pt x="1340674" y="541571"/>
                        <a:pt x="1342923" y="544463"/>
                        <a:pt x="1344690" y="546632"/>
                      </a:cubicBezTo>
                      <a:cubicBezTo>
                        <a:pt x="1341638" y="547114"/>
                        <a:pt x="1337541" y="547676"/>
                        <a:pt x="1334489" y="548158"/>
                      </a:cubicBezTo>
                      <a:cubicBezTo>
                        <a:pt x="1319869" y="528799"/>
                        <a:pt x="1288943" y="542214"/>
                        <a:pt x="1276171" y="519160"/>
                      </a:cubicBezTo>
                      <a:cubicBezTo>
                        <a:pt x="1270387" y="521489"/>
                        <a:pt x="1270387" y="521489"/>
                        <a:pt x="1202992" y="506388"/>
                      </a:cubicBezTo>
                      <a:lnTo>
                        <a:pt x="1199377" y="505745"/>
                      </a:lnTo>
                      <a:cubicBezTo>
                        <a:pt x="1196566" y="503898"/>
                        <a:pt x="1192308" y="501648"/>
                        <a:pt x="1190380" y="498837"/>
                      </a:cubicBezTo>
                      <a:cubicBezTo>
                        <a:pt x="1177769" y="495302"/>
                        <a:pt x="1176484" y="494981"/>
                        <a:pt x="1163069" y="489519"/>
                      </a:cubicBezTo>
                      <a:cubicBezTo>
                        <a:pt x="1161141" y="484539"/>
                        <a:pt x="1157366" y="478353"/>
                        <a:pt x="1153831" y="474337"/>
                      </a:cubicBezTo>
                      <a:cubicBezTo>
                        <a:pt x="1152546" y="474578"/>
                        <a:pt x="1150779" y="474899"/>
                        <a:pt x="1149413" y="475140"/>
                      </a:cubicBezTo>
                      <a:cubicBezTo>
                        <a:pt x="1147325" y="474096"/>
                        <a:pt x="1147325" y="474096"/>
                        <a:pt x="1102582" y="446463"/>
                      </a:cubicBezTo>
                      <a:cubicBezTo>
                        <a:pt x="1111177" y="436904"/>
                        <a:pt x="1111177" y="436904"/>
                        <a:pt x="1130616" y="438430"/>
                      </a:cubicBezTo>
                      <a:cubicBezTo>
                        <a:pt x="1122824" y="436583"/>
                        <a:pt x="1112623" y="433450"/>
                        <a:pt x="1105072" y="430638"/>
                      </a:cubicBezTo>
                      <a:cubicBezTo>
                        <a:pt x="1110856" y="426542"/>
                        <a:pt x="1119692" y="422123"/>
                        <a:pt x="1126680" y="421079"/>
                      </a:cubicBezTo>
                      <a:cubicBezTo>
                        <a:pt x="1111579" y="420035"/>
                        <a:pt x="1108446" y="420597"/>
                        <a:pt x="1095513" y="422927"/>
                      </a:cubicBezTo>
                      <a:cubicBezTo>
                        <a:pt x="1114149" y="411119"/>
                        <a:pt x="1114631" y="409351"/>
                        <a:pt x="1118406" y="395615"/>
                      </a:cubicBezTo>
                      <a:cubicBezTo>
                        <a:pt x="1109490" y="380032"/>
                        <a:pt x="1109490" y="380032"/>
                        <a:pt x="1063944" y="365974"/>
                      </a:cubicBezTo>
                      <a:cubicBezTo>
                        <a:pt x="1086034" y="358664"/>
                        <a:pt x="1109892" y="366376"/>
                        <a:pt x="1131821" y="357942"/>
                      </a:cubicBezTo>
                      <a:cubicBezTo>
                        <a:pt x="1116559" y="343081"/>
                        <a:pt x="1116559" y="343081"/>
                        <a:pt x="1055510" y="327417"/>
                      </a:cubicBezTo>
                      <a:cubicBezTo>
                        <a:pt x="1055751" y="330148"/>
                        <a:pt x="1056152" y="333683"/>
                        <a:pt x="1056474" y="336414"/>
                      </a:cubicBezTo>
                      <a:cubicBezTo>
                        <a:pt x="1061374" y="338582"/>
                        <a:pt x="1067960" y="341555"/>
                        <a:pt x="1072700" y="343965"/>
                      </a:cubicBezTo>
                      <a:cubicBezTo>
                        <a:pt x="1069888" y="343965"/>
                        <a:pt x="1066193" y="343884"/>
                        <a:pt x="1063462" y="343884"/>
                      </a:cubicBezTo>
                      <a:cubicBezTo>
                        <a:pt x="1066434" y="345009"/>
                        <a:pt x="1070370" y="346455"/>
                        <a:pt x="1073342" y="347579"/>
                      </a:cubicBezTo>
                      <a:cubicBezTo>
                        <a:pt x="1008116" y="341314"/>
                        <a:pt x="1008116" y="341314"/>
                        <a:pt x="1002011" y="351274"/>
                      </a:cubicBezTo>
                      <a:cubicBezTo>
                        <a:pt x="1004983" y="351837"/>
                        <a:pt x="1009000" y="352640"/>
                        <a:pt x="1012052" y="353283"/>
                      </a:cubicBezTo>
                      <a:cubicBezTo>
                        <a:pt x="1007152" y="357781"/>
                        <a:pt x="1007152" y="357781"/>
                        <a:pt x="986267" y="364127"/>
                      </a:cubicBezTo>
                      <a:cubicBezTo>
                        <a:pt x="988355" y="365814"/>
                        <a:pt x="991247" y="368143"/>
                        <a:pt x="993336" y="369830"/>
                      </a:cubicBezTo>
                      <a:cubicBezTo>
                        <a:pt x="993978" y="378024"/>
                        <a:pt x="999923" y="384289"/>
                        <a:pt x="1001529" y="392081"/>
                      </a:cubicBezTo>
                      <a:lnTo>
                        <a:pt x="1000967" y="392723"/>
                      </a:lnTo>
                      <a:cubicBezTo>
                        <a:pt x="958795" y="394410"/>
                        <a:pt x="952449" y="389430"/>
                        <a:pt x="940882" y="380514"/>
                      </a:cubicBezTo>
                      <a:cubicBezTo>
                        <a:pt x="944978" y="366456"/>
                        <a:pt x="949236" y="358423"/>
                        <a:pt x="964418" y="344928"/>
                      </a:cubicBezTo>
                      <a:cubicBezTo>
                        <a:pt x="688571" y="245482"/>
                        <a:pt x="688571" y="245482"/>
                        <a:pt x="679816" y="216886"/>
                      </a:cubicBezTo>
                      <a:cubicBezTo>
                        <a:pt x="692749" y="196241"/>
                        <a:pt x="717329" y="214235"/>
                        <a:pt x="732511" y="201061"/>
                      </a:cubicBezTo>
                      <a:cubicBezTo>
                        <a:pt x="733957" y="201784"/>
                        <a:pt x="735965" y="202668"/>
                        <a:pt x="737411" y="203310"/>
                      </a:cubicBezTo>
                      <a:lnTo>
                        <a:pt x="736045" y="192627"/>
                      </a:lnTo>
                      <a:cubicBezTo>
                        <a:pt x="672426" y="138244"/>
                        <a:pt x="508074" y="167725"/>
                        <a:pt x="506950" y="168448"/>
                      </a:cubicBezTo>
                      <a:cubicBezTo>
                        <a:pt x="500845" y="169171"/>
                        <a:pt x="492732" y="170777"/>
                        <a:pt x="486868" y="172625"/>
                      </a:cubicBezTo>
                      <a:cubicBezTo>
                        <a:pt x="489519" y="173268"/>
                        <a:pt x="492973" y="174071"/>
                        <a:pt x="495543" y="174713"/>
                      </a:cubicBezTo>
                      <a:cubicBezTo>
                        <a:pt x="482450" y="177685"/>
                        <a:pt x="472971" y="179854"/>
                        <a:pt x="440920" y="183550"/>
                      </a:cubicBezTo>
                      <a:cubicBezTo>
                        <a:pt x="432325" y="167644"/>
                        <a:pt x="425337" y="160415"/>
                        <a:pt x="359066" y="170536"/>
                      </a:cubicBezTo>
                      <a:cubicBezTo>
                        <a:pt x="360994" y="172866"/>
                        <a:pt x="363645" y="175918"/>
                        <a:pt x="365573" y="178248"/>
                      </a:cubicBezTo>
                      <a:cubicBezTo>
                        <a:pt x="340189" y="182344"/>
                        <a:pt x="314725" y="176481"/>
                        <a:pt x="289341" y="179292"/>
                      </a:cubicBezTo>
                      <a:cubicBezTo>
                        <a:pt x="466465" y="194233"/>
                        <a:pt x="428871" y="258656"/>
                        <a:pt x="416501" y="279863"/>
                      </a:cubicBezTo>
                      <a:cubicBezTo>
                        <a:pt x="398507" y="277051"/>
                        <a:pt x="396258" y="276730"/>
                        <a:pt x="320830" y="242430"/>
                      </a:cubicBezTo>
                      <a:cubicBezTo>
                        <a:pt x="313279" y="239458"/>
                        <a:pt x="313279" y="239458"/>
                        <a:pt x="313279" y="239458"/>
                      </a:cubicBezTo>
                      <a:lnTo>
                        <a:pt x="313279" y="239458"/>
                      </a:lnTo>
                      <a:lnTo>
                        <a:pt x="313279" y="239458"/>
                      </a:lnTo>
                      <a:lnTo>
                        <a:pt x="313279" y="239458"/>
                      </a:lnTo>
                      <a:lnTo>
                        <a:pt x="313279" y="239458"/>
                      </a:lnTo>
                      <a:lnTo>
                        <a:pt x="313279" y="239458"/>
                      </a:lnTo>
                      <a:cubicBezTo>
                        <a:pt x="313279" y="239458"/>
                        <a:pt x="313279" y="239458"/>
                        <a:pt x="313279" y="239458"/>
                      </a:cubicBezTo>
                      <a:lnTo>
                        <a:pt x="313279" y="239458"/>
                      </a:lnTo>
                      <a:cubicBezTo>
                        <a:pt x="316171" y="234397"/>
                        <a:pt x="320669" y="228051"/>
                        <a:pt x="324284" y="223553"/>
                      </a:cubicBezTo>
                      <a:cubicBezTo>
                        <a:pt x="324204" y="223392"/>
                        <a:pt x="324043" y="223151"/>
                        <a:pt x="323882" y="222910"/>
                      </a:cubicBezTo>
                      <a:cubicBezTo>
                        <a:pt x="324525" y="220259"/>
                        <a:pt x="325409" y="216725"/>
                        <a:pt x="326051" y="214074"/>
                      </a:cubicBezTo>
                      <a:cubicBezTo>
                        <a:pt x="319946" y="211744"/>
                        <a:pt x="312155" y="207246"/>
                        <a:pt x="307415" y="202748"/>
                      </a:cubicBezTo>
                      <a:cubicBezTo>
                        <a:pt x="240341" y="219697"/>
                        <a:pt x="167645" y="199535"/>
                        <a:pt x="103061" y="233273"/>
                      </a:cubicBezTo>
                      <a:cubicBezTo>
                        <a:pt x="103221" y="230461"/>
                        <a:pt x="103382" y="226766"/>
                        <a:pt x="103543" y="224035"/>
                      </a:cubicBezTo>
                      <a:cubicBezTo>
                        <a:pt x="138646" y="197848"/>
                        <a:pt x="138646" y="197848"/>
                        <a:pt x="151258" y="194394"/>
                      </a:cubicBezTo>
                      <a:cubicBezTo>
                        <a:pt x="136156" y="194635"/>
                        <a:pt x="122581" y="202426"/>
                        <a:pt x="107559" y="202909"/>
                      </a:cubicBezTo>
                      <a:cubicBezTo>
                        <a:pt x="108764" y="199374"/>
                        <a:pt x="110371" y="194715"/>
                        <a:pt x="111576" y="191261"/>
                      </a:cubicBezTo>
                      <a:cubicBezTo>
                        <a:pt x="108362" y="192305"/>
                        <a:pt x="103302" y="193510"/>
                        <a:pt x="101454" y="196322"/>
                      </a:cubicBezTo>
                      <a:cubicBezTo>
                        <a:pt x="78239" y="210540"/>
                        <a:pt x="78239" y="210540"/>
                        <a:pt x="14379" y="245322"/>
                      </a:cubicBezTo>
                      <a:cubicBezTo>
                        <a:pt x="16708" y="243233"/>
                        <a:pt x="19841" y="240422"/>
                        <a:pt x="22251" y="238253"/>
                      </a:cubicBezTo>
                      <a:cubicBezTo>
                        <a:pt x="21769" y="236646"/>
                        <a:pt x="21207" y="234397"/>
                        <a:pt x="20725" y="232791"/>
                      </a:cubicBezTo>
                      <a:cubicBezTo>
                        <a:pt x="14780" y="234638"/>
                        <a:pt x="6587" y="236486"/>
                        <a:pt x="402" y="237289"/>
                      </a:cubicBezTo>
                      <a:cubicBezTo>
                        <a:pt x="241" y="237450"/>
                        <a:pt x="80" y="237450"/>
                        <a:pt x="0" y="237450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9" name="Freeform: Shape 418">
                  <a:extLst>
                    <a:ext uri="{FF2B5EF4-FFF2-40B4-BE49-F238E27FC236}">
                      <a16:creationId xmlns:a16="http://schemas.microsoft.com/office/drawing/2014/main" id="{AEC2C243-C7AF-8978-950E-412370024AA9}"/>
                    </a:ext>
                  </a:extLst>
                </p:cNvPr>
                <p:cNvSpPr/>
                <p:nvPr/>
              </p:nvSpPr>
              <p:spPr>
                <a:xfrm>
                  <a:off x="-5146648" y="1949857"/>
                  <a:ext cx="1485988" cy="485261"/>
                </a:xfrm>
                <a:custGeom>
                  <a:avLst/>
                  <a:gdLst>
                    <a:gd name="connsiteX0" fmla="*/ 1452330 w 1485988"/>
                    <a:gd name="connsiteY0" fmla="*/ 456504 h 485261"/>
                    <a:gd name="connsiteX1" fmla="*/ 1453615 w 1485988"/>
                    <a:gd name="connsiteY1" fmla="*/ 454014 h 485261"/>
                    <a:gd name="connsiteX2" fmla="*/ 1485987 w 1485988"/>
                    <a:gd name="connsiteY2" fmla="*/ 472248 h 485261"/>
                    <a:gd name="connsiteX3" fmla="*/ 1482613 w 1485988"/>
                    <a:gd name="connsiteY3" fmla="*/ 479719 h 485261"/>
                    <a:gd name="connsiteX4" fmla="*/ 1476589 w 1485988"/>
                    <a:gd name="connsiteY4" fmla="*/ 485261 h 485261"/>
                    <a:gd name="connsiteX5" fmla="*/ 1452330 w 1485988"/>
                    <a:gd name="connsiteY5" fmla="*/ 456504 h 485261"/>
                    <a:gd name="connsiteX6" fmla="*/ 1237934 w 1485988"/>
                    <a:gd name="connsiteY6" fmla="*/ 376899 h 485261"/>
                    <a:gd name="connsiteX7" fmla="*/ 1236087 w 1485988"/>
                    <a:gd name="connsiteY7" fmla="*/ 372561 h 485261"/>
                    <a:gd name="connsiteX8" fmla="*/ 1242593 w 1485988"/>
                    <a:gd name="connsiteY8" fmla="*/ 371999 h 485261"/>
                    <a:gd name="connsiteX9" fmla="*/ 1255205 w 1485988"/>
                    <a:gd name="connsiteY9" fmla="*/ 366215 h 485261"/>
                    <a:gd name="connsiteX10" fmla="*/ 1270708 w 1485988"/>
                    <a:gd name="connsiteY10" fmla="*/ 369107 h 485261"/>
                    <a:gd name="connsiteX11" fmla="*/ 1278098 w 1485988"/>
                    <a:gd name="connsiteY11" fmla="*/ 369669 h 485261"/>
                    <a:gd name="connsiteX12" fmla="*/ 1272716 w 1485988"/>
                    <a:gd name="connsiteY12" fmla="*/ 375051 h 485261"/>
                    <a:gd name="connsiteX13" fmla="*/ 1277777 w 1485988"/>
                    <a:gd name="connsiteY13" fmla="*/ 372642 h 485261"/>
                    <a:gd name="connsiteX14" fmla="*/ 1277777 w 1485988"/>
                    <a:gd name="connsiteY14" fmla="*/ 377702 h 485261"/>
                    <a:gd name="connsiteX15" fmla="*/ 1264041 w 1485988"/>
                    <a:gd name="connsiteY15" fmla="*/ 377461 h 485261"/>
                    <a:gd name="connsiteX16" fmla="*/ 1261551 w 1485988"/>
                    <a:gd name="connsiteY16" fmla="*/ 377943 h 485261"/>
                    <a:gd name="connsiteX17" fmla="*/ 1274644 w 1485988"/>
                    <a:gd name="connsiteY17" fmla="*/ 389992 h 485261"/>
                    <a:gd name="connsiteX18" fmla="*/ 1263800 w 1485988"/>
                    <a:gd name="connsiteY18" fmla="*/ 391599 h 485261"/>
                    <a:gd name="connsiteX19" fmla="*/ 1265969 w 1485988"/>
                    <a:gd name="connsiteY19" fmla="*/ 394491 h 485261"/>
                    <a:gd name="connsiteX20" fmla="*/ 1237934 w 1485988"/>
                    <a:gd name="connsiteY20" fmla="*/ 376899 h 485261"/>
                    <a:gd name="connsiteX21" fmla="*/ 1149975 w 1485988"/>
                    <a:gd name="connsiteY21" fmla="*/ 355773 h 485261"/>
                    <a:gd name="connsiteX22" fmla="*/ 1156321 w 1485988"/>
                    <a:gd name="connsiteY22" fmla="*/ 359468 h 485261"/>
                    <a:gd name="connsiteX23" fmla="*/ 1156080 w 1485988"/>
                    <a:gd name="connsiteY23" fmla="*/ 358584 h 485261"/>
                    <a:gd name="connsiteX24" fmla="*/ 1149975 w 1485988"/>
                    <a:gd name="connsiteY24" fmla="*/ 355773 h 485261"/>
                    <a:gd name="connsiteX25" fmla="*/ 1149975 w 1485988"/>
                    <a:gd name="connsiteY25" fmla="*/ 355773 h 485261"/>
                    <a:gd name="connsiteX26" fmla="*/ 1038962 w 1485988"/>
                    <a:gd name="connsiteY26" fmla="*/ 325087 h 485261"/>
                    <a:gd name="connsiteX27" fmla="*/ 1034705 w 1485988"/>
                    <a:gd name="connsiteY27" fmla="*/ 302596 h 485261"/>
                    <a:gd name="connsiteX28" fmla="*/ 1042095 w 1485988"/>
                    <a:gd name="connsiteY28" fmla="*/ 300989 h 485261"/>
                    <a:gd name="connsiteX29" fmla="*/ 1045870 w 1485988"/>
                    <a:gd name="connsiteY29" fmla="*/ 301872 h 485261"/>
                    <a:gd name="connsiteX30" fmla="*/ 1050610 w 1485988"/>
                    <a:gd name="connsiteY30" fmla="*/ 305568 h 485261"/>
                    <a:gd name="connsiteX31" fmla="*/ 1150939 w 1485988"/>
                    <a:gd name="connsiteY31" fmla="*/ 349828 h 485261"/>
                    <a:gd name="connsiteX32" fmla="*/ 1227893 w 1485988"/>
                    <a:gd name="connsiteY32" fmla="*/ 355210 h 485261"/>
                    <a:gd name="connsiteX33" fmla="*/ 1251992 w 1485988"/>
                    <a:gd name="connsiteY33" fmla="*/ 364287 h 485261"/>
                    <a:gd name="connsiteX34" fmla="*/ 1214238 w 1485988"/>
                    <a:gd name="connsiteY34" fmla="*/ 366697 h 485261"/>
                    <a:gd name="connsiteX35" fmla="*/ 1233516 w 1485988"/>
                    <a:gd name="connsiteY35" fmla="*/ 371838 h 485261"/>
                    <a:gd name="connsiteX36" fmla="*/ 1226126 w 1485988"/>
                    <a:gd name="connsiteY36" fmla="*/ 371356 h 485261"/>
                    <a:gd name="connsiteX37" fmla="*/ 1226287 w 1485988"/>
                    <a:gd name="connsiteY37" fmla="*/ 376738 h 485261"/>
                    <a:gd name="connsiteX38" fmla="*/ 1222351 w 1485988"/>
                    <a:gd name="connsiteY38" fmla="*/ 377140 h 485261"/>
                    <a:gd name="connsiteX39" fmla="*/ 1224118 w 1485988"/>
                    <a:gd name="connsiteY39" fmla="*/ 378505 h 485261"/>
                    <a:gd name="connsiteX40" fmla="*/ 1193834 w 1485988"/>
                    <a:gd name="connsiteY40" fmla="*/ 375292 h 485261"/>
                    <a:gd name="connsiteX41" fmla="*/ 1181705 w 1485988"/>
                    <a:gd name="connsiteY41" fmla="*/ 370071 h 485261"/>
                    <a:gd name="connsiteX42" fmla="*/ 1182749 w 1485988"/>
                    <a:gd name="connsiteY42" fmla="*/ 367501 h 485261"/>
                    <a:gd name="connsiteX43" fmla="*/ 1137685 w 1485988"/>
                    <a:gd name="connsiteY43" fmla="*/ 360592 h 485261"/>
                    <a:gd name="connsiteX44" fmla="*/ 1134633 w 1485988"/>
                    <a:gd name="connsiteY44" fmla="*/ 363484 h 485261"/>
                    <a:gd name="connsiteX45" fmla="*/ 1135034 w 1485988"/>
                    <a:gd name="connsiteY45" fmla="*/ 364769 h 485261"/>
                    <a:gd name="connsiteX46" fmla="*/ 1114711 w 1485988"/>
                    <a:gd name="connsiteY46" fmla="*/ 367260 h 485261"/>
                    <a:gd name="connsiteX47" fmla="*/ 1100975 w 1485988"/>
                    <a:gd name="connsiteY47" fmla="*/ 363806 h 485261"/>
                    <a:gd name="connsiteX48" fmla="*/ 1101377 w 1485988"/>
                    <a:gd name="connsiteY48" fmla="*/ 366376 h 485261"/>
                    <a:gd name="connsiteX49" fmla="*/ 1083062 w 1485988"/>
                    <a:gd name="connsiteY49" fmla="*/ 362359 h 485261"/>
                    <a:gd name="connsiteX50" fmla="*/ 1038962 w 1485988"/>
                    <a:gd name="connsiteY50" fmla="*/ 325087 h 485261"/>
                    <a:gd name="connsiteX51" fmla="*/ 959357 w 1485988"/>
                    <a:gd name="connsiteY51" fmla="*/ 291430 h 485261"/>
                    <a:gd name="connsiteX52" fmla="*/ 949798 w 1485988"/>
                    <a:gd name="connsiteY52" fmla="*/ 291430 h 485261"/>
                    <a:gd name="connsiteX53" fmla="*/ 969800 w 1485988"/>
                    <a:gd name="connsiteY53" fmla="*/ 280827 h 485261"/>
                    <a:gd name="connsiteX54" fmla="*/ 1013980 w 1485988"/>
                    <a:gd name="connsiteY54" fmla="*/ 260504 h 485261"/>
                    <a:gd name="connsiteX55" fmla="*/ 1019201 w 1485988"/>
                    <a:gd name="connsiteY55" fmla="*/ 261066 h 485261"/>
                    <a:gd name="connsiteX56" fmla="*/ 1039123 w 1485988"/>
                    <a:gd name="connsiteY56" fmla="*/ 280184 h 485261"/>
                    <a:gd name="connsiteX57" fmla="*/ 1039042 w 1485988"/>
                    <a:gd name="connsiteY57" fmla="*/ 297776 h 485261"/>
                    <a:gd name="connsiteX58" fmla="*/ 959357 w 1485988"/>
                    <a:gd name="connsiteY58" fmla="*/ 291430 h 485261"/>
                    <a:gd name="connsiteX59" fmla="*/ 958634 w 1485988"/>
                    <a:gd name="connsiteY59" fmla="*/ 232550 h 485261"/>
                    <a:gd name="connsiteX60" fmla="*/ 956305 w 1485988"/>
                    <a:gd name="connsiteY60" fmla="*/ 233112 h 485261"/>
                    <a:gd name="connsiteX61" fmla="*/ 972932 w 1485988"/>
                    <a:gd name="connsiteY61" fmla="*/ 167404 h 485261"/>
                    <a:gd name="connsiteX62" fmla="*/ 973254 w 1485988"/>
                    <a:gd name="connsiteY62" fmla="*/ 167725 h 485261"/>
                    <a:gd name="connsiteX63" fmla="*/ 979037 w 1485988"/>
                    <a:gd name="connsiteY63" fmla="*/ 168207 h 485261"/>
                    <a:gd name="connsiteX64" fmla="*/ 976146 w 1485988"/>
                    <a:gd name="connsiteY64" fmla="*/ 174553 h 485261"/>
                    <a:gd name="connsiteX65" fmla="*/ 975423 w 1485988"/>
                    <a:gd name="connsiteY65" fmla="*/ 174713 h 485261"/>
                    <a:gd name="connsiteX66" fmla="*/ 993014 w 1485988"/>
                    <a:gd name="connsiteY66" fmla="*/ 183068 h 485261"/>
                    <a:gd name="connsiteX67" fmla="*/ 998316 w 1485988"/>
                    <a:gd name="connsiteY67" fmla="*/ 193269 h 485261"/>
                    <a:gd name="connsiteX68" fmla="*/ 1010446 w 1485988"/>
                    <a:gd name="connsiteY68" fmla="*/ 256407 h 485261"/>
                    <a:gd name="connsiteX69" fmla="*/ 986106 w 1485988"/>
                    <a:gd name="connsiteY69" fmla="*/ 258013 h 485261"/>
                    <a:gd name="connsiteX70" fmla="*/ 958634 w 1485988"/>
                    <a:gd name="connsiteY70" fmla="*/ 232550 h 485261"/>
                    <a:gd name="connsiteX71" fmla="*/ 58639 w 1485988"/>
                    <a:gd name="connsiteY71" fmla="*/ 403970 h 485261"/>
                    <a:gd name="connsiteX72" fmla="*/ 58639 w 1485988"/>
                    <a:gd name="connsiteY72" fmla="*/ 403970 h 485261"/>
                    <a:gd name="connsiteX73" fmla="*/ 61290 w 1485988"/>
                    <a:gd name="connsiteY73" fmla="*/ 401158 h 485261"/>
                    <a:gd name="connsiteX74" fmla="*/ 62013 w 1485988"/>
                    <a:gd name="connsiteY74" fmla="*/ 400756 h 485261"/>
                    <a:gd name="connsiteX75" fmla="*/ 58720 w 1485988"/>
                    <a:gd name="connsiteY75" fmla="*/ 404130 h 485261"/>
                    <a:gd name="connsiteX76" fmla="*/ 58639 w 1485988"/>
                    <a:gd name="connsiteY76" fmla="*/ 403970 h 485261"/>
                    <a:gd name="connsiteX77" fmla="*/ 229658 w 1485988"/>
                    <a:gd name="connsiteY77" fmla="*/ 240502 h 485261"/>
                    <a:gd name="connsiteX78" fmla="*/ 229658 w 1485988"/>
                    <a:gd name="connsiteY78" fmla="*/ 240502 h 485261"/>
                    <a:gd name="connsiteX79" fmla="*/ 230140 w 1485988"/>
                    <a:gd name="connsiteY79" fmla="*/ 240181 h 485261"/>
                    <a:gd name="connsiteX80" fmla="*/ 230140 w 1485988"/>
                    <a:gd name="connsiteY80" fmla="*/ 240181 h 485261"/>
                    <a:gd name="connsiteX81" fmla="*/ 229658 w 1485988"/>
                    <a:gd name="connsiteY81" fmla="*/ 240502 h 485261"/>
                    <a:gd name="connsiteX82" fmla="*/ 441322 w 1485988"/>
                    <a:gd name="connsiteY82" fmla="*/ 130372 h 485261"/>
                    <a:gd name="connsiteX83" fmla="*/ 441161 w 1485988"/>
                    <a:gd name="connsiteY83" fmla="*/ 130453 h 485261"/>
                    <a:gd name="connsiteX84" fmla="*/ 446865 w 1485988"/>
                    <a:gd name="connsiteY84" fmla="*/ 127400 h 485261"/>
                    <a:gd name="connsiteX85" fmla="*/ 446704 w 1485988"/>
                    <a:gd name="connsiteY85" fmla="*/ 127480 h 485261"/>
                    <a:gd name="connsiteX86" fmla="*/ 441322 w 1485988"/>
                    <a:gd name="connsiteY86" fmla="*/ 130372 h 485261"/>
                    <a:gd name="connsiteX87" fmla="*/ 77436 w 1485988"/>
                    <a:gd name="connsiteY87" fmla="*/ 408147 h 485261"/>
                    <a:gd name="connsiteX88" fmla="*/ 77677 w 1485988"/>
                    <a:gd name="connsiteY88" fmla="*/ 408227 h 485261"/>
                    <a:gd name="connsiteX89" fmla="*/ 77436 w 1485988"/>
                    <a:gd name="connsiteY89" fmla="*/ 408147 h 485261"/>
                    <a:gd name="connsiteX90" fmla="*/ 73420 w 1485988"/>
                    <a:gd name="connsiteY90" fmla="*/ 409914 h 485261"/>
                    <a:gd name="connsiteX91" fmla="*/ 73179 w 1485988"/>
                    <a:gd name="connsiteY91" fmla="*/ 411520 h 485261"/>
                    <a:gd name="connsiteX92" fmla="*/ 81212 w 1485988"/>
                    <a:gd name="connsiteY92" fmla="*/ 402202 h 485261"/>
                    <a:gd name="connsiteX93" fmla="*/ 73420 w 1485988"/>
                    <a:gd name="connsiteY93" fmla="*/ 409914 h 485261"/>
                    <a:gd name="connsiteX94" fmla="*/ 77035 w 1485988"/>
                    <a:gd name="connsiteY94" fmla="*/ 400515 h 485261"/>
                    <a:gd name="connsiteX95" fmla="*/ 77838 w 1485988"/>
                    <a:gd name="connsiteY95" fmla="*/ 400274 h 485261"/>
                    <a:gd name="connsiteX96" fmla="*/ 75910 w 1485988"/>
                    <a:gd name="connsiteY96" fmla="*/ 402282 h 485261"/>
                    <a:gd name="connsiteX97" fmla="*/ 84987 w 1485988"/>
                    <a:gd name="connsiteY97" fmla="*/ 394651 h 485261"/>
                    <a:gd name="connsiteX98" fmla="*/ 84585 w 1485988"/>
                    <a:gd name="connsiteY98" fmla="*/ 394812 h 485261"/>
                    <a:gd name="connsiteX99" fmla="*/ 76874 w 1485988"/>
                    <a:gd name="connsiteY99" fmla="*/ 400676 h 485261"/>
                    <a:gd name="connsiteX100" fmla="*/ 77035 w 1485988"/>
                    <a:gd name="connsiteY100" fmla="*/ 400515 h 485261"/>
                    <a:gd name="connsiteX101" fmla="*/ 110531 w 1485988"/>
                    <a:gd name="connsiteY101" fmla="*/ 373365 h 485261"/>
                    <a:gd name="connsiteX102" fmla="*/ 110371 w 1485988"/>
                    <a:gd name="connsiteY102" fmla="*/ 373766 h 485261"/>
                    <a:gd name="connsiteX103" fmla="*/ 113584 w 1485988"/>
                    <a:gd name="connsiteY103" fmla="*/ 370232 h 485261"/>
                    <a:gd name="connsiteX104" fmla="*/ 110531 w 1485988"/>
                    <a:gd name="connsiteY104" fmla="*/ 373365 h 485261"/>
                    <a:gd name="connsiteX105" fmla="*/ 110692 w 1485988"/>
                    <a:gd name="connsiteY105" fmla="*/ 371276 h 485261"/>
                    <a:gd name="connsiteX106" fmla="*/ 117199 w 1485988"/>
                    <a:gd name="connsiteY106" fmla="*/ 365251 h 485261"/>
                    <a:gd name="connsiteX107" fmla="*/ 112539 w 1485988"/>
                    <a:gd name="connsiteY107" fmla="*/ 368705 h 485261"/>
                    <a:gd name="connsiteX108" fmla="*/ 113182 w 1485988"/>
                    <a:gd name="connsiteY108" fmla="*/ 368946 h 485261"/>
                    <a:gd name="connsiteX109" fmla="*/ 110290 w 1485988"/>
                    <a:gd name="connsiteY109" fmla="*/ 371678 h 485261"/>
                    <a:gd name="connsiteX110" fmla="*/ 110692 w 1485988"/>
                    <a:gd name="connsiteY110" fmla="*/ 371276 h 485261"/>
                    <a:gd name="connsiteX111" fmla="*/ 76954 w 1485988"/>
                    <a:gd name="connsiteY111" fmla="*/ 392322 h 485261"/>
                    <a:gd name="connsiteX112" fmla="*/ 82738 w 1485988"/>
                    <a:gd name="connsiteY112" fmla="*/ 390394 h 485261"/>
                    <a:gd name="connsiteX113" fmla="*/ 88762 w 1485988"/>
                    <a:gd name="connsiteY113" fmla="*/ 385253 h 485261"/>
                    <a:gd name="connsiteX114" fmla="*/ 76794 w 1485988"/>
                    <a:gd name="connsiteY114" fmla="*/ 392241 h 485261"/>
                    <a:gd name="connsiteX115" fmla="*/ 76954 w 1485988"/>
                    <a:gd name="connsiteY115" fmla="*/ 392322 h 485261"/>
                    <a:gd name="connsiteX116" fmla="*/ 112459 w 1485988"/>
                    <a:gd name="connsiteY116" fmla="*/ 365894 h 485261"/>
                    <a:gd name="connsiteX117" fmla="*/ 115913 w 1485988"/>
                    <a:gd name="connsiteY117" fmla="*/ 363806 h 485261"/>
                    <a:gd name="connsiteX118" fmla="*/ 120171 w 1485988"/>
                    <a:gd name="connsiteY118" fmla="*/ 360833 h 485261"/>
                    <a:gd name="connsiteX119" fmla="*/ 115994 w 1485988"/>
                    <a:gd name="connsiteY119" fmla="*/ 363002 h 485261"/>
                    <a:gd name="connsiteX120" fmla="*/ 115753 w 1485988"/>
                    <a:gd name="connsiteY120" fmla="*/ 363083 h 485261"/>
                    <a:gd name="connsiteX121" fmla="*/ 112299 w 1485988"/>
                    <a:gd name="connsiteY121" fmla="*/ 365974 h 485261"/>
                    <a:gd name="connsiteX122" fmla="*/ 112459 w 1485988"/>
                    <a:gd name="connsiteY122" fmla="*/ 365894 h 485261"/>
                    <a:gd name="connsiteX123" fmla="*/ 119689 w 1485988"/>
                    <a:gd name="connsiteY123" fmla="*/ 359066 h 485261"/>
                    <a:gd name="connsiteX124" fmla="*/ 122821 w 1485988"/>
                    <a:gd name="connsiteY124" fmla="*/ 357058 h 485261"/>
                    <a:gd name="connsiteX125" fmla="*/ 122821 w 1485988"/>
                    <a:gd name="connsiteY125" fmla="*/ 356817 h 485261"/>
                    <a:gd name="connsiteX126" fmla="*/ 121054 w 1485988"/>
                    <a:gd name="connsiteY126" fmla="*/ 357460 h 485261"/>
                    <a:gd name="connsiteX127" fmla="*/ 119528 w 1485988"/>
                    <a:gd name="connsiteY127" fmla="*/ 359227 h 485261"/>
                    <a:gd name="connsiteX128" fmla="*/ 119689 w 1485988"/>
                    <a:gd name="connsiteY128" fmla="*/ 359066 h 485261"/>
                    <a:gd name="connsiteX129" fmla="*/ 164833 w 1485988"/>
                    <a:gd name="connsiteY129" fmla="*/ 330068 h 485261"/>
                    <a:gd name="connsiteX130" fmla="*/ 165074 w 1485988"/>
                    <a:gd name="connsiteY130" fmla="*/ 331995 h 485261"/>
                    <a:gd name="connsiteX131" fmla="*/ 168689 w 1485988"/>
                    <a:gd name="connsiteY131" fmla="*/ 329023 h 485261"/>
                    <a:gd name="connsiteX132" fmla="*/ 169090 w 1485988"/>
                    <a:gd name="connsiteY132" fmla="*/ 328622 h 485261"/>
                    <a:gd name="connsiteX133" fmla="*/ 167564 w 1485988"/>
                    <a:gd name="connsiteY133" fmla="*/ 329023 h 485261"/>
                    <a:gd name="connsiteX134" fmla="*/ 168769 w 1485988"/>
                    <a:gd name="connsiteY134" fmla="*/ 327979 h 485261"/>
                    <a:gd name="connsiteX135" fmla="*/ 164431 w 1485988"/>
                    <a:gd name="connsiteY135" fmla="*/ 330148 h 485261"/>
                    <a:gd name="connsiteX136" fmla="*/ 164833 w 1485988"/>
                    <a:gd name="connsiteY136" fmla="*/ 330068 h 485261"/>
                    <a:gd name="connsiteX137" fmla="*/ 81613 w 1485988"/>
                    <a:gd name="connsiteY137" fmla="*/ 383807 h 485261"/>
                    <a:gd name="connsiteX138" fmla="*/ 85228 w 1485988"/>
                    <a:gd name="connsiteY138" fmla="*/ 383888 h 485261"/>
                    <a:gd name="connsiteX139" fmla="*/ 86112 w 1485988"/>
                    <a:gd name="connsiteY139" fmla="*/ 382763 h 485261"/>
                    <a:gd name="connsiteX140" fmla="*/ 86031 w 1485988"/>
                    <a:gd name="connsiteY140" fmla="*/ 382683 h 485261"/>
                    <a:gd name="connsiteX141" fmla="*/ 85951 w 1485988"/>
                    <a:gd name="connsiteY141" fmla="*/ 382683 h 485261"/>
                    <a:gd name="connsiteX142" fmla="*/ 85790 w 1485988"/>
                    <a:gd name="connsiteY142" fmla="*/ 382683 h 485261"/>
                    <a:gd name="connsiteX143" fmla="*/ 85630 w 1485988"/>
                    <a:gd name="connsiteY143" fmla="*/ 382602 h 485261"/>
                    <a:gd name="connsiteX144" fmla="*/ 84103 w 1485988"/>
                    <a:gd name="connsiteY144" fmla="*/ 382602 h 485261"/>
                    <a:gd name="connsiteX145" fmla="*/ 81453 w 1485988"/>
                    <a:gd name="connsiteY145" fmla="*/ 383807 h 485261"/>
                    <a:gd name="connsiteX146" fmla="*/ 81613 w 1485988"/>
                    <a:gd name="connsiteY146" fmla="*/ 383807 h 485261"/>
                    <a:gd name="connsiteX147" fmla="*/ 156881 w 1485988"/>
                    <a:gd name="connsiteY147" fmla="*/ 330791 h 485261"/>
                    <a:gd name="connsiteX148" fmla="*/ 156881 w 1485988"/>
                    <a:gd name="connsiteY148" fmla="*/ 330791 h 485261"/>
                    <a:gd name="connsiteX149" fmla="*/ 159612 w 1485988"/>
                    <a:gd name="connsiteY149" fmla="*/ 327819 h 485261"/>
                    <a:gd name="connsiteX150" fmla="*/ 156881 w 1485988"/>
                    <a:gd name="connsiteY150" fmla="*/ 330791 h 485261"/>
                    <a:gd name="connsiteX151" fmla="*/ 163708 w 1485988"/>
                    <a:gd name="connsiteY151" fmla="*/ 324686 h 485261"/>
                    <a:gd name="connsiteX152" fmla="*/ 164753 w 1485988"/>
                    <a:gd name="connsiteY152" fmla="*/ 324364 h 485261"/>
                    <a:gd name="connsiteX153" fmla="*/ 166761 w 1485988"/>
                    <a:gd name="connsiteY153" fmla="*/ 322838 h 485261"/>
                    <a:gd name="connsiteX154" fmla="*/ 163708 w 1485988"/>
                    <a:gd name="connsiteY154" fmla="*/ 324686 h 485261"/>
                    <a:gd name="connsiteX155" fmla="*/ 163708 w 1485988"/>
                    <a:gd name="connsiteY155" fmla="*/ 324686 h 485261"/>
                    <a:gd name="connsiteX156" fmla="*/ 173348 w 1485988"/>
                    <a:gd name="connsiteY156" fmla="*/ 317938 h 485261"/>
                    <a:gd name="connsiteX157" fmla="*/ 175436 w 1485988"/>
                    <a:gd name="connsiteY157" fmla="*/ 317617 h 485261"/>
                    <a:gd name="connsiteX158" fmla="*/ 175436 w 1485988"/>
                    <a:gd name="connsiteY158" fmla="*/ 317617 h 485261"/>
                    <a:gd name="connsiteX159" fmla="*/ 175436 w 1485988"/>
                    <a:gd name="connsiteY159" fmla="*/ 317617 h 485261"/>
                    <a:gd name="connsiteX160" fmla="*/ 174954 w 1485988"/>
                    <a:gd name="connsiteY160" fmla="*/ 317697 h 485261"/>
                    <a:gd name="connsiteX161" fmla="*/ 173107 w 1485988"/>
                    <a:gd name="connsiteY161" fmla="*/ 317938 h 485261"/>
                    <a:gd name="connsiteX162" fmla="*/ 173348 w 1485988"/>
                    <a:gd name="connsiteY162" fmla="*/ 317938 h 485261"/>
                    <a:gd name="connsiteX163" fmla="*/ 142100 w 1485988"/>
                    <a:gd name="connsiteY163" fmla="*/ 335289 h 485261"/>
                    <a:gd name="connsiteX164" fmla="*/ 143385 w 1485988"/>
                    <a:gd name="connsiteY164" fmla="*/ 334164 h 485261"/>
                    <a:gd name="connsiteX165" fmla="*/ 142984 w 1485988"/>
                    <a:gd name="connsiteY165" fmla="*/ 334405 h 485261"/>
                    <a:gd name="connsiteX166" fmla="*/ 141699 w 1485988"/>
                    <a:gd name="connsiteY166" fmla="*/ 335369 h 485261"/>
                    <a:gd name="connsiteX167" fmla="*/ 142100 w 1485988"/>
                    <a:gd name="connsiteY167" fmla="*/ 335289 h 485261"/>
                    <a:gd name="connsiteX168" fmla="*/ 177204 w 1485988"/>
                    <a:gd name="connsiteY168" fmla="*/ 313199 h 485261"/>
                    <a:gd name="connsiteX169" fmla="*/ 177043 w 1485988"/>
                    <a:gd name="connsiteY169" fmla="*/ 313601 h 485261"/>
                    <a:gd name="connsiteX170" fmla="*/ 181461 w 1485988"/>
                    <a:gd name="connsiteY170" fmla="*/ 309584 h 485261"/>
                    <a:gd name="connsiteX171" fmla="*/ 177204 w 1485988"/>
                    <a:gd name="connsiteY171" fmla="*/ 313199 h 485261"/>
                    <a:gd name="connsiteX172" fmla="*/ 59282 w 1485988"/>
                    <a:gd name="connsiteY172" fmla="*/ 392804 h 485261"/>
                    <a:gd name="connsiteX173" fmla="*/ 62335 w 1485988"/>
                    <a:gd name="connsiteY173" fmla="*/ 389189 h 485261"/>
                    <a:gd name="connsiteX174" fmla="*/ 62897 w 1485988"/>
                    <a:gd name="connsiteY174" fmla="*/ 388386 h 485261"/>
                    <a:gd name="connsiteX175" fmla="*/ 59121 w 1485988"/>
                    <a:gd name="connsiteY175" fmla="*/ 392884 h 485261"/>
                    <a:gd name="connsiteX176" fmla="*/ 59282 w 1485988"/>
                    <a:gd name="connsiteY176" fmla="*/ 392804 h 485261"/>
                    <a:gd name="connsiteX177" fmla="*/ 187405 w 1485988"/>
                    <a:gd name="connsiteY177" fmla="*/ 297294 h 485261"/>
                    <a:gd name="connsiteX178" fmla="*/ 187164 w 1485988"/>
                    <a:gd name="connsiteY178" fmla="*/ 298177 h 485261"/>
                    <a:gd name="connsiteX179" fmla="*/ 186923 w 1485988"/>
                    <a:gd name="connsiteY179" fmla="*/ 298418 h 485261"/>
                    <a:gd name="connsiteX180" fmla="*/ 188931 w 1485988"/>
                    <a:gd name="connsiteY180" fmla="*/ 296410 h 485261"/>
                    <a:gd name="connsiteX181" fmla="*/ 187887 w 1485988"/>
                    <a:gd name="connsiteY181" fmla="*/ 296732 h 485261"/>
                    <a:gd name="connsiteX182" fmla="*/ 187084 w 1485988"/>
                    <a:gd name="connsiteY182" fmla="*/ 297455 h 485261"/>
                    <a:gd name="connsiteX183" fmla="*/ 187405 w 1485988"/>
                    <a:gd name="connsiteY183" fmla="*/ 297294 h 485261"/>
                    <a:gd name="connsiteX184" fmla="*/ 234879 w 1485988"/>
                    <a:gd name="connsiteY184" fmla="*/ 249981 h 485261"/>
                    <a:gd name="connsiteX185" fmla="*/ 236245 w 1485988"/>
                    <a:gd name="connsiteY185" fmla="*/ 250061 h 485261"/>
                    <a:gd name="connsiteX186" fmla="*/ 238815 w 1485988"/>
                    <a:gd name="connsiteY186" fmla="*/ 247972 h 485261"/>
                    <a:gd name="connsiteX187" fmla="*/ 234799 w 1485988"/>
                    <a:gd name="connsiteY187" fmla="*/ 249900 h 485261"/>
                    <a:gd name="connsiteX188" fmla="*/ 234879 w 1485988"/>
                    <a:gd name="connsiteY188" fmla="*/ 249981 h 485261"/>
                    <a:gd name="connsiteX189" fmla="*/ 203471 w 1485988"/>
                    <a:gd name="connsiteY189" fmla="*/ 259058 h 485261"/>
                    <a:gd name="connsiteX190" fmla="*/ 203953 w 1485988"/>
                    <a:gd name="connsiteY190" fmla="*/ 258817 h 485261"/>
                    <a:gd name="connsiteX191" fmla="*/ 208612 w 1485988"/>
                    <a:gd name="connsiteY191" fmla="*/ 255202 h 485261"/>
                    <a:gd name="connsiteX192" fmla="*/ 203471 w 1485988"/>
                    <a:gd name="connsiteY192" fmla="*/ 259058 h 485261"/>
                    <a:gd name="connsiteX193" fmla="*/ 203471 w 1485988"/>
                    <a:gd name="connsiteY193" fmla="*/ 259058 h 485261"/>
                    <a:gd name="connsiteX194" fmla="*/ 235441 w 1485988"/>
                    <a:gd name="connsiteY194" fmla="*/ 220259 h 485261"/>
                    <a:gd name="connsiteX195" fmla="*/ 236486 w 1485988"/>
                    <a:gd name="connsiteY195" fmla="*/ 219456 h 485261"/>
                    <a:gd name="connsiteX196" fmla="*/ 243394 w 1485988"/>
                    <a:gd name="connsiteY196" fmla="*/ 214074 h 485261"/>
                    <a:gd name="connsiteX197" fmla="*/ 242751 w 1485988"/>
                    <a:gd name="connsiteY197" fmla="*/ 214476 h 485261"/>
                    <a:gd name="connsiteX198" fmla="*/ 235281 w 1485988"/>
                    <a:gd name="connsiteY198" fmla="*/ 220340 h 485261"/>
                    <a:gd name="connsiteX199" fmla="*/ 235441 w 1485988"/>
                    <a:gd name="connsiteY199" fmla="*/ 220259 h 485261"/>
                    <a:gd name="connsiteX200" fmla="*/ 0 w 1485988"/>
                    <a:gd name="connsiteY200" fmla="*/ 466304 h 485261"/>
                    <a:gd name="connsiteX201" fmla="*/ 42413 w 1485988"/>
                    <a:gd name="connsiteY201" fmla="*/ 410878 h 485261"/>
                    <a:gd name="connsiteX202" fmla="*/ 193028 w 1485988"/>
                    <a:gd name="connsiteY202" fmla="*/ 255363 h 485261"/>
                    <a:gd name="connsiteX203" fmla="*/ 250302 w 1485988"/>
                    <a:gd name="connsiteY203" fmla="*/ 208853 h 485261"/>
                    <a:gd name="connsiteX204" fmla="*/ 250302 w 1485988"/>
                    <a:gd name="connsiteY204" fmla="*/ 208853 h 485261"/>
                    <a:gd name="connsiteX205" fmla="*/ 279059 w 1485988"/>
                    <a:gd name="connsiteY205" fmla="*/ 190056 h 485261"/>
                    <a:gd name="connsiteX206" fmla="*/ 272232 w 1485988"/>
                    <a:gd name="connsiteY206" fmla="*/ 194715 h 485261"/>
                    <a:gd name="connsiteX207" fmla="*/ 273597 w 1485988"/>
                    <a:gd name="connsiteY207" fmla="*/ 193992 h 485261"/>
                    <a:gd name="connsiteX208" fmla="*/ 270866 w 1485988"/>
                    <a:gd name="connsiteY208" fmla="*/ 196402 h 485261"/>
                    <a:gd name="connsiteX209" fmla="*/ 285646 w 1485988"/>
                    <a:gd name="connsiteY209" fmla="*/ 187245 h 485261"/>
                    <a:gd name="connsiteX210" fmla="*/ 278015 w 1485988"/>
                    <a:gd name="connsiteY210" fmla="*/ 196563 h 485261"/>
                    <a:gd name="connsiteX211" fmla="*/ 278336 w 1485988"/>
                    <a:gd name="connsiteY211" fmla="*/ 196322 h 485261"/>
                    <a:gd name="connsiteX212" fmla="*/ 277613 w 1485988"/>
                    <a:gd name="connsiteY212" fmla="*/ 198089 h 485261"/>
                    <a:gd name="connsiteX213" fmla="*/ 294000 w 1485988"/>
                    <a:gd name="connsiteY213" fmla="*/ 190940 h 485261"/>
                    <a:gd name="connsiteX214" fmla="*/ 289663 w 1485988"/>
                    <a:gd name="connsiteY214" fmla="*/ 196402 h 485261"/>
                    <a:gd name="connsiteX215" fmla="*/ 233594 w 1485988"/>
                    <a:gd name="connsiteY215" fmla="*/ 237048 h 485261"/>
                    <a:gd name="connsiteX216" fmla="*/ 210138 w 1485988"/>
                    <a:gd name="connsiteY216" fmla="*/ 255443 h 485261"/>
                    <a:gd name="connsiteX217" fmla="*/ 228774 w 1485988"/>
                    <a:gd name="connsiteY217" fmla="*/ 241305 h 485261"/>
                    <a:gd name="connsiteX218" fmla="*/ 210540 w 1485988"/>
                    <a:gd name="connsiteY218" fmla="*/ 256487 h 485261"/>
                    <a:gd name="connsiteX219" fmla="*/ 211905 w 1485988"/>
                    <a:gd name="connsiteY219" fmla="*/ 255282 h 485261"/>
                    <a:gd name="connsiteX220" fmla="*/ 239699 w 1485988"/>
                    <a:gd name="connsiteY220" fmla="*/ 236727 h 485261"/>
                    <a:gd name="connsiteX221" fmla="*/ 237530 w 1485988"/>
                    <a:gd name="connsiteY221" fmla="*/ 237931 h 485261"/>
                    <a:gd name="connsiteX222" fmla="*/ 248535 w 1485988"/>
                    <a:gd name="connsiteY222" fmla="*/ 232630 h 485261"/>
                    <a:gd name="connsiteX223" fmla="*/ 249740 w 1485988"/>
                    <a:gd name="connsiteY223" fmla="*/ 233594 h 485261"/>
                    <a:gd name="connsiteX224" fmla="*/ 248776 w 1485988"/>
                    <a:gd name="connsiteY224" fmla="*/ 234799 h 485261"/>
                    <a:gd name="connsiteX225" fmla="*/ 265404 w 1485988"/>
                    <a:gd name="connsiteY225" fmla="*/ 229577 h 485261"/>
                    <a:gd name="connsiteX226" fmla="*/ 242269 w 1485988"/>
                    <a:gd name="connsiteY226" fmla="*/ 245563 h 485261"/>
                    <a:gd name="connsiteX227" fmla="*/ 247571 w 1485988"/>
                    <a:gd name="connsiteY227" fmla="*/ 243635 h 485261"/>
                    <a:gd name="connsiteX228" fmla="*/ 204836 w 1485988"/>
                    <a:gd name="connsiteY228" fmla="*/ 272874 h 485261"/>
                    <a:gd name="connsiteX229" fmla="*/ 205158 w 1485988"/>
                    <a:gd name="connsiteY229" fmla="*/ 271910 h 485261"/>
                    <a:gd name="connsiteX230" fmla="*/ 207889 w 1485988"/>
                    <a:gd name="connsiteY230" fmla="*/ 269822 h 485261"/>
                    <a:gd name="connsiteX231" fmla="*/ 201222 w 1485988"/>
                    <a:gd name="connsiteY231" fmla="*/ 275364 h 485261"/>
                    <a:gd name="connsiteX232" fmla="*/ 189574 w 1485988"/>
                    <a:gd name="connsiteY232" fmla="*/ 279541 h 485261"/>
                    <a:gd name="connsiteX233" fmla="*/ 190538 w 1485988"/>
                    <a:gd name="connsiteY233" fmla="*/ 281148 h 485261"/>
                    <a:gd name="connsiteX234" fmla="*/ 180095 w 1485988"/>
                    <a:gd name="connsiteY234" fmla="*/ 294643 h 485261"/>
                    <a:gd name="connsiteX235" fmla="*/ 199454 w 1485988"/>
                    <a:gd name="connsiteY235" fmla="*/ 285807 h 485261"/>
                    <a:gd name="connsiteX236" fmla="*/ 199776 w 1485988"/>
                    <a:gd name="connsiteY236" fmla="*/ 287253 h 485261"/>
                    <a:gd name="connsiteX237" fmla="*/ 201945 w 1485988"/>
                    <a:gd name="connsiteY237" fmla="*/ 286450 h 485261"/>
                    <a:gd name="connsiteX238" fmla="*/ 199213 w 1485988"/>
                    <a:gd name="connsiteY238" fmla="*/ 291109 h 485261"/>
                    <a:gd name="connsiteX239" fmla="*/ 198169 w 1485988"/>
                    <a:gd name="connsiteY239" fmla="*/ 290948 h 485261"/>
                    <a:gd name="connsiteX240" fmla="*/ 197527 w 1485988"/>
                    <a:gd name="connsiteY240" fmla="*/ 293197 h 485261"/>
                    <a:gd name="connsiteX241" fmla="*/ 197607 w 1485988"/>
                    <a:gd name="connsiteY241" fmla="*/ 293278 h 485261"/>
                    <a:gd name="connsiteX242" fmla="*/ 202507 w 1485988"/>
                    <a:gd name="connsiteY242" fmla="*/ 292314 h 485261"/>
                    <a:gd name="connsiteX243" fmla="*/ 199374 w 1485988"/>
                    <a:gd name="connsiteY243" fmla="*/ 297776 h 485261"/>
                    <a:gd name="connsiteX244" fmla="*/ 201704 w 1485988"/>
                    <a:gd name="connsiteY244" fmla="*/ 296732 h 485261"/>
                    <a:gd name="connsiteX245" fmla="*/ 199695 w 1485988"/>
                    <a:gd name="connsiteY245" fmla="*/ 299222 h 485261"/>
                    <a:gd name="connsiteX246" fmla="*/ 201623 w 1485988"/>
                    <a:gd name="connsiteY246" fmla="*/ 298338 h 485261"/>
                    <a:gd name="connsiteX247" fmla="*/ 170938 w 1485988"/>
                    <a:gd name="connsiteY247" fmla="*/ 322195 h 485261"/>
                    <a:gd name="connsiteX248" fmla="*/ 172625 w 1485988"/>
                    <a:gd name="connsiteY248" fmla="*/ 321633 h 485261"/>
                    <a:gd name="connsiteX249" fmla="*/ 167725 w 1485988"/>
                    <a:gd name="connsiteY249" fmla="*/ 325168 h 485261"/>
                    <a:gd name="connsiteX250" fmla="*/ 184112 w 1485988"/>
                    <a:gd name="connsiteY250" fmla="*/ 318179 h 485261"/>
                    <a:gd name="connsiteX251" fmla="*/ 155515 w 1485988"/>
                    <a:gd name="connsiteY251" fmla="*/ 337378 h 485261"/>
                    <a:gd name="connsiteX252" fmla="*/ 155354 w 1485988"/>
                    <a:gd name="connsiteY252" fmla="*/ 335530 h 485261"/>
                    <a:gd name="connsiteX253" fmla="*/ 153908 w 1485988"/>
                    <a:gd name="connsiteY253" fmla="*/ 334405 h 485261"/>
                    <a:gd name="connsiteX254" fmla="*/ 133505 w 1485988"/>
                    <a:gd name="connsiteY254" fmla="*/ 361797 h 485261"/>
                    <a:gd name="connsiteX255" fmla="*/ 134549 w 1485988"/>
                    <a:gd name="connsiteY255" fmla="*/ 363163 h 485261"/>
                    <a:gd name="connsiteX256" fmla="*/ 106595 w 1485988"/>
                    <a:gd name="connsiteY256" fmla="*/ 381638 h 485261"/>
                    <a:gd name="connsiteX257" fmla="*/ 106033 w 1485988"/>
                    <a:gd name="connsiteY257" fmla="*/ 379951 h 485261"/>
                    <a:gd name="connsiteX258" fmla="*/ 107720 w 1485988"/>
                    <a:gd name="connsiteY258" fmla="*/ 377060 h 485261"/>
                    <a:gd name="connsiteX259" fmla="*/ 90289 w 1485988"/>
                    <a:gd name="connsiteY259" fmla="*/ 390314 h 485261"/>
                    <a:gd name="connsiteX260" fmla="*/ 91654 w 1485988"/>
                    <a:gd name="connsiteY260" fmla="*/ 391438 h 485261"/>
                    <a:gd name="connsiteX261" fmla="*/ 86674 w 1485988"/>
                    <a:gd name="connsiteY261" fmla="*/ 397624 h 485261"/>
                    <a:gd name="connsiteX262" fmla="*/ 88200 w 1485988"/>
                    <a:gd name="connsiteY262" fmla="*/ 398427 h 485261"/>
                    <a:gd name="connsiteX263" fmla="*/ 82738 w 1485988"/>
                    <a:gd name="connsiteY263" fmla="*/ 406138 h 485261"/>
                    <a:gd name="connsiteX264" fmla="*/ 97117 w 1485988"/>
                    <a:gd name="connsiteY264" fmla="*/ 411279 h 485261"/>
                    <a:gd name="connsiteX265" fmla="*/ 109648 w 1485988"/>
                    <a:gd name="connsiteY265" fmla="*/ 404773 h 485261"/>
                    <a:gd name="connsiteX266" fmla="*/ 111897 w 1485988"/>
                    <a:gd name="connsiteY266" fmla="*/ 404773 h 485261"/>
                    <a:gd name="connsiteX267" fmla="*/ 117680 w 1485988"/>
                    <a:gd name="connsiteY267" fmla="*/ 409271 h 485261"/>
                    <a:gd name="connsiteX268" fmla="*/ 116235 w 1485988"/>
                    <a:gd name="connsiteY268" fmla="*/ 409030 h 485261"/>
                    <a:gd name="connsiteX269" fmla="*/ 117038 w 1485988"/>
                    <a:gd name="connsiteY269" fmla="*/ 407504 h 485261"/>
                    <a:gd name="connsiteX270" fmla="*/ 78882 w 1485988"/>
                    <a:gd name="connsiteY270" fmla="*/ 420276 h 485261"/>
                    <a:gd name="connsiteX271" fmla="*/ 80971 w 1485988"/>
                    <a:gd name="connsiteY271" fmla="*/ 417063 h 485261"/>
                    <a:gd name="connsiteX272" fmla="*/ 63620 w 1485988"/>
                    <a:gd name="connsiteY272" fmla="*/ 413368 h 485261"/>
                    <a:gd name="connsiteX273" fmla="*/ 73098 w 1485988"/>
                    <a:gd name="connsiteY273" fmla="*/ 396097 h 485261"/>
                    <a:gd name="connsiteX274" fmla="*/ 71572 w 1485988"/>
                    <a:gd name="connsiteY274" fmla="*/ 397142 h 485261"/>
                    <a:gd name="connsiteX275" fmla="*/ 71974 w 1485988"/>
                    <a:gd name="connsiteY275" fmla="*/ 395535 h 485261"/>
                    <a:gd name="connsiteX276" fmla="*/ 70126 w 1485988"/>
                    <a:gd name="connsiteY276" fmla="*/ 396419 h 485261"/>
                    <a:gd name="connsiteX277" fmla="*/ 75508 w 1485988"/>
                    <a:gd name="connsiteY277" fmla="*/ 389671 h 485261"/>
                    <a:gd name="connsiteX278" fmla="*/ 65146 w 1485988"/>
                    <a:gd name="connsiteY278" fmla="*/ 390876 h 485261"/>
                    <a:gd name="connsiteX279" fmla="*/ 56149 w 1485988"/>
                    <a:gd name="connsiteY279" fmla="*/ 402122 h 485261"/>
                    <a:gd name="connsiteX280" fmla="*/ 58559 w 1485988"/>
                    <a:gd name="connsiteY280" fmla="*/ 404130 h 485261"/>
                    <a:gd name="connsiteX281" fmla="*/ 57515 w 1485988"/>
                    <a:gd name="connsiteY281" fmla="*/ 405496 h 485261"/>
                    <a:gd name="connsiteX282" fmla="*/ 58720 w 1485988"/>
                    <a:gd name="connsiteY282" fmla="*/ 404291 h 485261"/>
                    <a:gd name="connsiteX283" fmla="*/ 46912 w 1485988"/>
                    <a:gd name="connsiteY283" fmla="*/ 416661 h 485261"/>
                    <a:gd name="connsiteX284" fmla="*/ 48598 w 1485988"/>
                    <a:gd name="connsiteY284" fmla="*/ 413689 h 485261"/>
                    <a:gd name="connsiteX285" fmla="*/ 44502 w 1485988"/>
                    <a:gd name="connsiteY285" fmla="*/ 416822 h 485261"/>
                    <a:gd name="connsiteX286" fmla="*/ 53820 w 1485988"/>
                    <a:gd name="connsiteY286" fmla="*/ 403648 h 485261"/>
                    <a:gd name="connsiteX287" fmla="*/ 40003 w 1485988"/>
                    <a:gd name="connsiteY287" fmla="*/ 417866 h 485261"/>
                    <a:gd name="connsiteX288" fmla="*/ 40003 w 1485988"/>
                    <a:gd name="connsiteY288" fmla="*/ 418188 h 485261"/>
                    <a:gd name="connsiteX289" fmla="*/ 0 w 1485988"/>
                    <a:gd name="connsiteY289" fmla="*/ 466304 h 485261"/>
                    <a:gd name="connsiteX290" fmla="*/ 824406 w 1485988"/>
                    <a:gd name="connsiteY290" fmla="*/ 1285 h 485261"/>
                    <a:gd name="connsiteX291" fmla="*/ 828181 w 1485988"/>
                    <a:gd name="connsiteY291" fmla="*/ 0 h 485261"/>
                    <a:gd name="connsiteX292" fmla="*/ 828181 w 1485988"/>
                    <a:gd name="connsiteY292" fmla="*/ 0 h 485261"/>
                    <a:gd name="connsiteX293" fmla="*/ 824406 w 1485988"/>
                    <a:gd name="connsiteY293" fmla="*/ 1285 h 485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</a:cxnLst>
                  <a:rect l="l" t="t" r="r" b="b"/>
                  <a:pathLst>
                    <a:path w="1485988" h="485261">
                      <a:moveTo>
                        <a:pt x="1452330" y="456504"/>
                      </a:moveTo>
                      <a:cubicBezTo>
                        <a:pt x="1451366" y="454175"/>
                        <a:pt x="1452490" y="453934"/>
                        <a:pt x="1453615" y="454014"/>
                      </a:cubicBezTo>
                      <a:cubicBezTo>
                        <a:pt x="1457953" y="454576"/>
                        <a:pt x="1468877" y="460761"/>
                        <a:pt x="1485987" y="472248"/>
                      </a:cubicBezTo>
                      <a:cubicBezTo>
                        <a:pt x="1485987" y="472810"/>
                        <a:pt x="1486148" y="477711"/>
                        <a:pt x="1482613" y="479719"/>
                      </a:cubicBezTo>
                      <a:cubicBezTo>
                        <a:pt x="1481007" y="480683"/>
                        <a:pt x="1478597" y="482450"/>
                        <a:pt x="1476589" y="485261"/>
                      </a:cubicBezTo>
                      <a:cubicBezTo>
                        <a:pt x="1465986" y="474016"/>
                        <a:pt x="1454499" y="461565"/>
                        <a:pt x="1452330" y="456504"/>
                      </a:cubicBezTo>
                      <a:moveTo>
                        <a:pt x="1237934" y="376899"/>
                      </a:moveTo>
                      <a:cubicBezTo>
                        <a:pt x="1236890" y="375614"/>
                        <a:pt x="1236890" y="373927"/>
                        <a:pt x="1236087" y="372561"/>
                      </a:cubicBezTo>
                      <a:cubicBezTo>
                        <a:pt x="1239300" y="372481"/>
                        <a:pt x="1241469" y="372159"/>
                        <a:pt x="1242593" y="371999"/>
                      </a:cubicBezTo>
                      <a:cubicBezTo>
                        <a:pt x="1244521" y="367822"/>
                        <a:pt x="1247975" y="366296"/>
                        <a:pt x="1255205" y="366215"/>
                      </a:cubicBezTo>
                      <a:cubicBezTo>
                        <a:pt x="1257374" y="366296"/>
                        <a:pt x="1263157" y="366617"/>
                        <a:pt x="1270708" y="369107"/>
                      </a:cubicBezTo>
                      <a:cubicBezTo>
                        <a:pt x="1272797" y="369830"/>
                        <a:pt x="1275849" y="369910"/>
                        <a:pt x="1278098" y="369669"/>
                      </a:cubicBezTo>
                      <a:cubicBezTo>
                        <a:pt x="1276733" y="371517"/>
                        <a:pt x="1275126" y="373124"/>
                        <a:pt x="1272716" y="375051"/>
                      </a:cubicBezTo>
                      <a:cubicBezTo>
                        <a:pt x="1275367" y="374569"/>
                        <a:pt x="1276572" y="374007"/>
                        <a:pt x="1277777" y="372642"/>
                      </a:cubicBezTo>
                      <a:cubicBezTo>
                        <a:pt x="1277054" y="374650"/>
                        <a:pt x="1277054" y="375774"/>
                        <a:pt x="1277777" y="377702"/>
                      </a:cubicBezTo>
                      <a:cubicBezTo>
                        <a:pt x="1268298" y="373525"/>
                        <a:pt x="1262997" y="371437"/>
                        <a:pt x="1264041" y="377461"/>
                      </a:cubicBezTo>
                      <a:cubicBezTo>
                        <a:pt x="1263318" y="377622"/>
                        <a:pt x="1262274" y="377783"/>
                        <a:pt x="1261551" y="377943"/>
                      </a:cubicBezTo>
                      <a:cubicBezTo>
                        <a:pt x="1269423" y="382763"/>
                        <a:pt x="1272636" y="385655"/>
                        <a:pt x="1274644" y="389992"/>
                      </a:cubicBezTo>
                      <a:cubicBezTo>
                        <a:pt x="1270146" y="388787"/>
                        <a:pt x="1260828" y="386297"/>
                        <a:pt x="1263800" y="391599"/>
                      </a:cubicBezTo>
                      <a:cubicBezTo>
                        <a:pt x="1264362" y="392563"/>
                        <a:pt x="1265326" y="393607"/>
                        <a:pt x="1265969" y="394491"/>
                      </a:cubicBezTo>
                      <a:cubicBezTo>
                        <a:pt x="1253197" y="390073"/>
                        <a:pt x="1243718" y="384209"/>
                        <a:pt x="1237934" y="376899"/>
                      </a:cubicBezTo>
                      <a:moveTo>
                        <a:pt x="1149975" y="355773"/>
                      </a:moveTo>
                      <a:cubicBezTo>
                        <a:pt x="1150136" y="355933"/>
                        <a:pt x="1151341" y="356737"/>
                        <a:pt x="1156321" y="359468"/>
                      </a:cubicBezTo>
                      <a:cubicBezTo>
                        <a:pt x="1156241" y="359146"/>
                        <a:pt x="1156161" y="358825"/>
                        <a:pt x="1156080" y="358584"/>
                      </a:cubicBezTo>
                      <a:cubicBezTo>
                        <a:pt x="1152224" y="356656"/>
                        <a:pt x="1150216" y="355692"/>
                        <a:pt x="1149975" y="355773"/>
                      </a:cubicBezTo>
                      <a:cubicBezTo>
                        <a:pt x="1149975" y="355773"/>
                        <a:pt x="1149975" y="355773"/>
                        <a:pt x="1149975" y="355773"/>
                      </a:cubicBezTo>
                      <a:moveTo>
                        <a:pt x="1038962" y="325087"/>
                      </a:moveTo>
                      <a:cubicBezTo>
                        <a:pt x="1036070" y="316653"/>
                        <a:pt x="1035347" y="308861"/>
                        <a:pt x="1034705" y="302596"/>
                      </a:cubicBezTo>
                      <a:cubicBezTo>
                        <a:pt x="1038159" y="301471"/>
                        <a:pt x="1039605" y="301150"/>
                        <a:pt x="1042095" y="300989"/>
                      </a:cubicBezTo>
                      <a:cubicBezTo>
                        <a:pt x="1043219" y="301069"/>
                        <a:pt x="1045067" y="300989"/>
                        <a:pt x="1045870" y="301872"/>
                      </a:cubicBezTo>
                      <a:cubicBezTo>
                        <a:pt x="1047075" y="303238"/>
                        <a:pt x="1049003" y="304764"/>
                        <a:pt x="1050610" y="305568"/>
                      </a:cubicBezTo>
                      <a:lnTo>
                        <a:pt x="1150939" y="349828"/>
                      </a:lnTo>
                      <a:cubicBezTo>
                        <a:pt x="1176243" y="356094"/>
                        <a:pt x="1202590" y="347579"/>
                        <a:pt x="1227893" y="355210"/>
                      </a:cubicBezTo>
                      <a:cubicBezTo>
                        <a:pt x="1241389" y="359307"/>
                        <a:pt x="1249100" y="362922"/>
                        <a:pt x="1251992" y="364287"/>
                      </a:cubicBezTo>
                      <a:cubicBezTo>
                        <a:pt x="1239300" y="363645"/>
                        <a:pt x="1226849" y="366778"/>
                        <a:pt x="1214238" y="366697"/>
                      </a:cubicBezTo>
                      <a:cubicBezTo>
                        <a:pt x="1220102" y="368063"/>
                        <a:pt x="1224038" y="369107"/>
                        <a:pt x="1233516" y="371838"/>
                      </a:cubicBezTo>
                      <a:cubicBezTo>
                        <a:pt x="1229661" y="371437"/>
                        <a:pt x="1228938" y="371356"/>
                        <a:pt x="1226126" y="371356"/>
                      </a:cubicBezTo>
                      <a:cubicBezTo>
                        <a:pt x="1225323" y="373686"/>
                        <a:pt x="1225323" y="374168"/>
                        <a:pt x="1226287" y="376738"/>
                      </a:cubicBezTo>
                      <a:cubicBezTo>
                        <a:pt x="1225082" y="376819"/>
                        <a:pt x="1223556" y="376979"/>
                        <a:pt x="1222351" y="377140"/>
                      </a:cubicBezTo>
                      <a:lnTo>
                        <a:pt x="1224118" y="378505"/>
                      </a:lnTo>
                      <a:cubicBezTo>
                        <a:pt x="1216005" y="374810"/>
                        <a:pt x="1206767" y="371838"/>
                        <a:pt x="1193834" y="375292"/>
                      </a:cubicBezTo>
                      <a:cubicBezTo>
                        <a:pt x="1191425" y="372320"/>
                        <a:pt x="1188372" y="371035"/>
                        <a:pt x="1181705" y="370071"/>
                      </a:cubicBezTo>
                      <a:cubicBezTo>
                        <a:pt x="1182187" y="369348"/>
                        <a:pt x="1182588" y="368304"/>
                        <a:pt x="1182749" y="367501"/>
                      </a:cubicBezTo>
                      <a:cubicBezTo>
                        <a:pt x="1167808" y="365010"/>
                        <a:pt x="1152465" y="364448"/>
                        <a:pt x="1137685" y="360592"/>
                      </a:cubicBezTo>
                      <a:cubicBezTo>
                        <a:pt x="1136721" y="361556"/>
                        <a:pt x="1135677" y="362520"/>
                        <a:pt x="1134633" y="363484"/>
                      </a:cubicBezTo>
                      <a:cubicBezTo>
                        <a:pt x="1134713" y="363886"/>
                        <a:pt x="1134874" y="364448"/>
                        <a:pt x="1135034" y="364769"/>
                      </a:cubicBezTo>
                      <a:cubicBezTo>
                        <a:pt x="1128367" y="366778"/>
                        <a:pt x="1121379" y="365733"/>
                        <a:pt x="1114711" y="367260"/>
                      </a:cubicBezTo>
                      <a:cubicBezTo>
                        <a:pt x="1110775" y="363645"/>
                        <a:pt x="1106759" y="362601"/>
                        <a:pt x="1100975" y="363806"/>
                      </a:cubicBezTo>
                      <a:cubicBezTo>
                        <a:pt x="1101056" y="364609"/>
                        <a:pt x="1101216" y="365573"/>
                        <a:pt x="1101377" y="366376"/>
                      </a:cubicBezTo>
                      <a:cubicBezTo>
                        <a:pt x="1099047" y="367340"/>
                        <a:pt x="1084428" y="364207"/>
                        <a:pt x="1083062" y="362359"/>
                      </a:cubicBezTo>
                      <a:cubicBezTo>
                        <a:pt x="1068683" y="363725"/>
                        <a:pt x="1052618" y="365251"/>
                        <a:pt x="1038962" y="325087"/>
                      </a:cubicBezTo>
                      <a:moveTo>
                        <a:pt x="959357" y="291430"/>
                      </a:moveTo>
                      <a:cubicBezTo>
                        <a:pt x="956465" y="291430"/>
                        <a:pt x="952690" y="291430"/>
                        <a:pt x="949798" y="291430"/>
                      </a:cubicBezTo>
                      <a:cubicBezTo>
                        <a:pt x="953814" y="288699"/>
                        <a:pt x="957269" y="286369"/>
                        <a:pt x="969800" y="280827"/>
                      </a:cubicBezTo>
                      <a:cubicBezTo>
                        <a:pt x="984660" y="274320"/>
                        <a:pt x="998878" y="266528"/>
                        <a:pt x="1013980" y="260504"/>
                      </a:cubicBezTo>
                      <a:cubicBezTo>
                        <a:pt x="1015426" y="259941"/>
                        <a:pt x="1017675" y="260905"/>
                        <a:pt x="1019201" y="261066"/>
                      </a:cubicBezTo>
                      <a:cubicBezTo>
                        <a:pt x="1020969" y="272312"/>
                        <a:pt x="1025708" y="275686"/>
                        <a:pt x="1039123" y="280184"/>
                      </a:cubicBezTo>
                      <a:cubicBezTo>
                        <a:pt x="1049967" y="283799"/>
                        <a:pt x="1081697" y="300186"/>
                        <a:pt x="1039042" y="297776"/>
                      </a:cubicBezTo>
                      <a:cubicBezTo>
                        <a:pt x="1035669" y="292394"/>
                        <a:pt x="1018077" y="291591"/>
                        <a:pt x="959357" y="291430"/>
                      </a:cubicBezTo>
                      <a:moveTo>
                        <a:pt x="958634" y="232550"/>
                      </a:moveTo>
                      <a:cubicBezTo>
                        <a:pt x="957911" y="232710"/>
                        <a:pt x="956947" y="232951"/>
                        <a:pt x="956305" y="233112"/>
                      </a:cubicBezTo>
                      <a:cubicBezTo>
                        <a:pt x="968032" y="208772"/>
                        <a:pt x="972932" y="189092"/>
                        <a:pt x="972932" y="167404"/>
                      </a:cubicBezTo>
                      <a:cubicBezTo>
                        <a:pt x="973013" y="167484"/>
                        <a:pt x="973173" y="167644"/>
                        <a:pt x="973254" y="167725"/>
                      </a:cubicBezTo>
                      <a:cubicBezTo>
                        <a:pt x="974057" y="168367"/>
                        <a:pt x="975182" y="168930"/>
                        <a:pt x="979037" y="168207"/>
                      </a:cubicBezTo>
                      <a:cubicBezTo>
                        <a:pt x="975423" y="170617"/>
                        <a:pt x="973896" y="172063"/>
                        <a:pt x="976146" y="174553"/>
                      </a:cubicBezTo>
                      <a:cubicBezTo>
                        <a:pt x="975905" y="174633"/>
                        <a:pt x="975664" y="174633"/>
                        <a:pt x="975423" y="174713"/>
                      </a:cubicBezTo>
                      <a:cubicBezTo>
                        <a:pt x="980564" y="175276"/>
                        <a:pt x="990203" y="176400"/>
                        <a:pt x="993014" y="183068"/>
                      </a:cubicBezTo>
                      <a:cubicBezTo>
                        <a:pt x="994541" y="186602"/>
                        <a:pt x="998798" y="188690"/>
                        <a:pt x="998316" y="193269"/>
                      </a:cubicBezTo>
                      <a:cubicBezTo>
                        <a:pt x="998316" y="193510"/>
                        <a:pt x="997111" y="218894"/>
                        <a:pt x="1010446" y="256407"/>
                      </a:cubicBezTo>
                      <a:cubicBezTo>
                        <a:pt x="999762" y="247571"/>
                        <a:pt x="992452" y="248053"/>
                        <a:pt x="986106" y="258013"/>
                      </a:cubicBezTo>
                      <a:cubicBezTo>
                        <a:pt x="993818" y="243394"/>
                        <a:pt x="1005626" y="221223"/>
                        <a:pt x="958634" y="232550"/>
                      </a:cubicBezTo>
                      <a:moveTo>
                        <a:pt x="58639" y="403970"/>
                      </a:moveTo>
                      <a:cubicBezTo>
                        <a:pt x="58639" y="403889"/>
                        <a:pt x="58639" y="403889"/>
                        <a:pt x="58639" y="403970"/>
                      </a:cubicBezTo>
                      <a:cubicBezTo>
                        <a:pt x="59764" y="402523"/>
                        <a:pt x="60567" y="401720"/>
                        <a:pt x="61290" y="401158"/>
                      </a:cubicBezTo>
                      <a:cubicBezTo>
                        <a:pt x="61612" y="400917"/>
                        <a:pt x="61853" y="400756"/>
                        <a:pt x="62013" y="400756"/>
                      </a:cubicBezTo>
                      <a:cubicBezTo>
                        <a:pt x="60889" y="401801"/>
                        <a:pt x="60005" y="402765"/>
                        <a:pt x="58720" y="404130"/>
                      </a:cubicBezTo>
                      <a:cubicBezTo>
                        <a:pt x="58720" y="404050"/>
                        <a:pt x="58720" y="403970"/>
                        <a:pt x="58639" y="403970"/>
                      </a:cubicBezTo>
                      <a:moveTo>
                        <a:pt x="229658" y="240502"/>
                      </a:moveTo>
                      <a:cubicBezTo>
                        <a:pt x="229658" y="240502"/>
                        <a:pt x="229658" y="240502"/>
                        <a:pt x="229658" y="240502"/>
                      </a:cubicBezTo>
                      <a:cubicBezTo>
                        <a:pt x="229818" y="240422"/>
                        <a:pt x="229979" y="240261"/>
                        <a:pt x="230140" y="240181"/>
                      </a:cubicBezTo>
                      <a:lnTo>
                        <a:pt x="230140" y="240181"/>
                      </a:lnTo>
                      <a:cubicBezTo>
                        <a:pt x="229979" y="240261"/>
                        <a:pt x="229818" y="240341"/>
                        <a:pt x="229658" y="240502"/>
                      </a:cubicBezTo>
                      <a:moveTo>
                        <a:pt x="441322" y="130372"/>
                      </a:moveTo>
                      <a:cubicBezTo>
                        <a:pt x="441242" y="130372"/>
                        <a:pt x="441161" y="130453"/>
                        <a:pt x="441161" y="130453"/>
                      </a:cubicBezTo>
                      <a:cubicBezTo>
                        <a:pt x="442607" y="129569"/>
                        <a:pt x="444455" y="128605"/>
                        <a:pt x="446865" y="127400"/>
                      </a:cubicBezTo>
                      <a:cubicBezTo>
                        <a:pt x="446784" y="127400"/>
                        <a:pt x="446704" y="127480"/>
                        <a:pt x="446704" y="127480"/>
                      </a:cubicBezTo>
                      <a:cubicBezTo>
                        <a:pt x="444937" y="128364"/>
                        <a:pt x="443089" y="129328"/>
                        <a:pt x="441322" y="130372"/>
                      </a:cubicBezTo>
                      <a:moveTo>
                        <a:pt x="77436" y="408147"/>
                      </a:moveTo>
                      <a:cubicBezTo>
                        <a:pt x="77516" y="408227"/>
                        <a:pt x="77597" y="408227"/>
                        <a:pt x="77677" y="408227"/>
                      </a:cubicBezTo>
                      <a:cubicBezTo>
                        <a:pt x="77597" y="408147"/>
                        <a:pt x="77516" y="408066"/>
                        <a:pt x="77436" y="408147"/>
                      </a:cubicBezTo>
                      <a:moveTo>
                        <a:pt x="73420" y="409914"/>
                      </a:moveTo>
                      <a:cubicBezTo>
                        <a:pt x="72857" y="410878"/>
                        <a:pt x="73018" y="411360"/>
                        <a:pt x="73179" y="411520"/>
                      </a:cubicBezTo>
                      <a:cubicBezTo>
                        <a:pt x="78320" y="406379"/>
                        <a:pt x="80569" y="403889"/>
                        <a:pt x="81212" y="402202"/>
                      </a:cubicBezTo>
                      <a:cubicBezTo>
                        <a:pt x="76954" y="405656"/>
                        <a:pt x="74384" y="408227"/>
                        <a:pt x="73420" y="409914"/>
                      </a:cubicBezTo>
                      <a:moveTo>
                        <a:pt x="77035" y="400515"/>
                      </a:moveTo>
                      <a:cubicBezTo>
                        <a:pt x="77677" y="400194"/>
                        <a:pt x="77758" y="400274"/>
                        <a:pt x="77838" y="400274"/>
                      </a:cubicBezTo>
                      <a:cubicBezTo>
                        <a:pt x="77918" y="400515"/>
                        <a:pt x="77195" y="401158"/>
                        <a:pt x="75910" y="402282"/>
                      </a:cubicBezTo>
                      <a:cubicBezTo>
                        <a:pt x="77838" y="400837"/>
                        <a:pt x="80971" y="398346"/>
                        <a:pt x="84987" y="394651"/>
                      </a:cubicBezTo>
                      <a:lnTo>
                        <a:pt x="84585" y="394812"/>
                      </a:lnTo>
                      <a:cubicBezTo>
                        <a:pt x="83461" y="395535"/>
                        <a:pt x="83461" y="395535"/>
                        <a:pt x="76874" y="400676"/>
                      </a:cubicBezTo>
                      <a:cubicBezTo>
                        <a:pt x="76874" y="400596"/>
                        <a:pt x="77035" y="400596"/>
                        <a:pt x="77035" y="400515"/>
                      </a:cubicBezTo>
                      <a:moveTo>
                        <a:pt x="110531" y="373365"/>
                      </a:moveTo>
                      <a:cubicBezTo>
                        <a:pt x="110451" y="373445"/>
                        <a:pt x="110371" y="373606"/>
                        <a:pt x="110371" y="373766"/>
                      </a:cubicBezTo>
                      <a:cubicBezTo>
                        <a:pt x="111254" y="372883"/>
                        <a:pt x="112539" y="371517"/>
                        <a:pt x="113584" y="370232"/>
                      </a:cubicBezTo>
                      <a:cubicBezTo>
                        <a:pt x="111656" y="371758"/>
                        <a:pt x="110853" y="372802"/>
                        <a:pt x="110531" y="373365"/>
                      </a:cubicBezTo>
                      <a:moveTo>
                        <a:pt x="110692" y="371276"/>
                      </a:moveTo>
                      <a:cubicBezTo>
                        <a:pt x="114226" y="368705"/>
                        <a:pt x="116476" y="366055"/>
                        <a:pt x="117199" y="365251"/>
                      </a:cubicBezTo>
                      <a:cubicBezTo>
                        <a:pt x="115994" y="366296"/>
                        <a:pt x="114387" y="367661"/>
                        <a:pt x="112539" y="368705"/>
                      </a:cubicBezTo>
                      <a:cubicBezTo>
                        <a:pt x="112780" y="368625"/>
                        <a:pt x="113503" y="368464"/>
                        <a:pt x="113182" y="368946"/>
                      </a:cubicBezTo>
                      <a:cubicBezTo>
                        <a:pt x="112780" y="369589"/>
                        <a:pt x="110933" y="371115"/>
                        <a:pt x="110290" y="371678"/>
                      </a:cubicBezTo>
                      <a:cubicBezTo>
                        <a:pt x="110371" y="371517"/>
                        <a:pt x="110531" y="371356"/>
                        <a:pt x="110692" y="371276"/>
                      </a:cubicBezTo>
                      <a:moveTo>
                        <a:pt x="76954" y="392322"/>
                      </a:moveTo>
                      <a:cubicBezTo>
                        <a:pt x="78239" y="393527"/>
                        <a:pt x="81613" y="391117"/>
                        <a:pt x="82738" y="390394"/>
                      </a:cubicBezTo>
                      <a:cubicBezTo>
                        <a:pt x="84746" y="388868"/>
                        <a:pt x="86192" y="387663"/>
                        <a:pt x="88762" y="385253"/>
                      </a:cubicBezTo>
                      <a:cubicBezTo>
                        <a:pt x="87638" y="385574"/>
                        <a:pt x="84103" y="386619"/>
                        <a:pt x="76794" y="392241"/>
                      </a:cubicBezTo>
                      <a:cubicBezTo>
                        <a:pt x="76874" y="392241"/>
                        <a:pt x="76954" y="392322"/>
                        <a:pt x="76954" y="392322"/>
                      </a:cubicBezTo>
                      <a:moveTo>
                        <a:pt x="112459" y="365894"/>
                      </a:moveTo>
                      <a:cubicBezTo>
                        <a:pt x="113423" y="365332"/>
                        <a:pt x="114548" y="364689"/>
                        <a:pt x="115913" y="363806"/>
                      </a:cubicBezTo>
                      <a:cubicBezTo>
                        <a:pt x="117600" y="362681"/>
                        <a:pt x="118966" y="361797"/>
                        <a:pt x="120171" y="360833"/>
                      </a:cubicBezTo>
                      <a:cubicBezTo>
                        <a:pt x="118002" y="362199"/>
                        <a:pt x="116717" y="362761"/>
                        <a:pt x="115994" y="363002"/>
                      </a:cubicBezTo>
                      <a:cubicBezTo>
                        <a:pt x="115913" y="363002"/>
                        <a:pt x="115833" y="363002"/>
                        <a:pt x="115753" y="363083"/>
                      </a:cubicBezTo>
                      <a:cubicBezTo>
                        <a:pt x="115753" y="363083"/>
                        <a:pt x="114387" y="364047"/>
                        <a:pt x="112299" y="365974"/>
                      </a:cubicBezTo>
                      <a:cubicBezTo>
                        <a:pt x="112379" y="365974"/>
                        <a:pt x="112459" y="365894"/>
                        <a:pt x="112459" y="365894"/>
                      </a:cubicBezTo>
                      <a:moveTo>
                        <a:pt x="119689" y="359066"/>
                      </a:moveTo>
                      <a:cubicBezTo>
                        <a:pt x="120492" y="358423"/>
                        <a:pt x="121697" y="357620"/>
                        <a:pt x="122821" y="357058"/>
                      </a:cubicBezTo>
                      <a:cubicBezTo>
                        <a:pt x="122821" y="356978"/>
                        <a:pt x="122821" y="356897"/>
                        <a:pt x="122821" y="356817"/>
                      </a:cubicBezTo>
                      <a:cubicBezTo>
                        <a:pt x="122179" y="356978"/>
                        <a:pt x="121777" y="357138"/>
                        <a:pt x="121054" y="357460"/>
                      </a:cubicBezTo>
                      <a:cubicBezTo>
                        <a:pt x="120572" y="358022"/>
                        <a:pt x="119930" y="358664"/>
                        <a:pt x="119528" y="359227"/>
                      </a:cubicBezTo>
                      <a:cubicBezTo>
                        <a:pt x="119608" y="359146"/>
                        <a:pt x="119689" y="359066"/>
                        <a:pt x="119689" y="359066"/>
                      </a:cubicBezTo>
                      <a:moveTo>
                        <a:pt x="164833" y="330068"/>
                      </a:moveTo>
                      <a:cubicBezTo>
                        <a:pt x="163869" y="331594"/>
                        <a:pt x="163869" y="332156"/>
                        <a:pt x="165074" y="331995"/>
                      </a:cubicBezTo>
                      <a:cubicBezTo>
                        <a:pt x="165476" y="331273"/>
                        <a:pt x="166199" y="329746"/>
                        <a:pt x="168689" y="329023"/>
                      </a:cubicBezTo>
                      <a:lnTo>
                        <a:pt x="169090" y="328622"/>
                      </a:lnTo>
                      <a:lnTo>
                        <a:pt x="167564" y="329023"/>
                      </a:lnTo>
                      <a:cubicBezTo>
                        <a:pt x="167966" y="328702"/>
                        <a:pt x="168448" y="328300"/>
                        <a:pt x="168769" y="327979"/>
                      </a:cubicBezTo>
                      <a:cubicBezTo>
                        <a:pt x="167885" y="327979"/>
                        <a:pt x="166681" y="328622"/>
                        <a:pt x="164431" y="330148"/>
                      </a:cubicBezTo>
                      <a:cubicBezTo>
                        <a:pt x="164512" y="330148"/>
                        <a:pt x="164672" y="330148"/>
                        <a:pt x="164833" y="330068"/>
                      </a:cubicBezTo>
                      <a:moveTo>
                        <a:pt x="81613" y="383807"/>
                      </a:moveTo>
                      <a:cubicBezTo>
                        <a:pt x="83059" y="383486"/>
                        <a:pt x="84344" y="383566"/>
                        <a:pt x="85228" y="383888"/>
                      </a:cubicBezTo>
                      <a:cubicBezTo>
                        <a:pt x="85871" y="383165"/>
                        <a:pt x="86031" y="383004"/>
                        <a:pt x="86112" y="382763"/>
                      </a:cubicBezTo>
                      <a:cubicBezTo>
                        <a:pt x="86112" y="382763"/>
                        <a:pt x="86112" y="382683"/>
                        <a:pt x="86031" y="382683"/>
                      </a:cubicBezTo>
                      <a:cubicBezTo>
                        <a:pt x="86031" y="382683"/>
                        <a:pt x="85951" y="382683"/>
                        <a:pt x="85951" y="382683"/>
                      </a:cubicBezTo>
                      <a:cubicBezTo>
                        <a:pt x="85871" y="382683"/>
                        <a:pt x="85871" y="382683"/>
                        <a:pt x="85790" y="382683"/>
                      </a:cubicBezTo>
                      <a:cubicBezTo>
                        <a:pt x="85710" y="382683"/>
                        <a:pt x="85710" y="382602"/>
                        <a:pt x="85630" y="382602"/>
                      </a:cubicBezTo>
                      <a:cubicBezTo>
                        <a:pt x="85469" y="382522"/>
                        <a:pt x="85067" y="382361"/>
                        <a:pt x="84103" y="382602"/>
                      </a:cubicBezTo>
                      <a:cubicBezTo>
                        <a:pt x="83139" y="382843"/>
                        <a:pt x="81935" y="383486"/>
                        <a:pt x="81453" y="383807"/>
                      </a:cubicBezTo>
                      <a:cubicBezTo>
                        <a:pt x="81533" y="383888"/>
                        <a:pt x="81613" y="383807"/>
                        <a:pt x="81613" y="383807"/>
                      </a:cubicBezTo>
                      <a:moveTo>
                        <a:pt x="156881" y="330791"/>
                      </a:moveTo>
                      <a:lnTo>
                        <a:pt x="156881" y="330791"/>
                      </a:lnTo>
                      <a:cubicBezTo>
                        <a:pt x="158487" y="329746"/>
                        <a:pt x="159371" y="328702"/>
                        <a:pt x="159612" y="327819"/>
                      </a:cubicBezTo>
                      <a:cubicBezTo>
                        <a:pt x="158166" y="329184"/>
                        <a:pt x="157202" y="330309"/>
                        <a:pt x="156881" y="330791"/>
                      </a:cubicBezTo>
                      <a:moveTo>
                        <a:pt x="163708" y="324686"/>
                      </a:moveTo>
                      <a:cubicBezTo>
                        <a:pt x="164030" y="324766"/>
                        <a:pt x="164512" y="324525"/>
                        <a:pt x="164753" y="324364"/>
                      </a:cubicBezTo>
                      <a:cubicBezTo>
                        <a:pt x="165315" y="324043"/>
                        <a:pt x="165877" y="323642"/>
                        <a:pt x="166761" y="322838"/>
                      </a:cubicBezTo>
                      <a:cubicBezTo>
                        <a:pt x="166038" y="322999"/>
                        <a:pt x="164190" y="324284"/>
                        <a:pt x="163708" y="324686"/>
                      </a:cubicBezTo>
                      <a:cubicBezTo>
                        <a:pt x="163708" y="324686"/>
                        <a:pt x="163708" y="324686"/>
                        <a:pt x="163708" y="324686"/>
                      </a:cubicBezTo>
                      <a:moveTo>
                        <a:pt x="173348" y="317938"/>
                      </a:moveTo>
                      <a:cubicBezTo>
                        <a:pt x="174954" y="317778"/>
                        <a:pt x="174954" y="317778"/>
                        <a:pt x="175436" y="317617"/>
                      </a:cubicBezTo>
                      <a:cubicBezTo>
                        <a:pt x="175436" y="317617"/>
                        <a:pt x="175436" y="317617"/>
                        <a:pt x="175436" y="317617"/>
                      </a:cubicBezTo>
                      <a:cubicBezTo>
                        <a:pt x="175436" y="317617"/>
                        <a:pt x="175436" y="317617"/>
                        <a:pt x="175436" y="317617"/>
                      </a:cubicBezTo>
                      <a:cubicBezTo>
                        <a:pt x="175276" y="317617"/>
                        <a:pt x="175115" y="317617"/>
                        <a:pt x="174954" y="317697"/>
                      </a:cubicBezTo>
                      <a:cubicBezTo>
                        <a:pt x="174312" y="317778"/>
                        <a:pt x="173749" y="317858"/>
                        <a:pt x="173107" y="317938"/>
                      </a:cubicBezTo>
                      <a:lnTo>
                        <a:pt x="173348" y="317938"/>
                      </a:lnTo>
                      <a:moveTo>
                        <a:pt x="142100" y="335289"/>
                      </a:moveTo>
                      <a:cubicBezTo>
                        <a:pt x="142502" y="334887"/>
                        <a:pt x="143064" y="334646"/>
                        <a:pt x="143385" y="334164"/>
                      </a:cubicBezTo>
                      <a:cubicBezTo>
                        <a:pt x="143225" y="334164"/>
                        <a:pt x="143144" y="334325"/>
                        <a:pt x="142984" y="334405"/>
                      </a:cubicBezTo>
                      <a:cubicBezTo>
                        <a:pt x="142582" y="334727"/>
                        <a:pt x="142100" y="335048"/>
                        <a:pt x="141699" y="335369"/>
                      </a:cubicBezTo>
                      <a:lnTo>
                        <a:pt x="142100" y="335289"/>
                      </a:lnTo>
                      <a:moveTo>
                        <a:pt x="177204" y="313199"/>
                      </a:moveTo>
                      <a:cubicBezTo>
                        <a:pt x="177123" y="313360"/>
                        <a:pt x="177043" y="313440"/>
                        <a:pt x="177043" y="313601"/>
                      </a:cubicBezTo>
                      <a:cubicBezTo>
                        <a:pt x="178489" y="312235"/>
                        <a:pt x="179935" y="310869"/>
                        <a:pt x="181461" y="309584"/>
                      </a:cubicBezTo>
                      <a:cubicBezTo>
                        <a:pt x="178569" y="311432"/>
                        <a:pt x="177525" y="312637"/>
                        <a:pt x="177204" y="313199"/>
                      </a:cubicBezTo>
                      <a:moveTo>
                        <a:pt x="59282" y="392804"/>
                      </a:moveTo>
                      <a:cubicBezTo>
                        <a:pt x="60326" y="391599"/>
                        <a:pt x="61371" y="390394"/>
                        <a:pt x="62335" y="389189"/>
                      </a:cubicBezTo>
                      <a:cubicBezTo>
                        <a:pt x="62495" y="388948"/>
                        <a:pt x="62736" y="388627"/>
                        <a:pt x="62897" y="388386"/>
                      </a:cubicBezTo>
                      <a:cubicBezTo>
                        <a:pt x="61612" y="389832"/>
                        <a:pt x="60407" y="391358"/>
                        <a:pt x="59121" y="392884"/>
                      </a:cubicBezTo>
                      <a:cubicBezTo>
                        <a:pt x="59202" y="392884"/>
                        <a:pt x="59282" y="392884"/>
                        <a:pt x="59282" y="392804"/>
                      </a:cubicBezTo>
                      <a:moveTo>
                        <a:pt x="187405" y="297294"/>
                      </a:moveTo>
                      <a:cubicBezTo>
                        <a:pt x="187486" y="297294"/>
                        <a:pt x="187887" y="297294"/>
                        <a:pt x="187164" y="298177"/>
                      </a:cubicBezTo>
                      <a:cubicBezTo>
                        <a:pt x="187084" y="298258"/>
                        <a:pt x="187004" y="298338"/>
                        <a:pt x="186923" y="298418"/>
                      </a:cubicBezTo>
                      <a:cubicBezTo>
                        <a:pt x="187967" y="297615"/>
                        <a:pt x="188449" y="297053"/>
                        <a:pt x="188931" y="296410"/>
                      </a:cubicBezTo>
                      <a:lnTo>
                        <a:pt x="187887" y="296732"/>
                      </a:lnTo>
                      <a:lnTo>
                        <a:pt x="187084" y="297455"/>
                      </a:lnTo>
                      <a:cubicBezTo>
                        <a:pt x="187164" y="297374"/>
                        <a:pt x="187325" y="297294"/>
                        <a:pt x="187405" y="297294"/>
                      </a:cubicBezTo>
                      <a:moveTo>
                        <a:pt x="234879" y="249981"/>
                      </a:moveTo>
                      <a:cubicBezTo>
                        <a:pt x="235200" y="250543"/>
                        <a:pt x="235923" y="250222"/>
                        <a:pt x="236245" y="250061"/>
                      </a:cubicBezTo>
                      <a:cubicBezTo>
                        <a:pt x="237048" y="249579"/>
                        <a:pt x="237610" y="249097"/>
                        <a:pt x="238815" y="247972"/>
                      </a:cubicBezTo>
                      <a:cubicBezTo>
                        <a:pt x="237449" y="248615"/>
                        <a:pt x="236164" y="249338"/>
                        <a:pt x="234799" y="249900"/>
                      </a:cubicBezTo>
                      <a:cubicBezTo>
                        <a:pt x="234799" y="249900"/>
                        <a:pt x="234879" y="249981"/>
                        <a:pt x="234879" y="249981"/>
                      </a:cubicBezTo>
                      <a:moveTo>
                        <a:pt x="203471" y="259058"/>
                      </a:moveTo>
                      <a:cubicBezTo>
                        <a:pt x="203631" y="258977"/>
                        <a:pt x="203792" y="258897"/>
                        <a:pt x="203953" y="258817"/>
                      </a:cubicBezTo>
                      <a:cubicBezTo>
                        <a:pt x="205559" y="257853"/>
                        <a:pt x="207086" y="256568"/>
                        <a:pt x="208612" y="255202"/>
                      </a:cubicBezTo>
                      <a:cubicBezTo>
                        <a:pt x="206764" y="256166"/>
                        <a:pt x="204997" y="257532"/>
                        <a:pt x="203471" y="259058"/>
                      </a:cubicBezTo>
                      <a:cubicBezTo>
                        <a:pt x="203390" y="259058"/>
                        <a:pt x="203390" y="259058"/>
                        <a:pt x="203471" y="259058"/>
                      </a:cubicBezTo>
                      <a:moveTo>
                        <a:pt x="235441" y="220259"/>
                      </a:moveTo>
                      <a:cubicBezTo>
                        <a:pt x="235763" y="220018"/>
                        <a:pt x="236164" y="219697"/>
                        <a:pt x="236486" y="219456"/>
                      </a:cubicBezTo>
                      <a:cubicBezTo>
                        <a:pt x="238815" y="217689"/>
                        <a:pt x="241064" y="215922"/>
                        <a:pt x="243394" y="214074"/>
                      </a:cubicBezTo>
                      <a:cubicBezTo>
                        <a:pt x="243153" y="214235"/>
                        <a:pt x="242992" y="214315"/>
                        <a:pt x="242751" y="214476"/>
                      </a:cubicBezTo>
                      <a:lnTo>
                        <a:pt x="235281" y="220340"/>
                      </a:lnTo>
                      <a:cubicBezTo>
                        <a:pt x="235361" y="220340"/>
                        <a:pt x="235441" y="220259"/>
                        <a:pt x="235441" y="220259"/>
                      </a:cubicBezTo>
                      <a:moveTo>
                        <a:pt x="0" y="466304"/>
                      </a:moveTo>
                      <a:lnTo>
                        <a:pt x="42413" y="410878"/>
                      </a:lnTo>
                      <a:cubicBezTo>
                        <a:pt x="117921" y="323883"/>
                        <a:pt x="120894" y="320509"/>
                        <a:pt x="193028" y="255363"/>
                      </a:cubicBezTo>
                      <a:cubicBezTo>
                        <a:pt x="210138" y="241305"/>
                        <a:pt x="232790" y="222348"/>
                        <a:pt x="250302" y="208853"/>
                      </a:cubicBezTo>
                      <a:lnTo>
                        <a:pt x="250302" y="208853"/>
                      </a:lnTo>
                      <a:cubicBezTo>
                        <a:pt x="266850" y="196804"/>
                        <a:pt x="266850" y="196804"/>
                        <a:pt x="279059" y="190056"/>
                      </a:cubicBezTo>
                      <a:cubicBezTo>
                        <a:pt x="275927" y="192305"/>
                        <a:pt x="275364" y="192707"/>
                        <a:pt x="272232" y="194715"/>
                      </a:cubicBezTo>
                      <a:cubicBezTo>
                        <a:pt x="272633" y="194474"/>
                        <a:pt x="273195" y="194233"/>
                        <a:pt x="273597" y="193992"/>
                      </a:cubicBezTo>
                      <a:cubicBezTo>
                        <a:pt x="272794" y="194715"/>
                        <a:pt x="271750" y="195679"/>
                        <a:pt x="270866" y="196402"/>
                      </a:cubicBezTo>
                      <a:cubicBezTo>
                        <a:pt x="275525" y="192948"/>
                        <a:pt x="281068" y="190859"/>
                        <a:pt x="285646" y="187245"/>
                      </a:cubicBezTo>
                      <a:cubicBezTo>
                        <a:pt x="284361" y="189654"/>
                        <a:pt x="283799" y="190779"/>
                        <a:pt x="278015" y="196563"/>
                      </a:cubicBezTo>
                      <a:cubicBezTo>
                        <a:pt x="278095" y="196482"/>
                        <a:pt x="278256" y="196402"/>
                        <a:pt x="278336" y="196322"/>
                      </a:cubicBezTo>
                      <a:cubicBezTo>
                        <a:pt x="278095" y="196884"/>
                        <a:pt x="277854" y="197527"/>
                        <a:pt x="277613" y="198089"/>
                      </a:cubicBezTo>
                      <a:cubicBezTo>
                        <a:pt x="281068" y="197848"/>
                        <a:pt x="282032" y="197767"/>
                        <a:pt x="294000" y="190940"/>
                      </a:cubicBezTo>
                      <a:cubicBezTo>
                        <a:pt x="289663" y="194795"/>
                        <a:pt x="289663" y="194876"/>
                        <a:pt x="289663" y="196402"/>
                      </a:cubicBezTo>
                      <a:cubicBezTo>
                        <a:pt x="271750" y="211022"/>
                        <a:pt x="250222" y="220581"/>
                        <a:pt x="233594" y="237048"/>
                      </a:cubicBezTo>
                      <a:cubicBezTo>
                        <a:pt x="220500" y="246687"/>
                        <a:pt x="214797" y="251186"/>
                        <a:pt x="210138" y="255443"/>
                      </a:cubicBezTo>
                      <a:cubicBezTo>
                        <a:pt x="216323" y="250704"/>
                        <a:pt x="222508" y="245964"/>
                        <a:pt x="228774" y="241305"/>
                      </a:cubicBezTo>
                      <a:cubicBezTo>
                        <a:pt x="216243" y="250945"/>
                        <a:pt x="213110" y="253837"/>
                        <a:pt x="210540" y="256487"/>
                      </a:cubicBezTo>
                      <a:cubicBezTo>
                        <a:pt x="210941" y="256166"/>
                        <a:pt x="211504" y="255684"/>
                        <a:pt x="211905" y="255282"/>
                      </a:cubicBezTo>
                      <a:cubicBezTo>
                        <a:pt x="222749" y="251587"/>
                        <a:pt x="232068" y="243876"/>
                        <a:pt x="239699" y="236727"/>
                      </a:cubicBezTo>
                      <a:cubicBezTo>
                        <a:pt x="238976" y="237128"/>
                        <a:pt x="238253" y="237530"/>
                        <a:pt x="237530" y="237931"/>
                      </a:cubicBezTo>
                      <a:cubicBezTo>
                        <a:pt x="244036" y="234156"/>
                        <a:pt x="246286" y="233353"/>
                        <a:pt x="248535" y="232630"/>
                      </a:cubicBezTo>
                      <a:cubicBezTo>
                        <a:pt x="248856" y="232951"/>
                        <a:pt x="249338" y="233353"/>
                        <a:pt x="249740" y="233594"/>
                      </a:cubicBezTo>
                      <a:cubicBezTo>
                        <a:pt x="249499" y="233995"/>
                        <a:pt x="249097" y="234477"/>
                        <a:pt x="248776" y="234799"/>
                      </a:cubicBezTo>
                      <a:cubicBezTo>
                        <a:pt x="254077" y="232309"/>
                        <a:pt x="260022" y="231666"/>
                        <a:pt x="265404" y="229577"/>
                      </a:cubicBezTo>
                      <a:cubicBezTo>
                        <a:pt x="264359" y="231666"/>
                        <a:pt x="264359" y="231666"/>
                        <a:pt x="242269" y="245563"/>
                      </a:cubicBezTo>
                      <a:cubicBezTo>
                        <a:pt x="244759" y="244920"/>
                        <a:pt x="244759" y="244920"/>
                        <a:pt x="247571" y="243635"/>
                      </a:cubicBezTo>
                      <a:cubicBezTo>
                        <a:pt x="243554" y="247250"/>
                        <a:pt x="228694" y="260182"/>
                        <a:pt x="204836" y="272874"/>
                      </a:cubicBezTo>
                      <a:cubicBezTo>
                        <a:pt x="204917" y="272553"/>
                        <a:pt x="205077" y="272232"/>
                        <a:pt x="205158" y="271910"/>
                      </a:cubicBezTo>
                      <a:cubicBezTo>
                        <a:pt x="206041" y="271348"/>
                        <a:pt x="207166" y="270464"/>
                        <a:pt x="207889" y="269822"/>
                      </a:cubicBezTo>
                      <a:cubicBezTo>
                        <a:pt x="205961" y="270786"/>
                        <a:pt x="204676" y="271428"/>
                        <a:pt x="201222" y="275364"/>
                      </a:cubicBezTo>
                      <a:cubicBezTo>
                        <a:pt x="199374" y="273999"/>
                        <a:pt x="196964" y="272392"/>
                        <a:pt x="189574" y="279541"/>
                      </a:cubicBezTo>
                      <a:cubicBezTo>
                        <a:pt x="189895" y="280023"/>
                        <a:pt x="190297" y="280666"/>
                        <a:pt x="190538" y="281148"/>
                      </a:cubicBezTo>
                      <a:cubicBezTo>
                        <a:pt x="181782" y="289984"/>
                        <a:pt x="180256" y="291751"/>
                        <a:pt x="180095" y="294643"/>
                      </a:cubicBezTo>
                      <a:cubicBezTo>
                        <a:pt x="183630" y="295687"/>
                        <a:pt x="183630" y="295687"/>
                        <a:pt x="199454" y="285807"/>
                      </a:cubicBezTo>
                      <a:cubicBezTo>
                        <a:pt x="199535" y="286209"/>
                        <a:pt x="199695" y="286851"/>
                        <a:pt x="199776" y="287253"/>
                      </a:cubicBezTo>
                      <a:cubicBezTo>
                        <a:pt x="200418" y="287012"/>
                        <a:pt x="201302" y="286691"/>
                        <a:pt x="201945" y="286450"/>
                      </a:cubicBezTo>
                      <a:cubicBezTo>
                        <a:pt x="201543" y="288618"/>
                        <a:pt x="201543" y="288618"/>
                        <a:pt x="199213" y="291109"/>
                      </a:cubicBezTo>
                      <a:cubicBezTo>
                        <a:pt x="198892" y="291028"/>
                        <a:pt x="198490" y="290948"/>
                        <a:pt x="198169" y="290948"/>
                      </a:cubicBezTo>
                      <a:lnTo>
                        <a:pt x="197527" y="293197"/>
                      </a:lnTo>
                      <a:lnTo>
                        <a:pt x="197607" y="293278"/>
                      </a:lnTo>
                      <a:cubicBezTo>
                        <a:pt x="200820" y="291831"/>
                        <a:pt x="200820" y="291831"/>
                        <a:pt x="202507" y="292314"/>
                      </a:cubicBezTo>
                      <a:cubicBezTo>
                        <a:pt x="201784" y="294723"/>
                        <a:pt x="201784" y="294723"/>
                        <a:pt x="199374" y="297776"/>
                      </a:cubicBezTo>
                      <a:cubicBezTo>
                        <a:pt x="200097" y="297455"/>
                        <a:pt x="200981" y="297053"/>
                        <a:pt x="201704" y="296732"/>
                      </a:cubicBezTo>
                      <a:cubicBezTo>
                        <a:pt x="201061" y="297455"/>
                        <a:pt x="200258" y="298499"/>
                        <a:pt x="199695" y="299222"/>
                      </a:cubicBezTo>
                      <a:cubicBezTo>
                        <a:pt x="200258" y="298981"/>
                        <a:pt x="201061" y="298579"/>
                        <a:pt x="201623" y="298338"/>
                      </a:cubicBezTo>
                      <a:cubicBezTo>
                        <a:pt x="201543" y="298418"/>
                        <a:pt x="193671" y="310387"/>
                        <a:pt x="170938" y="322195"/>
                      </a:cubicBezTo>
                      <a:cubicBezTo>
                        <a:pt x="171420" y="322035"/>
                        <a:pt x="172143" y="321794"/>
                        <a:pt x="172625" y="321633"/>
                      </a:cubicBezTo>
                      <a:cubicBezTo>
                        <a:pt x="169894" y="323401"/>
                        <a:pt x="169894" y="323401"/>
                        <a:pt x="167725" y="325168"/>
                      </a:cubicBezTo>
                      <a:cubicBezTo>
                        <a:pt x="173990" y="324686"/>
                        <a:pt x="177926" y="312556"/>
                        <a:pt x="184112" y="318179"/>
                      </a:cubicBezTo>
                      <a:cubicBezTo>
                        <a:pt x="161700" y="338100"/>
                        <a:pt x="158246" y="338743"/>
                        <a:pt x="155515" y="337378"/>
                      </a:cubicBezTo>
                      <a:cubicBezTo>
                        <a:pt x="155435" y="336815"/>
                        <a:pt x="155435" y="336092"/>
                        <a:pt x="155354" y="335530"/>
                      </a:cubicBezTo>
                      <a:cubicBezTo>
                        <a:pt x="154953" y="335209"/>
                        <a:pt x="154390" y="334727"/>
                        <a:pt x="153908" y="334405"/>
                      </a:cubicBezTo>
                      <a:lnTo>
                        <a:pt x="133505" y="361797"/>
                      </a:lnTo>
                      <a:cubicBezTo>
                        <a:pt x="133826" y="362199"/>
                        <a:pt x="134228" y="362761"/>
                        <a:pt x="134549" y="363163"/>
                      </a:cubicBezTo>
                      <a:cubicBezTo>
                        <a:pt x="125713" y="369991"/>
                        <a:pt x="115672" y="375132"/>
                        <a:pt x="106595" y="381638"/>
                      </a:cubicBezTo>
                      <a:cubicBezTo>
                        <a:pt x="106435" y="381156"/>
                        <a:pt x="106194" y="380433"/>
                        <a:pt x="106033" y="379951"/>
                      </a:cubicBezTo>
                      <a:cubicBezTo>
                        <a:pt x="106515" y="379068"/>
                        <a:pt x="107238" y="377943"/>
                        <a:pt x="107720" y="377060"/>
                      </a:cubicBezTo>
                      <a:lnTo>
                        <a:pt x="90289" y="390314"/>
                      </a:lnTo>
                      <a:cubicBezTo>
                        <a:pt x="90690" y="390635"/>
                        <a:pt x="91253" y="391117"/>
                        <a:pt x="91654" y="391438"/>
                      </a:cubicBezTo>
                      <a:cubicBezTo>
                        <a:pt x="90851" y="393447"/>
                        <a:pt x="90690" y="393768"/>
                        <a:pt x="86674" y="397624"/>
                      </a:cubicBezTo>
                      <a:cubicBezTo>
                        <a:pt x="87156" y="397865"/>
                        <a:pt x="87718" y="398186"/>
                        <a:pt x="88200" y="398427"/>
                      </a:cubicBezTo>
                      <a:cubicBezTo>
                        <a:pt x="86915" y="401158"/>
                        <a:pt x="86674" y="401640"/>
                        <a:pt x="82738" y="406138"/>
                      </a:cubicBezTo>
                      <a:cubicBezTo>
                        <a:pt x="88361" y="405415"/>
                        <a:pt x="91092" y="413047"/>
                        <a:pt x="97117" y="411279"/>
                      </a:cubicBezTo>
                      <a:cubicBezTo>
                        <a:pt x="101695" y="409914"/>
                        <a:pt x="104507" y="405014"/>
                        <a:pt x="109648" y="404773"/>
                      </a:cubicBezTo>
                      <a:cubicBezTo>
                        <a:pt x="110290" y="404773"/>
                        <a:pt x="111174" y="404692"/>
                        <a:pt x="111897" y="404773"/>
                      </a:cubicBezTo>
                      <a:cubicBezTo>
                        <a:pt x="115994" y="405174"/>
                        <a:pt x="116395" y="406219"/>
                        <a:pt x="117680" y="409271"/>
                      </a:cubicBezTo>
                      <a:cubicBezTo>
                        <a:pt x="117279" y="409191"/>
                        <a:pt x="116636" y="409110"/>
                        <a:pt x="116235" y="409030"/>
                      </a:cubicBezTo>
                      <a:cubicBezTo>
                        <a:pt x="116476" y="408548"/>
                        <a:pt x="116797" y="407986"/>
                        <a:pt x="117038" y="407504"/>
                      </a:cubicBezTo>
                      <a:cubicBezTo>
                        <a:pt x="98482" y="417706"/>
                        <a:pt x="89405" y="418910"/>
                        <a:pt x="78882" y="420276"/>
                      </a:cubicBezTo>
                      <a:cubicBezTo>
                        <a:pt x="79605" y="419392"/>
                        <a:pt x="80408" y="418027"/>
                        <a:pt x="80971" y="417063"/>
                      </a:cubicBezTo>
                      <a:cubicBezTo>
                        <a:pt x="65066" y="414091"/>
                        <a:pt x="65066" y="414091"/>
                        <a:pt x="63620" y="413368"/>
                      </a:cubicBezTo>
                      <a:cubicBezTo>
                        <a:pt x="64262" y="408709"/>
                        <a:pt x="65869" y="405817"/>
                        <a:pt x="73098" y="396097"/>
                      </a:cubicBezTo>
                      <a:cubicBezTo>
                        <a:pt x="72616" y="396419"/>
                        <a:pt x="71974" y="396820"/>
                        <a:pt x="71572" y="397142"/>
                      </a:cubicBezTo>
                      <a:cubicBezTo>
                        <a:pt x="71653" y="396660"/>
                        <a:pt x="71813" y="396017"/>
                        <a:pt x="71974" y="395535"/>
                      </a:cubicBezTo>
                      <a:cubicBezTo>
                        <a:pt x="71412" y="395776"/>
                        <a:pt x="70689" y="396178"/>
                        <a:pt x="70126" y="396419"/>
                      </a:cubicBezTo>
                      <a:cubicBezTo>
                        <a:pt x="70930" y="394410"/>
                        <a:pt x="70930" y="394410"/>
                        <a:pt x="75508" y="389671"/>
                      </a:cubicBezTo>
                      <a:cubicBezTo>
                        <a:pt x="73339" y="388627"/>
                        <a:pt x="71492" y="387743"/>
                        <a:pt x="65146" y="390876"/>
                      </a:cubicBezTo>
                      <a:cubicBezTo>
                        <a:pt x="64343" y="393929"/>
                        <a:pt x="64343" y="393929"/>
                        <a:pt x="56149" y="402122"/>
                      </a:cubicBezTo>
                      <a:cubicBezTo>
                        <a:pt x="56872" y="402684"/>
                        <a:pt x="57836" y="403488"/>
                        <a:pt x="58559" y="404130"/>
                      </a:cubicBezTo>
                      <a:cubicBezTo>
                        <a:pt x="58238" y="404532"/>
                        <a:pt x="57836" y="405094"/>
                        <a:pt x="57515" y="405496"/>
                      </a:cubicBezTo>
                      <a:cubicBezTo>
                        <a:pt x="57836" y="405174"/>
                        <a:pt x="58318" y="404692"/>
                        <a:pt x="58720" y="404291"/>
                      </a:cubicBezTo>
                      <a:cubicBezTo>
                        <a:pt x="62094" y="411681"/>
                        <a:pt x="50446" y="412163"/>
                        <a:pt x="46912" y="416661"/>
                      </a:cubicBezTo>
                      <a:cubicBezTo>
                        <a:pt x="47394" y="415778"/>
                        <a:pt x="48116" y="414573"/>
                        <a:pt x="48598" y="413689"/>
                      </a:cubicBezTo>
                      <a:cubicBezTo>
                        <a:pt x="47313" y="414573"/>
                        <a:pt x="45707" y="415778"/>
                        <a:pt x="44502" y="416822"/>
                      </a:cubicBezTo>
                      <a:cubicBezTo>
                        <a:pt x="48438" y="410556"/>
                        <a:pt x="52374" y="405496"/>
                        <a:pt x="53820" y="403648"/>
                      </a:cubicBezTo>
                      <a:cubicBezTo>
                        <a:pt x="52213" y="404532"/>
                        <a:pt x="50848" y="405255"/>
                        <a:pt x="40003" y="417866"/>
                      </a:cubicBezTo>
                      <a:cubicBezTo>
                        <a:pt x="40003" y="417947"/>
                        <a:pt x="40003" y="418107"/>
                        <a:pt x="40003" y="418188"/>
                      </a:cubicBezTo>
                      <a:cubicBezTo>
                        <a:pt x="36389" y="421642"/>
                        <a:pt x="16146" y="444134"/>
                        <a:pt x="0" y="466304"/>
                      </a:cubicBezTo>
                      <a:moveTo>
                        <a:pt x="824406" y="1285"/>
                      </a:moveTo>
                      <a:cubicBezTo>
                        <a:pt x="824567" y="1205"/>
                        <a:pt x="828181" y="80"/>
                        <a:pt x="828181" y="0"/>
                      </a:cubicBezTo>
                      <a:lnTo>
                        <a:pt x="828181" y="0"/>
                      </a:lnTo>
                      <a:cubicBezTo>
                        <a:pt x="826977" y="562"/>
                        <a:pt x="825691" y="883"/>
                        <a:pt x="824406" y="1285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0" name="Freeform: Shape 419">
                  <a:extLst>
                    <a:ext uri="{FF2B5EF4-FFF2-40B4-BE49-F238E27FC236}">
                      <a16:creationId xmlns:a16="http://schemas.microsoft.com/office/drawing/2014/main" id="{3A763803-7180-AB20-2419-FA989EC8747D}"/>
                    </a:ext>
                  </a:extLst>
                </p:cNvPr>
                <p:cNvSpPr/>
                <p:nvPr/>
              </p:nvSpPr>
              <p:spPr>
                <a:xfrm>
                  <a:off x="-4645562" y="2428773"/>
                  <a:ext cx="1595634" cy="1933093"/>
                </a:xfrm>
                <a:custGeom>
                  <a:avLst/>
                  <a:gdLst>
                    <a:gd name="connsiteX0" fmla="*/ 534583 w 1595634"/>
                    <a:gd name="connsiteY0" fmla="*/ 1930362 h 1933093"/>
                    <a:gd name="connsiteX1" fmla="*/ 534824 w 1595634"/>
                    <a:gd name="connsiteY1" fmla="*/ 1930442 h 1933093"/>
                    <a:gd name="connsiteX2" fmla="*/ 516107 w 1595634"/>
                    <a:gd name="connsiteY2" fmla="*/ 1932049 h 1933093"/>
                    <a:gd name="connsiteX3" fmla="*/ 527112 w 1595634"/>
                    <a:gd name="connsiteY3" fmla="*/ 1930041 h 1933093"/>
                    <a:gd name="connsiteX4" fmla="*/ 518758 w 1595634"/>
                    <a:gd name="connsiteY4" fmla="*/ 1929398 h 1933093"/>
                    <a:gd name="connsiteX5" fmla="*/ 500042 w 1595634"/>
                    <a:gd name="connsiteY5" fmla="*/ 1929237 h 1933093"/>
                    <a:gd name="connsiteX6" fmla="*/ 529442 w 1595634"/>
                    <a:gd name="connsiteY6" fmla="*/ 1926105 h 1933093"/>
                    <a:gd name="connsiteX7" fmla="*/ 526871 w 1595634"/>
                    <a:gd name="connsiteY7" fmla="*/ 1927069 h 1933093"/>
                    <a:gd name="connsiteX8" fmla="*/ 532896 w 1595634"/>
                    <a:gd name="connsiteY8" fmla="*/ 1926988 h 1933093"/>
                    <a:gd name="connsiteX9" fmla="*/ 549684 w 1595634"/>
                    <a:gd name="connsiteY9" fmla="*/ 1925703 h 1933093"/>
                    <a:gd name="connsiteX10" fmla="*/ 534502 w 1595634"/>
                    <a:gd name="connsiteY10" fmla="*/ 1930282 h 1933093"/>
                    <a:gd name="connsiteX11" fmla="*/ 534583 w 1595634"/>
                    <a:gd name="connsiteY11" fmla="*/ 1930362 h 1933093"/>
                    <a:gd name="connsiteX12" fmla="*/ 492732 w 1595634"/>
                    <a:gd name="connsiteY12" fmla="*/ 1930683 h 1933093"/>
                    <a:gd name="connsiteX13" fmla="*/ 471204 w 1595634"/>
                    <a:gd name="connsiteY13" fmla="*/ 1931245 h 1933093"/>
                    <a:gd name="connsiteX14" fmla="*/ 472730 w 1595634"/>
                    <a:gd name="connsiteY14" fmla="*/ 1931245 h 1933093"/>
                    <a:gd name="connsiteX15" fmla="*/ 492732 w 1595634"/>
                    <a:gd name="connsiteY15" fmla="*/ 1930683 h 1933093"/>
                    <a:gd name="connsiteX16" fmla="*/ 463251 w 1595634"/>
                    <a:gd name="connsiteY16" fmla="*/ 1932370 h 1933093"/>
                    <a:gd name="connsiteX17" fmla="*/ 458110 w 1595634"/>
                    <a:gd name="connsiteY17" fmla="*/ 1932209 h 1933093"/>
                    <a:gd name="connsiteX18" fmla="*/ 456504 w 1595634"/>
                    <a:gd name="connsiteY18" fmla="*/ 1931969 h 1933093"/>
                    <a:gd name="connsiteX19" fmla="*/ 467348 w 1595634"/>
                    <a:gd name="connsiteY19" fmla="*/ 1931888 h 1933093"/>
                    <a:gd name="connsiteX20" fmla="*/ 463251 w 1595634"/>
                    <a:gd name="connsiteY20" fmla="*/ 1932370 h 1933093"/>
                    <a:gd name="connsiteX21" fmla="*/ 432165 w 1595634"/>
                    <a:gd name="connsiteY21" fmla="*/ 1932852 h 1933093"/>
                    <a:gd name="connsiteX22" fmla="*/ 431522 w 1595634"/>
                    <a:gd name="connsiteY22" fmla="*/ 1932852 h 1933093"/>
                    <a:gd name="connsiteX23" fmla="*/ 431843 w 1595634"/>
                    <a:gd name="connsiteY23" fmla="*/ 1932772 h 1933093"/>
                    <a:gd name="connsiteX24" fmla="*/ 448069 w 1595634"/>
                    <a:gd name="connsiteY24" fmla="*/ 1931567 h 1933093"/>
                    <a:gd name="connsiteX25" fmla="*/ 447106 w 1595634"/>
                    <a:gd name="connsiteY25" fmla="*/ 1931647 h 1933093"/>
                    <a:gd name="connsiteX26" fmla="*/ 441563 w 1595634"/>
                    <a:gd name="connsiteY26" fmla="*/ 1932129 h 1933093"/>
                    <a:gd name="connsiteX27" fmla="*/ 437306 w 1595634"/>
                    <a:gd name="connsiteY27" fmla="*/ 1932691 h 1933093"/>
                    <a:gd name="connsiteX28" fmla="*/ 436502 w 1595634"/>
                    <a:gd name="connsiteY28" fmla="*/ 1932772 h 1933093"/>
                    <a:gd name="connsiteX29" fmla="*/ 432165 w 1595634"/>
                    <a:gd name="connsiteY29" fmla="*/ 1932852 h 1933093"/>
                    <a:gd name="connsiteX30" fmla="*/ 615553 w 1595634"/>
                    <a:gd name="connsiteY30" fmla="*/ 1928434 h 1933093"/>
                    <a:gd name="connsiteX31" fmla="*/ 586073 w 1595634"/>
                    <a:gd name="connsiteY31" fmla="*/ 1931245 h 1933093"/>
                    <a:gd name="connsiteX32" fmla="*/ 556432 w 1595634"/>
                    <a:gd name="connsiteY32" fmla="*/ 1933093 h 1933093"/>
                    <a:gd name="connsiteX33" fmla="*/ 556512 w 1595634"/>
                    <a:gd name="connsiteY33" fmla="*/ 1933093 h 1933093"/>
                    <a:gd name="connsiteX34" fmla="*/ 570971 w 1595634"/>
                    <a:gd name="connsiteY34" fmla="*/ 1929960 h 1933093"/>
                    <a:gd name="connsiteX35" fmla="*/ 568401 w 1595634"/>
                    <a:gd name="connsiteY35" fmla="*/ 1930362 h 1933093"/>
                    <a:gd name="connsiteX36" fmla="*/ 568642 w 1595634"/>
                    <a:gd name="connsiteY36" fmla="*/ 1930201 h 1933093"/>
                    <a:gd name="connsiteX37" fmla="*/ 564224 w 1595634"/>
                    <a:gd name="connsiteY37" fmla="*/ 1930362 h 1933093"/>
                    <a:gd name="connsiteX38" fmla="*/ 603424 w 1595634"/>
                    <a:gd name="connsiteY38" fmla="*/ 1925703 h 1933093"/>
                    <a:gd name="connsiteX39" fmla="*/ 619088 w 1595634"/>
                    <a:gd name="connsiteY39" fmla="*/ 1927309 h 1933093"/>
                    <a:gd name="connsiteX40" fmla="*/ 615553 w 1595634"/>
                    <a:gd name="connsiteY40" fmla="*/ 1928434 h 1933093"/>
                    <a:gd name="connsiteX41" fmla="*/ 682547 w 1595634"/>
                    <a:gd name="connsiteY41" fmla="*/ 1854452 h 1933093"/>
                    <a:gd name="connsiteX42" fmla="*/ 681984 w 1595634"/>
                    <a:gd name="connsiteY42" fmla="*/ 1854211 h 1933093"/>
                    <a:gd name="connsiteX43" fmla="*/ 637804 w 1595634"/>
                    <a:gd name="connsiteY43" fmla="*/ 1799990 h 1933093"/>
                    <a:gd name="connsiteX44" fmla="*/ 645114 w 1595634"/>
                    <a:gd name="connsiteY44" fmla="*/ 1798142 h 1933093"/>
                    <a:gd name="connsiteX45" fmla="*/ 611698 w 1595634"/>
                    <a:gd name="connsiteY45" fmla="*/ 1727293 h 1933093"/>
                    <a:gd name="connsiteX46" fmla="*/ 617803 w 1595634"/>
                    <a:gd name="connsiteY46" fmla="*/ 1719421 h 1933093"/>
                    <a:gd name="connsiteX47" fmla="*/ 574425 w 1595634"/>
                    <a:gd name="connsiteY47" fmla="*/ 1665039 h 1933093"/>
                    <a:gd name="connsiteX48" fmla="*/ 536350 w 1595634"/>
                    <a:gd name="connsiteY48" fmla="*/ 1669858 h 1933093"/>
                    <a:gd name="connsiteX49" fmla="*/ 535788 w 1595634"/>
                    <a:gd name="connsiteY49" fmla="*/ 1645358 h 1933093"/>
                    <a:gd name="connsiteX50" fmla="*/ 542053 w 1595634"/>
                    <a:gd name="connsiteY50" fmla="*/ 1650821 h 1933093"/>
                    <a:gd name="connsiteX51" fmla="*/ 549524 w 1595634"/>
                    <a:gd name="connsiteY51" fmla="*/ 1648973 h 1933093"/>
                    <a:gd name="connsiteX52" fmla="*/ 549524 w 1595634"/>
                    <a:gd name="connsiteY52" fmla="*/ 1648973 h 1933093"/>
                    <a:gd name="connsiteX53" fmla="*/ 549524 w 1595634"/>
                    <a:gd name="connsiteY53" fmla="*/ 1648973 h 1933093"/>
                    <a:gd name="connsiteX54" fmla="*/ 549524 w 1595634"/>
                    <a:gd name="connsiteY54" fmla="*/ 1648973 h 1933093"/>
                    <a:gd name="connsiteX55" fmla="*/ 549524 w 1595634"/>
                    <a:gd name="connsiteY55" fmla="*/ 1648973 h 1933093"/>
                    <a:gd name="connsiteX56" fmla="*/ 549524 w 1595634"/>
                    <a:gd name="connsiteY56" fmla="*/ 1648973 h 1933093"/>
                    <a:gd name="connsiteX57" fmla="*/ 549524 w 1595634"/>
                    <a:gd name="connsiteY57" fmla="*/ 1648973 h 1933093"/>
                    <a:gd name="connsiteX58" fmla="*/ 549524 w 1595634"/>
                    <a:gd name="connsiteY58" fmla="*/ 1648973 h 1933093"/>
                    <a:gd name="connsiteX59" fmla="*/ 549524 w 1595634"/>
                    <a:gd name="connsiteY59" fmla="*/ 1648973 h 1933093"/>
                    <a:gd name="connsiteX60" fmla="*/ 534984 w 1595634"/>
                    <a:gd name="connsiteY60" fmla="*/ 1548804 h 1933093"/>
                    <a:gd name="connsiteX61" fmla="*/ 474417 w 1595634"/>
                    <a:gd name="connsiteY61" fmla="*/ 1512737 h 1933093"/>
                    <a:gd name="connsiteX62" fmla="*/ 466304 w 1595634"/>
                    <a:gd name="connsiteY62" fmla="*/ 1514665 h 1933093"/>
                    <a:gd name="connsiteX63" fmla="*/ 463332 w 1595634"/>
                    <a:gd name="connsiteY63" fmla="*/ 1507837 h 1933093"/>
                    <a:gd name="connsiteX64" fmla="*/ 446624 w 1595634"/>
                    <a:gd name="connsiteY64" fmla="*/ 1507837 h 1933093"/>
                    <a:gd name="connsiteX65" fmla="*/ 443410 w 1595634"/>
                    <a:gd name="connsiteY65" fmla="*/ 1499964 h 1933093"/>
                    <a:gd name="connsiteX66" fmla="*/ 448310 w 1595634"/>
                    <a:gd name="connsiteY66" fmla="*/ 1490566 h 1933093"/>
                    <a:gd name="connsiteX67" fmla="*/ 424453 w 1595634"/>
                    <a:gd name="connsiteY67" fmla="*/ 1505186 h 1933093"/>
                    <a:gd name="connsiteX68" fmla="*/ 411119 w 1595634"/>
                    <a:gd name="connsiteY68" fmla="*/ 1493699 h 1933093"/>
                    <a:gd name="connsiteX69" fmla="*/ 414573 w 1595634"/>
                    <a:gd name="connsiteY69" fmla="*/ 1485425 h 1933093"/>
                    <a:gd name="connsiteX70" fmla="*/ 408146 w 1595634"/>
                    <a:gd name="connsiteY70" fmla="*/ 1489201 h 1933093"/>
                    <a:gd name="connsiteX71" fmla="*/ 383887 w 1595634"/>
                    <a:gd name="connsiteY71" fmla="*/ 1460604 h 1933093"/>
                    <a:gd name="connsiteX72" fmla="*/ 389832 w 1595634"/>
                    <a:gd name="connsiteY72" fmla="*/ 1465424 h 1933093"/>
                    <a:gd name="connsiteX73" fmla="*/ 475461 w 1595634"/>
                    <a:gd name="connsiteY73" fmla="*/ 1426384 h 1933093"/>
                    <a:gd name="connsiteX74" fmla="*/ 547997 w 1595634"/>
                    <a:gd name="connsiteY74" fmla="*/ 1344771 h 1933093"/>
                    <a:gd name="connsiteX75" fmla="*/ 612662 w 1595634"/>
                    <a:gd name="connsiteY75" fmla="*/ 1333445 h 1933093"/>
                    <a:gd name="connsiteX76" fmla="*/ 691303 w 1595634"/>
                    <a:gd name="connsiteY76" fmla="*/ 1281633 h 1933093"/>
                    <a:gd name="connsiteX77" fmla="*/ 809465 w 1595634"/>
                    <a:gd name="connsiteY77" fmla="*/ 1245566 h 1933093"/>
                    <a:gd name="connsiteX78" fmla="*/ 1019924 w 1595634"/>
                    <a:gd name="connsiteY78" fmla="*/ 1270709 h 1933093"/>
                    <a:gd name="connsiteX79" fmla="*/ 1004180 w 1595634"/>
                    <a:gd name="connsiteY79" fmla="*/ 1261551 h 1933093"/>
                    <a:gd name="connsiteX80" fmla="*/ 1077841 w 1595634"/>
                    <a:gd name="connsiteY80" fmla="*/ 1276733 h 1933093"/>
                    <a:gd name="connsiteX81" fmla="*/ 1097923 w 1595634"/>
                    <a:gd name="connsiteY81" fmla="*/ 1243718 h 1933093"/>
                    <a:gd name="connsiteX82" fmla="*/ 1337139 w 1595634"/>
                    <a:gd name="connsiteY82" fmla="*/ 1311435 h 1933093"/>
                    <a:gd name="connsiteX83" fmla="*/ 1295610 w 1595634"/>
                    <a:gd name="connsiteY83" fmla="*/ 1544868 h 1933093"/>
                    <a:gd name="connsiteX84" fmla="*/ 1448233 w 1595634"/>
                    <a:gd name="connsiteY84" fmla="*/ 1435381 h 1933093"/>
                    <a:gd name="connsiteX85" fmla="*/ 1447992 w 1595634"/>
                    <a:gd name="connsiteY85" fmla="*/ 1443333 h 1933093"/>
                    <a:gd name="connsiteX86" fmla="*/ 1458113 w 1595634"/>
                    <a:gd name="connsiteY86" fmla="*/ 1432328 h 1933093"/>
                    <a:gd name="connsiteX87" fmla="*/ 1217692 w 1595634"/>
                    <a:gd name="connsiteY87" fmla="*/ 1699901 h 1933093"/>
                    <a:gd name="connsiteX88" fmla="*/ 985705 w 1595634"/>
                    <a:gd name="connsiteY88" fmla="*/ 1832603 h 1933093"/>
                    <a:gd name="connsiteX89" fmla="*/ 903208 w 1595634"/>
                    <a:gd name="connsiteY89" fmla="*/ 1865055 h 1933093"/>
                    <a:gd name="connsiteX90" fmla="*/ 832599 w 1595634"/>
                    <a:gd name="connsiteY90" fmla="*/ 1887547 h 1933093"/>
                    <a:gd name="connsiteX91" fmla="*/ 768899 w 1595634"/>
                    <a:gd name="connsiteY91" fmla="*/ 1903854 h 1933093"/>
                    <a:gd name="connsiteX92" fmla="*/ 708493 w 1595634"/>
                    <a:gd name="connsiteY92" fmla="*/ 1916064 h 1933093"/>
                    <a:gd name="connsiteX93" fmla="*/ 693712 w 1595634"/>
                    <a:gd name="connsiteY93" fmla="*/ 1918554 h 1933093"/>
                    <a:gd name="connsiteX94" fmla="*/ 703834 w 1595634"/>
                    <a:gd name="connsiteY94" fmla="*/ 1916786 h 1933093"/>
                    <a:gd name="connsiteX95" fmla="*/ 730422 w 1595634"/>
                    <a:gd name="connsiteY95" fmla="*/ 1911565 h 1933093"/>
                    <a:gd name="connsiteX96" fmla="*/ 644391 w 1595634"/>
                    <a:gd name="connsiteY96" fmla="*/ 1913975 h 1933093"/>
                    <a:gd name="connsiteX97" fmla="*/ 649693 w 1595634"/>
                    <a:gd name="connsiteY97" fmla="*/ 1903854 h 1933093"/>
                    <a:gd name="connsiteX98" fmla="*/ 620293 w 1595634"/>
                    <a:gd name="connsiteY98" fmla="*/ 1907469 h 1933093"/>
                    <a:gd name="connsiteX99" fmla="*/ 653709 w 1595634"/>
                    <a:gd name="connsiteY99" fmla="*/ 1877104 h 1933093"/>
                    <a:gd name="connsiteX100" fmla="*/ 630414 w 1595634"/>
                    <a:gd name="connsiteY100" fmla="*/ 1890037 h 1933093"/>
                    <a:gd name="connsiteX101" fmla="*/ 571132 w 1595634"/>
                    <a:gd name="connsiteY101" fmla="*/ 1914216 h 1933093"/>
                    <a:gd name="connsiteX102" fmla="*/ 344928 w 1595634"/>
                    <a:gd name="connsiteY102" fmla="*/ 1920401 h 1933093"/>
                    <a:gd name="connsiteX103" fmla="*/ 338663 w 1595634"/>
                    <a:gd name="connsiteY103" fmla="*/ 1919839 h 1933093"/>
                    <a:gd name="connsiteX104" fmla="*/ 338663 w 1595634"/>
                    <a:gd name="connsiteY104" fmla="*/ 1919839 h 1933093"/>
                    <a:gd name="connsiteX105" fmla="*/ 338663 w 1595634"/>
                    <a:gd name="connsiteY105" fmla="*/ 1919839 h 1933093"/>
                    <a:gd name="connsiteX106" fmla="*/ 338663 w 1595634"/>
                    <a:gd name="connsiteY106" fmla="*/ 1919839 h 1933093"/>
                    <a:gd name="connsiteX107" fmla="*/ 338663 w 1595634"/>
                    <a:gd name="connsiteY107" fmla="*/ 1919839 h 1933093"/>
                    <a:gd name="connsiteX108" fmla="*/ 338663 w 1595634"/>
                    <a:gd name="connsiteY108" fmla="*/ 1919839 h 1933093"/>
                    <a:gd name="connsiteX109" fmla="*/ 338663 w 1595634"/>
                    <a:gd name="connsiteY109" fmla="*/ 1919839 h 1933093"/>
                    <a:gd name="connsiteX110" fmla="*/ 338663 w 1595634"/>
                    <a:gd name="connsiteY110" fmla="*/ 1919839 h 1933093"/>
                    <a:gd name="connsiteX111" fmla="*/ 323400 w 1595634"/>
                    <a:gd name="connsiteY111" fmla="*/ 1918554 h 1933093"/>
                    <a:gd name="connsiteX112" fmla="*/ 370232 w 1595634"/>
                    <a:gd name="connsiteY112" fmla="*/ 1924658 h 1933093"/>
                    <a:gd name="connsiteX113" fmla="*/ 325248 w 1595634"/>
                    <a:gd name="connsiteY113" fmla="*/ 1920401 h 1933093"/>
                    <a:gd name="connsiteX114" fmla="*/ 372079 w 1595634"/>
                    <a:gd name="connsiteY114" fmla="*/ 1927711 h 1933093"/>
                    <a:gd name="connsiteX115" fmla="*/ 226364 w 1595634"/>
                    <a:gd name="connsiteY115" fmla="*/ 1904576 h 1933093"/>
                    <a:gd name="connsiteX116" fmla="*/ 106435 w 1595634"/>
                    <a:gd name="connsiteY116" fmla="*/ 1871080 h 1933093"/>
                    <a:gd name="connsiteX117" fmla="*/ 106113 w 1595634"/>
                    <a:gd name="connsiteY117" fmla="*/ 1870999 h 1933093"/>
                    <a:gd name="connsiteX118" fmla="*/ 26107 w 1595634"/>
                    <a:gd name="connsiteY118" fmla="*/ 1833888 h 1933093"/>
                    <a:gd name="connsiteX119" fmla="*/ 74384 w 1595634"/>
                    <a:gd name="connsiteY119" fmla="*/ 1855577 h 1933093"/>
                    <a:gd name="connsiteX120" fmla="*/ 66913 w 1595634"/>
                    <a:gd name="connsiteY120" fmla="*/ 1850596 h 1933093"/>
                    <a:gd name="connsiteX121" fmla="*/ 120974 w 1595634"/>
                    <a:gd name="connsiteY121" fmla="*/ 1866903 h 1933093"/>
                    <a:gd name="connsiteX122" fmla="*/ 54944 w 1595634"/>
                    <a:gd name="connsiteY122" fmla="*/ 1828988 h 1933093"/>
                    <a:gd name="connsiteX123" fmla="*/ 71813 w 1595634"/>
                    <a:gd name="connsiteY123" fmla="*/ 1832281 h 1933093"/>
                    <a:gd name="connsiteX124" fmla="*/ 33256 w 1595634"/>
                    <a:gd name="connsiteY124" fmla="*/ 1813164 h 1933093"/>
                    <a:gd name="connsiteX125" fmla="*/ 119849 w 1595634"/>
                    <a:gd name="connsiteY125" fmla="*/ 1753480 h 1933093"/>
                    <a:gd name="connsiteX126" fmla="*/ 120412 w 1595634"/>
                    <a:gd name="connsiteY126" fmla="*/ 1745688 h 1933093"/>
                    <a:gd name="connsiteX127" fmla="*/ 161379 w 1595634"/>
                    <a:gd name="connsiteY127" fmla="*/ 1750588 h 1933093"/>
                    <a:gd name="connsiteX128" fmla="*/ 157604 w 1595634"/>
                    <a:gd name="connsiteY128" fmla="*/ 1743359 h 1933093"/>
                    <a:gd name="connsiteX129" fmla="*/ 161058 w 1595634"/>
                    <a:gd name="connsiteY129" fmla="*/ 1736932 h 1933093"/>
                    <a:gd name="connsiteX130" fmla="*/ 168528 w 1595634"/>
                    <a:gd name="connsiteY130" fmla="*/ 1735727 h 1933093"/>
                    <a:gd name="connsiteX131" fmla="*/ 238735 w 1595634"/>
                    <a:gd name="connsiteY131" fmla="*/ 1724803 h 1933093"/>
                    <a:gd name="connsiteX132" fmla="*/ 282192 w 1595634"/>
                    <a:gd name="connsiteY132" fmla="*/ 1752436 h 1933093"/>
                    <a:gd name="connsiteX133" fmla="*/ 277292 w 1595634"/>
                    <a:gd name="connsiteY133" fmla="*/ 1760870 h 1933093"/>
                    <a:gd name="connsiteX134" fmla="*/ 412243 w 1595634"/>
                    <a:gd name="connsiteY134" fmla="*/ 1824570 h 1933093"/>
                    <a:gd name="connsiteX135" fmla="*/ 476265 w 1595634"/>
                    <a:gd name="connsiteY135" fmla="*/ 1825132 h 1933093"/>
                    <a:gd name="connsiteX136" fmla="*/ 633386 w 1595634"/>
                    <a:gd name="connsiteY136" fmla="*/ 1849632 h 1933093"/>
                    <a:gd name="connsiteX137" fmla="*/ 594909 w 1595634"/>
                    <a:gd name="connsiteY137" fmla="*/ 1830113 h 1933093"/>
                    <a:gd name="connsiteX138" fmla="*/ 596194 w 1595634"/>
                    <a:gd name="connsiteY138" fmla="*/ 1828908 h 1933093"/>
                    <a:gd name="connsiteX139" fmla="*/ 604227 w 1595634"/>
                    <a:gd name="connsiteY139" fmla="*/ 1833165 h 1933093"/>
                    <a:gd name="connsiteX140" fmla="*/ 682547 w 1595634"/>
                    <a:gd name="connsiteY140" fmla="*/ 1854452 h 1933093"/>
                    <a:gd name="connsiteX141" fmla="*/ 220982 w 1595634"/>
                    <a:gd name="connsiteY141" fmla="*/ 959919 h 1933093"/>
                    <a:gd name="connsiteX142" fmla="*/ 220741 w 1595634"/>
                    <a:gd name="connsiteY142" fmla="*/ 959759 h 1933093"/>
                    <a:gd name="connsiteX143" fmla="*/ 223713 w 1595634"/>
                    <a:gd name="connsiteY143" fmla="*/ 957429 h 1933093"/>
                    <a:gd name="connsiteX144" fmla="*/ 222107 w 1595634"/>
                    <a:gd name="connsiteY144" fmla="*/ 958153 h 1933093"/>
                    <a:gd name="connsiteX145" fmla="*/ 226766 w 1595634"/>
                    <a:gd name="connsiteY145" fmla="*/ 953814 h 1933093"/>
                    <a:gd name="connsiteX146" fmla="*/ 229658 w 1595634"/>
                    <a:gd name="connsiteY146" fmla="*/ 958072 h 1933093"/>
                    <a:gd name="connsiteX147" fmla="*/ 234558 w 1595634"/>
                    <a:gd name="connsiteY147" fmla="*/ 960964 h 1933093"/>
                    <a:gd name="connsiteX148" fmla="*/ 220982 w 1595634"/>
                    <a:gd name="connsiteY148" fmla="*/ 959919 h 1933093"/>
                    <a:gd name="connsiteX149" fmla="*/ 241064 w 1595634"/>
                    <a:gd name="connsiteY149" fmla="*/ 932206 h 1933093"/>
                    <a:gd name="connsiteX150" fmla="*/ 241305 w 1595634"/>
                    <a:gd name="connsiteY150" fmla="*/ 932046 h 1933093"/>
                    <a:gd name="connsiteX151" fmla="*/ 244599 w 1595634"/>
                    <a:gd name="connsiteY151" fmla="*/ 932046 h 1933093"/>
                    <a:gd name="connsiteX152" fmla="*/ 242831 w 1595634"/>
                    <a:gd name="connsiteY152" fmla="*/ 932929 h 1933093"/>
                    <a:gd name="connsiteX153" fmla="*/ 241064 w 1595634"/>
                    <a:gd name="connsiteY153" fmla="*/ 932206 h 1933093"/>
                    <a:gd name="connsiteX154" fmla="*/ 234397 w 1595634"/>
                    <a:gd name="connsiteY154" fmla="*/ 927949 h 1933093"/>
                    <a:gd name="connsiteX155" fmla="*/ 234156 w 1595634"/>
                    <a:gd name="connsiteY155" fmla="*/ 928029 h 1933093"/>
                    <a:gd name="connsiteX156" fmla="*/ 234397 w 1595634"/>
                    <a:gd name="connsiteY156" fmla="*/ 925861 h 1933093"/>
                    <a:gd name="connsiteX157" fmla="*/ 234638 w 1595634"/>
                    <a:gd name="connsiteY157" fmla="*/ 925861 h 1933093"/>
                    <a:gd name="connsiteX158" fmla="*/ 235602 w 1595634"/>
                    <a:gd name="connsiteY158" fmla="*/ 927226 h 1933093"/>
                    <a:gd name="connsiteX159" fmla="*/ 234397 w 1595634"/>
                    <a:gd name="connsiteY159" fmla="*/ 927949 h 1933093"/>
                    <a:gd name="connsiteX160" fmla="*/ 587680 w 1595634"/>
                    <a:gd name="connsiteY160" fmla="*/ 827860 h 1933093"/>
                    <a:gd name="connsiteX161" fmla="*/ 588081 w 1595634"/>
                    <a:gd name="connsiteY161" fmla="*/ 825772 h 1933093"/>
                    <a:gd name="connsiteX162" fmla="*/ 588322 w 1595634"/>
                    <a:gd name="connsiteY162" fmla="*/ 825932 h 1933093"/>
                    <a:gd name="connsiteX163" fmla="*/ 592178 w 1595634"/>
                    <a:gd name="connsiteY163" fmla="*/ 827298 h 1933093"/>
                    <a:gd name="connsiteX164" fmla="*/ 590571 w 1595634"/>
                    <a:gd name="connsiteY164" fmla="*/ 828905 h 1933093"/>
                    <a:gd name="connsiteX165" fmla="*/ 587920 w 1595634"/>
                    <a:gd name="connsiteY165" fmla="*/ 828423 h 1933093"/>
                    <a:gd name="connsiteX166" fmla="*/ 587680 w 1595634"/>
                    <a:gd name="connsiteY166" fmla="*/ 827860 h 1933093"/>
                    <a:gd name="connsiteX167" fmla="*/ 585591 w 1595634"/>
                    <a:gd name="connsiteY167" fmla="*/ 825290 h 1933093"/>
                    <a:gd name="connsiteX168" fmla="*/ 587037 w 1595634"/>
                    <a:gd name="connsiteY168" fmla="*/ 822880 h 1933093"/>
                    <a:gd name="connsiteX169" fmla="*/ 588161 w 1595634"/>
                    <a:gd name="connsiteY169" fmla="*/ 823924 h 1933093"/>
                    <a:gd name="connsiteX170" fmla="*/ 585671 w 1595634"/>
                    <a:gd name="connsiteY170" fmla="*/ 825531 h 1933093"/>
                    <a:gd name="connsiteX171" fmla="*/ 585591 w 1595634"/>
                    <a:gd name="connsiteY171" fmla="*/ 825290 h 1933093"/>
                    <a:gd name="connsiteX172" fmla="*/ 572096 w 1595634"/>
                    <a:gd name="connsiteY172" fmla="*/ 819185 h 1933093"/>
                    <a:gd name="connsiteX173" fmla="*/ 570811 w 1595634"/>
                    <a:gd name="connsiteY173" fmla="*/ 818462 h 1933093"/>
                    <a:gd name="connsiteX174" fmla="*/ 571212 w 1595634"/>
                    <a:gd name="connsiteY174" fmla="*/ 817819 h 1933093"/>
                    <a:gd name="connsiteX175" fmla="*/ 571453 w 1595634"/>
                    <a:gd name="connsiteY175" fmla="*/ 817819 h 1933093"/>
                    <a:gd name="connsiteX176" fmla="*/ 573301 w 1595634"/>
                    <a:gd name="connsiteY176" fmla="*/ 818542 h 1933093"/>
                    <a:gd name="connsiteX177" fmla="*/ 572096 w 1595634"/>
                    <a:gd name="connsiteY177" fmla="*/ 819185 h 1933093"/>
                    <a:gd name="connsiteX178" fmla="*/ 85710 w 1595634"/>
                    <a:gd name="connsiteY178" fmla="*/ 901360 h 1933093"/>
                    <a:gd name="connsiteX179" fmla="*/ 85710 w 1595634"/>
                    <a:gd name="connsiteY179" fmla="*/ 901360 h 1933093"/>
                    <a:gd name="connsiteX180" fmla="*/ 85710 w 1595634"/>
                    <a:gd name="connsiteY180" fmla="*/ 901360 h 1933093"/>
                    <a:gd name="connsiteX181" fmla="*/ 86674 w 1595634"/>
                    <a:gd name="connsiteY181" fmla="*/ 901682 h 1933093"/>
                    <a:gd name="connsiteX182" fmla="*/ 85710 w 1595634"/>
                    <a:gd name="connsiteY182" fmla="*/ 901360 h 1933093"/>
                    <a:gd name="connsiteX183" fmla="*/ 91333 w 1595634"/>
                    <a:gd name="connsiteY183" fmla="*/ 894613 h 1933093"/>
                    <a:gd name="connsiteX184" fmla="*/ 90851 w 1595634"/>
                    <a:gd name="connsiteY184" fmla="*/ 893569 h 1933093"/>
                    <a:gd name="connsiteX185" fmla="*/ 91092 w 1595634"/>
                    <a:gd name="connsiteY185" fmla="*/ 893569 h 1933093"/>
                    <a:gd name="connsiteX186" fmla="*/ 95108 w 1595634"/>
                    <a:gd name="connsiteY186" fmla="*/ 895577 h 1933093"/>
                    <a:gd name="connsiteX187" fmla="*/ 91333 w 1595634"/>
                    <a:gd name="connsiteY187" fmla="*/ 894613 h 1933093"/>
                    <a:gd name="connsiteX188" fmla="*/ 566553 w 1595634"/>
                    <a:gd name="connsiteY188" fmla="*/ 810108 h 1933093"/>
                    <a:gd name="connsiteX189" fmla="*/ 572337 w 1595634"/>
                    <a:gd name="connsiteY189" fmla="*/ 791311 h 1933093"/>
                    <a:gd name="connsiteX190" fmla="*/ 589848 w 1595634"/>
                    <a:gd name="connsiteY190" fmla="*/ 791793 h 1933093"/>
                    <a:gd name="connsiteX191" fmla="*/ 631619 w 1595634"/>
                    <a:gd name="connsiteY191" fmla="*/ 779744 h 1933093"/>
                    <a:gd name="connsiteX192" fmla="*/ 632101 w 1595634"/>
                    <a:gd name="connsiteY192" fmla="*/ 782796 h 1933093"/>
                    <a:gd name="connsiteX193" fmla="*/ 624711 w 1595634"/>
                    <a:gd name="connsiteY193" fmla="*/ 804083 h 1933093"/>
                    <a:gd name="connsiteX194" fmla="*/ 622783 w 1595634"/>
                    <a:gd name="connsiteY194" fmla="*/ 803521 h 1933093"/>
                    <a:gd name="connsiteX195" fmla="*/ 620935 w 1595634"/>
                    <a:gd name="connsiteY195" fmla="*/ 809224 h 1933093"/>
                    <a:gd name="connsiteX196" fmla="*/ 625434 w 1595634"/>
                    <a:gd name="connsiteY196" fmla="*/ 804565 h 1933093"/>
                    <a:gd name="connsiteX197" fmla="*/ 608484 w 1595634"/>
                    <a:gd name="connsiteY197" fmla="*/ 824406 h 1933093"/>
                    <a:gd name="connsiteX198" fmla="*/ 612180 w 1595634"/>
                    <a:gd name="connsiteY198" fmla="*/ 826977 h 1933093"/>
                    <a:gd name="connsiteX199" fmla="*/ 592419 w 1595634"/>
                    <a:gd name="connsiteY199" fmla="*/ 825370 h 1933093"/>
                    <a:gd name="connsiteX200" fmla="*/ 593865 w 1595634"/>
                    <a:gd name="connsiteY200" fmla="*/ 823201 h 1933093"/>
                    <a:gd name="connsiteX201" fmla="*/ 587439 w 1595634"/>
                    <a:gd name="connsiteY201" fmla="*/ 818382 h 1933093"/>
                    <a:gd name="connsiteX202" fmla="*/ 584948 w 1595634"/>
                    <a:gd name="connsiteY202" fmla="*/ 822559 h 1933093"/>
                    <a:gd name="connsiteX203" fmla="*/ 579165 w 1595634"/>
                    <a:gd name="connsiteY203" fmla="*/ 826334 h 1933093"/>
                    <a:gd name="connsiteX204" fmla="*/ 568481 w 1595634"/>
                    <a:gd name="connsiteY204" fmla="*/ 808421 h 1933093"/>
                    <a:gd name="connsiteX205" fmla="*/ 569365 w 1595634"/>
                    <a:gd name="connsiteY205" fmla="*/ 809706 h 1933093"/>
                    <a:gd name="connsiteX206" fmla="*/ 566955 w 1595634"/>
                    <a:gd name="connsiteY206" fmla="*/ 813160 h 1933093"/>
                    <a:gd name="connsiteX207" fmla="*/ 566553 w 1595634"/>
                    <a:gd name="connsiteY207" fmla="*/ 810108 h 1933093"/>
                    <a:gd name="connsiteX208" fmla="*/ 566071 w 1595634"/>
                    <a:gd name="connsiteY208" fmla="*/ 787375 h 1933093"/>
                    <a:gd name="connsiteX209" fmla="*/ 564866 w 1595634"/>
                    <a:gd name="connsiteY209" fmla="*/ 786411 h 1933093"/>
                    <a:gd name="connsiteX210" fmla="*/ 567276 w 1595634"/>
                    <a:gd name="connsiteY210" fmla="*/ 786170 h 1933093"/>
                    <a:gd name="connsiteX211" fmla="*/ 566071 w 1595634"/>
                    <a:gd name="connsiteY211" fmla="*/ 787375 h 1933093"/>
                    <a:gd name="connsiteX212" fmla="*/ 176320 w 1595634"/>
                    <a:gd name="connsiteY212" fmla="*/ 921683 h 1933093"/>
                    <a:gd name="connsiteX213" fmla="*/ 175999 w 1595634"/>
                    <a:gd name="connsiteY213" fmla="*/ 921523 h 1933093"/>
                    <a:gd name="connsiteX214" fmla="*/ 176320 w 1595634"/>
                    <a:gd name="connsiteY214" fmla="*/ 921683 h 1933093"/>
                    <a:gd name="connsiteX215" fmla="*/ 177445 w 1595634"/>
                    <a:gd name="connsiteY215" fmla="*/ 926262 h 1933093"/>
                    <a:gd name="connsiteX216" fmla="*/ 177766 w 1595634"/>
                    <a:gd name="connsiteY216" fmla="*/ 920960 h 1933093"/>
                    <a:gd name="connsiteX217" fmla="*/ 177525 w 1595634"/>
                    <a:gd name="connsiteY217" fmla="*/ 922406 h 1933093"/>
                    <a:gd name="connsiteX218" fmla="*/ 176400 w 1595634"/>
                    <a:gd name="connsiteY218" fmla="*/ 921764 h 1933093"/>
                    <a:gd name="connsiteX219" fmla="*/ 177203 w 1595634"/>
                    <a:gd name="connsiteY219" fmla="*/ 926423 h 1933093"/>
                    <a:gd name="connsiteX220" fmla="*/ 177445 w 1595634"/>
                    <a:gd name="connsiteY220" fmla="*/ 926262 h 1933093"/>
                    <a:gd name="connsiteX221" fmla="*/ 173508 w 1595634"/>
                    <a:gd name="connsiteY221" fmla="*/ 925379 h 1933093"/>
                    <a:gd name="connsiteX222" fmla="*/ 172223 w 1595634"/>
                    <a:gd name="connsiteY222" fmla="*/ 919113 h 1933093"/>
                    <a:gd name="connsiteX223" fmla="*/ 170858 w 1595634"/>
                    <a:gd name="connsiteY223" fmla="*/ 918551 h 1933093"/>
                    <a:gd name="connsiteX224" fmla="*/ 172545 w 1595634"/>
                    <a:gd name="connsiteY224" fmla="*/ 925780 h 1933093"/>
                    <a:gd name="connsiteX225" fmla="*/ 173508 w 1595634"/>
                    <a:gd name="connsiteY225" fmla="*/ 925379 h 1933093"/>
                    <a:gd name="connsiteX226" fmla="*/ 162745 w 1595634"/>
                    <a:gd name="connsiteY226" fmla="*/ 920237 h 1933093"/>
                    <a:gd name="connsiteX227" fmla="*/ 166761 w 1595634"/>
                    <a:gd name="connsiteY227" fmla="*/ 924495 h 1933093"/>
                    <a:gd name="connsiteX228" fmla="*/ 164833 w 1595634"/>
                    <a:gd name="connsiteY228" fmla="*/ 918872 h 1933093"/>
                    <a:gd name="connsiteX229" fmla="*/ 162664 w 1595634"/>
                    <a:gd name="connsiteY229" fmla="*/ 920077 h 1933093"/>
                    <a:gd name="connsiteX230" fmla="*/ 162745 w 1595634"/>
                    <a:gd name="connsiteY230" fmla="*/ 920237 h 1933093"/>
                    <a:gd name="connsiteX231" fmla="*/ 87959 w 1595634"/>
                    <a:gd name="connsiteY231" fmla="*/ 902324 h 1933093"/>
                    <a:gd name="connsiteX232" fmla="*/ 86594 w 1595634"/>
                    <a:gd name="connsiteY232" fmla="*/ 901762 h 1933093"/>
                    <a:gd name="connsiteX233" fmla="*/ 92056 w 1595634"/>
                    <a:gd name="connsiteY233" fmla="*/ 901682 h 1933093"/>
                    <a:gd name="connsiteX234" fmla="*/ 86835 w 1595634"/>
                    <a:gd name="connsiteY234" fmla="*/ 900236 h 1933093"/>
                    <a:gd name="connsiteX235" fmla="*/ 87718 w 1595634"/>
                    <a:gd name="connsiteY235" fmla="*/ 899513 h 1933093"/>
                    <a:gd name="connsiteX236" fmla="*/ 87879 w 1595634"/>
                    <a:gd name="connsiteY236" fmla="*/ 898870 h 1933093"/>
                    <a:gd name="connsiteX237" fmla="*/ 91494 w 1595634"/>
                    <a:gd name="connsiteY237" fmla="*/ 897987 h 1933093"/>
                    <a:gd name="connsiteX238" fmla="*/ 91333 w 1595634"/>
                    <a:gd name="connsiteY238" fmla="*/ 899192 h 1933093"/>
                    <a:gd name="connsiteX239" fmla="*/ 96313 w 1595634"/>
                    <a:gd name="connsiteY239" fmla="*/ 900878 h 1933093"/>
                    <a:gd name="connsiteX240" fmla="*/ 91092 w 1595634"/>
                    <a:gd name="connsiteY240" fmla="*/ 896782 h 1933093"/>
                    <a:gd name="connsiteX241" fmla="*/ 107800 w 1595634"/>
                    <a:gd name="connsiteY241" fmla="*/ 885536 h 1933093"/>
                    <a:gd name="connsiteX242" fmla="*/ 113584 w 1595634"/>
                    <a:gd name="connsiteY242" fmla="*/ 886580 h 1933093"/>
                    <a:gd name="connsiteX243" fmla="*/ 145394 w 1595634"/>
                    <a:gd name="connsiteY243" fmla="*/ 905538 h 1933093"/>
                    <a:gd name="connsiteX244" fmla="*/ 152704 w 1595634"/>
                    <a:gd name="connsiteY244" fmla="*/ 910357 h 1933093"/>
                    <a:gd name="connsiteX245" fmla="*/ 152704 w 1595634"/>
                    <a:gd name="connsiteY245" fmla="*/ 907626 h 1933093"/>
                    <a:gd name="connsiteX246" fmla="*/ 160817 w 1595634"/>
                    <a:gd name="connsiteY246" fmla="*/ 909715 h 1933093"/>
                    <a:gd name="connsiteX247" fmla="*/ 160656 w 1595634"/>
                    <a:gd name="connsiteY247" fmla="*/ 911401 h 1933093"/>
                    <a:gd name="connsiteX248" fmla="*/ 166279 w 1595634"/>
                    <a:gd name="connsiteY248" fmla="*/ 910196 h 1933093"/>
                    <a:gd name="connsiteX249" fmla="*/ 164833 w 1595634"/>
                    <a:gd name="connsiteY249" fmla="*/ 911723 h 1933093"/>
                    <a:gd name="connsiteX250" fmla="*/ 175436 w 1595634"/>
                    <a:gd name="connsiteY250" fmla="*/ 912847 h 1933093"/>
                    <a:gd name="connsiteX251" fmla="*/ 174713 w 1595634"/>
                    <a:gd name="connsiteY251" fmla="*/ 913329 h 1933093"/>
                    <a:gd name="connsiteX252" fmla="*/ 175999 w 1595634"/>
                    <a:gd name="connsiteY252" fmla="*/ 913169 h 1933093"/>
                    <a:gd name="connsiteX253" fmla="*/ 176320 w 1595634"/>
                    <a:gd name="connsiteY253" fmla="*/ 914293 h 1933093"/>
                    <a:gd name="connsiteX254" fmla="*/ 189654 w 1595634"/>
                    <a:gd name="connsiteY254" fmla="*/ 916783 h 1933093"/>
                    <a:gd name="connsiteX255" fmla="*/ 215440 w 1595634"/>
                    <a:gd name="connsiteY255" fmla="*/ 922326 h 1933093"/>
                    <a:gd name="connsiteX256" fmla="*/ 224597 w 1595634"/>
                    <a:gd name="connsiteY256" fmla="*/ 924736 h 1933093"/>
                    <a:gd name="connsiteX257" fmla="*/ 224999 w 1595634"/>
                    <a:gd name="connsiteY257" fmla="*/ 922567 h 1933093"/>
                    <a:gd name="connsiteX258" fmla="*/ 229658 w 1595634"/>
                    <a:gd name="connsiteY258" fmla="*/ 923772 h 1933093"/>
                    <a:gd name="connsiteX259" fmla="*/ 228774 w 1595634"/>
                    <a:gd name="connsiteY259" fmla="*/ 925780 h 1933093"/>
                    <a:gd name="connsiteX260" fmla="*/ 231023 w 1595634"/>
                    <a:gd name="connsiteY260" fmla="*/ 924656 h 1933093"/>
                    <a:gd name="connsiteX261" fmla="*/ 233192 w 1595634"/>
                    <a:gd name="connsiteY261" fmla="*/ 926503 h 1933093"/>
                    <a:gd name="connsiteX262" fmla="*/ 230140 w 1595634"/>
                    <a:gd name="connsiteY262" fmla="*/ 928833 h 1933093"/>
                    <a:gd name="connsiteX263" fmla="*/ 232308 w 1595634"/>
                    <a:gd name="connsiteY263" fmla="*/ 928913 h 1933093"/>
                    <a:gd name="connsiteX264" fmla="*/ 232389 w 1595634"/>
                    <a:gd name="connsiteY264" fmla="*/ 929877 h 1933093"/>
                    <a:gd name="connsiteX265" fmla="*/ 236727 w 1595634"/>
                    <a:gd name="connsiteY265" fmla="*/ 927547 h 1933093"/>
                    <a:gd name="connsiteX266" fmla="*/ 236245 w 1595634"/>
                    <a:gd name="connsiteY266" fmla="*/ 929315 h 1933093"/>
                    <a:gd name="connsiteX267" fmla="*/ 240100 w 1595634"/>
                    <a:gd name="connsiteY267" fmla="*/ 930118 h 1933093"/>
                    <a:gd name="connsiteX268" fmla="*/ 235522 w 1595634"/>
                    <a:gd name="connsiteY268" fmla="*/ 931564 h 1933093"/>
                    <a:gd name="connsiteX269" fmla="*/ 238976 w 1595634"/>
                    <a:gd name="connsiteY269" fmla="*/ 932126 h 1933093"/>
                    <a:gd name="connsiteX270" fmla="*/ 238735 w 1595634"/>
                    <a:gd name="connsiteY270" fmla="*/ 933251 h 1933093"/>
                    <a:gd name="connsiteX271" fmla="*/ 236084 w 1595634"/>
                    <a:gd name="connsiteY271" fmla="*/ 934295 h 1933093"/>
                    <a:gd name="connsiteX272" fmla="*/ 246205 w 1595634"/>
                    <a:gd name="connsiteY272" fmla="*/ 935982 h 1933093"/>
                    <a:gd name="connsiteX273" fmla="*/ 241787 w 1595634"/>
                    <a:gd name="connsiteY273" fmla="*/ 935821 h 1933093"/>
                    <a:gd name="connsiteX274" fmla="*/ 243715 w 1595634"/>
                    <a:gd name="connsiteY274" fmla="*/ 937910 h 1933093"/>
                    <a:gd name="connsiteX275" fmla="*/ 238574 w 1595634"/>
                    <a:gd name="connsiteY275" fmla="*/ 937749 h 1933093"/>
                    <a:gd name="connsiteX276" fmla="*/ 154712 w 1595634"/>
                    <a:gd name="connsiteY276" fmla="*/ 932046 h 1933093"/>
                    <a:gd name="connsiteX277" fmla="*/ 136638 w 1595634"/>
                    <a:gd name="connsiteY277" fmla="*/ 931162 h 1933093"/>
                    <a:gd name="connsiteX278" fmla="*/ 138164 w 1595634"/>
                    <a:gd name="connsiteY278" fmla="*/ 927467 h 1933093"/>
                    <a:gd name="connsiteX279" fmla="*/ 129569 w 1595634"/>
                    <a:gd name="connsiteY279" fmla="*/ 931403 h 1933093"/>
                    <a:gd name="connsiteX280" fmla="*/ 131176 w 1595634"/>
                    <a:gd name="connsiteY280" fmla="*/ 931724 h 1933093"/>
                    <a:gd name="connsiteX281" fmla="*/ 121215 w 1595634"/>
                    <a:gd name="connsiteY281" fmla="*/ 933572 h 1933093"/>
                    <a:gd name="connsiteX282" fmla="*/ 128525 w 1595634"/>
                    <a:gd name="connsiteY282" fmla="*/ 926423 h 1933093"/>
                    <a:gd name="connsiteX283" fmla="*/ 125151 w 1595634"/>
                    <a:gd name="connsiteY283" fmla="*/ 926101 h 1933093"/>
                    <a:gd name="connsiteX284" fmla="*/ 124990 w 1595634"/>
                    <a:gd name="connsiteY284" fmla="*/ 925298 h 1933093"/>
                    <a:gd name="connsiteX285" fmla="*/ 125954 w 1595634"/>
                    <a:gd name="connsiteY285" fmla="*/ 924013 h 1933093"/>
                    <a:gd name="connsiteX286" fmla="*/ 92618 w 1595634"/>
                    <a:gd name="connsiteY286" fmla="*/ 906983 h 1933093"/>
                    <a:gd name="connsiteX287" fmla="*/ 87959 w 1595634"/>
                    <a:gd name="connsiteY287" fmla="*/ 902324 h 1933093"/>
                    <a:gd name="connsiteX288" fmla="*/ 562617 w 1595634"/>
                    <a:gd name="connsiteY288" fmla="*/ 786491 h 1933093"/>
                    <a:gd name="connsiteX289" fmla="*/ 561734 w 1595634"/>
                    <a:gd name="connsiteY289" fmla="*/ 786491 h 1933093"/>
                    <a:gd name="connsiteX290" fmla="*/ 562938 w 1595634"/>
                    <a:gd name="connsiteY290" fmla="*/ 785849 h 1933093"/>
                    <a:gd name="connsiteX291" fmla="*/ 562617 w 1595634"/>
                    <a:gd name="connsiteY291" fmla="*/ 786491 h 1933093"/>
                    <a:gd name="connsiteX292" fmla="*/ 630253 w 1595634"/>
                    <a:gd name="connsiteY292" fmla="*/ 777254 h 1933093"/>
                    <a:gd name="connsiteX293" fmla="*/ 630093 w 1595634"/>
                    <a:gd name="connsiteY293" fmla="*/ 776209 h 1933093"/>
                    <a:gd name="connsiteX294" fmla="*/ 631539 w 1595634"/>
                    <a:gd name="connsiteY294" fmla="*/ 776772 h 1933093"/>
                    <a:gd name="connsiteX295" fmla="*/ 630896 w 1595634"/>
                    <a:gd name="connsiteY295" fmla="*/ 778539 h 1933093"/>
                    <a:gd name="connsiteX296" fmla="*/ 630253 w 1595634"/>
                    <a:gd name="connsiteY296" fmla="*/ 777254 h 1933093"/>
                    <a:gd name="connsiteX297" fmla="*/ 563179 w 1595634"/>
                    <a:gd name="connsiteY297" fmla="*/ 785688 h 1933093"/>
                    <a:gd name="connsiteX298" fmla="*/ 563019 w 1595634"/>
                    <a:gd name="connsiteY298" fmla="*/ 785768 h 1933093"/>
                    <a:gd name="connsiteX299" fmla="*/ 563179 w 1595634"/>
                    <a:gd name="connsiteY299" fmla="*/ 785447 h 1933093"/>
                    <a:gd name="connsiteX300" fmla="*/ 566393 w 1595634"/>
                    <a:gd name="connsiteY300" fmla="*/ 783921 h 1933093"/>
                    <a:gd name="connsiteX301" fmla="*/ 567116 w 1595634"/>
                    <a:gd name="connsiteY301" fmla="*/ 783600 h 1933093"/>
                    <a:gd name="connsiteX302" fmla="*/ 567357 w 1595634"/>
                    <a:gd name="connsiteY302" fmla="*/ 783519 h 1933093"/>
                    <a:gd name="connsiteX303" fmla="*/ 565670 w 1595634"/>
                    <a:gd name="connsiteY303" fmla="*/ 784403 h 1933093"/>
                    <a:gd name="connsiteX304" fmla="*/ 563179 w 1595634"/>
                    <a:gd name="connsiteY304" fmla="*/ 785688 h 1933093"/>
                    <a:gd name="connsiteX305" fmla="*/ 563179 w 1595634"/>
                    <a:gd name="connsiteY305" fmla="*/ 781592 h 1933093"/>
                    <a:gd name="connsiteX306" fmla="*/ 562778 w 1595634"/>
                    <a:gd name="connsiteY306" fmla="*/ 781592 h 1933093"/>
                    <a:gd name="connsiteX307" fmla="*/ 563822 w 1595634"/>
                    <a:gd name="connsiteY307" fmla="*/ 780306 h 1933093"/>
                    <a:gd name="connsiteX308" fmla="*/ 562698 w 1595634"/>
                    <a:gd name="connsiteY308" fmla="*/ 778700 h 1933093"/>
                    <a:gd name="connsiteX309" fmla="*/ 568883 w 1595634"/>
                    <a:gd name="connsiteY309" fmla="*/ 773880 h 1933093"/>
                    <a:gd name="connsiteX310" fmla="*/ 572417 w 1595634"/>
                    <a:gd name="connsiteY310" fmla="*/ 775567 h 1933093"/>
                    <a:gd name="connsiteX311" fmla="*/ 563179 w 1595634"/>
                    <a:gd name="connsiteY311" fmla="*/ 781592 h 1933093"/>
                    <a:gd name="connsiteX312" fmla="*/ 643427 w 1595634"/>
                    <a:gd name="connsiteY312" fmla="*/ 763357 h 1933093"/>
                    <a:gd name="connsiteX313" fmla="*/ 643427 w 1595634"/>
                    <a:gd name="connsiteY313" fmla="*/ 763357 h 1933093"/>
                    <a:gd name="connsiteX314" fmla="*/ 646239 w 1595634"/>
                    <a:gd name="connsiteY314" fmla="*/ 769462 h 1933093"/>
                    <a:gd name="connsiteX315" fmla="*/ 644391 w 1595634"/>
                    <a:gd name="connsiteY315" fmla="*/ 765526 h 1933093"/>
                    <a:gd name="connsiteX316" fmla="*/ 643427 w 1595634"/>
                    <a:gd name="connsiteY316" fmla="*/ 763357 h 1933093"/>
                    <a:gd name="connsiteX317" fmla="*/ 620052 w 1595634"/>
                    <a:gd name="connsiteY317" fmla="*/ 748978 h 1933093"/>
                    <a:gd name="connsiteX318" fmla="*/ 615714 w 1595634"/>
                    <a:gd name="connsiteY318" fmla="*/ 749942 h 1933093"/>
                    <a:gd name="connsiteX319" fmla="*/ 617803 w 1595634"/>
                    <a:gd name="connsiteY319" fmla="*/ 748336 h 1933093"/>
                    <a:gd name="connsiteX320" fmla="*/ 620052 w 1595634"/>
                    <a:gd name="connsiteY320" fmla="*/ 748978 h 1933093"/>
                    <a:gd name="connsiteX321" fmla="*/ 616678 w 1595634"/>
                    <a:gd name="connsiteY321" fmla="*/ 746890 h 1933093"/>
                    <a:gd name="connsiteX322" fmla="*/ 616678 w 1595634"/>
                    <a:gd name="connsiteY322" fmla="*/ 746890 h 1933093"/>
                    <a:gd name="connsiteX323" fmla="*/ 616678 w 1595634"/>
                    <a:gd name="connsiteY323" fmla="*/ 746890 h 1933093"/>
                    <a:gd name="connsiteX324" fmla="*/ 616678 w 1595634"/>
                    <a:gd name="connsiteY324" fmla="*/ 746890 h 1933093"/>
                    <a:gd name="connsiteX325" fmla="*/ 616678 w 1595634"/>
                    <a:gd name="connsiteY325" fmla="*/ 746890 h 1933093"/>
                    <a:gd name="connsiteX326" fmla="*/ 616678 w 1595634"/>
                    <a:gd name="connsiteY326" fmla="*/ 746890 h 1933093"/>
                    <a:gd name="connsiteX327" fmla="*/ 616678 w 1595634"/>
                    <a:gd name="connsiteY327" fmla="*/ 746890 h 1933093"/>
                    <a:gd name="connsiteX328" fmla="*/ 616678 w 1595634"/>
                    <a:gd name="connsiteY328" fmla="*/ 746890 h 1933093"/>
                    <a:gd name="connsiteX329" fmla="*/ 616678 w 1595634"/>
                    <a:gd name="connsiteY329" fmla="*/ 746890 h 1933093"/>
                    <a:gd name="connsiteX330" fmla="*/ 616678 w 1595634"/>
                    <a:gd name="connsiteY330" fmla="*/ 746890 h 1933093"/>
                    <a:gd name="connsiteX331" fmla="*/ 616678 w 1595634"/>
                    <a:gd name="connsiteY331" fmla="*/ 746890 h 1933093"/>
                    <a:gd name="connsiteX332" fmla="*/ 616678 w 1595634"/>
                    <a:gd name="connsiteY332" fmla="*/ 746890 h 1933093"/>
                    <a:gd name="connsiteX333" fmla="*/ 616678 w 1595634"/>
                    <a:gd name="connsiteY333" fmla="*/ 746890 h 1933093"/>
                    <a:gd name="connsiteX334" fmla="*/ 616678 w 1595634"/>
                    <a:gd name="connsiteY334" fmla="*/ 746890 h 1933093"/>
                    <a:gd name="connsiteX335" fmla="*/ 616678 w 1595634"/>
                    <a:gd name="connsiteY335" fmla="*/ 746890 h 1933093"/>
                    <a:gd name="connsiteX336" fmla="*/ 616678 w 1595634"/>
                    <a:gd name="connsiteY336" fmla="*/ 746890 h 1933093"/>
                    <a:gd name="connsiteX337" fmla="*/ 616678 w 1595634"/>
                    <a:gd name="connsiteY337" fmla="*/ 746890 h 1933093"/>
                    <a:gd name="connsiteX338" fmla="*/ 616678 w 1595634"/>
                    <a:gd name="connsiteY338" fmla="*/ 746890 h 1933093"/>
                    <a:gd name="connsiteX339" fmla="*/ 616598 w 1595634"/>
                    <a:gd name="connsiteY339" fmla="*/ 746890 h 1933093"/>
                    <a:gd name="connsiteX340" fmla="*/ 616598 w 1595634"/>
                    <a:gd name="connsiteY340" fmla="*/ 746890 h 1933093"/>
                    <a:gd name="connsiteX341" fmla="*/ 616598 w 1595634"/>
                    <a:gd name="connsiteY341" fmla="*/ 746890 h 1933093"/>
                    <a:gd name="connsiteX342" fmla="*/ 616598 w 1595634"/>
                    <a:gd name="connsiteY342" fmla="*/ 746890 h 1933093"/>
                    <a:gd name="connsiteX343" fmla="*/ 616598 w 1595634"/>
                    <a:gd name="connsiteY343" fmla="*/ 746890 h 1933093"/>
                    <a:gd name="connsiteX344" fmla="*/ 616598 w 1595634"/>
                    <a:gd name="connsiteY344" fmla="*/ 746890 h 1933093"/>
                    <a:gd name="connsiteX345" fmla="*/ 616598 w 1595634"/>
                    <a:gd name="connsiteY345" fmla="*/ 746890 h 1933093"/>
                    <a:gd name="connsiteX346" fmla="*/ 616598 w 1595634"/>
                    <a:gd name="connsiteY346" fmla="*/ 746890 h 1933093"/>
                    <a:gd name="connsiteX347" fmla="*/ 616598 w 1595634"/>
                    <a:gd name="connsiteY347" fmla="*/ 746890 h 1933093"/>
                    <a:gd name="connsiteX348" fmla="*/ 616598 w 1595634"/>
                    <a:gd name="connsiteY348" fmla="*/ 746890 h 1933093"/>
                    <a:gd name="connsiteX349" fmla="*/ 616598 w 1595634"/>
                    <a:gd name="connsiteY349" fmla="*/ 746890 h 1933093"/>
                    <a:gd name="connsiteX350" fmla="*/ 616598 w 1595634"/>
                    <a:gd name="connsiteY350" fmla="*/ 746890 h 1933093"/>
                    <a:gd name="connsiteX351" fmla="*/ 616598 w 1595634"/>
                    <a:gd name="connsiteY351" fmla="*/ 746890 h 1933093"/>
                    <a:gd name="connsiteX352" fmla="*/ 616598 w 1595634"/>
                    <a:gd name="connsiteY352" fmla="*/ 746890 h 1933093"/>
                    <a:gd name="connsiteX353" fmla="*/ 616598 w 1595634"/>
                    <a:gd name="connsiteY353" fmla="*/ 746890 h 1933093"/>
                    <a:gd name="connsiteX354" fmla="*/ 616517 w 1595634"/>
                    <a:gd name="connsiteY354" fmla="*/ 746890 h 1933093"/>
                    <a:gd name="connsiteX355" fmla="*/ 616517 w 1595634"/>
                    <a:gd name="connsiteY355" fmla="*/ 746890 h 1933093"/>
                    <a:gd name="connsiteX356" fmla="*/ 616517 w 1595634"/>
                    <a:gd name="connsiteY356" fmla="*/ 746890 h 1933093"/>
                    <a:gd name="connsiteX357" fmla="*/ 616517 w 1595634"/>
                    <a:gd name="connsiteY357" fmla="*/ 746890 h 1933093"/>
                    <a:gd name="connsiteX358" fmla="*/ 616517 w 1595634"/>
                    <a:gd name="connsiteY358" fmla="*/ 746890 h 1933093"/>
                    <a:gd name="connsiteX359" fmla="*/ 616517 w 1595634"/>
                    <a:gd name="connsiteY359" fmla="*/ 746890 h 1933093"/>
                    <a:gd name="connsiteX360" fmla="*/ 616517 w 1595634"/>
                    <a:gd name="connsiteY360" fmla="*/ 746890 h 1933093"/>
                    <a:gd name="connsiteX361" fmla="*/ 616517 w 1595634"/>
                    <a:gd name="connsiteY361" fmla="*/ 746890 h 1933093"/>
                    <a:gd name="connsiteX362" fmla="*/ 616517 w 1595634"/>
                    <a:gd name="connsiteY362" fmla="*/ 746890 h 1933093"/>
                    <a:gd name="connsiteX363" fmla="*/ 616517 w 1595634"/>
                    <a:gd name="connsiteY363" fmla="*/ 746890 h 1933093"/>
                    <a:gd name="connsiteX364" fmla="*/ 616517 w 1595634"/>
                    <a:gd name="connsiteY364" fmla="*/ 746890 h 1933093"/>
                    <a:gd name="connsiteX365" fmla="*/ 616517 w 1595634"/>
                    <a:gd name="connsiteY365" fmla="*/ 746890 h 1933093"/>
                    <a:gd name="connsiteX366" fmla="*/ 616517 w 1595634"/>
                    <a:gd name="connsiteY366" fmla="*/ 746890 h 1933093"/>
                    <a:gd name="connsiteX367" fmla="*/ 616517 w 1595634"/>
                    <a:gd name="connsiteY367" fmla="*/ 746890 h 1933093"/>
                    <a:gd name="connsiteX368" fmla="*/ 616517 w 1595634"/>
                    <a:gd name="connsiteY368" fmla="*/ 746890 h 1933093"/>
                    <a:gd name="connsiteX369" fmla="*/ 616437 w 1595634"/>
                    <a:gd name="connsiteY369" fmla="*/ 746890 h 1933093"/>
                    <a:gd name="connsiteX370" fmla="*/ 616437 w 1595634"/>
                    <a:gd name="connsiteY370" fmla="*/ 746890 h 1933093"/>
                    <a:gd name="connsiteX371" fmla="*/ 616437 w 1595634"/>
                    <a:gd name="connsiteY371" fmla="*/ 746890 h 1933093"/>
                    <a:gd name="connsiteX372" fmla="*/ 616437 w 1595634"/>
                    <a:gd name="connsiteY372" fmla="*/ 746890 h 1933093"/>
                    <a:gd name="connsiteX373" fmla="*/ 616437 w 1595634"/>
                    <a:gd name="connsiteY373" fmla="*/ 746890 h 1933093"/>
                    <a:gd name="connsiteX374" fmla="*/ 616437 w 1595634"/>
                    <a:gd name="connsiteY374" fmla="*/ 746890 h 1933093"/>
                    <a:gd name="connsiteX375" fmla="*/ 616437 w 1595634"/>
                    <a:gd name="connsiteY375" fmla="*/ 746890 h 1933093"/>
                    <a:gd name="connsiteX376" fmla="*/ 616437 w 1595634"/>
                    <a:gd name="connsiteY376" fmla="*/ 746890 h 1933093"/>
                    <a:gd name="connsiteX377" fmla="*/ 616437 w 1595634"/>
                    <a:gd name="connsiteY377" fmla="*/ 746890 h 1933093"/>
                    <a:gd name="connsiteX378" fmla="*/ 616437 w 1595634"/>
                    <a:gd name="connsiteY378" fmla="*/ 746890 h 1933093"/>
                    <a:gd name="connsiteX379" fmla="*/ 616437 w 1595634"/>
                    <a:gd name="connsiteY379" fmla="*/ 746890 h 1933093"/>
                    <a:gd name="connsiteX380" fmla="*/ 616437 w 1595634"/>
                    <a:gd name="connsiteY380" fmla="*/ 746890 h 1933093"/>
                    <a:gd name="connsiteX381" fmla="*/ 616357 w 1595634"/>
                    <a:gd name="connsiteY381" fmla="*/ 746890 h 1933093"/>
                    <a:gd name="connsiteX382" fmla="*/ 616357 w 1595634"/>
                    <a:gd name="connsiteY382" fmla="*/ 746890 h 1933093"/>
                    <a:gd name="connsiteX383" fmla="*/ 616357 w 1595634"/>
                    <a:gd name="connsiteY383" fmla="*/ 746890 h 1933093"/>
                    <a:gd name="connsiteX384" fmla="*/ 616357 w 1595634"/>
                    <a:gd name="connsiteY384" fmla="*/ 746890 h 1933093"/>
                    <a:gd name="connsiteX385" fmla="*/ 616357 w 1595634"/>
                    <a:gd name="connsiteY385" fmla="*/ 746890 h 1933093"/>
                    <a:gd name="connsiteX386" fmla="*/ 616357 w 1595634"/>
                    <a:gd name="connsiteY386" fmla="*/ 746890 h 1933093"/>
                    <a:gd name="connsiteX387" fmla="*/ 616276 w 1595634"/>
                    <a:gd name="connsiteY387" fmla="*/ 746890 h 1933093"/>
                    <a:gd name="connsiteX388" fmla="*/ 616276 w 1595634"/>
                    <a:gd name="connsiteY388" fmla="*/ 746890 h 1933093"/>
                    <a:gd name="connsiteX389" fmla="*/ 616276 w 1595634"/>
                    <a:gd name="connsiteY389" fmla="*/ 746890 h 1933093"/>
                    <a:gd name="connsiteX390" fmla="*/ 616276 w 1595634"/>
                    <a:gd name="connsiteY390" fmla="*/ 746890 h 1933093"/>
                    <a:gd name="connsiteX391" fmla="*/ 616276 w 1595634"/>
                    <a:gd name="connsiteY391" fmla="*/ 746890 h 1933093"/>
                    <a:gd name="connsiteX392" fmla="*/ 616276 w 1595634"/>
                    <a:gd name="connsiteY392" fmla="*/ 746890 h 1933093"/>
                    <a:gd name="connsiteX393" fmla="*/ 616276 w 1595634"/>
                    <a:gd name="connsiteY393" fmla="*/ 746890 h 1933093"/>
                    <a:gd name="connsiteX394" fmla="*/ 616276 w 1595634"/>
                    <a:gd name="connsiteY394" fmla="*/ 746890 h 1933093"/>
                    <a:gd name="connsiteX395" fmla="*/ 616276 w 1595634"/>
                    <a:gd name="connsiteY395" fmla="*/ 746890 h 1933093"/>
                    <a:gd name="connsiteX396" fmla="*/ 616196 w 1595634"/>
                    <a:gd name="connsiteY396" fmla="*/ 746890 h 1933093"/>
                    <a:gd name="connsiteX397" fmla="*/ 616196 w 1595634"/>
                    <a:gd name="connsiteY397" fmla="*/ 746890 h 1933093"/>
                    <a:gd name="connsiteX398" fmla="*/ 616196 w 1595634"/>
                    <a:gd name="connsiteY398" fmla="*/ 746890 h 1933093"/>
                    <a:gd name="connsiteX399" fmla="*/ 616196 w 1595634"/>
                    <a:gd name="connsiteY399" fmla="*/ 746970 h 1933093"/>
                    <a:gd name="connsiteX400" fmla="*/ 616196 w 1595634"/>
                    <a:gd name="connsiteY400" fmla="*/ 746970 h 1933093"/>
                    <a:gd name="connsiteX401" fmla="*/ 616196 w 1595634"/>
                    <a:gd name="connsiteY401" fmla="*/ 746970 h 1933093"/>
                    <a:gd name="connsiteX402" fmla="*/ 616116 w 1595634"/>
                    <a:gd name="connsiteY402" fmla="*/ 746970 h 1933093"/>
                    <a:gd name="connsiteX403" fmla="*/ 616116 w 1595634"/>
                    <a:gd name="connsiteY403" fmla="*/ 746970 h 1933093"/>
                    <a:gd name="connsiteX404" fmla="*/ 616116 w 1595634"/>
                    <a:gd name="connsiteY404" fmla="*/ 746970 h 1933093"/>
                    <a:gd name="connsiteX405" fmla="*/ 616116 w 1595634"/>
                    <a:gd name="connsiteY405" fmla="*/ 746970 h 1933093"/>
                    <a:gd name="connsiteX406" fmla="*/ 616116 w 1595634"/>
                    <a:gd name="connsiteY406" fmla="*/ 746970 h 1933093"/>
                    <a:gd name="connsiteX407" fmla="*/ 616116 w 1595634"/>
                    <a:gd name="connsiteY407" fmla="*/ 746970 h 1933093"/>
                    <a:gd name="connsiteX408" fmla="*/ 616035 w 1595634"/>
                    <a:gd name="connsiteY408" fmla="*/ 746970 h 1933093"/>
                    <a:gd name="connsiteX409" fmla="*/ 616035 w 1595634"/>
                    <a:gd name="connsiteY409" fmla="*/ 746970 h 1933093"/>
                    <a:gd name="connsiteX410" fmla="*/ 616035 w 1595634"/>
                    <a:gd name="connsiteY410" fmla="*/ 746970 h 1933093"/>
                    <a:gd name="connsiteX411" fmla="*/ 616035 w 1595634"/>
                    <a:gd name="connsiteY411" fmla="*/ 746970 h 1933093"/>
                    <a:gd name="connsiteX412" fmla="*/ 616035 w 1595634"/>
                    <a:gd name="connsiteY412" fmla="*/ 746970 h 1933093"/>
                    <a:gd name="connsiteX413" fmla="*/ 616035 w 1595634"/>
                    <a:gd name="connsiteY413" fmla="*/ 746970 h 1933093"/>
                    <a:gd name="connsiteX414" fmla="*/ 615955 w 1595634"/>
                    <a:gd name="connsiteY414" fmla="*/ 746970 h 1933093"/>
                    <a:gd name="connsiteX415" fmla="*/ 615955 w 1595634"/>
                    <a:gd name="connsiteY415" fmla="*/ 746970 h 1933093"/>
                    <a:gd name="connsiteX416" fmla="*/ 615955 w 1595634"/>
                    <a:gd name="connsiteY416" fmla="*/ 746970 h 1933093"/>
                    <a:gd name="connsiteX417" fmla="*/ 615955 w 1595634"/>
                    <a:gd name="connsiteY417" fmla="*/ 746970 h 1933093"/>
                    <a:gd name="connsiteX418" fmla="*/ 615955 w 1595634"/>
                    <a:gd name="connsiteY418" fmla="*/ 746970 h 1933093"/>
                    <a:gd name="connsiteX419" fmla="*/ 615955 w 1595634"/>
                    <a:gd name="connsiteY419" fmla="*/ 746970 h 1933093"/>
                    <a:gd name="connsiteX420" fmla="*/ 615875 w 1595634"/>
                    <a:gd name="connsiteY420" fmla="*/ 746970 h 1933093"/>
                    <a:gd name="connsiteX421" fmla="*/ 615875 w 1595634"/>
                    <a:gd name="connsiteY421" fmla="*/ 746970 h 1933093"/>
                    <a:gd name="connsiteX422" fmla="*/ 615875 w 1595634"/>
                    <a:gd name="connsiteY422" fmla="*/ 746970 h 1933093"/>
                    <a:gd name="connsiteX423" fmla="*/ 615875 w 1595634"/>
                    <a:gd name="connsiteY423" fmla="*/ 746970 h 1933093"/>
                    <a:gd name="connsiteX424" fmla="*/ 615875 w 1595634"/>
                    <a:gd name="connsiteY424" fmla="*/ 746970 h 1933093"/>
                    <a:gd name="connsiteX425" fmla="*/ 615875 w 1595634"/>
                    <a:gd name="connsiteY425" fmla="*/ 746970 h 1933093"/>
                    <a:gd name="connsiteX426" fmla="*/ 615794 w 1595634"/>
                    <a:gd name="connsiteY426" fmla="*/ 746970 h 1933093"/>
                    <a:gd name="connsiteX427" fmla="*/ 615794 w 1595634"/>
                    <a:gd name="connsiteY427" fmla="*/ 746970 h 1933093"/>
                    <a:gd name="connsiteX428" fmla="*/ 615794 w 1595634"/>
                    <a:gd name="connsiteY428" fmla="*/ 746970 h 1933093"/>
                    <a:gd name="connsiteX429" fmla="*/ 615714 w 1595634"/>
                    <a:gd name="connsiteY429" fmla="*/ 746970 h 1933093"/>
                    <a:gd name="connsiteX430" fmla="*/ 615714 w 1595634"/>
                    <a:gd name="connsiteY430" fmla="*/ 746970 h 1933093"/>
                    <a:gd name="connsiteX431" fmla="*/ 615714 w 1595634"/>
                    <a:gd name="connsiteY431" fmla="*/ 746970 h 1933093"/>
                    <a:gd name="connsiteX432" fmla="*/ 615714 w 1595634"/>
                    <a:gd name="connsiteY432" fmla="*/ 746970 h 1933093"/>
                    <a:gd name="connsiteX433" fmla="*/ 615714 w 1595634"/>
                    <a:gd name="connsiteY433" fmla="*/ 746970 h 1933093"/>
                    <a:gd name="connsiteX434" fmla="*/ 615714 w 1595634"/>
                    <a:gd name="connsiteY434" fmla="*/ 746970 h 1933093"/>
                    <a:gd name="connsiteX435" fmla="*/ 615634 w 1595634"/>
                    <a:gd name="connsiteY435" fmla="*/ 746970 h 1933093"/>
                    <a:gd name="connsiteX436" fmla="*/ 615634 w 1595634"/>
                    <a:gd name="connsiteY436" fmla="*/ 746970 h 1933093"/>
                    <a:gd name="connsiteX437" fmla="*/ 615634 w 1595634"/>
                    <a:gd name="connsiteY437" fmla="*/ 746970 h 1933093"/>
                    <a:gd name="connsiteX438" fmla="*/ 615634 w 1595634"/>
                    <a:gd name="connsiteY438" fmla="*/ 746970 h 1933093"/>
                    <a:gd name="connsiteX439" fmla="*/ 615634 w 1595634"/>
                    <a:gd name="connsiteY439" fmla="*/ 746970 h 1933093"/>
                    <a:gd name="connsiteX440" fmla="*/ 615634 w 1595634"/>
                    <a:gd name="connsiteY440" fmla="*/ 746970 h 1933093"/>
                    <a:gd name="connsiteX441" fmla="*/ 615553 w 1595634"/>
                    <a:gd name="connsiteY441" fmla="*/ 747050 h 1933093"/>
                    <a:gd name="connsiteX442" fmla="*/ 615553 w 1595634"/>
                    <a:gd name="connsiteY442" fmla="*/ 747050 h 1933093"/>
                    <a:gd name="connsiteX443" fmla="*/ 615553 w 1595634"/>
                    <a:gd name="connsiteY443" fmla="*/ 747050 h 1933093"/>
                    <a:gd name="connsiteX444" fmla="*/ 615473 w 1595634"/>
                    <a:gd name="connsiteY444" fmla="*/ 747050 h 1933093"/>
                    <a:gd name="connsiteX445" fmla="*/ 615393 w 1595634"/>
                    <a:gd name="connsiteY445" fmla="*/ 747050 h 1933093"/>
                    <a:gd name="connsiteX446" fmla="*/ 615473 w 1595634"/>
                    <a:gd name="connsiteY446" fmla="*/ 747050 h 1933093"/>
                    <a:gd name="connsiteX447" fmla="*/ 615393 w 1595634"/>
                    <a:gd name="connsiteY447" fmla="*/ 747050 h 1933093"/>
                    <a:gd name="connsiteX448" fmla="*/ 615393 w 1595634"/>
                    <a:gd name="connsiteY448" fmla="*/ 747050 h 1933093"/>
                    <a:gd name="connsiteX449" fmla="*/ 615393 w 1595634"/>
                    <a:gd name="connsiteY449" fmla="*/ 747050 h 1933093"/>
                    <a:gd name="connsiteX450" fmla="*/ 615393 w 1595634"/>
                    <a:gd name="connsiteY450" fmla="*/ 747050 h 1933093"/>
                    <a:gd name="connsiteX451" fmla="*/ 615312 w 1595634"/>
                    <a:gd name="connsiteY451" fmla="*/ 747050 h 1933093"/>
                    <a:gd name="connsiteX452" fmla="*/ 615393 w 1595634"/>
                    <a:gd name="connsiteY452" fmla="*/ 747050 h 1933093"/>
                    <a:gd name="connsiteX453" fmla="*/ 615312 w 1595634"/>
                    <a:gd name="connsiteY453" fmla="*/ 747050 h 1933093"/>
                    <a:gd name="connsiteX454" fmla="*/ 615312 w 1595634"/>
                    <a:gd name="connsiteY454" fmla="*/ 747050 h 1933093"/>
                    <a:gd name="connsiteX455" fmla="*/ 615312 w 1595634"/>
                    <a:gd name="connsiteY455" fmla="*/ 747050 h 1933093"/>
                    <a:gd name="connsiteX456" fmla="*/ 615232 w 1595634"/>
                    <a:gd name="connsiteY456" fmla="*/ 747050 h 1933093"/>
                    <a:gd name="connsiteX457" fmla="*/ 615152 w 1595634"/>
                    <a:gd name="connsiteY457" fmla="*/ 747050 h 1933093"/>
                    <a:gd name="connsiteX458" fmla="*/ 615232 w 1595634"/>
                    <a:gd name="connsiteY458" fmla="*/ 747050 h 1933093"/>
                    <a:gd name="connsiteX459" fmla="*/ 615152 w 1595634"/>
                    <a:gd name="connsiteY459" fmla="*/ 747050 h 1933093"/>
                    <a:gd name="connsiteX460" fmla="*/ 615152 w 1595634"/>
                    <a:gd name="connsiteY460" fmla="*/ 747050 h 1933093"/>
                    <a:gd name="connsiteX461" fmla="*/ 615152 w 1595634"/>
                    <a:gd name="connsiteY461" fmla="*/ 747050 h 1933093"/>
                    <a:gd name="connsiteX462" fmla="*/ 615152 w 1595634"/>
                    <a:gd name="connsiteY462" fmla="*/ 747050 h 1933093"/>
                    <a:gd name="connsiteX463" fmla="*/ 614991 w 1595634"/>
                    <a:gd name="connsiteY463" fmla="*/ 747050 h 1933093"/>
                    <a:gd name="connsiteX464" fmla="*/ 615152 w 1595634"/>
                    <a:gd name="connsiteY464" fmla="*/ 747050 h 1933093"/>
                    <a:gd name="connsiteX465" fmla="*/ 614991 w 1595634"/>
                    <a:gd name="connsiteY465" fmla="*/ 747050 h 1933093"/>
                    <a:gd name="connsiteX466" fmla="*/ 614991 w 1595634"/>
                    <a:gd name="connsiteY466" fmla="*/ 747050 h 1933093"/>
                    <a:gd name="connsiteX467" fmla="*/ 614991 w 1595634"/>
                    <a:gd name="connsiteY467" fmla="*/ 747050 h 1933093"/>
                    <a:gd name="connsiteX468" fmla="*/ 614911 w 1595634"/>
                    <a:gd name="connsiteY468" fmla="*/ 747131 h 1933093"/>
                    <a:gd name="connsiteX469" fmla="*/ 615071 w 1595634"/>
                    <a:gd name="connsiteY469" fmla="*/ 747131 h 1933093"/>
                    <a:gd name="connsiteX470" fmla="*/ 614911 w 1595634"/>
                    <a:gd name="connsiteY470" fmla="*/ 747131 h 1933093"/>
                    <a:gd name="connsiteX471" fmla="*/ 614911 w 1595634"/>
                    <a:gd name="connsiteY471" fmla="*/ 747131 h 1933093"/>
                    <a:gd name="connsiteX472" fmla="*/ 614911 w 1595634"/>
                    <a:gd name="connsiteY472" fmla="*/ 747131 h 1933093"/>
                    <a:gd name="connsiteX473" fmla="*/ 614911 w 1595634"/>
                    <a:gd name="connsiteY473" fmla="*/ 747131 h 1933093"/>
                    <a:gd name="connsiteX474" fmla="*/ 614750 w 1595634"/>
                    <a:gd name="connsiteY474" fmla="*/ 747131 h 1933093"/>
                    <a:gd name="connsiteX475" fmla="*/ 614911 w 1595634"/>
                    <a:gd name="connsiteY475" fmla="*/ 747131 h 1933093"/>
                    <a:gd name="connsiteX476" fmla="*/ 614750 w 1595634"/>
                    <a:gd name="connsiteY476" fmla="*/ 747131 h 1933093"/>
                    <a:gd name="connsiteX477" fmla="*/ 614750 w 1595634"/>
                    <a:gd name="connsiteY477" fmla="*/ 747131 h 1933093"/>
                    <a:gd name="connsiteX478" fmla="*/ 614750 w 1595634"/>
                    <a:gd name="connsiteY478" fmla="*/ 747131 h 1933093"/>
                    <a:gd name="connsiteX479" fmla="*/ 614750 w 1595634"/>
                    <a:gd name="connsiteY479" fmla="*/ 747131 h 1933093"/>
                    <a:gd name="connsiteX480" fmla="*/ 614589 w 1595634"/>
                    <a:gd name="connsiteY480" fmla="*/ 747131 h 1933093"/>
                    <a:gd name="connsiteX481" fmla="*/ 614670 w 1595634"/>
                    <a:gd name="connsiteY481" fmla="*/ 747131 h 1933093"/>
                    <a:gd name="connsiteX482" fmla="*/ 614589 w 1595634"/>
                    <a:gd name="connsiteY482" fmla="*/ 747131 h 1933093"/>
                    <a:gd name="connsiteX483" fmla="*/ 614589 w 1595634"/>
                    <a:gd name="connsiteY483" fmla="*/ 747131 h 1933093"/>
                    <a:gd name="connsiteX484" fmla="*/ 614589 w 1595634"/>
                    <a:gd name="connsiteY484" fmla="*/ 747131 h 1933093"/>
                    <a:gd name="connsiteX485" fmla="*/ 614589 w 1595634"/>
                    <a:gd name="connsiteY485" fmla="*/ 747131 h 1933093"/>
                    <a:gd name="connsiteX486" fmla="*/ 614509 w 1595634"/>
                    <a:gd name="connsiteY486" fmla="*/ 747131 h 1933093"/>
                    <a:gd name="connsiteX487" fmla="*/ 614589 w 1595634"/>
                    <a:gd name="connsiteY487" fmla="*/ 747131 h 1933093"/>
                    <a:gd name="connsiteX488" fmla="*/ 614509 w 1595634"/>
                    <a:gd name="connsiteY488" fmla="*/ 747131 h 1933093"/>
                    <a:gd name="connsiteX489" fmla="*/ 614429 w 1595634"/>
                    <a:gd name="connsiteY489" fmla="*/ 747131 h 1933093"/>
                    <a:gd name="connsiteX490" fmla="*/ 614429 w 1595634"/>
                    <a:gd name="connsiteY490" fmla="*/ 747131 h 1933093"/>
                    <a:gd name="connsiteX491" fmla="*/ 614429 w 1595634"/>
                    <a:gd name="connsiteY491" fmla="*/ 747131 h 1933093"/>
                    <a:gd name="connsiteX492" fmla="*/ 614348 w 1595634"/>
                    <a:gd name="connsiteY492" fmla="*/ 747211 h 1933093"/>
                    <a:gd name="connsiteX493" fmla="*/ 614348 w 1595634"/>
                    <a:gd name="connsiteY493" fmla="*/ 747211 h 1933093"/>
                    <a:gd name="connsiteX494" fmla="*/ 614348 w 1595634"/>
                    <a:gd name="connsiteY494" fmla="*/ 747211 h 1933093"/>
                    <a:gd name="connsiteX495" fmla="*/ 614268 w 1595634"/>
                    <a:gd name="connsiteY495" fmla="*/ 747211 h 1933093"/>
                    <a:gd name="connsiteX496" fmla="*/ 614348 w 1595634"/>
                    <a:gd name="connsiteY496" fmla="*/ 747211 h 1933093"/>
                    <a:gd name="connsiteX497" fmla="*/ 614268 w 1595634"/>
                    <a:gd name="connsiteY497" fmla="*/ 747211 h 1933093"/>
                    <a:gd name="connsiteX498" fmla="*/ 614188 w 1595634"/>
                    <a:gd name="connsiteY498" fmla="*/ 747211 h 1933093"/>
                    <a:gd name="connsiteX499" fmla="*/ 614188 w 1595634"/>
                    <a:gd name="connsiteY499" fmla="*/ 747211 h 1933093"/>
                    <a:gd name="connsiteX500" fmla="*/ 614188 w 1595634"/>
                    <a:gd name="connsiteY500" fmla="*/ 747211 h 1933093"/>
                    <a:gd name="connsiteX501" fmla="*/ 614027 w 1595634"/>
                    <a:gd name="connsiteY501" fmla="*/ 747211 h 1933093"/>
                    <a:gd name="connsiteX502" fmla="*/ 614188 w 1595634"/>
                    <a:gd name="connsiteY502" fmla="*/ 747211 h 1933093"/>
                    <a:gd name="connsiteX503" fmla="*/ 614027 w 1595634"/>
                    <a:gd name="connsiteY503" fmla="*/ 747211 h 1933093"/>
                    <a:gd name="connsiteX504" fmla="*/ 614027 w 1595634"/>
                    <a:gd name="connsiteY504" fmla="*/ 747211 h 1933093"/>
                    <a:gd name="connsiteX505" fmla="*/ 614027 w 1595634"/>
                    <a:gd name="connsiteY505" fmla="*/ 747211 h 1933093"/>
                    <a:gd name="connsiteX506" fmla="*/ 613866 w 1595634"/>
                    <a:gd name="connsiteY506" fmla="*/ 747211 h 1933093"/>
                    <a:gd name="connsiteX507" fmla="*/ 614027 w 1595634"/>
                    <a:gd name="connsiteY507" fmla="*/ 747211 h 1933093"/>
                    <a:gd name="connsiteX508" fmla="*/ 46510 w 1595634"/>
                    <a:gd name="connsiteY508" fmla="*/ 838303 h 1933093"/>
                    <a:gd name="connsiteX509" fmla="*/ 43457 w 1595634"/>
                    <a:gd name="connsiteY509" fmla="*/ 840793 h 1933093"/>
                    <a:gd name="connsiteX510" fmla="*/ 44903 w 1595634"/>
                    <a:gd name="connsiteY510" fmla="*/ 836455 h 1933093"/>
                    <a:gd name="connsiteX511" fmla="*/ 46510 w 1595634"/>
                    <a:gd name="connsiteY511" fmla="*/ 838303 h 1933093"/>
                    <a:gd name="connsiteX512" fmla="*/ 757252 w 1595634"/>
                    <a:gd name="connsiteY512" fmla="*/ 692668 h 1933093"/>
                    <a:gd name="connsiteX513" fmla="*/ 759421 w 1595634"/>
                    <a:gd name="connsiteY513" fmla="*/ 693391 h 1933093"/>
                    <a:gd name="connsiteX514" fmla="*/ 758617 w 1595634"/>
                    <a:gd name="connsiteY514" fmla="*/ 692186 h 1933093"/>
                    <a:gd name="connsiteX515" fmla="*/ 759662 w 1595634"/>
                    <a:gd name="connsiteY515" fmla="*/ 692588 h 1933093"/>
                    <a:gd name="connsiteX516" fmla="*/ 772675 w 1595634"/>
                    <a:gd name="connsiteY516" fmla="*/ 698211 h 1933093"/>
                    <a:gd name="connsiteX517" fmla="*/ 757252 w 1595634"/>
                    <a:gd name="connsiteY517" fmla="*/ 692668 h 1933093"/>
                    <a:gd name="connsiteX518" fmla="*/ 60166 w 1595634"/>
                    <a:gd name="connsiteY518" fmla="*/ 821354 h 1933093"/>
                    <a:gd name="connsiteX519" fmla="*/ 60166 w 1595634"/>
                    <a:gd name="connsiteY519" fmla="*/ 821354 h 1933093"/>
                    <a:gd name="connsiteX520" fmla="*/ 60326 w 1595634"/>
                    <a:gd name="connsiteY520" fmla="*/ 821193 h 1933093"/>
                    <a:gd name="connsiteX521" fmla="*/ 60326 w 1595634"/>
                    <a:gd name="connsiteY521" fmla="*/ 821193 h 1933093"/>
                    <a:gd name="connsiteX522" fmla="*/ 60166 w 1595634"/>
                    <a:gd name="connsiteY522" fmla="*/ 821354 h 1933093"/>
                    <a:gd name="connsiteX523" fmla="*/ 45626 w 1595634"/>
                    <a:gd name="connsiteY523" fmla="*/ 877985 h 1933093"/>
                    <a:gd name="connsiteX524" fmla="*/ 51330 w 1595634"/>
                    <a:gd name="connsiteY524" fmla="*/ 877985 h 1933093"/>
                    <a:gd name="connsiteX525" fmla="*/ 45466 w 1595634"/>
                    <a:gd name="connsiteY525" fmla="*/ 877905 h 1933093"/>
                    <a:gd name="connsiteX526" fmla="*/ 45626 w 1595634"/>
                    <a:gd name="connsiteY526" fmla="*/ 877985 h 1933093"/>
                    <a:gd name="connsiteX527" fmla="*/ 964 w 1595634"/>
                    <a:gd name="connsiteY527" fmla="*/ 876619 h 1933093"/>
                    <a:gd name="connsiteX528" fmla="*/ 0 w 1595634"/>
                    <a:gd name="connsiteY528" fmla="*/ 874290 h 1933093"/>
                    <a:gd name="connsiteX529" fmla="*/ 33336 w 1595634"/>
                    <a:gd name="connsiteY529" fmla="*/ 865374 h 1933093"/>
                    <a:gd name="connsiteX530" fmla="*/ 41449 w 1595634"/>
                    <a:gd name="connsiteY530" fmla="*/ 847541 h 1933093"/>
                    <a:gd name="connsiteX531" fmla="*/ 45867 w 1595634"/>
                    <a:gd name="connsiteY531" fmla="*/ 842319 h 1933093"/>
                    <a:gd name="connsiteX532" fmla="*/ 56471 w 1595634"/>
                    <a:gd name="connsiteY532" fmla="*/ 846175 h 1933093"/>
                    <a:gd name="connsiteX533" fmla="*/ 57675 w 1595634"/>
                    <a:gd name="connsiteY533" fmla="*/ 845051 h 1933093"/>
                    <a:gd name="connsiteX534" fmla="*/ 61853 w 1595634"/>
                    <a:gd name="connsiteY534" fmla="*/ 826816 h 1933093"/>
                    <a:gd name="connsiteX535" fmla="*/ 58559 w 1595634"/>
                    <a:gd name="connsiteY535" fmla="*/ 828021 h 1933093"/>
                    <a:gd name="connsiteX536" fmla="*/ 75107 w 1595634"/>
                    <a:gd name="connsiteY536" fmla="*/ 809144 h 1933093"/>
                    <a:gd name="connsiteX537" fmla="*/ 78561 w 1595634"/>
                    <a:gd name="connsiteY537" fmla="*/ 810027 h 1933093"/>
                    <a:gd name="connsiteX538" fmla="*/ 80810 w 1595634"/>
                    <a:gd name="connsiteY538" fmla="*/ 801352 h 1933093"/>
                    <a:gd name="connsiteX539" fmla="*/ 81613 w 1595634"/>
                    <a:gd name="connsiteY539" fmla="*/ 801111 h 1933093"/>
                    <a:gd name="connsiteX540" fmla="*/ 87076 w 1595634"/>
                    <a:gd name="connsiteY540" fmla="*/ 799906 h 1933093"/>
                    <a:gd name="connsiteX541" fmla="*/ 79043 w 1595634"/>
                    <a:gd name="connsiteY541" fmla="*/ 817578 h 1933093"/>
                    <a:gd name="connsiteX542" fmla="*/ 73821 w 1595634"/>
                    <a:gd name="connsiteY542" fmla="*/ 816454 h 1933093"/>
                    <a:gd name="connsiteX543" fmla="*/ 70528 w 1595634"/>
                    <a:gd name="connsiteY543" fmla="*/ 832600 h 1933093"/>
                    <a:gd name="connsiteX544" fmla="*/ 71010 w 1595634"/>
                    <a:gd name="connsiteY544" fmla="*/ 825932 h 1933093"/>
                    <a:gd name="connsiteX545" fmla="*/ 65869 w 1595634"/>
                    <a:gd name="connsiteY545" fmla="*/ 832519 h 1933093"/>
                    <a:gd name="connsiteX546" fmla="*/ 65708 w 1595634"/>
                    <a:gd name="connsiteY546" fmla="*/ 831314 h 1933093"/>
                    <a:gd name="connsiteX547" fmla="*/ 65146 w 1595634"/>
                    <a:gd name="connsiteY547" fmla="*/ 838142 h 1933093"/>
                    <a:gd name="connsiteX548" fmla="*/ 68279 w 1595634"/>
                    <a:gd name="connsiteY548" fmla="*/ 835411 h 1933093"/>
                    <a:gd name="connsiteX549" fmla="*/ 57836 w 1595634"/>
                    <a:gd name="connsiteY549" fmla="*/ 847541 h 1933093"/>
                    <a:gd name="connsiteX550" fmla="*/ 61612 w 1595634"/>
                    <a:gd name="connsiteY550" fmla="*/ 847942 h 1933093"/>
                    <a:gd name="connsiteX551" fmla="*/ 63539 w 1595634"/>
                    <a:gd name="connsiteY551" fmla="*/ 846095 h 1933093"/>
                    <a:gd name="connsiteX552" fmla="*/ 61772 w 1595634"/>
                    <a:gd name="connsiteY552" fmla="*/ 850191 h 1933093"/>
                    <a:gd name="connsiteX553" fmla="*/ 60969 w 1595634"/>
                    <a:gd name="connsiteY553" fmla="*/ 857501 h 1933093"/>
                    <a:gd name="connsiteX554" fmla="*/ 82095 w 1595634"/>
                    <a:gd name="connsiteY554" fmla="*/ 886500 h 1933093"/>
                    <a:gd name="connsiteX555" fmla="*/ 67395 w 1595634"/>
                    <a:gd name="connsiteY555" fmla="*/ 910518 h 1933093"/>
                    <a:gd name="connsiteX556" fmla="*/ 31328 w 1595634"/>
                    <a:gd name="connsiteY556" fmla="*/ 895657 h 1933093"/>
                    <a:gd name="connsiteX557" fmla="*/ 15584 w 1595634"/>
                    <a:gd name="connsiteY557" fmla="*/ 894051 h 1933093"/>
                    <a:gd name="connsiteX558" fmla="*/ 964 w 1595634"/>
                    <a:gd name="connsiteY558" fmla="*/ 876619 h 1933093"/>
                    <a:gd name="connsiteX559" fmla="*/ 1191425 w 1595634"/>
                    <a:gd name="connsiteY559" fmla="*/ 554665 h 1933093"/>
                    <a:gd name="connsiteX560" fmla="*/ 1191505 w 1595634"/>
                    <a:gd name="connsiteY560" fmla="*/ 554504 h 1933093"/>
                    <a:gd name="connsiteX561" fmla="*/ 1191505 w 1595634"/>
                    <a:gd name="connsiteY561" fmla="*/ 554986 h 1933093"/>
                    <a:gd name="connsiteX562" fmla="*/ 1191425 w 1595634"/>
                    <a:gd name="connsiteY562" fmla="*/ 554665 h 1933093"/>
                    <a:gd name="connsiteX563" fmla="*/ 902083 w 1595634"/>
                    <a:gd name="connsiteY563" fmla="*/ 430237 h 1933093"/>
                    <a:gd name="connsiteX564" fmla="*/ 907867 w 1595634"/>
                    <a:gd name="connsiteY564" fmla="*/ 437065 h 1933093"/>
                    <a:gd name="connsiteX565" fmla="*/ 905537 w 1595634"/>
                    <a:gd name="connsiteY565" fmla="*/ 428550 h 1933093"/>
                    <a:gd name="connsiteX566" fmla="*/ 901521 w 1595634"/>
                    <a:gd name="connsiteY566" fmla="*/ 429755 h 1933093"/>
                    <a:gd name="connsiteX567" fmla="*/ 902083 w 1595634"/>
                    <a:gd name="connsiteY567" fmla="*/ 430237 h 1933093"/>
                    <a:gd name="connsiteX568" fmla="*/ 446302 w 1595634"/>
                    <a:gd name="connsiteY568" fmla="*/ 656922 h 1933093"/>
                    <a:gd name="connsiteX569" fmla="*/ 496829 w 1595634"/>
                    <a:gd name="connsiteY569" fmla="*/ 546391 h 1933093"/>
                    <a:gd name="connsiteX570" fmla="*/ 515063 w 1595634"/>
                    <a:gd name="connsiteY570" fmla="*/ 519320 h 1933093"/>
                    <a:gd name="connsiteX571" fmla="*/ 512011 w 1595634"/>
                    <a:gd name="connsiteY571" fmla="*/ 519883 h 1933093"/>
                    <a:gd name="connsiteX572" fmla="*/ 621899 w 1595634"/>
                    <a:gd name="connsiteY572" fmla="*/ 386538 h 1933093"/>
                    <a:gd name="connsiteX573" fmla="*/ 625112 w 1595634"/>
                    <a:gd name="connsiteY573" fmla="*/ 387101 h 1933093"/>
                    <a:gd name="connsiteX574" fmla="*/ 638929 w 1595634"/>
                    <a:gd name="connsiteY574" fmla="*/ 399230 h 1933093"/>
                    <a:gd name="connsiteX575" fmla="*/ 642303 w 1595634"/>
                    <a:gd name="connsiteY575" fmla="*/ 403006 h 1933093"/>
                    <a:gd name="connsiteX576" fmla="*/ 640776 w 1595634"/>
                    <a:gd name="connsiteY576" fmla="*/ 407825 h 1933093"/>
                    <a:gd name="connsiteX577" fmla="*/ 752754 w 1595634"/>
                    <a:gd name="connsiteY577" fmla="*/ 390715 h 1933093"/>
                    <a:gd name="connsiteX578" fmla="*/ 756850 w 1595634"/>
                    <a:gd name="connsiteY578" fmla="*/ 391840 h 1933093"/>
                    <a:gd name="connsiteX579" fmla="*/ 760786 w 1595634"/>
                    <a:gd name="connsiteY579" fmla="*/ 387342 h 1933093"/>
                    <a:gd name="connsiteX580" fmla="*/ 758778 w 1595634"/>
                    <a:gd name="connsiteY580" fmla="*/ 386056 h 1933093"/>
                    <a:gd name="connsiteX581" fmla="*/ 830832 w 1595634"/>
                    <a:gd name="connsiteY581" fmla="*/ 378104 h 1933093"/>
                    <a:gd name="connsiteX582" fmla="*/ 823201 w 1595634"/>
                    <a:gd name="connsiteY582" fmla="*/ 385173 h 1933093"/>
                    <a:gd name="connsiteX583" fmla="*/ 859831 w 1595634"/>
                    <a:gd name="connsiteY583" fmla="*/ 386137 h 1933093"/>
                    <a:gd name="connsiteX584" fmla="*/ 860313 w 1595634"/>
                    <a:gd name="connsiteY584" fmla="*/ 388386 h 1933093"/>
                    <a:gd name="connsiteX585" fmla="*/ 888026 w 1595634"/>
                    <a:gd name="connsiteY585" fmla="*/ 412083 h 1933093"/>
                    <a:gd name="connsiteX586" fmla="*/ 884250 w 1595634"/>
                    <a:gd name="connsiteY586" fmla="*/ 414252 h 1933093"/>
                    <a:gd name="connsiteX587" fmla="*/ 915096 w 1595634"/>
                    <a:gd name="connsiteY587" fmla="*/ 418991 h 1933093"/>
                    <a:gd name="connsiteX588" fmla="*/ 917024 w 1595634"/>
                    <a:gd name="connsiteY588" fmla="*/ 418027 h 1933093"/>
                    <a:gd name="connsiteX589" fmla="*/ 918711 w 1595634"/>
                    <a:gd name="connsiteY589" fmla="*/ 419232 h 1933093"/>
                    <a:gd name="connsiteX590" fmla="*/ 927788 w 1595634"/>
                    <a:gd name="connsiteY590" fmla="*/ 404773 h 1933093"/>
                    <a:gd name="connsiteX591" fmla="*/ 953895 w 1595634"/>
                    <a:gd name="connsiteY591" fmla="*/ 402283 h 1933093"/>
                    <a:gd name="connsiteX592" fmla="*/ 959598 w 1595634"/>
                    <a:gd name="connsiteY592" fmla="*/ 409753 h 1933093"/>
                    <a:gd name="connsiteX593" fmla="*/ 962249 w 1595634"/>
                    <a:gd name="connsiteY593" fmla="*/ 407665 h 1933093"/>
                    <a:gd name="connsiteX594" fmla="*/ 963855 w 1595634"/>
                    <a:gd name="connsiteY594" fmla="*/ 408548 h 1933093"/>
                    <a:gd name="connsiteX595" fmla="*/ 978395 w 1595634"/>
                    <a:gd name="connsiteY595" fmla="*/ 415537 h 1933093"/>
                    <a:gd name="connsiteX596" fmla="*/ 977350 w 1595634"/>
                    <a:gd name="connsiteY596" fmla="*/ 419633 h 1933093"/>
                    <a:gd name="connsiteX597" fmla="*/ 988275 w 1595634"/>
                    <a:gd name="connsiteY597" fmla="*/ 420758 h 1933093"/>
                    <a:gd name="connsiteX598" fmla="*/ 989721 w 1595634"/>
                    <a:gd name="connsiteY598" fmla="*/ 429112 h 1933093"/>
                    <a:gd name="connsiteX599" fmla="*/ 1006670 w 1595634"/>
                    <a:gd name="connsiteY599" fmla="*/ 431120 h 1933093"/>
                    <a:gd name="connsiteX600" fmla="*/ 1002814 w 1595634"/>
                    <a:gd name="connsiteY600" fmla="*/ 439555 h 1933093"/>
                    <a:gd name="connsiteX601" fmla="*/ 1032616 w 1595634"/>
                    <a:gd name="connsiteY601" fmla="*/ 452086 h 1933093"/>
                    <a:gd name="connsiteX602" fmla="*/ 1182267 w 1595634"/>
                    <a:gd name="connsiteY602" fmla="*/ 510726 h 1933093"/>
                    <a:gd name="connsiteX603" fmla="*/ 1182187 w 1595634"/>
                    <a:gd name="connsiteY603" fmla="*/ 502452 h 1933093"/>
                    <a:gd name="connsiteX604" fmla="*/ 1188613 w 1595634"/>
                    <a:gd name="connsiteY604" fmla="*/ 554263 h 1933093"/>
                    <a:gd name="connsiteX605" fmla="*/ 1188613 w 1595634"/>
                    <a:gd name="connsiteY605" fmla="*/ 555789 h 1933093"/>
                    <a:gd name="connsiteX606" fmla="*/ 1190220 w 1595634"/>
                    <a:gd name="connsiteY606" fmla="*/ 557717 h 1933093"/>
                    <a:gd name="connsiteX607" fmla="*/ 1194477 w 1595634"/>
                    <a:gd name="connsiteY607" fmla="*/ 556753 h 1933093"/>
                    <a:gd name="connsiteX608" fmla="*/ 1197690 w 1595634"/>
                    <a:gd name="connsiteY608" fmla="*/ 559083 h 1933093"/>
                    <a:gd name="connsiteX609" fmla="*/ 1169254 w 1595634"/>
                    <a:gd name="connsiteY609" fmla="*/ 654432 h 1933093"/>
                    <a:gd name="connsiteX610" fmla="*/ 1030528 w 1595634"/>
                    <a:gd name="connsiteY610" fmla="*/ 650094 h 1933093"/>
                    <a:gd name="connsiteX611" fmla="*/ 851316 w 1595634"/>
                    <a:gd name="connsiteY611" fmla="*/ 641580 h 1933093"/>
                    <a:gd name="connsiteX612" fmla="*/ 809385 w 1595634"/>
                    <a:gd name="connsiteY612" fmla="*/ 657726 h 1933093"/>
                    <a:gd name="connsiteX613" fmla="*/ 789544 w 1595634"/>
                    <a:gd name="connsiteY613" fmla="*/ 680137 h 1933093"/>
                    <a:gd name="connsiteX614" fmla="*/ 751790 w 1595634"/>
                    <a:gd name="connsiteY614" fmla="*/ 649693 h 1933093"/>
                    <a:gd name="connsiteX615" fmla="*/ 772353 w 1595634"/>
                    <a:gd name="connsiteY615" fmla="*/ 685118 h 1933093"/>
                    <a:gd name="connsiteX616" fmla="*/ 748978 w 1595634"/>
                    <a:gd name="connsiteY616" fmla="*/ 675398 h 1933093"/>
                    <a:gd name="connsiteX617" fmla="*/ 743275 w 1595634"/>
                    <a:gd name="connsiteY617" fmla="*/ 677567 h 1933093"/>
                    <a:gd name="connsiteX618" fmla="*/ 747934 w 1595634"/>
                    <a:gd name="connsiteY618" fmla="*/ 692508 h 1933093"/>
                    <a:gd name="connsiteX619" fmla="*/ 726968 w 1595634"/>
                    <a:gd name="connsiteY619" fmla="*/ 694516 h 1933093"/>
                    <a:gd name="connsiteX620" fmla="*/ 730824 w 1595634"/>
                    <a:gd name="connsiteY620" fmla="*/ 693231 h 1933093"/>
                    <a:gd name="connsiteX621" fmla="*/ 628245 w 1595634"/>
                    <a:gd name="connsiteY621" fmla="*/ 743114 h 1933093"/>
                    <a:gd name="connsiteX622" fmla="*/ 631779 w 1595634"/>
                    <a:gd name="connsiteY622" fmla="*/ 741749 h 1933093"/>
                    <a:gd name="connsiteX623" fmla="*/ 624068 w 1595634"/>
                    <a:gd name="connsiteY623" fmla="*/ 741106 h 1933093"/>
                    <a:gd name="connsiteX624" fmla="*/ 627442 w 1595634"/>
                    <a:gd name="connsiteY624" fmla="*/ 745203 h 1933093"/>
                    <a:gd name="connsiteX625" fmla="*/ 614589 w 1595634"/>
                    <a:gd name="connsiteY625" fmla="*/ 746890 h 1933093"/>
                    <a:gd name="connsiteX626" fmla="*/ 613706 w 1595634"/>
                    <a:gd name="connsiteY626" fmla="*/ 747211 h 1933093"/>
                    <a:gd name="connsiteX627" fmla="*/ 613706 w 1595634"/>
                    <a:gd name="connsiteY627" fmla="*/ 747211 h 1933093"/>
                    <a:gd name="connsiteX628" fmla="*/ 613625 w 1595634"/>
                    <a:gd name="connsiteY628" fmla="*/ 747211 h 1933093"/>
                    <a:gd name="connsiteX629" fmla="*/ 613625 w 1595634"/>
                    <a:gd name="connsiteY629" fmla="*/ 747211 h 1933093"/>
                    <a:gd name="connsiteX630" fmla="*/ 613545 w 1595634"/>
                    <a:gd name="connsiteY630" fmla="*/ 747211 h 1933093"/>
                    <a:gd name="connsiteX631" fmla="*/ 613545 w 1595634"/>
                    <a:gd name="connsiteY631" fmla="*/ 747211 h 1933093"/>
                    <a:gd name="connsiteX632" fmla="*/ 613465 w 1595634"/>
                    <a:gd name="connsiteY632" fmla="*/ 747211 h 1933093"/>
                    <a:gd name="connsiteX633" fmla="*/ 613465 w 1595634"/>
                    <a:gd name="connsiteY633" fmla="*/ 747211 h 1933093"/>
                    <a:gd name="connsiteX634" fmla="*/ 613384 w 1595634"/>
                    <a:gd name="connsiteY634" fmla="*/ 747211 h 1933093"/>
                    <a:gd name="connsiteX635" fmla="*/ 613384 w 1595634"/>
                    <a:gd name="connsiteY635" fmla="*/ 747211 h 1933093"/>
                    <a:gd name="connsiteX636" fmla="*/ 613304 w 1595634"/>
                    <a:gd name="connsiteY636" fmla="*/ 747211 h 1933093"/>
                    <a:gd name="connsiteX637" fmla="*/ 613304 w 1595634"/>
                    <a:gd name="connsiteY637" fmla="*/ 747211 h 1933093"/>
                    <a:gd name="connsiteX638" fmla="*/ 613224 w 1595634"/>
                    <a:gd name="connsiteY638" fmla="*/ 747211 h 1933093"/>
                    <a:gd name="connsiteX639" fmla="*/ 613224 w 1595634"/>
                    <a:gd name="connsiteY639" fmla="*/ 747211 h 1933093"/>
                    <a:gd name="connsiteX640" fmla="*/ 613063 w 1595634"/>
                    <a:gd name="connsiteY640" fmla="*/ 747211 h 1933093"/>
                    <a:gd name="connsiteX641" fmla="*/ 613224 w 1595634"/>
                    <a:gd name="connsiteY641" fmla="*/ 747211 h 1933093"/>
                    <a:gd name="connsiteX642" fmla="*/ 613304 w 1595634"/>
                    <a:gd name="connsiteY642" fmla="*/ 747211 h 1933093"/>
                    <a:gd name="connsiteX643" fmla="*/ 613304 w 1595634"/>
                    <a:gd name="connsiteY643" fmla="*/ 747211 h 1933093"/>
                    <a:gd name="connsiteX644" fmla="*/ 613384 w 1595634"/>
                    <a:gd name="connsiteY644" fmla="*/ 747211 h 1933093"/>
                    <a:gd name="connsiteX645" fmla="*/ 613384 w 1595634"/>
                    <a:gd name="connsiteY645" fmla="*/ 747211 h 1933093"/>
                    <a:gd name="connsiteX646" fmla="*/ 613465 w 1595634"/>
                    <a:gd name="connsiteY646" fmla="*/ 747211 h 1933093"/>
                    <a:gd name="connsiteX647" fmla="*/ 613465 w 1595634"/>
                    <a:gd name="connsiteY647" fmla="*/ 747211 h 1933093"/>
                    <a:gd name="connsiteX648" fmla="*/ 613545 w 1595634"/>
                    <a:gd name="connsiteY648" fmla="*/ 747211 h 1933093"/>
                    <a:gd name="connsiteX649" fmla="*/ 613545 w 1595634"/>
                    <a:gd name="connsiteY649" fmla="*/ 747211 h 1933093"/>
                    <a:gd name="connsiteX650" fmla="*/ 613625 w 1595634"/>
                    <a:gd name="connsiteY650" fmla="*/ 747211 h 1933093"/>
                    <a:gd name="connsiteX651" fmla="*/ 613625 w 1595634"/>
                    <a:gd name="connsiteY651" fmla="*/ 747211 h 1933093"/>
                    <a:gd name="connsiteX652" fmla="*/ 613706 w 1595634"/>
                    <a:gd name="connsiteY652" fmla="*/ 747211 h 1933093"/>
                    <a:gd name="connsiteX653" fmla="*/ 613706 w 1595634"/>
                    <a:gd name="connsiteY653" fmla="*/ 747211 h 1933093"/>
                    <a:gd name="connsiteX654" fmla="*/ 613786 w 1595634"/>
                    <a:gd name="connsiteY654" fmla="*/ 747211 h 1933093"/>
                    <a:gd name="connsiteX655" fmla="*/ 493214 w 1595634"/>
                    <a:gd name="connsiteY655" fmla="*/ 702549 h 1933093"/>
                    <a:gd name="connsiteX656" fmla="*/ 495222 w 1595634"/>
                    <a:gd name="connsiteY656" fmla="*/ 701906 h 1933093"/>
                    <a:gd name="connsiteX657" fmla="*/ 492732 w 1595634"/>
                    <a:gd name="connsiteY657" fmla="*/ 701986 h 1933093"/>
                    <a:gd name="connsiteX658" fmla="*/ 471445 w 1595634"/>
                    <a:gd name="connsiteY658" fmla="*/ 687768 h 1933093"/>
                    <a:gd name="connsiteX659" fmla="*/ 472409 w 1595634"/>
                    <a:gd name="connsiteY659" fmla="*/ 687045 h 1933093"/>
                    <a:gd name="connsiteX660" fmla="*/ 446302 w 1595634"/>
                    <a:gd name="connsiteY660" fmla="*/ 656922 h 1933093"/>
                    <a:gd name="connsiteX661" fmla="*/ 694275 w 1595634"/>
                    <a:gd name="connsiteY661" fmla="*/ 345089 h 1933093"/>
                    <a:gd name="connsiteX662" fmla="*/ 693070 w 1595634"/>
                    <a:gd name="connsiteY662" fmla="*/ 345169 h 1933093"/>
                    <a:gd name="connsiteX663" fmla="*/ 694435 w 1595634"/>
                    <a:gd name="connsiteY663" fmla="*/ 345089 h 1933093"/>
                    <a:gd name="connsiteX664" fmla="*/ 713232 w 1595634"/>
                    <a:gd name="connsiteY664" fmla="*/ 344045 h 1933093"/>
                    <a:gd name="connsiteX665" fmla="*/ 694275 w 1595634"/>
                    <a:gd name="connsiteY665" fmla="*/ 345089 h 1933093"/>
                    <a:gd name="connsiteX666" fmla="*/ 1169254 w 1595634"/>
                    <a:gd name="connsiteY666" fmla="*/ 345250 h 1933093"/>
                    <a:gd name="connsiteX667" fmla="*/ 1160579 w 1595634"/>
                    <a:gd name="connsiteY667" fmla="*/ 345410 h 1933093"/>
                    <a:gd name="connsiteX668" fmla="*/ 1284846 w 1595634"/>
                    <a:gd name="connsiteY668" fmla="*/ 324686 h 1933093"/>
                    <a:gd name="connsiteX669" fmla="*/ 1285569 w 1595634"/>
                    <a:gd name="connsiteY669" fmla="*/ 325971 h 1933093"/>
                    <a:gd name="connsiteX670" fmla="*/ 1308703 w 1595634"/>
                    <a:gd name="connsiteY670" fmla="*/ 334968 h 1933093"/>
                    <a:gd name="connsiteX671" fmla="*/ 1313041 w 1595634"/>
                    <a:gd name="connsiteY671" fmla="*/ 337458 h 1933093"/>
                    <a:gd name="connsiteX672" fmla="*/ 1169254 w 1595634"/>
                    <a:gd name="connsiteY672" fmla="*/ 345250 h 1933093"/>
                    <a:gd name="connsiteX673" fmla="*/ 994701 w 1595634"/>
                    <a:gd name="connsiteY673" fmla="*/ 248776 h 1933093"/>
                    <a:gd name="connsiteX674" fmla="*/ 994380 w 1595634"/>
                    <a:gd name="connsiteY674" fmla="*/ 248535 h 1933093"/>
                    <a:gd name="connsiteX675" fmla="*/ 995424 w 1595634"/>
                    <a:gd name="connsiteY675" fmla="*/ 247571 h 1933093"/>
                    <a:gd name="connsiteX676" fmla="*/ 995826 w 1595634"/>
                    <a:gd name="connsiteY676" fmla="*/ 247731 h 1933093"/>
                    <a:gd name="connsiteX677" fmla="*/ 1005465 w 1595634"/>
                    <a:gd name="connsiteY677" fmla="*/ 254158 h 1933093"/>
                    <a:gd name="connsiteX678" fmla="*/ 994701 w 1595634"/>
                    <a:gd name="connsiteY678" fmla="*/ 248776 h 1933093"/>
                    <a:gd name="connsiteX679" fmla="*/ 453371 w 1595634"/>
                    <a:gd name="connsiteY679" fmla="*/ 404050 h 1933093"/>
                    <a:gd name="connsiteX680" fmla="*/ 601094 w 1595634"/>
                    <a:gd name="connsiteY680" fmla="*/ 298499 h 1933093"/>
                    <a:gd name="connsiteX681" fmla="*/ 764883 w 1595634"/>
                    <a:gd name="connsiteY681" fmla="*/ 281389 h 1933093"/>
                    <a:gd name="connsiteX682" fmla="*/ 769944 w 1595634"/>
                    <a:gd name="connsiteY682" fmla="*/ 277292 h 1933093"/>
                    <a:gd name="connsiteX683" fmla="*/ 771631 w 1595634"/>
                    <a:gd name="connsiteY683" fmla="*/ 278658 h 1933093"/>
                    <a:gd name="connsiteX684" fmla="*/ 804083 w 1595634"/>
                    <a:gd name="connsiteY684" fmla="*/ 251748 h 1933093"/>
                    <a:gd name="connsiteX685" fmla="*/ 836134 w 1595634"/>
                    <a:gd name="connsiteY685" fmla="*/ 257612 h 1933093"/>
                    <a:gd name="connsiteX686" fmla="*/ 820390 w 1595634"/>
                    <a:gd name="connsiteY686" fmla="*/ 262432 h 1933093"/>
                    <a:gd name="connsiteX687" fmla="*/ 781832 w 1595634"/>
                    <a:gd name="connsiteY687" fmla="*/ 270866 h 1933093"/>
                    <a:gd name="connsiteX688" fmla="*/ 784885 w 1595634"/>
                    <a:gd name="connsiteY688" fmla="*/ 272955 h 1933093"/>
                    <a:gd name="connsiteX689" fmla="*/ 783840 w 1595634"/>
                    <a:gd name="connsiteY689" fmla="*/ 274641 h 1933093"/>
                    <a:gd name="connsiteX690" fmla="*/ 822076 w 1595634"/>
                    <a:gd name="connsiteY690" fmla="*/ 276489 h 1933093"/>
                    <a:gd name="connsiteX691" fmla="*/ 786411 w 1595634"/>
                    <a:gd name="connsiteY691" fmla="*/ 282032 h 1933093"/>
                    <a:gd name="connsiteX692" fmla="*/ 699657 w 1595634"/>
                    <a:gd name="connsiteY692" fmla="*/ 318902 h 1933093"/>
                    <a:gd name="connsiteX693" fmla="*/ 702790 w 1595634"/>
                    <a:gd name="connsiteY693" fmla="*/ 320188 h 1933093"/>
                    <a:gd name="connsiteX694" fmla="*/ 699255 w 1595634"/>
                    <a:gd name="connsiteY694" fmla="*/ 320910 h 1933093"/>
                    <a:gd name="connsiteX695" fmla="*/ 691142 w 1595634"/>
                    <a:gd name="connsiteY695" fmla="*/ 333442 h 1933093"/>
                    <a:gd name="connsiteX696" fmla="*/ 695239 w 1595634"/>
                    <a:gd name="connsiteY696" fmla="*/ 333442 h 1933093"/>
                    <a:gd name="connsiteX697" fmla="*/ 685358 w 1595634"/>
                    <a:gd name="connsiteY697" fmla="*/ 337940 h 1933093"/>
                    <a:gd name="connsiteX698" fmla="*/ 686483 w 1595634"/>
                    <a:gd name="connsiteY698" fmla="*/ 337860 h 1933093"/>
                    <a:gd name="connsiteX699" fmla="*/ 693070 w 1595634"/>
                    <a:gd name="connsiteY699" fmla="*/ 337779 h 1933093"/>
                    <a:gd name="connsiteX700" fmla="*/ 691222 w 1595634"/>
                    <a:gd name="connsiteY700" fmla="*/ 347820 h 1933093"/>
                    <a:gd name="connsiteX701" fmla="*/ 668971 w 1595634"/>
                    <a:gd name="connsiteY701" fmla="*/ 348784 h 1933093"/>
                    <a:gd name="connsiteX702" fmla="*/ 654914 w 1595634"/>
                    <a:gd name="connsiteY702" fmla="*/ 355210 h 1933093"/>
                    <a:gd name="connsiteX703" fmla="*/ 619730 w 1595634"/>
                    <a:gd name="connsiteY703" fmla="*/ 369187 h 1933093"/>
                    <a:gd name="connsiteX704" fmla="*/ 625675 w 1595634"/>
                    <a:gd name="connsiteY704" fmla="*/ 356014 h 1933093"/>
                    <a:gd name="connsiteX705" fmla="*/ 596917 w 1595634"/>
                    <a:gd name="connsiteY705" fmla="*/ 359387 h 1933093"/>
                    <a:gd name="connsiteX706" fmla="*/ 598363 w 1595634"/>
                    <a:gd name="connsiteY706" fmla="*/ 356817 h 1933093"/>
                    <a:gd name="connsiteX707" fmla="*/ 590973 w 1595634"/>
                    <a:gd name="connsiteY707" fmla="*/ 358022 h 1933093"/>
                    <a:gd name="connsiteX708" fmla="*/ 591776 w 1595634"/>
                    <a:gd name="connsiteY708" fmla="*/ 356978 h 1933093"/>
                    <a:gd name="connsiteX709" fmla="*/ 589768 w 1595634"/>
                    <a:gd name="connsiteY709" fmla="*/ 357219 h 1933093"/>
                    <a:gd name="connsiteX710" fmla="*/ 593784 w 1595634"/>
                    <a:gd name="connsiteY710" fmla="*/ 351676 h 1933093"/>
                    <a:gd name="connsiteX711" fmla="*/ 558601 w 1595634"/>
                    <a:gd name="connsiteY711" fmla="*/ 360512 h 1933093"/>
                    <a:gd name="connsiteX712" fmla="*/ 530004 w 1595634"/>
                    <a:gd name="connsiteY712" fmla="*/ 378345 h 1933093"/>
                    <a:gd name="connsiteX713" fmla="*/ 459235 w 1595634"/>
                    <a:gd name="connsiteY713" fmla="*/ 406379 h 1933093"/>
                    <a:gd name="connsiteX714" fmla="*/ 460922 w 1595634"/>
                    <a:gd name="connsiteY714" fmla="*/ 404451 h 1933093"/>
                    <a:gd name="connsiteX715" fmla="*/ 453371 w 1595634"/>
                    <a:gd name="connsiteY715" fmla="*/ 404050 h 1933093"/>
                    <a:gd name="connsiteX716" fmla="*/ 1004341 w 1595634"/>
                    <a:gd name="connsiteY716" fmla="*/ 290225 h 1933093"/>
                    <a:gd name="connsiteX717" fmla="*/ 1004180 w 1595634"/>
                    <a:gd name="connsiteY717" fmla="*/ 289422 h 1933093"/>
                    <a:gd name="connsiteX718" fmla="*/ 1005385 w 1595634"/>
                    <a:gd name="connsiteY718" fmla="*/ 254077 h 1933093"/>
                    <a:gd name="connsiteX719" fmla="*/ 1040890 w 1595634"/>
                    <a:gd name="connsiteY719" fmla="*/ 245241 h 1933093"/>
                    <a:gd name="connsiteX720" fmla="*/ 1042175 w 1595634"/>
                    <a:gd name="connsiteY720" fmla="*/ 245884 h 1933093"/>
                    <a:gd name="connsiteX721" fmla="*/ 1051574 w 1595634"/>
                    <a:gd name="connsiteY721" fmla="*/ 250463 h 1933093"/>
                    <a:gd name="connsiteX722" fmla="*/ 1053742 w 1595634"/>
                    <a:gd name="connsiteY722" fmla="*/ 248535 h 1933093"/>
                    <a:gd name="connsiteX723" fmla="*/ 1070129 w 1595634"/>
                    <a:gd name="connsiteY723" fmla="*/ 279622 h 1933093"/>
                    <a:gd name="connsiteX724" fmla="*/ 1049485 w 1595634"/>
                    <a:gd name="connsiteY724" fmla="*/ 304282 h 1933093"/>
                    <a:gd name="connsiteX725" fmla="*/ 1004341 w 1595634"/>
                    <a:gd name="connsiteY725" fmla="*/ 290225 h 1933093"/>
                    <a:gd name="connsiteX726" fmla="*/ 1020326 w 1595634"/>
                    <a:gd name="connsiteY726" fmla="*/ 233755 h 1933093"/>
                    <a:gd name="connsiteX727" fmla="*/ 1018960 w 1595634"/>
                    <a:gd name="connsiteY727" fmla="*/ 233032 h 1933093"/>
                    <a:gd name="connsiteX728" fmla="*/ 1019764 w 1595634"/>
                    <a:gd name="connsiteY728" fmla="*/ 233192 h 1933093"/>
                    <a:gd name="connsiteX729" fmla="*/ 1042818 w 1595634"/>
                    <a:gd name="connsiteY729" fmla="*/ 237690 h 1933093"/>
                    <a:gd name="connsiteX730" fmla="*/ 1040890 w 1595634"/>
                    <a:gd name="connsiteY730" fmla="*/ 245241 h 1933093"/>
                    <a:gd name="connsiteX731" fmla="*/ 1020326 w 1595634"/>
                    <a:gd name="connsiteY731" fmla="*/ 233755 h 1933093"/>
                    <a:gd name="connsiteX732" fmla="*/ 947067 w 1595634"/>
                    <a:gd name="connsiteY732" fmla="*/ 223794 h 1933093"/>
                    <a:gd name="connsiteX733" fmla="*/ 945219 w 1595634"/>
                    <a:gd name="connsiteY733" fmla="*/ 223473 h 1933093"/>
                    <a:gd name="connsiteX734" fmla="*/ 971888 w 1595634"/>
                    <a:gd name="connsiteY734" fmla="*/ 222268 h 1933093"/>
                    <a:gd name="connsiteX735" fmla="*/ 1018960 w 1595634"/>
                    <a:gd name="connsiteY735" fmla="*/ 233032 h 1933093"/>
                    <a:gd name="connsiteX736" fmla="*/ 947067 w 1595634"/>
                    <a:gd name="connsiteY736" fmla="*/ 223794 h 1933093"/>
                    <a:gd name="connsiteX737" fmla="*/ 1392887 w 1595634"/>
                    <a:gd name="connsiteY737" fmla="*/ 251828 h 1933093"/>
                    <a:gd name="connsiteX738" fmla="*/ 1398189 w 1595634"/>
                    <a:gd name="connsiteY738" fmla="*/ 251909 h 1933093"/>
                    <a:gd name="connsiteX739" fmla="*/ 1397385 w 1595634"/>
                    <a:gd name="connsiteY739" fmla="*/ 251587 h 1933093"/>
                    <a:gd name="connsiteX740" fmla="*/ 1395458 w 1595634"/>
                    <a:gd name="connsiteY740" fmla="*/ 251427 h 1933093"/>
                    <a:gd name="connsiteX741" fmla="*/ 1395458 w 1595634"/>
                    <a:gd name="connsiteY741" fmla="*/ 250623 h 1933093"/>
                    <a:gd name="connsiteX742" fmla="*/ 1399876 w 1595634"/>
                    <a:gd name="connsiteY742" fmla="*/ 249017 h 1933093"/>
                    <a:gd name="connsiteX743" fmla="*/ 1392887 w 1595634"/>
                    <a:gd name="connsiteY743" fmla="*/ 251828 h 1933093"/>
                    <a:gd name="connsiteX744" fmla="*/ 1305330 w 1595634"/>
                    <a:gd name="connsiteY744" fmla="*/ 306532 h 1933093"/>
                    <a:gd name="connsiteX745" fmla="*/ 1333123 w 1595634"/>
                    <a:gd name="connsiteY745" fmla="*/ 270304 h 1933093"/>
                    <a:gd name="connsiteX746" fmla="*/ 1332962 w 1595634"/>
                    <a:gd name="connsiteY746" fmla="*/ 261869 h 1933093"/>
                    <a:gd name="connsiteX747" fmla="*/ 1345172 w 1595634"/>
                    <a:gd name="connsiteY747" fmla="*/ 266127 h 1933093"/>
                    <a:gd name="connsiteX748" fmla="*/ 1352081 w 1595634"/>
                    <a:gd name="connsiteY748" fmla="*/ 255925 h 1933093"/>
                    <a:gd name="connsiteX749" fmla="*/ 1355535 w 1595634"/>
                    <a:gd name="connsiteY749" fmla="*/ 254077 h 1933093"/>
                    <a:gd name="connsiteX750" fmla="*/ 1366941 w 1595634"/>
                    <a:gd name="connsiteY750" fmla="*/ 251748 h 1933093"/>
                    <a:gd name="connsiteX751" fmla="*/ 1389674 w 1595634"/>
                    <a:gd name="connsiteY751" fmla="*/ 237048 h 1933093"/>
                    <a:gd name="connsiteX752" fmla="*/ 1429677 w 1595634"/>
                    <a:gd name="connsiteY752" fmla="*/ 233353 h 1933093"/>
                    <a:gd name="connsiteX753" fmla="*/ 1438433 w 1595634"/>
                    <a:gd name="connsiteY753" fmla="*/ 236968 h 1933093"/>
                    <a:gd name="connsiteX754" fmla="*/ 1323082 w 1595634"/>
                    <a:gd name="connsiteY754" fmla="*/ 326051 h 1933093"/>
                    <a:gd name="connsiteX755" fmla="*/ 1305330 w 1595634"/>
                    <a:gd name="connsiteY755" fmla="*/ 306532 h 1933093"/>
                    <a:gd name="connsiteX756" fmla="*/ 1068041 w 1595634"/>
                    <a:gd name="connsiteY756" fmla="*/ 230622 h 1933093"/>
                    <a:gd name="connsiteX757" fmla="*/ 1067238 w 1595634"/>
                    <a:gd name="connsiteY757" fmla="*/ 229819 h 1933093"/>
                    <a:gd name="connsiteX758" fmla="*/ 1083544 w 1595634"/>
                    <a:gd name="connsiteY758" fmla="*/ 219376 h 1933093"/>
                    <a:gd name="connsiteX759" fmla="*/ 1084588 w 1595634"/>
                    <a:gd name="connsiteY759" fmla="*/ 210700 h 1933093"/>
                    <a:gd name="connsiteX760" fmla="*/ 1083303 w 1595634"/>
                    <a:gd name="connsiteY760" fmla="*/ 209977 h 1933093"/>
                    <a:gd name="connsiteX761" fmla="*/ 1085633 w 1595634"/>
                    <a:gd name="connsiteY761" fmla="*/ 209576 h 1933093"/>
                    <a:gd name="connsiteX762" fmla="*/ 1084267 w 1595634"/>
                    <a:gd name="connsiteY762" fmla="*/ 209335 h 1933093"/>
                    <a:gd name="connsiteX763" fmla="*/ 1093344 w 1595634"/>
                    <a:gd name="connsiteY763" fmla="*/ 202346 h 1933093"/>
                    <a:gd name="connsiteX764" fmla="*/ 1060892 w 1595634"/>
                    <a:gd name="connsiteY764" fmla="*/ 182023 h 1933093"/>
                    <a:gd name="connsiteX765" fmla="*/ 1070692 w 1595634"/>
                    <a:gd name="connsiteY765" fmla="*/ 175115 h 1933093"/>
                    <a:gd name="connsiteX766" fmla="*/ 1079528 w 1595634"/>
                    <a:gd name="connsiteY766" fmla="*/ 177284 h 1933093"/>
                    <a:gd name="connsiteX767" fmla="*/ 1083705 w 1595634"/>
                    <a:gd name="connsiteY767" fmla="*/ 168207 h 1933093"/>
                    <a:gd name="connsiteX768" fmla="*/ 1114952 w 1595634"/>
                    <a:gd name="connsiteY768" fmla="*/ 182023 h 1933093"/>
                    <a:gd name="connsiteX769" fmla="*/ 1126761 w 1595634"/>
                    <a:gd name="connsiteY769" fmla="*/ 190297 h 1933093"/>
                    <a:gd name="connsiteX770" fmla="*/ 1126198 w 1595634"/>
                    <a:gd name="connsiteY770" fmla="*/ 189012 h 1933093"/>
                    <a:gd name="connsiteX771" fmla="*/ 1198493 w 1595634"/>
                    <a:gd name="connsiteY771" fmla="*/ 222428 h 1933093"/>
                    <a:gd name="connsiteX772" fmla="*/ 1200984 w 1595634"/>
                    <a:gd name="connsiteY772" fmla="*/ 233915 h 1933093"/>
                    <a:gd name="connsiteX773" fmla="*/ 1224118 w 1595634"/>
                    <a:gd name="connsiteY773" fmla="*/ 230461 h 1933093"/>
                    <a:gd name="connsiteX774" fmla="*/ 1226849 w 1595634"/>
                    <a:gd name="connsiteY774" fmla="*/ 229578 h 1933093"/>
                    <a:gd name="connsiteX775" fmla="*/ 1238898 w 1595634"/>
                    <a:gd name="connsiteY775" fmla="*/ 239538 h 1933093"/>
                    <a:gd name="connsiteX776" fmla="*/ 1236730 w 1595634"/>
                    <a:gd name="connsiteY776" fmla="*/ 239137 h 1933093"/>
                    <a:gd name="connsiteX777" fmla="*/ 1238657 w 1595634"/>
                    <a:gd name="connsiteY777" fmla="*/ 239940 h 1933093"/>
                    <a:gd name="connsiteX778" fmla="*/ 1178170 w 1595634"/>
                    <a:gd name="connsiteY778" fmla="*/ 280104 h 1933093"/>
                    <a:gd name="connsiteX779" fmla="*/ 1173270 w 1595634"/>
                    <a:gd name="connsiteY779" fmla="*/ 283237 h 1933093"/>
                    <a:gd name="connsiteX780" fmla="*/ 1155679 w 1595634"/>
                    <a:gd name="connsiteY780" fmla="*/ 281871 h 1933093"/>
                    <a:gd name="connsiteX781" fmla="*/ 1156241 w 1595634"/>
                    <a:gd name="connsiteY781" fmla="*/ 283960 h 1933093"/>
                    <a:gd name="connsiteX782" fmla="*/ 1153269 w 1595634"/>
                    <a:gd name="connsiteY782" fmla="*/ 283478 h 1933093"/>
                    <a:gd name="connsiteX783" fmla="*/ 1121298 w 1595634"/>
                    <a:gd name="connsiteY783" fmla="*/ 278497 h 1933093"/>
                    <a:gd name="connsiteX784" fmla="*/ 1122744 w 1595634"/>
                    <a:gd name="connsiteY784" fmla="*/ 276489 h 1933093"/>
                    <a:gd name="connsiteX785" fmla="*/ 1118246 w 1595634"/>
                    <a:gd name="connsiteY785" fmla="*/ 273035 h 1933093"/>
                    <a:gd name="connsiteX786" fmla="*/ 1119531 w 1595634"/>
                    <a:gd name="connsiteY786" fmla="*/ 272553 h 1933093"/>
                    <a:gd name="connsiteX787" fmla="*/ 1115033 w 1595634"/>
                    <a:gd name="connsiteY787" fmla="*/ 269260 h 1933093"/>
                    <a:gd name="connsiteX788" fmla="*/ 1118487 w 1595634"/>
                    <a:gd name="connsiteY788" fmla="*/ 267332 h 1933093"/>
                    <a:gd name="connsiteX789" fmla="*/ 1115675 w 1595634"/>
                    <a:gd name="connsiteY789" fmla="*/ 263797 h 1933093"/>
                    <a:gd name="connsiteX790" fmla="*/ 1118406 w 1595634"/>
                    <a:gd name="connsiteY790" fmla="*/ 263315 h 1933093"/>
                    <a:gd name="connsiteX791" fmla="*/ 1108606 w 1595634"/>
                    <a:gd name="connsiteY791" fmla="*/ 254559 h 1933093"/>
                    <a:gd name="connsiteX792" fmla="*/ 1083062 w 1595634"/>
                    <a:gd name="connsiteY792" fmla="*/ 229658 h 1933093"/>
                    <a:gd name="connsiteX793" fmla="*/ 1068041 w 1595634"/>
                    <a:gd name="connsiteY793" fmla="*/ 230622 h 1933093"/>
                    <a:gd name="connsiteX794" fmla="*/ 1595394 w 1595634"/>
                    <a:gd name="connsiteY794" fmla="*/ 272714 h 1933093"/>
                    <a:gd name="connsiteX795" fmla="*/ 1594591 w 1595634"/>
                    <a:gd name="connsiteY795" fmla="*/ 270545 h 1933093"/>
                    <a:gd name="connsiteX796" fmla="*/ 1594671 w 1595634"/>
                    <a:gd name="connsiteY796" fmla="*/ 270625 h 1933093"/>
                    <a:gd name="connsiteX797" fmla="*/ 1595394 w 1595634"/>
                    <a:gd name="connsiteY797" fmla="*/ 272714 h 1933093"/>
                    <a:gd name="connsiteX798" fmla="*/ 1581497 w 1595634"/>
                    <a:gd name="connsiteY798" fmla="*/ 273115 h 1933093"/>
                    <a:gd name="connsiteX799" fmla="*/ 1581658 w 1595634"/>
                    <a:gd name="connsiteY799" fmla="*/ 266528 h 1933093"/>
                    <a:gd name="connsiteX800" fmla="*/ 1585514 w 1595634"/>
                    <a:gd name="connsiteY800" fmla="*/ 254238 h 1933093"/>
                    <a:gd name="connsiteX801" fmla="*/ 1587923 w 1595634"/>
                    <a:gd name="connsiteY801" fmla="*/ 254961 h 1933093"/>
                    <a:gd name="connsiteX802" fmla="*/ 1588727 w 1595634"/>
                    <a:gd name="connsiteY802" fmla="*/ 257210 h 1933093"/>
                    <a:gd name="connsiteX803" fmla="*/ 1595153 w 1595634"/>
                    <a:gd name="connsiteY803" fmla="*/ 273517 h 1933093"/>
                    <a:gd name="connsiteX804" fmla="*/ 1595394 w 1595634"/>
                    <a:gd name="connsiteY804" fmla="*/ 272794 h 1933093"/>
                    <a:gd name="connsiteX805" fmla="*/ 1595635 w 1595634"/>
                    <a:gd name="connsiteY805" fmla="*/ 273356 h 1933093"/>
                    <a:gd name="connsiteX806" fmla="*/ 1581497 w 1595634"/>
                    <a:gd name="connsiteY806" fmla="*/ 273115 h 1933093"/>
                    <a:gd name="connsiteX807" fmla="*/ 909473 w 1595634"/>
                    <a:gd name="connsiteY807" fmla="*/ 158809 h 1933093"/>
                    <a:gd name="connsiteX808" fmla="*/ 909795 w 1595634"/>
                    <a:gd name="connsiteY808" fmla="*/ 139128 h 1933093"/>
                    <a:gd name="connsiteX809" fmla="*/ 919514 w 1595634"/>
                    <a:gd name="connsiteY809" fmla="*/ 134871 h 1933093"/>
                    <a:gd name="connsiteX810" fmla="*/ 922326 w 1595634"/>
                    <a:gd name="connsiteY810" fmla="*/ 137040 h 1933093"/>
                    <a:gd name="connsiteX811" fmla="*/ 964337 w 1595634"/>
                    <a:gd name="connsiteY811" fmla="*/ 151981 h 1933093"/>
                    <a:gd name="connsiteX812" fmla="*/ 991167 w 1595634"/>
                    <a:gd name="connsiteY812" fmla="*/ 154390 h 1933093"/>
                    <a:gd name="connsiteX813" fmla="*/ 972531 w 1595634"/>
                    <a:gd name="connsiteY813" fmla="*/ 155515 h 1933093"/>
                    <a:gd name="connsiteX814" fmla="*/ 970924 w 1595634"/>
                    <a:gd name="connsiteY814" fmla="*/ 157443 h 1933093"/>
                    <a:gd name="connsiteX815" fmla="*/ 967631 w 1595634"/>
                    <a:gd name="connsiteY815" fmla="*/ 158648 h 1933093"/>
                    <a:gd name="connsiteX816" fmla="*/ 965382 w 1595634"/>
                    <a:gd name="connsiteY816" fmla="*/ 160897 h 1933093"/>
                    <a:gd name="connsiteX817" fmla="*/ 943613 w 1595634"/>
                    <a:gd name="connsiteY817" fmla="*/ 172786 h 1933093"/>
                    <a:gd name="connsiteX818" fmla="*/ 921523 w 1595634"/>
                    <a:gd name="connsiteY818" fmla="*/ 159853 h 1933093"/>
                    <a:gd name="connsiteX819" fmla="*/ 916783 w 1595634"/>
                    <a:gd name="connsiteY819" fmla="*/ 171099 h 1933093"/>
                    <a:gd name="connsiteX820" fmla="*/ 909473 w 1595634"/>
                    <a:gd name="connsiteY820" fmla="*/ 158809 h 1933093"/>
                    <a:gd name="connsiteX821" fmla="*/ 940159 w 1595634"/>
                    <a:gd name="connsiteY821" fmla="*/ 100651 h 1933093"/>
                    <a:gd name="connsiteX822" fmla="*/ 939757 w 1595634"/>
                    <a:gd name="connsiteY822" fmla="*/ 98723 h 1933093"/>
                    <a:gd name="connsiteX823" fmla="*/ 946424 w 1595634"/>
                    <a:gd name="connsiteY823" fmla="*/ 97839 h 1933093"/>
                    <a:gd name="connsiteX824" fmla="*/ 971969 w 1595634"/>
                    <a:gd name="connsiteY824" fmla="*/ 88602 h 1933093"/>
                    <a:gd name="connsiteX825" fmla="*/ 969398 w 1595634"/>
                    <a:gd name="connsiteY825" fmla="*/ 57756 h 1933093"/>
                    <a:gd name="connsiteX826" fmla="*/ 960803 w 1595634"/>
                    <a:gd name="connsiteY826" fmla="*/ 41449 h 1933093"/>
                    <a:gd name="connsiteX827" fmla="*/ 967390 w 1595634"/>
                    <a:gd name="connsiteY827" fmla="*/ 41931 h 1933093"/>
                    <a:gd name="connsiteX828" fmla="*/ 995264 w 1595634"/>
                    <a:gd name="connsiteY828" fmla="*/ 51731 h 1933093"/>
                    <a:gd name="connsiteX829" fmla="*/ 1008518 w 1595634"/>
                    <a:gd name="connsiteY829" fmla="*/ 65869 h 1933093"/>
                    <a:gd name="connsiteX830" fmla="*/ 1008919 w 1595634"/>
                    <a:gd name="connsiteY830" fmla="*/ 78722 h 1933093"/>
                    <a:gd name="connsiteX831" fmla="*/ 997754 w 1595634"/>
                    <a:gd name="connsiteY831" fmla="*/ 81935 h 1933093"/>
                    <a:gd name="connsiteX832" fmla="*/ 1003055 w 1595634"/>
                    <a:gd name="connsiteY832" fmla="*/ 90931 h 1933093"/>
                    <a:gd name="connsiteX833" fmla="*/ 942649 w 1595634"/>
                    <a:gd name="connsiteY833" fmla="*/ 103543 h 1933093"/>
                    <a:gd name="connsiteX834" fmla="*/ 940159 w 1595634"/>
                    <a:gd name="connsiteY834" fmla="*/ 100651 h 1933093"/>
                    <a:gd name="connsiteX835" fmla="*/ 1158329 w 1595634"/>
                    <a:gd name="connsiteY835" fmla="*/ 40325 h 1933093"/>
                    <a:gd name="connsiteX836" fmla="*/ 1163631 w 1595634"/>
                    <a:gd name="connsiteY836" fmla="*/ 35907 h 1933093"/>
                    <a:gd name="connsiteX837" fmla="*/ 1163952 w 1595634"/>
                    <a:gd name="connsiteY837" fmla="*/ 36790 h 1933093"/>
                    <a:gd name="connsiteX838" fmla="*/ 1184677 w 1595634"/>
                    <a:gd name="connsiteY838" fmla="*/ 40967 h 1933093"/>
                    <a:gd name="connsiteX839" fmla="*/ 1183070 w 1595634"/>
                    <a:gd name="connsiteY839" fmla="*/ 40887 h 1933093"/>
                    <a:gd name="connsiteX840" fmla="*/ 1187087 w 1595634"/>
                    <a:gd name="connsiteY840" fmla="*/ 42815 h 1933093"/>
                    <a:gd name="connsiteX841" fmla="*/ 1189095 w 1595634"/>
                    <a:gd name="connsiteY841" fmla="*/ 55185 h 1933093"/>
                    <a:gd name="connsiteX842" fmla="*/ 1158329 w 1595634"/>
                    <a:gd name="connsiteY842" fmla="*/ 40325 h 1933093"/>
                    <a:gd name="connsiteX843" fmla="*/ 1170780 w 1595634"/>
                    <a:gd name="connsiteY843" fmla="*/ 33015 h 1933093"/>
                    <a:gd name="connsiteX844" fmla="*/ 1169254 w 1595634"/>
                    <a:gd name="connsiteY844" fmla="*/ 33015 h 1933093"/>
                    <a:gd name="connsiteX845" fmla="*/ 1169334 w 1595634"/>
                    <a:gd name="connsiteY845" fmla="*/ 32935 h 1933093"/>
                    <a:gd name="connsiteX846" fmla="*/ 1170780 w 1595634"/>
                    <a:gd name="connsiteY846" fmla="*/ 33015 h 1933093"/>
                    <a:gd name="connsiteX847" fmla="*/ 982893 w 1595634"/>
                    <a:gd name="connsiteY847" fmla="*/ 0 h 1933093"/>
                    <a:gd name="connsiteX848" fmla="*/ 982732 w 1595634"/>
                    <a:gd name="connsiteY848" fmla="*/ 80 h 1933093"/>
                    <a:gd name="connsiteX849" fmla="*/ 982732 w 1595634"/>
                    <a:gd name="connsiteY849" fmla="*/ 80 h 1933093"/>
                    <a:gd name="connsiteX850" fmla="*/ 982893 w 1595634"/>
                    <a:gd name="connsiteY850" fmla="*/ 0 h 1933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</a:cxnLst>
                  <a:rect l="l" t="t" r="r" b="b"/>
                  <a:pathLst>
                    <a:path w="1595634" h="1933093">
                      <a:moveTo>
                        <a:pt x="534583" y="1930362"/>
                      </a:moveTo>
                      <a:cubicBezTo>
                        <a:pt x="534663" y="1930362"/>
                        <a:pt x="534743" y="1930362"/>
                        <a:pt x="534824" y="1930442"/>
                      </a:cubicBezTo>
                      <a:cubicBezTo>
                        <a:pt x="519642" y="1932209"/>
                        <a:pt x="516429" y="1932049"/>
                        <a:pt x="516107" y="1932049"/>
                      </a:cubicBezTo>
                      <a:cubicBezTo>
                        <a:pt x="516830" y="1931808"/>
                        <a:pt x="516830" y="1931808"/>
                        <a:pt x="527112" y="1930041"/>
                      </a:cubicBezTo>
                      <a:cubicBezTo>
                        <a:pt x="523819" y="1930041"/>
                        <a:pt x="521891" y="1929880"/>
                        <a:pt x="518758" y="1929398"/>
                      </a:cubicBezTo>
                      <a:cubicBezTo>
                        <a:pt x="513858" y="1928675"/>
                        <a:pt x="510404" y="1928595"/>
                        <a:pt x="500042" y="1929237"/>
                      </a:cubicBezTo>
                      <a:cubicBezTo>
                        <a:pt x="504299" y="1928434"/>
                        <a:pt x="504299" y="1928434"/>
                        <a:pt x="529442" y="1926105"/>
                      </a:cubicBezTo>
                      <a:cubicBezTo>
                        <a:pt x="527514" y="1926587"/>
                        <a:pt x="527193" y="1926747"/>
                        <a:pt x="526871" y="1927069"/>
                      </a:cubicBezTo>
                      <a:cubicBezTo>
                        <a:pt x="527915" y="1927631"/>
                        <a:pt x="527915" y="1927631"/>
                        <a:pt x="532896" y="1926988"/>
                      </a:cubicBezTo>
                      <a:cubicBezTo>
                        <a:pt x="545989" y="1925382"/>
                        <a:pt x="549042" y="1925061"/>
                        <a:pt x="549684" y="1925703"/>
                      </a:cubicBezTo>
                      <a:cubicBezTo>
                        <a:pt x="545266" y="1929318"/>
                        <a:pt x="539081" y="1927069"/>
                        <a:pt x="534502" y="1930282"/>
                      </a:cubicBezTo>
                      <a:cubicBezTo>
                        <a:pt x="534583" y="1930282"/>
                        <a:pt x="534583" y="1930282"/>
                        <a:pt x="534583" y="1930362"/>
                      </a:cubicBezTo>
                      <a:moveTo>
                        <a:pt x="492732" y="1930683"/>
                      </a:moveTo>
                      <a:cubicBezTo>
                        <a:pt x="489679" y="1930844"/>
                        <a:pt x="481406" y="1931166"/>
                        <a:pt x="471204" y="1931245"/>
                      </a:cubicBezTo>
                      <a:cubicBezTo>
                        <a:pt x="471686" y="1931245"/>
                        <a:pt x="472248" y="1931245"/>
                        <a:pt x="472730" y="1931245"/>
                      </a:cubicBezTo>
                      <a:cubicBezTo>
                        <a:pt x="481727" y="1931166"/>
                        <a:pt x="487751" y="1930924"/>
                        <a:pt x="492732" y="1930683"/>
                      </a:cubicBezTo>
                      <a:moveTo>
                        <a:pt x="463251" y="1932370"/>
                      </a:moveTo>
                      <a:cubicBezTo>
                        <a:pt x="462689" y="1932370"/>
                        <a:pt x="461806" y="1932451"/>
                        <a:pt x="458110" y="1932209"/>
                      </a:cubicBezTo>
                      <a:cubicBezTo>
                        <a:pt x="456665" y="1932129"/>
                        <a:pt x="456584" y="1932049"/>
                        <a:pt x="456504" y="1931969"/>
                      </a:cubicBezTo>
                      <a:cubicBezTo>
                        <a:pt x="457227" y="1931567"/>
                        <a:pt x="466304" y="1931326"/>
                        <a:pt x="467348" y="1931888"/>
                      </a:cubicBezTo>
                      <a:cubicBezTo>
                        <a:pt x="467107" y="1931969"/>
                        <a:pt x="466947" y="1932129"/>
                        <a:pt x="463251" y="1932370"/>
                      </a:cubicBezTo>
                      <a:moveTo>
                        <a:pt x="432165" y="1932852"/>
                      </a:moveTo>
                      <a:cubicBezTo>
                        <a:pt x="432004" y="1932852"/>
                        <a:pt x="431683" y="1932852"/>
                        <a:pt x="431522" y="1932852"/>
                      </a:cubicBezTo>
                      <a:cubicBezTo>
                        <a:pt x="431602" y="1932852"/>
                        <a:pt x="431763" y="1932772"/>
                        <a:pt x="431843" y="1932772"/>
                      </a:cubicBezTo>
                      <a:cubicBezTo>
                        <a:pt x="444214" y="1929880"/>
                        <a:pt x="447347" y="1930763"/>
                        <a:pt x="448069" y="1931567"/>
                      </a:cubicBezTo>
                      <a:cubicBezTo>
                        <a:pt x="447828" y="1931727"/>
                        <a:pt x="447427" y="1931647"/>
                        <a:pt x="447106" y="1931647"/>
                      </a:cubicBezTo>
                      <a:cubicBezTo>
                        <a:pt x="446142" y="1931647"/>
                        <a:pt x="444133" y="1931808"/>
                        <a:pt x="441563" y="1932129"/>
                      </a:cubicBezTo>
                      <a:cubicBezTo>
                        <a:pt x="440117" y="1932290"/>
                        <a:pt x="438751" y="1932531"/>
                        <a:pt x="437306" y="1932691"/>
                      </a:cubicBezTo>
                      <a:cubicBezTo>
                        <a:pt x="437065" y="1932691"/>
                        <a:pt x="436743" y="1932772"/>
                        <a:pt x="436502" y="1932772"/>
                      </a:cubicBezTo>
                      <a:cubicBezTo>
                        <a:pt x="435378" y="1932852"/>
                        <a:pt x="434012" y="1932852"/>
                        <a:pt x="432165" y="1932852"/>
                      </a:cubicBezTo>
                      <a:moveTo>
                        <a:pt x="615553" y="1928434"/>
                      </a:moveTo>
                      <a:cubicBezTo>
                        <a:pt x="613224" y="1928916"/>
                        <a:pt x="613224" y="1928916"/>
                        <a:pt x="586073" y="1931245"/>
                      </a:cubicBezTo>
                      <a:lnTo>
                        <a:pt x="556432" y="1933093"/>
                      </a:lnTo>
                      <a:lnTo>
                        <a:pt x="556512" y="1933093"/>
                      </a:lnTo>
                      <a:cubicBezTo>
                        <a:pt x="559966" y="1932772"/>
                        <a:pt x="564143" y="1931808"/>
                        <a:pt x="570971" y="1929960"/>
                      </a:cubicBezTo>
                      <a:cubicBezTo>
                        <a:pt x="570088" y="1930121"/>
                        <a:pt x="569284" y="1930282"/>
                        <a:pt x="568401" y="1930362"/>
                      </a:cubicBezTo>
                      <a:cubicBezTo>
                        <a:pt x="568481" y="1930282"/>
                        <a:pt x="568561" y="1930201"/>
                        <a:pt x="568642" y="1930201"/>
                      </a:cubicBezTo>
                      <a:cubicBezTo>
                        <a:pt x="568320" y="1929960"/>
                        <a:pt x="568160" y="1929800"/>
                        <a:pt x="564224" y="1930362"/>
                      </a:cubicBezTo>
                      <a:cubicBezTo>
                        <a:pt x="588804" y="1924819"/>
                        <a:pt x="592580" y="1923936"/>
                        <a:pt x="603424" y="1925703"/>
                      </a:cubicBezTo>
                      <a:cubicBezTo>
                        <a:pt x="612983" y="1927229"/>
                        <a:pt x="615875" y="1927711"/>
                        <a:pt x="619088" y="1927309"/>
                      </a:cubicBezTo>
                      <a:cubicBezTo>
                        <a:pt x="617963" y="1927791"/>
                        <a:pt x="617080" y="1928113"/>
                        <a:pt x="615553" y="1928434"/>
                      </a:cubicBezTo>
                      <a:moveTo>
                        <a:pt x="682547" y="1854452"/>
                      </a:moveTo>
                      <a:lnTo>
                        <a:pt x="681984" y="1854211"/>
                      </a:lnTo>
                      <a:cubicBezTo>
                        <a:pt x="665357" y="1845375"/>
                        <a:pt x="634430" y="1814770"/>
                        <a:pt x="637804" y="1799990"/>
                      </a:cubicBezTo>
                      <a:cubicBezTo>
                        <a:pt x="639973" y="1799427"/>
                        <a:pt x="642945" y="1798704"/>
                        <a:pt x="645114" y="1798142"/>
                      </a:cubicBezTo>
                      <a:cubicBezTo>
                        <a:pt x="627362" y="1777658"/>
                        <a:pt x="626317" y="1749222"/>
                        <a:pt x="611698" y="1727293"/>
                      </a:cubicBezTo>
                      <a:cubicBezTo>
                        <a:pt x="613545" y="1724963"/>
                        <a:pt x="615955" y="1721830"/>
                        <a:pt x="617803" y="1719421"/>
                      </a:cubicBezTo>
                      <a:cubicBezTo>
                        <a:pt x="601014" y="1703195"/>
                        <a:pt x="595793" y="1677650"/>
                        <a:pt x="574425" y="1665039"/>
                      </a:cubicBezTo>
                      <a:cubicBezTo>
                        <a:pt x="562135" y="1670019"/>
                        <a:pt x="548158" y="1661665"/>
                        <a:pt x="536350" y="1669858"/>
                      </a:cubicBezTo>
                      <a:cubicBezTo>
                        <a:pt x="534824" y="1661745"/>
                        <a:pt x="538278" y="1653472"/>
                        <a:pt x="535788" y="1645358"/>
                      </a:cubicBezTo>
                      <a:cubicBezTo>
                        <a:pt x="537635" y="1646965"/>
                        <a:pt x="540125" y="1649134"/>
                        <a:pt x="542053" y="1650821"/>
                      </a:cubicBezTo>
                      <a:cubicBezTo>
                        <a:pt x="544302" y="1650258"/>
                        <a:pt x="547275" y="1649535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33378" y="1610978"/>
                        <a:pt x="529281" y="1582863"/>
                        <a:pt x="534984" y="1548804"/>
                      </a:cubicBezTo>
                      <a:cubicBezTo>
                        <a:pt x="521650" y="1546796"/>
                        <a:pt x="511047" y="1545270"/>
                        <a:pt x="474417" y="1512737"/>
                      </a:cubicBezTo>
                      <a:cubicBezTo>
                        <a:pt x="472007" y="1513299"/>
                        <a:pt x="468714" y="1514102"/>
                        <a:pt x="466304" y="1514665"/>
                      </a:cubicBezTo>
                      <a:cubicBezTo>
                        <a:pt x="465420" y="1512656"/>
                        <a:pt x="464215" y="1509926"/>
                        <a:pt x="463332" y="1507837"/>
                      </a:cubicBezTo>
                      <a:cubicBezTo>
                        <a:pt x="458351" y="1508479"/>
                        <a:pt x="451604" y="1508319"/>
                        <a:pt x="446624" y="1507837"/>
                      </a:cubicBezTo>
                      <a:cubicBezTo>
                        <a:pt x="445660" y="1505507"/>
                        <a:pt x="444374" y="1502294"/>
                        <a:pt x="443410" y="1499964"/>
                      </a:cubicBezTo>
                      <a:cubicBezTo>
                        <a:pt x="444856" y="1497153"/>
                        <a:pt x="446865" y="1493378"/>
                        <a:pt x="448310" y="1490566"/>
                      </a:cubicBezTo>
                      <a:cubicBezTo>
                        <a:pt x="437386" y="1498599"/>
                        <a:pt x="435699" y="1499482"/>
                        <a:pt x="424453" y="1505186"/>
                      </a:cubicBezTo>
                      <a:cubicBezTo>
                        <a:pt x="419714" y="1502857"/>
                        <a:pt x="414091" y="1498037"/>
                        <a:pt x="411119" y="1493699"/>
                      </a:cubicBezTo>
                      <a:cubicBezTo>
                        <a:pt x="412163" y="1491209"/>
                        <a:pt x="413528" y="1487915"/>
                        <a:pt x="414573" y="1485425"/>
                      </a:cubicBezTo>
                      <a:cubicBezTo>
                        <a:pt x="412645" y="1486550"/>
                        <a:pt x="410074" y="1488076"/>
                        <a:pt x="408146" y="1489201"/>
                      </a:cubicBezTo>
                      <a:cubicBezTo>
                        <a:pt x="390715" y="1484140"/>
                        <a:pt x="383887" y="1460845"/>
                        <a:pt x="383887" y="1460604"/>
                      </a:cubicBezTo>
                      <a:cubicBezTo>
                        <a:pt x="385655" y="1462050"/>
                        <a:pt x="388064" y="1463978"/>
                        <a:pt x="389832" y="1465424"/>
                      </a:cubicBezTo>
                      <a:cubicBezTo>
                        <a:pt x="432807" y="1401483"/>
                        <a:pt x="464938" y="1420199"/>
                        <a:pt x="475461" y="1426384"/>
                      </a:cubicBezTo>
                      <a:cubicBezTo>
                        <a:pt x="477470" y="1408471"/>
                        <a:pt x="480442" y="1381320"/>
                        <a:pt x="547997" y="1344771"/>
                      </a:cubicBezTo>
                      <a:cubicBezTo>
                        <a:pt x="568320" y="1333766"/>
                        <a:pt x="592017" y="1342522"/>
                        <a:pt x="612662" y="1333445"/>
                      </a:cubicBezTo>
                      <a:cubicBezTo>
                        <a:pt x="641820" y="1320592"/>
                        <a:pt x="661180" y="1293040"/>
                        <a:pt x="691303" y="1281633"/>
                      </a:cubicBezTo>
                      <a:lnTo>
                        <a:pt x="809465" y="1245566"/>
                      </a:lnTo>
                      <a:cubicBezTo>
                        <a:pt x="809786" y="1245485"/>
                        <a:pt x="899673" y="1247654"/>
                        <a:pt x="1019924" y="1270709"/>
                      </a:cubicBezTo>
                      <a:cubicBezTo>
                        <a:pt x="1015426" y="1267576"/>
                        <a:pt x="1009080" y="1263961"/>
                        <a:pt x="1004180" y="1261551"/>
                      </a:cubicBezTo>
                      <a:cubicBezTo>
                        <a:pt x="1027877" y="1260909"/>
                        <a:pt x="1044424" y="1264282"/>
                        <a:pt x="1077841" y="1276733"/>
                      </a:cubicBezTo>
                      <a:cubicBezTo>
                        <a:pt x="1078724" y="1261792"/>
                        <a:pt x="1080010" y="1241309"/>
                        <a:pt x="1097923" y="1243718"/>
                      </a:cubicBezTo>
                      <a:cubicBezTo>
                        <a:pt x="1226608" y="1260909"/>
                        <a:pt x="1307097" y="1283722"/>
                        <a:pt x="1337139" y="1311435"/>
                      </a:cubicBezTo>
                      <a:cubicBezTo>
                        <a:pt x="1421886" y="1389594"/>
                        <a:pt x="1336577" y="1494422"/>
                        <a:pt x="1295610" y="1544868"/>
                      </a:cubicBezTo>
                      <a:cubicBezTo>
                        <a:pt x="1444538" y="1382525"/>
                        <a:pt x="1444538" y="1382525"/>
                        <a:pt x="1448233" y="1435381"/>
                      </a:cubicBezTo>
                      <a:cubicBezTo>
                        <a:pt x="1448394" y="1437791"/>
                        <a:pt x="1448072" y="1440924"/>
                        <a:pt x="1447992" y="1443333"/>
                      </a:cubicBezTo>
                      <a:cubicBezTo>
                        <a:pt x="1450804" y="1439879"/>
                        <a:pt x="1454900" y="1435461"/>
                        <a:pt x="1458113" y="1432328"/>
                      </a:cubicBezTo>
                      <a:cubicBezTo>
                        <a:pt x="1460202" y="1444538"/>
                        <a:pt x="1424858" y="1545751"/>
                        <a:pt x="1217692" y="1699901"/>
                      </a:cubicBezTo>
                      <a:cubicBezTo>
                        <a:pt x="1131259" y="1759504"/>
                        <a:pt x="1083223" y="1788503"/>
                        <a:pt x="985705" y="1832603"/>
                      </a:cubicBezTo>
                      <a:cubicBezTo>
                        <a:pt x="931564" y="1855014"/>
                        <a:pt x="931564" y="1855014"/>
                        <a:pt x="903208" y="1865055"/>
                      </a:cubicBezTo>
                      <a:cubicBezTo>
                        <a:pt x="856377" y="1880719"/>
                        <a:pt x="856377" y="1880719"/>
                        <a:pt x="832599" y="1887547"/>
                      </a:cubicBezTo>
                      <a:cubicBezTo>
                        <a:pt x="790186" y="1899034"/>
                        <a:pt x="790186" y="1899034"/>
                        <a:pt x="768899" y="1903854"/>
                      </a:cubicBezTo>
                      <a:cubicBezTo>
                        <a:pt x="728655" y="1912449"/>
                        <a:pt x="728655" y="1912449"/>
                        <a:pt x="708493" y="1916064"/>
                      </a:cubicBezTo>
                      <a:lnTo>
                        <a:pt x="693712" y="1918554"/>
                      </a:lnTo>
                      <a:lnTo>
                        <a:pt x="703834" y="1916786"/>
                      </a:lnTo>
                      <a:cubicBezTo>
                        <a:pt x="711786" y="1915180"/>
                        <a:pt x="722470" y="1913092"/>
                        <a:pt x="730422" y="1911565"/>
                      </a:cubicBezTo>
                      <a:cubicBezTo>
                        <a:pt x="702227" y="1915983"/>
                        <a:pt x="659734" y="1922650"/>
                        <a:pt x="644391" y="1913975"/>
                      </a:cubicBezTo>
                      <a:cubicBezTo>
                        <a:pt x="645998" y="1910923"/>
                        <a:pt x="648086" y="1906906"/>
                        <a:pt x="649693" y="1903854"/>
                      </a:cubicBezTo>
                      <a:cubicBezTo>
                        <a:pt x="625755" y="1910200"/>
                        <a:pt x="625755" y="1910200"/>
                        <a:pt x="620293" y="1907469"/>
                      </a:cubicBezTo>
                      <a:cubicBezTo>
                        <a:pt x="626558" y="1897267"/>
                        <a:pt x="626558" y="1897267"/>
                        <a:pt x="653709" y="1877104"/>
                      </a:cubicBezTo>
                      <a:cubicBezTo>
                        <a:pt x="645676" y="1881040"/>
                        <a:pt x="638447" y="1886262"/>
                        <a:pt x="630414" y="1890037"/>
                      </a:cubicBezTo>
                      <a:cubicBezTo>
                        <a:pt x="611135" y="1899275"/>
                        <a:pt x="588563" y="1900480"/>
                        <a:pt x="571132" y="1914216"/>
                      </a:cubicBezTo>
                      <a:cubicBezTo>
                        <a:pt x="434494" y="1927470"/>
                        <a:pt x="434494" y="1927470"/>
                        <a:pt x="344928" y="1920401"/>
                      </a:cubicBezTo>
                      <a:cubicBezTo>
                        <a:pt x="338663" y="1919839"/>
                        <a:pt x="338663" y="1919839"/>
                        <a:pt x="338663" y="1919839"/>
                      </a:cubicBezTo>
                      <a:cubicBezTo>
                        <a:pt x="338663" y="1919839"/>
                        <a:pt x="338663" y="1919839"/>
                        <a:pt x="338663" y="1919839"/>
                      </a:cubicBezTo>
                      <a:lnTo>
                        <a:pt x="338663" y="1919839"/>
                      </a:lnTo>
                      <a:lnTo>
                        <a:pt x="338663" y="1919839"/>
                      </a:lnTo>
                      <a:lnTo>
                        <a:pt x="338663" y="1919839"/>
                      </a:lnTo>
                      <a:lnTo>
                        <a:pt x="338663" y="1919839"/>
                      </a:lnTo>
                      <a:lnTo>
                        <a:pt x="338663" y="1919839"/>
                      </a:lnTo>
                      <a:lnTo>
                        <a:pt x="338663" y="1919839"/>
                      </a:lnTo>
                      <a:cubicBezTo>
                        <a:pt x="334084" y="1919437"/>
                        <a:pt x="327979" y="1918956"/>
                        <a:pt x="323400" y="1918554"/>
                      </a:cubicBezTo>
                      <a:cubicBezTo>
                        <a:pt x="344366" y="1921847"/>
                        <a:pt x="344366" y="1921847"/>
                        <a:pt x="370232" y="1924658"/>
                      </a:cubicBezTo>
                      <a:cubicBezTo>
                        <a:pt x="357700" y="1924177"/>
                        <a:pt x="355050" y="1924097"/>
                        <a:pt x="325248" y="1920401"/>
                      </a:cubicBezTo>
                      <a:cubicBezTo>
                        <a:pt x="340832" y="1922972"/>
                        <a:pt x="356496" y="1924980"/>
                        <a:pt x="372079" y="1927711"/>
                      </a:cubicBezTo>
                      <a:cubicBezTo>
                        <a:pt x="320268" y="1924337"/>
                        <a:pt x="256889" y="1911003"/>
                        <a:pt x="226364" y="1904576"/>
                      </a:cubicBezTo>
                      <a:cubicBezTo>
                        <a:pt x="190136" y="1895339"/>
                        <a:pt x="142100" y="1882165"/>
                        <a:pt x="106435" y="1871080"/>
                      </a:cubicBezTo>
                      <a:lnTo>
                        <a:pt x="106113" y="1870999"/>
                      </a:lnTo>
                      <a:cubicBezTo>
                        <a:pt x="78561" y="1861440"/>
                        <a:pt x="69484" y="1856701"/>
                        <a:pt x="26107" y="1833888"/>
                      </a:cubicBezTo>
                      <a:cubicBezTo>
                        <a:pt x="42654" y="1840073"/>
                        <a:pt x="58318" y="1848347"/>
                        <a:pt x="74384" y="1855577"/>
                      </a:cubicBezTo>
                      <a:cubicBezTo>
                        <a:pt x="72135" y="1854050"/>
                        <a:pt x="69162" y="1852042"/>
                        <a:pt x="66913" y="1850596"/>
                      </a:cubicBezTo>
                      <a:cubicBezTo>
                        <a:pt x="85389" y="1854452"/>
                        <a:pt x="102739" y="1862324"/>
                        <a:pt x="120974" y="1866903"/>
                      </a:cubicBezTo>
                      <a:cubicBezTo>
                        <a:pt x="112459" y="1854854"/>
                        <a:pt x="112459" y="1854854"/>
                        <a:pt x="54944" y="1828988"/>
                      </a:cubicBezTo>
                      <a:cubicBezTo>
                        <a:pt x="60005" y="1829872"/>
                        <a:pt x="66753" y="1831237"/>
                        <a:pt x="71813" y="1832281"/>
                      </a:cubicBezTo>
                      <a:cubicBezTo>
                        <a:pt x="60407" y="1823044"/>
                        <a:pt x="45867" y="1820072"/>
                        <a:pt x="33256" y="1813164"/>
                      </a:cubicBezTo>
                      <a:cubicBezTo>
                        <a:pt x="68439" y="1802400"/>
                        <a:pt x="78079" y="1726731"/>
                        <a:pt x="119849" y="1753480"/>
                      </a:cubicBezTo>
                      <a:cubicBezTo>
                        <a:pt x="120010" y="1751150"/>
                        <a:pt x="120251" y="1748017"/>
                        <a:pt x="120412" y="1745688"/>
                      </a:cubicBezTo>
                      <a:cubicBezTo>
                        <a:pt x="128766" y="1739503"/>
                        <a:pt x="132541" y="1736691"/>
                        <a:pt x="161379" y="1750588"/>
                      </a:cubicBezTo>
                      <a:cubicBezTo>
                        <a:pt x="160254" y="1748419"/>
                        <a:pt x="158728" y="1745527"/>
                        <a:pt x="157604" y="1743359"/>
                      </a:cubicBezTo>
                      <a:cubicBezTo>
                        <a:pt x="158648" y="1741430"/>
                        <a:pt x="160013" y="1738860"/>
                        <a:pt x="161058" y="1736932"/>
                      </a:cubicBezTo>
                      <a:cubicBezTo>
                        <a:pt x="163307" y="1736530"/>
                        <a:pt x="166279" y="1736049"/>
                        <a:pt x="168528" y="1735727"/>
                      </a:cubicBezTo>
                      <a:cubicBezTo>
                        <a:pt x="189413" y="1755568"/>
                        <a:pt x="228212" y="1792439"/>
                        <a:pt x="238735" y="1724803"/>
                      </a:cubicBezTo>
                      <a:cubicBezTo>
                        <a:pt x="274400" y="1737494"/>
                        <a:pt x="276168" y="1740948"/>
                        <a:pt x="282192" y="1752436"/>
                      </a:cubicBezTo>
                      <a:cubicBezTo>
                        <a:pt x="280746" y="1754926"/>
                        <a:pt x="278738" y="1758300"/>
                        <a:pt x="277292" y="1760870"/>
                      </a:cubicBezTo>
                      <a:cubicBezTo>
                        <a:pt x="280264" y="1761994"/>
                        <a:pt x="280264" y="1761994"/>
                        <a:pt x="412243" y="1824570"/>
                      </a:cubicBezTo>
                      <a:cubicBezTo>
                        <a:pt x="441081" y="1812842"/>
                        <a:pt x="454335" y="1817421"/>
                        <a:pt x="476265" y="1825132"/>
                      </a:cubicBezTo>
                      <a:cubicBezTo>
                        <a:pt x="510083" y="1836940"/>
                        <a:pt x="543820" y="1842242"/>
                        <a:pt x="633386" y="1849632"/>
                      </a:cubicBezTo>
                      <a:cubicBezTo>
                        <a:pt x="619650" y="1846660"/>
                        <a:pt x="604870" y="1837422"/>
                        <a:pt x="594909" y="1830113"/>
                      </a:cubicBezTo>
                      <a:cubicBezTo>
                        <a:pt x="594668" y="1828345"/>
                        <a:pt x="595391" y="1828587"/>
                        <a:pt x="596194" y="1828908"/>
                      </a:cubicBezTo>
                      <a:lnTo>
                        <a:pt x="604227" y="1833165"/>
                      </a:lnTo>
                      <a:cubicBezTo>
                        <a:pt x="621257" y="1840797"/>
                        <a:pt x="639089" y="1848749"/>
                        <a:pt x="682547" y="1854452"/>
                      </a:cubicBezTo>
                      <a:moveTo>
                        <a:pt x="220982" y="959919"/>
                      </a:moveTo>
                      <a:cubicBezTo>
                        <a:pt x="220902" y="959839"/>
                        <a:pt x="220822" y="959839"/>
                        <a:pt x="220741" y="959759"/>
                      </a:cubicBezTo>
                      <a:cubicBezTo>
                        <a:pt x="222589" y="959438"/>
                        <a:pt x="223633" y="958714"/>
                        <a:pt x="223713" y="957429"/>
                      </a:cubicBezTo>
                      <a:cubicBezTo>
                        <a:pt x="223231" y="957671"/>
                        <a:pt x="222589" y="957911"/>
                        <a:pt x="222107" y="958153"/>
                      </a:cubicBezTo>
                      <a:cubicBezTo>
                        <a:pt x="224356" y="954618"/>
                        <a:pt x="225400" y="953975"/>
                        <a:pt x="226766" y="953814"/>
                      </a:cubicBezTo>
                      <a:cubicBezTo>
                        <a:pt x="228051" y="954136"/>
                        <a:pt x="228694" y="955100"/>
                        <a:pt x="229658" y="958072"/>
                      </a:cubicBezTo>
                      <a:cubicBezTo>
                        <a:pt x="232068" y="958875"/>
                        <a:pt x="233272" y="959598"/>
                        <a:pt x="234558" y="960964"/>
                      </a:cubicBezTo>
                      <a:cubicBezTo>
                        <a:pt x="227890" y="961847"/>
                        <a:pt x="223151" y="960964"/>
                        <a:pt x="220982" y="959919"/>
                      </a:cubicBezTo>
                      <a:moveTo>
                        <a:pt x="241064" y="932206"/>
                      </a:moveTo>
                      <a:cubicBezTo>
                        <a:pt x="240984" y="932126"/>
                        <a:pt x="241225" y="932046"/>
                        <a:pt x="241305" y="932046"/>
                      </a:cubicBezTo>
                      <a:cubicBezTo>
                        <a:pt x="241787" y="931966"/>
                        <a:pt x="242510" y="931966"/>
                        <a:pt x="244599" y="932046"/>
                      </a:cubicBezTo>
                      <a:cubicBezTo>
                        <a:pt x="244036" y="932287"/>
                        <a:pt x="243313" y="932688"/>
                        <a:pt x="242831" y="932929"/>
                      </a:cubicBezTo>
                      <a:cubicBezTo>
                        <a:pt x="242349" y="932769"/>
                        <a:pt x="241225" y="932447"/>
                        <a:pt x="241064" y="932206"/>
                      </a:cubicBezTo>
                      <a:moveTo>
                        <a:pt x="234397" y="927949"/>
                      </a:moveTo>
                      <a:cubicBezTo>
                        <a:pt x="234317" y="927949"/>
                        <a:pt x="234236" y="928029"/>
                        <a:pt x="234156" y="928029"/>
                      </a:cubicBezTo>
                      <a:cubicBezTo>
                        <a:pt x="234236" y="927387"/>
                        <a:pt x="234317" y="926503"/>
                        <a:pt x="234397" y="925861"/>
                      </a:cubicBezTo>
                      <a:lnTo>
                        <a:pt x="234638" y="925861"/>
                      </a:lnTo>
                      <a:cubicBezTo>
                        <a:pt x="235763" y="926101"/>
                        <a:pt x="236807" y="926423"/>
                        <a:pt x="235602" y="927226"/>
                      </a:cubicBezTo>
                      <a:cubicBezTo>
                        <a:pt x="235200" y="927547"/>
                        <a:pt x="234799" y="927788"/>
                        <a:pt x="234397" y="927949"/>
                      </a:cubicBezTo>
                      <a:moveTo>
                        <a:pt x="587680" y="827860"/>
                      </a:moveTo>
                      <a:cubicBezTo>
                        <a:pt x="587439" y="826977"/>
                        <a:pt x="587920" y="826173"/>
                        <a:pt x="588081" y="825772"/>
                      </a:cubicBezTo>
                      <a:cubicBezTo>
                        <a:pt x="588161" y="825852"/>
                        <a:pt x="588242" y="825932"/>
                        <a:pt x="588322" y="825932"/>
                      </a:cubicBezTo>
                      <a:cubicBezTo>
                        <a:pt x="589607" y="826896"/>
                        <a:pt x="590732" y="827298"/>
                        <a:pt x="592178" y="827298"/>
                      </a:cubicBezTo>
                      <a:cubicBezTo>
                        <a:pt x="592098" y="827700"/>
                        <a:pt x="592017" y="828503"/>
                        <a:pt x="590571" y="828905"/>
                      </a:cubicBezTo>
                      <a:cubicBezTo>
                        <a:pt x="588643" y="829387"/>
                        <a:pt x="588483" y="829226"/>
                        <a:pt x="587920" y="828423"/>
                      </a:cubicBezTo>
                      <a:cubicBezTo>
                        <a:pt x="587840" y="828342"/>
                        <a:pt x="587760" y="828101"/>
                        <a:pt x="587680" y="827860"/>
                      </a:cubicBezTo>
                      <a:moveTo>
                        <a:pt x="585591" y="825290"/>
                      </a:moveTo>
                      <a:cubicBezTo>
                        <a:pt x="585350" y="824085"/>
                        <a:pt x="586314" y="823362"/>
                        <a:pt x="587037" y="822880"/>
                      </a:cubicBezTo>
                      <a:cubicBezTo>
                        <a:pt x="587358" y="823201"/>
                        <a:pt x="587840" y="823603"/>
                        <a:pt x="588161" y="823924"/>
                      </a:cubicBezTo>
                      <a:lnTo>
                        <a:pt x="585671" y="825531"/>
                      </a:lnTo>
                      <a:cubicBezTo>
                        <a:pt x="585671" y="825451"/>
                        <a:pt x="585671" y="825370"/>
                        <a:pt x="585591" y="825290"/>
                      </a:cubicBezTo>
                      <a:moveTo>
                        <a:pt x="572096" y="819185"/>
                      </a:moveTo>
                      <a:lnTo>
                        <a:pt x="570811" y="818462"/>
                      </a:lnTo>
                      <a:lnTo>
                        <a:pt x="571212" y="817819"/>
                      </a:lnTo>
                      <a:lnTo>
                        <a:pt x="571453" y="817819"/>
                      </a:lnTo>
                      <a:cubicBezTo>
                        <a:pt x="572498" y="817819"/>
                        <a:pt x="573863" y="817900"/>
                        <a:pt x="573301" y="818542"/>
                      </a:cubicBezTo>
                      <a:cubicBezTo>
                        <a:pt x="572979" y="818783"/>
                        <a:pt x="572417" y="819105"/>
                        <a:pt x="572096" y="819185"/>
                      </a:cubicBezTo>
                      <a:moveTo>
                        <a:pt x="85710" y="901360"/>
                      </a:moveTo>
                      <a:cubicBezTo>
                        <a:pt x="85630" y="901360"/>
                        <a:pt x="85630" y="901360"/>
                        <a:pt x="85710" y="901360"/>
                      </a:cubicBezTo>
                      <a:cubicBezTo>
                        <a:pt x="85630" y="901360"/>
                        <a:pt x="85710" y="901360"/>
                        <a:pt x="85710" y="901360"/>
                      </a:cubicBezTo>
                      <a:cubicBezTo>
                        <a:pt x="86031" y="901441"/>
                        <a:pt x="86353" y="901601"/>
                        <a:pt x="86674" y="901682"/>
                      </a:cubicBezTo>
                      <a:cubicBezTo>
                        <a:pt x="86272" y="901601"/>
                        <a:pt x="85951" y="901521"/>
                        <a:pt x="85710" y="901360"/>
                      </a:cubicBezTo>
                      <a:moveTo>
                        <a:pt x="91333" y="894613"/>
                      </a:moveTo>
                      <a:lnTo>
                        <a:pt x="90851" y="893569"/>
                      </a:lnTo>
                      <a:lnTo>
                        <a:pt x="91092" y="893569"/>
                      </a:lnTo>
                      <a:cubicBezTo>
                        <a:pt x="93341" y="893488"/>
                        <a:pt x="94626" y="894131"/>
                        <a:pt x="95108" y="895577"/>
                      </a:cubicBezTo>
                      <a:cubicBezTo>
                        <a:pt x="93180" y="895818"/>
                        <a:pt x="91895" y="895497"/>
                        <a:pt x="91333" y="894613"/>
                      </a:cubicBezTo>
                      <a:moveTo>
                        <a:pt x="566553" y="810108"/>
                      </a:moveTo>
                      <a:cubicBezTo>
                        <a:pt x="563983" y="797657"/>
                        <a:pt x="566312" y="794123"/>
                        <a:pt x="572337" y="791311"/>
                      </a:cubicBezTo>
                      <a:cubicBezTo>
                        <a:pt x="574988" y="790106"/>
                        <a:pt x="581976" y="789865"/>
                        <a:pt x="589848" y="791793"/>
                      </a:cubicBezTo>
                      <a:cubicBezTo>
                        <a:pt x="595070" y="793078"/>
                        <a:pt x="615473" y="785929"/>
                        <a:pt x="631619" y="779744"/>
                      </a:cubicBezTo>
                      <a:cubicBezTo>
                        <a:pt x="631779" y="780627"/>
                        <a:pt x="631940" y="781832"/>
                        <a:pt x="632101" y="782796"/>
                      </a:cubicBezTo>
                      <a:cubicBezTo>
                        <a:pt x="632262" y="790909"/>
                        <a:pt x="630414" y="796291"/>
                        <a:pt x="624711" y="804083"/>
                      </a:cubicBezTo>
                      <a:cubicBezTo>
                        <a:pt x="624148" y="803923"/>
                        <a:pt x="623345" y="803682"/>
                        <a:pt x="622783" y="803521"/>
                      </a:cubicBezTo>
                      <a:cubicBezTo>
                        <a:pt x="620212" y="805770"/>
                        <a:pt x="619730" y="807136"/>
                        <a:pt x="620935" y="809224"/>
                      </a:cubicBezTo>
                      <a:cubicBezTo>
                        <a:pt x="621417" y="807216"/>
                        <a:pt x="622542" y="806091"/>
                        <a:pt x="625434" y="804565"/>
                      </a:cubicBezTo>
                      <a:cubicBezTo>
                        <a:pt x="624229" y="814205"/>
                        <a:pt x="619811" y="819426"/>
                        <a:pt x="608484" y="824406"/>
                      </a:cubicBezTo>
                      <a:cubicBezTo>
                        <a:pt x="615393" y="823041"/>
                        <a:pt x="612260" y="826896"/>
                        <a:pt x="612180" y="826977"/>
                      </a:cubicBezTo>
                      <a:cubicBezTo>
                        <a:pt x="612099" y="827057"/>
                        <a:pt x="599327" y="833162"/>
                        <a:pt x="592419" y="825370"/>
                      </a:cubicBezTo>
                      <a:cubicBezTo>
                        <a:pt x="592821" y="824728"/>
                        <a:pt x="593383" y="823844"/>
                        <a:pt x="593865" y="823201"/>
                      </a:cubicBezTo>
                      <a:cubicBezTo>
                        <a:pt x="587840" y="825049"/>
                        <a:pt x="586957" y="822559"/>
                        <a:pt x="587439" y="818382"/>
                      </a:cubicBezTo>
                      <a:cubicBezTo>
                        <a:pt x="585591" y="819827"/>
                        <a:pt x="585029" y="820711"/>
                        <a:pt x="584948" y="822559"/>
                      </a:cubicBezTo>
                      <a:cubicBezTo>
                        <a:pt x="579004" y="819667"/>
                        <a:pt x="578361" y="821996"/>
                        <a:pt x="579165" y="826334"/>
                      </a:cubicBezTo>
                      <a:cubicBezTo>
                        <a:pt x="577237" y="822559"/>
                        <a:pt x="571855" y="812839"/>
                        <a:pt x="568481" y="808421"/>
                      </a:cubicBezTo>
                      <a:lnTo>
                        <a:pt x="569365" y="809706"/>
                      </a:lnTo>
                      <a:lnTo>
                        <a:pt x="566955" y="813160"/>
                      </a:lnTo>
                      <a:cubicBezTo>
                        <a:pt x="566794" y="812036"/>
                        <a:pt x="566714" y="811072"/>
                        <a:pt x="566553" y="810108"/>
                      </a:cubicBezTo>
                      <a:moveTo>
                        <a:pt x="566071" y="787375"/>
                      </a:moveTo>
                      <a:lnTo>
                        <a:pt x="564866" y="786411"/>
                      </a:lnTo>
                      <a:lnTo>
                        <a:pt x="567276" y="786170"/>
                      </a:lnTo>
                      <a:lnTo>
                        <a:pt x="566071" y="787375"/>
                      </a:lnTo>
                      <a:moveTo>
                        <a:pt x="176320" y="921683"/>
                      </a:moveTo>
                      <a:cubicBezTo>
                        <a:pt x="176240" y="921603"/>
                        <a:pt x="176079" y="921523"/>
                        <a:pt x="175999" y="921523"/>
                      </a:cubicBezTo>
                      <a:cubicBezTo>
                        <a:pt x="176159" y="921603"/>
                        <a:pt x="176240" y="921683"/>
                        <a:pt x="176320" y="921683"/>
                      </a:cubicBezTo>
                      <a:moveTo>
                        <a:pt x="177445" y="926262"/>
                      </a:moveTo>
                      <a:cubicBezTo>
                        <a:pt x="178730" y="925459"/>
                        <a:pt x="180497" y="923772"/>
                        <a:pt x="177766" y="920960"/>
                      </a:cubicBezTo>
                      <a:lnTo>
                        <a:pt x="177525" y="922406"/>
                      </a:lnTo>
                      <a:lnTo>
                        <a:pt x="176400" y="921764"/>
                      </a:lnTo>
                      <a:cubicBezTo>
                        <a:pt x="177445" y="922406"/>
                        <a:pt x="178971" y="923933"/>
                        <a:pt x="177203" y="926423"/>
                      </a:cubicBezTo>
                      <a:cubicBezTo>
                        <a:pt x="177284" y="926342"/>
                        <a:pt x="177364" y="926262"/>
                        <a:pt x="177445" y="926262"/>
                      </a:cubicBezTo>
                      <a:moveTo>
                        <a:pt x="173508" y="925379"/>
                      </a:moveTo>
                      <a:cubicBezTo>
                        <a:pt x="172866" y="922647"/>
                        <a:pt x="172545" y="921121"/>
                        <a:pt x="172223" y="919113"/>
                      </a:cubicBezTo>
                      <a:cubicBezTo>
                        <a:pt x="171822" y="918952"/>
                        <a:pt x="171259" y="918711"/>
                        <a:pt x="170858" y="918551"/>
                      </a:cubicBezTo>
                      <a:cubicBezTo>
                        <a:pt x="171581" y="920880"/>
                        <a:pt x="172143" y="923370"/>
                        <a:pt x="172545" y="925780"/>
                      </a:cubicBezTo>
                      <a:cubicBezTo>
                        <a:pt x="172866" y="925620"/>
                        <a:pt x="173187" y="925459"/>
                        <a:pt x="173508" y="925379"/>
                      </a:cubicBezTo>
                      <a:moveTo>
                        <a:pt x="162745" y="920237"/>
                      </a:moveTo>
                      <a:cubicBezTo>
                        <a:pt x="163467" y="921201"/>
                        <a:pt x="164753" y="922728"/>
                        <a:pt x="166761" y="924495"/>
                      </a:cubicBezTo>
                      <a:cubicBezTo>
                        <a:pt x="166199" y="922567"/>
                        <a:pt x="165476" y="920719"/>
                        <a:pt x="164833" y="918872"/>
                      </a:cubicBezTo>
                      <a:cubicBezTo>
                        <a:pt x="164994" y="919916"/>
                        <a:pt x="164833" y="920800"/>
                        <a:pt x="162664" y="920077"/>
                      </a:cubicBezTo>
                      <a:cubicBezTo>
                        <a:pt x="162664" y="920077"/>
                        <a:pt x="162745" y="920157"/>
                        <a:pt x="162745" y="920237"/>
                      </a:cubicBezTo>
                      <a:moveTo>
                        <a:pt x="87959" y="902324"/>
                      </a:moveTo>
                      <a:cubicBezTo>
                        <a:pt x="87558" y="902164"/>
                        <a:pt x="86995" y="901923"/>
                        <a:pt x="86594" y="901762"/>
                      </a:cubicBezTo>
                      <a:cubicBezTo>
                        <a:pt x="89003" y="902324"/>
                        <a:pt x="89646" y="902244"/>
                        <a:pt x="92056" y="901682"/>
                      </a:cubicBezTo>
                      <a:cubicBezTo>
                        <a:pt x="89325" y="901521"/>
                        <a:pt x="88441" y="901119"/>
                        <a:pt x="86835" y="900236"/>
                      </a:cubicBezTo>
                      <a:cubicBezTo>
                        <a:pt x="87076" y="899995"/>
                        <a:pt x="87477" y="899754"/>
                        <a:pt x="87718" y="899513"/>
                      </a:cubicBezTo>
                      <a:lnTo>
                        <a:pt x="87879" y="898870"/>
                      </a:lnTo>
                      <a:lnTo>
                        <a:pt x="91494" y="897987"/>
                      </a:lnTo>
                      <a:lnTo>
                        <a:pt x="91333" y="899192"/>
                      </a:lnTo>
                      <a:cubicBezTo>
                        <a:pt x="93421" y="900236"/>
                        <a:pt x="93743" y="900396"/>
                        <a:pt x="96313" y="900878"/>
                      </a:cubicBezTo>
                      <a:cubicBezTo>
                        <a:pt x="94466" y="898790"/>
                        <a:pt x="93582" y="898067"/>
                        <a:pt x="91092" y="896782"/>
                      </a:cubicBezTo>
                      <a:cubicBezTo>
                        <a:pt x="113503" y="897023"/>
                        <a:pt x="111817" y="890918"/>
                        <a:pt x="107800" y="885536"/>
                      </a:cubicBezTo>
                      <a:cubicBezTo>
                        <a:pt x="109567" y="885857"/>
                        <a:pt x="111897" y="886259"/>
                        <a:pt x="113584" y="886580"/>
                      </a:cubicBezTo>
                      <a:cubicBezTo>
                        <a:pt x="129087" y="890837"/>
                        <a:pt x="137682" y="895978"/>
                        <a:pt x="145394" y="905538"/>
                      </a:cubicBezTo>
                      <a:cubicBezTo>
                        <a:pt x="149812" y="906019"/>
                        <a:pt x="151820" y="907305"/>
                        <a:pt x="152704" y="910357"/>
                      </a:cubicBezTo>
                      <a:cubicBezTo>
                        <a:pt x="152704" y="909554"/>
                        <a:pt x="152704" y="908429"/>
                        <a:pt x="152704" y="907626"/>
                      </a:cubicBezTo>
                      <a:cubicBezTo>
                        <a:pt x="155435" y="908349"/>
                        <a:pt x="157684" y="910919"/>
                        <a:pt x="160817" y="909715"/>
                      </a:cubicBezTo>
                      <a:cubicBezTo>
                        <a:pt x="160977" y="910196"/>
                        <a:pt x="160897" y="910919"/>
                        <a:pt x="160656" y="911401"/>
                      </a:cubicBezTo>
                      <a:cubicBezTo>
                        <a:pt x="161941" y="910357"/>
                        <a:pt x="163226" y="909393"/>
                        <a:pt x="166279" y="910196"/>
                      </a:cubicBezTo>
                      <a:cubicBezTo>
                        <a:pt x="165877" y="910678"/>
                        <a:pt x="165315" y="911241"/>
                        <a:pt x="164833" y="911723"/>
                      </a:cubicBezTo>
                      <a:cubicBezTo>
                        <a:pt x="168367" y="911000"/>
                        <a:pt x="171340" y="911241"/>
                        <a:pt x="175436" y="912847"/>
                      </a:cubicBezTo>
                      <a:cubicBezTo>
                        <a:pt x="175195" y="913008"/>
                        <a:pt x="174954" y="913169"/>
                        <a:pt x="174713" y="913329"/>
                      </a:cubicBezTo>
                      <a:lnTo>
                        <a:pt x="175999" y="913169"/>
                      </a:lnTo>
                      <a:cubicBezTo>
                        <a:pt x="176079" y="913570"/>
                        <a:pt x="176240" y="913972"/>
                        <a:pt x="176320" y="914293"/>
                      </a:cubicBezTo>
                      <a:cubicBezTo>
                        <a:pt x="183549" y="913329"/>
                        <a:pt x="187164" y="913972"/>
                        <a:pt x="189654" y="916783"/>
                      </a:cubicBezTo>
                      <a:cubicBezTo>
                        <a:pt x="208371" y="913088"/>
                        <a:pt x="213994" y="917747"/>
                        <a:pt x="215440" y="922326"/>
                      </a:cubicBezTo>
                      <a:cubicBezTo>
                        <a:pt x="221786" y="919916"/>
                        <a:pt x="223713" y="922406"/>
                        <a:pt x="224597" y="924736"/>
                      </a:cubicBezTo>
                      <a:cubicBezTo>
                        <a:pt x="224677" y="924093"/>
                        <a:pt x="224838" y="923210"/>
                        <a:pt x="224999" y="922567"/>
                      </a:cubicBezTo>
                      <a:cubicBezTo>
                        <a:pt x="228292" y="922647"/>
                        <a:pt x="228453" y="922808"/>
                        <a:pt x="229658" y="923772"/>
                      </a:cubicBezTo>
                      <a:cubicBezTo>
                        <a:pt x="229497" y="924415"/>
                        <a:pt x="229176" y="925218"/>
                        <a:pt x="228774" y="925780"/>
                      </a:cubicBezTo>
                      <a:cubicBezTo>
                        <a:pt x="229417" y="925459"/>
                        <a:pt x="230300" y="924977"/>
                        <a:pt x="231023" y="924656"/>
                      </a:cubicBezTo>
                      <a:cubicBezTo>
                        <a:pt x="232710" y="925298"/>
                        <a:pt x="232710" y="925298"/>
                        <a:pt x="233192" y="926503"/>
                      </a:cubicBezTo>
                      <a:cubicBezTo>
                        <a:pt x="232148" y="927869"/>
                        <a:pt x="232148" y="927869"/>
                        <a:pt x="230140" y="928833"/>
                      </a:cubicBezTo>
                      <a:cubicBezTo>
                        <a:pt x="230782" y="928752"/>
                        <a:pt x="231666" y="928672"/>
                        <a:pt x="232308" y="928913"/>
                      </a:cubicBezTo>
                      <a:cubicBezTo>
                        <a:pt x="232308" y="929234"/>
                        <a:pt x="232389" y="929556"/>
                        <a:pt x="232389" y="929877"/>
                      </a:cubicBezTo>
                      <a:cubicBezTo>
                        <a:pt x="233192" y="929636"/>
                        <a:pt x="233192" y="929636"/>
                        <a:pt x="236727" y="927547"/>
                      </a:cubicBezTo>
                      <a:cubicBezTo>
                        <a:pt x="236566" y="928110"/>
                        <a:pt x="236405" y="928833"/>
                        <a:pt x="236245" y="929315"/>
                      </a:cubicBezTo>
                      <a:cubicBezTo>
                        <a:pt x="238976" y="928431"/>
                        <a:pt x="239458" y="928833"/>
                        <a:pt x="240100" y="930118"/>
                      </a:cubicBezTo>
                      <a:cubicBezTo>
                        <a:pt x="238735" y="930600"/>
                        <a:pt x="236887" y="931162"/>
                        <a:pt x="235522" y="931564"/>
                      </a:cubicBezTo>
                      <a:cubicBezTo>
                        <a:pt x="237691" y="931805"/>
                        <a:pt x="238012" y="931805"/>
                        <a:pt x="238976" y="932126"/>
                      </a:cubicBezTo>
                      <a:cubicBezTo>
                        <a:pt x="238895" y="932447"/>
                        <a:pt x="238815" y="932929"/>
                        <a:pt x="238735" y="933251"/>
                      </a:cubicBezTo>
                      <a:cubicBezTo>
                        <a:pt x="237931" y="933652"/>
                        <a:pt x="236887" y="934054"/>
                        <a:pt x="236084" y="934295"/>
                      </a:cubicBezTo>
                      <a:cubicBezTo>
                        <a:pt x="242349" y="933090"/>
                        <a:pt x="244840" y="933492"/>
                        <a:pt x="246205" y="935982"/>
                      </a:cubicBezTo>
                      <a:cubicBezTo>
                        <a:pt x="244117" y="936624"/>
                        <a:pt x="243233" y="936544"/>
                        <a:pt x="241787" y="935821"/>
                      </a:cubicBezTo>
                      <a:cubicBezTo>
                        <a:pt x="242349" y="936464"/>
                        <a:pt x="243153" y="937267"/>
                        <a:pt x="243715" y="937910"/>
                      </a:cubicBezTo>
                      <a:cubicBezTo>
                        <a:pt x="241466" y="938311"/>
                        <a:pt x="240904" y="938311"/>
                        <a:pt x="238574" y="937749"/>
                      </a:cubicBezTo>
                      <a:cubicBezTo>
                        <a:pt x="193189" y="976869"/>
                        <a:pt x="155676" y="938151"/>
                        <a:pt x="154712" y="932046"/>
                      </a:cubicBezTo>
                      <a:cubicBezTo>
                        <a:pt x="148687" y="931724"/>
                        <a:pt x="142663" y="931483"/>
                        <a:pt x="136638" y="931162"/>
                      </a:cubicBezTo>
                      <a:cubicBezTo>
                        <a:pt x="137682" y="929074"/>
                        <a:pt x="137762" y="928752"/>
                        <a:pt x="138164" y="927467"/>
                      </a:cubicBezTo>
                      <a:cubicBezTo>
                        <a:pt x="135272" y="930439"/>
                        <a:pt x="133264" y="931403"/>
                        <a:pt x="129569" y="931403"/>
                      </a:cubicBezTo>
                      <a:cubicBezTo>
                        <a:pt x="130051" y="931483"/>
                        <a:pt x="130694" y="931644"/>
                        <a:pt x="131176" y="931724"/>
                      </a:cubicBezTo>
                      <a:cubicBezTo>
                        <a:pt x="123625" y="934054"/>
                        <a:pt x="122581" y="933893"/>
                        <a:pt x="121215" y="933572"/>
                      </a:cubicBezTo>
                      <a:cubicBezTo>
                        <a:pt x="122179" y="931082"/>
                        <a:pt x="122179" y="931001"/>
                        <a:pt x="128525" y="926423"/>
                      </a:cubicBezTo>
                      <a:cubicBezTo>
                        <a:pt x="126597" y="926503"/>
                        <a:pt x="126597" y="926503"/>
                        <a:pt x="125151" y="926101"/>
                      </a:cubicBezTo>
                      <a:cubicBezTo>
                        <a:pt x="125071" y="925861"/>
                        <a:pt x="124990" y="925539"/>
                        <a:pt x="124990" y="925298"/>
                      </a:cubicBezTo>
                      <a:cubicBezTo>
                        <a:pt x="125312" y="924897"/>
                        <a:pt x="125633" y="924415"/>
                        <a:pt x="125954" y="924013"/>
                      </a:cubicBezTo>
                      <a:cubicBezTo>
                        <a:pt x="104185" y="919756"/>
                        <a:pt x="94385" y="912124"/>
                        <a:pt x="92618" y="906983"/>
                      </a:cubicBezTo>
                      <a:cubicBezTo>
                        <a:pt x="92698" y="906180"/>
                        <a:pt x="91574" y="904011"/>
                        <a:pt x="87959" y="902324"/>
                      </a:cubicBezTo>
                      <a:moveTo>
                        <a:pt x="562617" y="786491"/>
                      </a:moveTo>
                      <a:lnTo>
                        <a:pt x="561734" y="786491"/>
                      </a:lnTo>
                      <a:cubicBezTo>
                        <a:pt x="562135" y="786250"/>
                        <a:pt x="562537" y="786009"/>
                        <a:pt x="562938" y="785849"/>
                      </a:cubicBezTo>
                      <a:cubicBezTo>
                        <a:pt x="562858" y="786009"/>
                        <a:pt x="562778" y="786250"/>
                        <a:pt x="562617" y="786491"/>
                      </a:cubicBezTo>
                      <a:moveTo>
                        <a:pt x="630253" y="777254"/>
                      </a:moveTo>
                      <a:cubicBezTo>
                        <a:pt x="630173" y="776932"/>
                        <a:pt x="630173" y="776611"/>
                        <a:pt x="630093" y="776209"/>
                      </a:cubicBezTo>
                      <a:lnTo>
                        <a:pt x="631539" y="776772"/>
                      </a:lnTo>
                      <a:lnTo>
                        <a:pt x="630896" y="778539"/>
                      </a:lnTo>
                      <a:lnTo>
                        <a:pt x="630253" y="777254"/>
                      </a:lnTo>
                      <a:moveTo>
                        <a:pt x="563179" y="785688"/>
                      </a:moveTo>
                      <a:cubicBezTo>
                        <a:pt x="563099" y="785688"/>
                        <a:pt x="563099" y="785768"/>
                        <a:pt x="563019" y="785768"/>
                      </a:cubicBezTo>
                      <a:cubicBezTo>
                        <a:pt x="563099" y="785688"/>
                        <a:pt x="563179" y="785528"/>
                        <a:pt x="563179" y="785447"/>
                      </a:cubicBezTo>
                      <a:cubicBezTo>
                        <a:pt x="564224" y="784965"/>
                        <a:pt x="565268" y="784403"/>
                        <a:pt x="566393" y="783921"/>
                      </a:cubicBezTo>
                      <a:cubicBezTo>
                        <a:pt x="566634" y="783841"/>
                        <a:pt x="566875" y="783680"/>
                        <a:pt x="567116" y="783600"/>
                      </a:cubicBezTo>
                      <a:cubicBezTo>
                        <a:pt x="567196" y="783600"/>
                        <a:pt x="567276" y="783439"/>
                        <a:pt x="567357" y="783519"/>
                      </a:cubicBezTo>
                      <a:cubicBezTo>
                        <a:pt x="566875" y="783921"/>
                        <a:pt x="566232" y="784162"/>
                        <a:pt x="565670" y="784403"/>
                      </a:cubicBezTo>
                      <a:cubicBezTo>
                        <a:pt x="564866" y="784805"/>
                        <a:pt x="563983" y="785287"/>
                        <a:pt x="563179" y="785688"/>
                      </a:cubicBezTo>
                      <a:moveTo>
                        <a:pt x="563179" y="781592"/>
                      </a:moveTo>
                      <a:cubicBezTo>
                        <a:pt x="563099" y="781592"/>
                        <a:pt x="562938" y="781592"/>
                        <a:pt x="562778" y="781592"/>
                      </a:cubicBezTo>
                      <a:cubicBezTo>
                        <a:pt x="563099" y="781190"/>
                        <a:pt x="563501" y="780708"/>
                        <a:pt x="563822" y="780306"/>
                      </a:cubicBezTo>
                      <a:lnTo>
                        <a:pt x="562698" y="778700"/>
                      </a:lnTo>
                      <a:cubicBezTo>
                        <a:pt x="565348" y="777173"/>
                        <a:pt x="567196" y="775727"/>
                        <a:pt x="568883" y="773880"/>
                      </a:cubicBezTo>
                      <a:cubicBezTo>
                        <a:pt x="569927" y="774362"/>
                        <a:pt x="571373" y="775005"/>
                        <a:pt x="572417" y="775567"/>
                      </a:cubicBezTo>
                      <a:cubicBezTo>
                        <a:pt x="571453" y="778298"/>
                        <a:pt x="569365" y="781832"/>
                        <a:pt x="563179" y="781592"/>
                      </a:cubicBezTo>
                      <a:moveTo>
                        <a:pt x="643427" y="763357"/>
                      </a:moveTo>
                      <a:lnTo>
                        <a:pt x="643427" y="763357"/>
                      </a:lnTo>
                      <a:cubicBezTo>
                        <a:pt x="644391" y="765365"/>
                        <a:pt x="645275" y="767454"/>
                        <a:pt x="646239" y="769462"/>
                      </a:cubicBezTo>
                      <a:cubicBezTo>
                        <a:pt x="645596" y="768177"/>
                        <a:pt x="645034" y="766811"/>
                        <a:pt x="644391" y="765526"/>
                      </a:cubicBezTo>
                      <a:cubicBezTo>
                        <a:pt x="644070" y="764803"/>
                        <a:pt x="643668" y="764160"/>
                        <a:pt x="643427" y="763357"/>
                      </a:cubicBezTo>
                      <a:moveTo>
                        <a:pt x="620052" y="748978"/>
                      </a:moveTo>
                      <a:lnTo>
                        <a:pt x="615714" y="749942"/>
                      </a:lnTo>
                      <a:cubicBezTo>
                        <a:pt x="616276" y="748898"/>
                        <a:pt x="616919" y="748416"/>
                        <a:pt x="617803" y="748336"/>
                      </a:cubicBezTo>
                      <a:cubicBezTo>
                        <a:pt x="618525" y="748336"/>
                        <a:pt x="619168" y="748496"/>
                        <a:pt x="620052" y="748978"/>
                      </a:cubicBezTo>
                      <a:moveTo>
                        <a:pt x="616678" y="746890"/>
                      </a:moveTo>
                      <a:lnTo>
                        <a:pt x="616678" y="746890"/>
                      </a:lnTo>
                      <a:lnTo>
                        <a:pt x="616678" y="746890"/>
                      </a:lnTo>
                      <a:moveTo>
                        <a:pt x="616678" y="746890"/>
                      </a:moveTo>
                      <a:lnTo>
                        <a:pt x="616678" y="746890"/>
                      </a:lnTo>
                      <a:lnTo>
                        <a:pt x="616678" y="746890"/>
                      </a:lnTo>
                      <a:moveTo>
                        <a:pt x="616678" y="746890"/>
                      </a:moveTo>
                      <a:cubicBezTo>
                        <a:pt x="616678" y="746890"/>
                        <a:pt x="616678" y="746890"/>
                        <a:pt x="616678" y="746890"/>
                      </a:cubicBezTo>
                      <a:cubicBezTo>
                        <a:pt x="616678" y="746890"/>
                        <a:pt x="616678" y="746890"/>
                        <a:pt x="616678" y="746890"/>
                      </a:cubicBezTo>
                      <a:moveTo>
                        <a:pt x="616678" y="746890"/>
                      </a:moveTo>
                      <a:lnTo>
                        <a:pt x="616678" y="746890"/>
                      </a:lnTo>
                      <a:lnTo>
                        <a:pt x="616678" y="746890"/>
                      </a:lnTo>
                      <a:moveTo>
                        <a:pt x="616678" y="746890"/>
                      </a:moveTo>
                      <a:cubicBezTo>
                        <a:pt x="616678" y="746890"/>
                        <a:pt x="616678" y="746890"/>
                        <a:pt x="616678" y="746890"/>
                      </a:cubicBezTo>
                      <a:cubicBezTo>
                        <a:pt x="616678" y="746890"/>
                        <a:pt x="616678" y="746890"/>
                        <a:pt x="616678" y="746890"/>
                      </a:cubicBezTo>
                      <a:moveTo>
                        <a:pt x="616678" y="746890"/>
                      </a:moveTo>
                      <a:cubicBezTo>
                        <a:pt x="616678" y="746890"/>
                        <a:pt x="616678" y="746890"/>
                        <a:pt x="616678" y="746890"/>
                      </a:cubicBezTo>
                      <a:cubicBezTo>
                        <a:pt x="616678" y="746890"/>
                        <a:pt x="616678" y="746890"/>
                        <a:pt x="61667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17" y="746890"/>
                      </a:moveTo>
                      <a:cubicBezTo>
                        <a:pt x="616598" y="746890"/>
                        <a:pt x="616598" y="746890"/>
                        <a:pt x="616517" y="746890"/>
                      </a:cubicBezTo>
                      <a:cubicBezTo>
                        <a:pt x="616598" y="746890"/>
                        <a:pt x="616598" y="746890"/>
                        <a:pt x="616517" y="746890"/>
                      </a:cubicBezTo>
                      <a:moveTo>
                        <a:pt x="616517" y="746890"/>
                      </a:moveTo>
                      <a:cubicBezTo>
                        <a:pt x="616517" y="746890"/>
                        <a:pt x="616517" y="746890"/>
                        <a:pt x="616517" y="746890"/>
                      </a:cubicBezTo>
                      <a:cubicBezTo>
                        <a:pt x="616517" y="746890"/>
                        <a:pt x="616517" y="746890"/>
                        <a:pt x="616517" y="746890"/>
                      </a:cubicBezTo>
                      <a:moveTo>
                        <a:pt x="616517" y="746890"/>
                      </a:moveTo>
                      <a:cubicBezTo>
                        <a:pt x="616517" y="746890"/>
                        <a:pt x="616517" y="746890"/>
                        <a:pt x="616517" y="746890"/>
                      </a:cubicBezTo>
                      <a:cubicBezTo>
                        <a:pt x="616517" y="746890"/>
                        <a:pt x="616517" y="746890"/>
                        <a:pt x="616517" y="746890"/>
                      </a:cubicBezTo>
                      <a:moveTo>
                        <a:pt x="616517" y="746890"/>
                      </a:moveTo>
                      <a:lnTo>
                        <a:pt x="616517" y="746890"/>
                      </a:lnTo>
                      <a:lnTo>
                        <a:pt x="616517" y="746890"/>
                      </a:lnTo>
                      <a:moveTo>
                        <a:pt x="616517" y="746890"/>
                      </a:moveTo>
                      <a:cubicBezTo>
                        <a:pt x="616517" y="746890"/>
                        <a:pt x="616517" y="746890"/>
                        <a:pt x="616517" y="746890"/>
                      </a:cubicBezTo>
                      <a:cubicBezTo>
                        <a:pt x="616517" y="746890"/>
                        <a:pt x="616517" y="746890"/>
                        <a:pt x="616517" y="746890"/>
                      </a:cubicBezTo>
                      <a:moveTo>
                        <a:pt x="616437" y="746890"/>
                      </a:moveTo>
                      <a:lnTo>
                        <a:pt x="616437" y="746890"/>
                      </a:lnTo>
                      <a:lnTo>
                        <a:pt x="616437" y="746890"/>
                      </a:lnTo>
                      <a:moveTo>
                        <a:pt x="616437" y="746890"/>
                      </a:moveTo>
                      <a:cubicBezTo>
                        <a:pt x="616437" y="746890"/>
                        <a:pt x="616437" y="746890"/>
                        <a:pt x="616437" y="746890"/>
                      </a:cubicBezTo>
                      <a:cubicBezTo>
                        <a:pt x="616437" y="746890"/>
                        <a:pt x="616437" y="746890"/>
                        <a:pt x="616437" y="746890"/>
                      </a:cubicBezTo>
                      <a:moveTo>
                        <a:pt x="616437" y="746890"/>
                      </a:moveTo>
                      <a:lnTo>
                        <a:pt x="616437" y="746890"/>
                      </a:lnTo>
                      <a:lnTo>
                        <a:pt x="616437" y="746890"/>
                      </a:lnTo>
                      <a:moveTo>
                        <a:pt x="616437" y="746890"/>
                      </a:moveTo>
                      <a:cubicBezTo>
                        <a:pt x="616437" y="746890"/>
                        <a:pt x="616357" y="746890"/>
                        <a:pt x="616437" y="746890"/>
                      </a:cubicBezTo>
                      <a:cubicBezTo>
                        <a:pt x="616357" y="746890"/>
                        <a:pt x="616437" y="746890"/>
                        <a:pt x="616437" y="746890"/>
                      </a:cubicBezTo>
                      <a:moveTo>
                        <a:pt x="616357" y="746890"/>
                      </a:moveTo>
                      <a:cubicBezTo>
                        <a:pt x="616357" y="746890"/>
                        <a:pt x="616357" y="746890"/>
                        <a:pt x="616357" y="746890"/>
                      </a:cubicBezTo>
                      <a:cubicBezTo>
                        <a:pt x="616357" y="746890"/>
                        <a:pt x="616357" y="746890"/>
                        <a:pt x="616357" y="746890"/>
                      </a:cubicBezTo>
                      <a:moveTo>
                        <a:pt x="616357" y="746890"/>
                      </a:moveTo>
                      <a:cubicBezTo>
                        <a:pt x="616357" y="746890"/>
                        <a:pt x="616357" y="746890"/>
                        <a:pt x="616357" y="746890"/>
                      </a:cubicBezTo>
                      <a:cubicBezTo>
                        <a:pt x="616357" y="746890"/>
                        <a:pt x="616357" y="746890"/>
                        <a:pt x="616357" y="746890"/>
                      </a:cubicBezTo>
                      <a:moveTo>
                        <a:pt x="616276" y="746890"/>
                      </a:moveTo>
                      <a:cubicBezTo>
                        <a:pt x="616276" y="746890"/>
                        <a:pt x="616276" y="746890"/>
                        <a:pt x="616276" y="746890"/>
                      </a:cubicBezTo>
                      <a:cubicBezTo>
                        <a:pt x="616276" y="746890"/>
                        <a:pt x="616276" y="746890"/>
                        <a:pt x="616276" y="746890"/>
                      </a:cubicBezTo>
                      <a:moveTo>
                        <a:pt x="616276" y="746890"/>
                      </a:moveTo>
                      <a:cubicBezTo>
                        <a:pt x="616276" y="746890"/>
                        <a:pt x="616276" y="746890"/>
                        <a:pt x="616276" y="746890"/>
                      </a:cubicBezTo>
                      <a:cubicBezTo>
                        <a:pt x="616276" y="746890"/>
                        <a:pt x="616276" y="746890"/>
                        <a:pt x="616276" y="746890"/>
                      </a:cubicBezTo>
                      <a:moveTo>
                        <a:pt x="616276" y="746890"/>
                      </a:moveTo>
                      <a:cubicBezTo>
                        <a:pt x="616276" y="746890"/>
                        <a:pt x="616196" y="746890"/>
                        <a:pt x="616276" y="746890"/>
                      </a:cubicBezTo>
                      <a:cubicBezTo>
                        <a:pt x="616196" y="746890"/>
                        <a:pt x="616276" y="746890"/>
                        <a:pt x="616276" y="746890"/>
                      </a:cubicBezTo>
                      <a:moveTo>
                        <a:pt x="616196" y="746890"/>
                      </a:moveTo>
                      <a:cubicBezTo>
                        <a:pt x="616196" y="746890"/>
                        <a:pt x="616196" y="746890"/>
                        <a:pt x="616196" y="746890"/>
                      </a:cubicBezTo>
                      <a:cubicBezTo>
                        <a:pt x="616196" y="746890"/>
                        <a:pt x="616196" y="746890"/>
                        <a:pt x="616196" y="746890"/>
                      </a:cubicBezTo>
                      <a:moveTo>
                        <a:pt x="616196" y="746970"/>
                      </a:moveTo>
                      <a:cubicBezTo>
                        <a:pt x="616196" y="746970"/>
                        <a:pt x="616196" y="746970"/>
                        <a:pt x="616196" y="746970"/>
                      </a:cubicBezTo>
                      <a:cubicBezTo>
                        <a:pt x="616196" y="746970"/>
                        <a:pt x="616196" y="746970"/>
                        <a:pt x="616196" y="746970"/>
                      </a:cubicBezTo>
                      <a:moveTo>
                        <a:pt x="616116" y="746970"/>
                      </a:moveTo>
                      <a:cubicBezTo>
                        <a:pt x="616116" y="746970"/>
                        <a:pt x="616116" y="746970"/>
                        <a:pt x="616116" y="746970"/>
                      </a:cubicBezTo>
                      <a:cubicBezTo>
                        <a:pt x="616116" y="746970"/>
                        <a:pt x="616116" y="746970"/>
                        <a:pt x="616116" y="746970"/>
                      </a:cubicBezTo>
                      <a:moveTo>
                        <a:pt x="616116" y="746970"/>
                      </a:moveTo>
                      <a:cubicBezTo>
                        <a:pt x="616116" y="746970"/>
                        <a:pt x="616116" y="746970"/>
                        <a:pt x="616116" y="746970"/>
                      </a:cubicBezTo>
                      <a:cubicBezTo>
                        <a:pt x="616116" y="746970"/>
                        <a:pt x="616116" y="746970"/>
                        <a:pt x="616116" y="746970"/>
                      </a:cubicBezTo>
                      <a:moveTo>
                        <a:pt x="616035" y="746970"/>
                      </a:moveTo>
                      <a:cubicBezTo>
                        <a:pt x="616035" y="746970"/>
                        <a:pt x="616035" y="746970"/>
                        <a:pt x="616035" y="746970"/>
                      </a:cubicBezTo>
                      <a:cubicBezTo>
                        <a:pt x="616035" y="746970"/>
                        <a:pt x="616035" y="746970"/>
                        <a:pt x="616035" y="746970"/>
                      </a:cubicBezTo>
                      <a:moveTo>
                        <a:pt x="616035" y="746970"/>
                      </a:moveTo>
                      <a:cubicBezTo>
                        <a:pt x="616035" y="746970"/>
                        <a:pt x="616035" y="746970"/>
                        <a:pt x="616035" y="746970"/>
                      </a:cubicBezTo>
                      <a:cubicBezTo>
                        <a:pt x="616035" y="746970"/>
                        <a:pt x="616035" y="746970"/>
                        <a:pt x="616035" y="746970"/>
                      </a:cubicBezTo>
                      <a:moveTo>
                        <a:pt x="615955" y="746970"/>
                      </a:moveTo>
                      <a:cubicBezTo>
                        <a:pt x="615955" y="746970"/>
                        <a:pt x="615955" y="746970"/>
                        <a:pt x="615955" y="746970"/>
                      </a:cubicBezTo>
                      <a:cubicBezTo>
                        <a:pt x="615955" y="746970"/>
                        <a:pt x="615955" y="746970"/>
                        <a:pt x="615955" y="746970"/>
                      </a:cubicBezTo>
                      <a:moveTo>
                        <a:pt x="615955" y="746970"/>
                      </a:moveTo>
                      <a:cubicBezTo>
                        <a:pt x="615955" y="746970"/>
                        <a:pt x="615875" y="746970"/>
                        <a:pt x="615955" y="746970"/>
                      </a:cubicBezTo>
                      <a:cubicBezTo>
                        <a:pt x="615875" y="746970"/>
                        <a:pt x="615955" y="746970"/>
                        <a:pt x="615955" y="746970"/>
                      </a:cubicBezTo>
                      <a:moveTo>
                        <a:pt x="615875" y="746970"/>
                      </a:moveTo>
                      <a:cubicBezTo>
                        <a:pt x="615875" y="746970"/>
                        <a:pt x="615875" y="746970"/>
                        <a:pt x="615875" y="746970"/>
                      </a:cubicBezTo>
                      <a:cubicBezTo>
                        <a:pt x="615875" y="746970"/>
                        <a:pt x="615875" y="746970"/>
                        <a:pt x="615875" y="746970"/>
                      </a:cubicBezTo>
                      <a:moveTo>
                        <a:pt x="615875" y="746970"/>
                      </a:moveTo>
                      <a:cubicBezTo>
                        <a:pt x="615794" y="746970"/>
                        <a:pt x="615794" y="746970"/>
                        <a:pt x="615875" y="746970"/>
                      </a:cubicBezTo>
                      <a:cubicBezTo>
                        <a:pt x="615794" y="746970"/>
                        <a:pt x="615794" y="746970"/>
                        <a:pt x="615875" y="746970"/>
                      </a:cubicBezTo>
                      <a:moveTo>
                        <a:pt x="615794" y="746970"/>
                      </a:moveTo>
                      <a:cubicBezTo>
                        <a:pt x="615794" y="746970"/>
                        <a:pt x="615794" y="746970"/>
                        <a:pt x="615794" y="746970"/>
                      </a:cubicBezTo>
                      <a:cubicBezTo>
                        <a:pt x="615794" y="746970"/>
                        <a:pt x="615794" y="746970"/>
                        <a:pt x="615794" y="746970"/>
                      </a:cubicBezTo>
                      <a:moveTo>
                        <a:pt x="615714" y="746970"/>
                      </a:moveTo>
                      <a:cubicBezTo>
                        <a:pt x="615714" y="746970"/>
                        <a:pt x="615714" y="746970"/>
                        <a:pt x="615714" y="746970"/>
                      </a:cubicBezTo>
                      <a:cubicBezTo>
                        <a:pt x="615714" y="746970"/>
                        <a:pt x="615714" y="746970"/>
                        <a:pt x="615714" y="746970"/>
                      </a:cubicBezTo>
                      <a:moveTo>
                        <a:pt x="615714" y="746970"/>
                      </a:moveTo>
                      <a:cubicBezTo>
                        <a:pt x="615714" y="746970"/>
                        <a:pt x="615634" y="746970"/>
                        <a:pt x="615714" y="746970"/>
                      </a:cubicBezTo>
                      <a:cubicBezTo>
                        <a:pt x="615634" y="746970"/>
                        <a:pt x="615714" y="746970"/>
                        <a:pt x="615714" y="746970"/>
                      </a:cubicBezTo>
                      <a:moveTo>
                        <a:pt x="615634" y="746970"/>
                      </a:moveTo>
                      <a:cubicBezTo>
                        <a:pt x="615634" y="746970"/>
                        <a:pt x="615634" y="746970"/>
                        <a:pt x="615634" y="746970"/>
                      </a:cubicBezTo>
                      <a:cubicBezTo>
                        <a:pt x="615634" y="746970"/>
                        <a:pt x="615634" y="746970"/>
                        <a:pt x="615634" y="746970"/>
                      </a:cubicBezTo>
                      <a:moveTo>
                        <a:pt x="615634" y="746970"/>
                      </a:moveTo>
                      <a:cubicBezTo>
                        <a:pt x="615553" y="746970"/>
                        <a:pt x="615553" y="747050"/>
                        <a:pt x="615634" y="746970"/>
                      </a:cubicBezTo>
                      <a:cubicBezTo>
                        <a:pt x="615553" y="747050"/>
                        <a:pt x="615553" y="746970"/>
                        <a:pt x="615634" y="746970"/>
                      </a:cubicBezTo>
                      <a:moveTo>
                        <a:pt x="615553" y="747050"/>
                      </a:moveTo>
                      <a:cubicBezTo>
                        <a:pt x="615473" y="747050"/>
                        <a:pt x="615473" y="747050"/>
                        <a:pt x="615553" y="747050"/>
                      </a:cubicBezTo>
                      <a:cubicBezTo>
                        <a:pt x="615473" y="747050"/>
                        <a:pt x="615473" y="747050"/>
                        <a:pt x="615553" y="747050"/>
                      </a:cubicBezTo>
                      <a:moveTo>
                        <a:pt x="615473" y="747050"/>
                      </a:moveTo>
                      <a:cubicBezTo>
                        <a:pt x="615473" y="747050"/>
                        <a:pt x="615393" y="747050"/>
                        <a:pt x="615393" y="747050"/>
                      </a:cubicBezTo>
                      <a:cubicBezTo>
                        <a:pt x="615473" y="747050"/>
                        <a:pt x="615473" y="747050"/>
                        <a:pt x="615473" y="747050"/>
                      </a:cubicBezTo>
                      <a:moveTo>
                        <a:pt x="615393" y="747050"/>
                      </a:moveTo>
                      <a:cubicBezTo>
                        <a:pt x="615393" y="747050"/>
                        <a:pt x="615393" y="747050"/>
                        <a:pt x="615393" y="747050"/>
                      </a:cubicBezTo>
                      <a:cubicBezTo>
                        <a:pt x="615393" y="747050"/>
                        <a:pt x="615393" y="747050"/>
                        <a:pt x="615393" y="747050"/>
                      </a:cubicBezTo>
                      <a:moveTo>
                        <a:pt x="615393" y="747050"/>
                      </a:moveTo>
                      <a:cubicBezTo>
                        <a:pt x="615393" y="747050"/>
                        <a:pt x="615312" y="747050"/>
                        <a:pt x="615312" y="747050"/>
                      </a:cubicBezTo>
                      <a:cubicBezTo>
                        <a:pt x="615312" y="747050"/>
                        <a:pt x="615312" y="747050"/>
                        <a:pt x="615393" y="747050"/>
                      </a:cubicBezTo>
                      <a:moveTo>
                        <a:pt x="615312" y="747050"/>
                      </a:moveTo>
                      <a:cubicBezTo>
                        <a:pt x="615312" y="747050"/>
                        <a:pt x="615232" y="747050"/>
                        <a:pt x="615312" y="747050"/>
                      </a:cubicBezTo>
                      <a:cubicBezTo>
                        <a:pt x="615232" y="747050"/>
                        <a:pt x="615312" y="747050"/>
                        <a:pt x="615312" y="747050"/>
                      </a:cubicBezTo>
                      <a:moveTo>
                        <a:pt x="615232" y="747050"/>
                      </a:moveTo>
                      <a:cubicBezTo>
                        <a:pt x="615232" y="747050"/>
                        <a:pt x="615152" y="747050"/>
                        <a:pt x="615152" y="747050"/>
                      </a:cubicBezTo>
                      <a:cubicBezTo>
                        <a:pt x="615152" y="747050"/>
                        <a:pt x="615232" y="747050"/>
                        <a:pt x="615232" y="747050"/>
                      </a:cubicBezTo>
                      <a:moveTo>
                        <a:pt x="615152" y="747050"/>
                      </a:moveTo>
                      <a:cubicBezTo>
                        <a:pt x="615152" y="747050"/>
                        <a:pt x="615152" y="747050"/>
                        <a:pt x="615152" y="747050"/>
                      </a:cubicBezTo>
                      <a:cubicBezTo>
                        <a:pt x="615152" y="747050"/>
                        <a:pt x="615152" y="747050"/>
                        <a:pt x="615152" y="747050"/>
                      </a:cubicBezTo>
                      <a:moveTo>
                        <a:pt x="615152" y="747050"/>
                      </a:moveTo>
                      <a:cubicBezTo>
                        <a:pt x="615071" y="747050"/>
                        <a:pt x="615071" y="747050"/>
                        <a:pt x="614991" y="747050"/>
                      </a:cubicBezTo>
                      <a:cubicBezTo>
                        <a:pt x="615071" y="747050"/>
                        <a:pt x="615071" y="747050"/>
                        <a:pt x="615152" y="747050"/>
                      </a:cubicBezTo>
                      <a:moveTo>
                        <a:pt x="614991" y="747050"/>
                      </a:moveTo>
                      <a:lnTo>
                        <a:pt x="614991" y="747050"/>
                      </a:lnTo>
                      <a:lnTo>
                        <a:pt x="614991" y="747050"/>
                      </a:lnTo>
                      <a:moveTo>
                        <a:pt x="614911" y="747131"/>
                      </a:moveTo>
                      <a:cubicBezTo>
                        <a:pt x="614991" y="747131"/>
                        <a:pt x="614991" y="747131"/>
                        <a:pt x="615071" y="747131"/>
                      </a:cubicBezTo>
                      <a:cubicBezTo>
                        <a:pt x="614991" y="747050"/>
                        <a:pt x="614911" y="747131"/>
                        <a:pt x="614911" y="747131"/>
                      </a:cubicBezTo>
                      <a:moveTo>
                        <a:pt x="614911" y="747131"/>
                      </a:moveTo>
                      <a:cubicBezTo>
                        <a:pt x="614911" y="747131"/>
                        <a:pt x="614911" y="747131"/>
                        <a:pt x="614911" y="747131"/>
                      </a:cubicBezTo>
                      <a:cubicBezTo>
                        <a:pt x="614911" y="747131"/>
                        <a:pt x="614911" y="747131"/>
                        <a:pt x="614911" y="747131"/>
                      </a:cubicBezTo>
                      <a:moveTo>
                        <a:pt x="614750" y="747131"/>
                      </a:moveTo>
                      <a:cubicBezTo>
                        <a:pt x="614830" y="747131"/>
                        <a:pt x="614830" y="747131"/>
                        <a:pt x="614911" y="747131"/>
                      </a:cubicBezTo>
                      <a:cubicBezTo>
                        <a:pt x="614830" y="747131"/>
                        <a:pt x="614830" y="747131"/>
                        <a:pt x="614750" y="747131"/>
                      </a:cubicBezTo>
                      <a:moveTo>
                        <a:pt x="614750" y="747131"/>
                      </a:moveTo>
                      <a:cubicBezTo>
                        <a:pt x="614750" y="747131"/>
                        <a:pt x="614750" y="747131"/>
                        <a:pt x="614750" y="747131"/>
                      </a:cubicBezTo>
                      <a:cubicBezTo>
                        <a:pt x="614750" y="747131"/>
                        <a:pt x="614750" y="747131"/>
                        <a:pt x="614750" y="747131"/>
                      </a:cubicBezTo>
                      <a:moveTo>
                        <a:pt x="614589" y="747131"/>
                      </a:moveTo>
                      <a:cubicBezTo>
                        <a:pt x="614589" y="747131"/>
                        <a:pt x="614670" y="747131"/>
                        <a:pt x="614670" y="747131"/>
                      </a:cubicBezTo>
                      <a:cubicBezTo>
                        <a:pt x="614670" y="747131"/>
                        <a:pt x="614670" y="747131"/>
                        <a:pt x="614589" y="747131"/>
                      </a:cubicBezTo>
                      <a:moveTo>
                        <a:pt x="614589" y="747131"/>
                      </a:moveTo>
                      <a:cubicBezTo>
                        <a:pt x="614589" y="747131"/>
                        <a:pt x="614589" y="747131"/>
                        <a:pt x="614589" y="747131"/>
                      </a:cubicBezTo>
                      <a:cubicBezTo>
                        <a:pt x="614589" y="747131"/>
                        <a:pt x="614589" y="747131"/>
                        <a:pt x="614589" y="747131"/>
                      </a:cubicBezTo>
                      <a:moveTo>
                        <a:pt x="614509" y="747131"/>
                      </a:moveTo>
                      <a:cubicBezTo>
                        <a:pt x="614509" y="747131"/>
                        <a:pt x="614589" y="747131"/>
                        <a:pt x="614589" y="747131"/>
                      </a:cubicBezTo>
                      <a:cubicBezTo>
                        <a:pt x="614509" y="747131"/>
                        <a:pt x="614509" y="747131"/>
                        <a:pt x="614509" y="747131"/>
                      </a:cubicBezTo>
                      <a:moveTo>
                        <a:pt x="614429" y="747131"/>
                      </a:moveTo>
                      <a:cubicBezTo>
                        <a:pt x="614429" y="747131"/>
                        <a:pt x="614429" y="747131"/>
                        <a:pt x="614429" y="747131"/>
                      </a:cubicBezTo>
                      <a:cubicBezTo>
                        <a:pt x="614429" y="747131"/>
                        <a:pt x="614429" y="747131"/>
                        <a:pt x="614429" y="747131"/>
                      </a:cubicBezTo>
                      <a:moveTo>
                        <a:pt x="614348" y="747211"/>
                      </a:moveTo>
                      <a:cubicBezTo>
                        <a:pt x="614348" y="747131"/>
                        <a:pt x="614348" y="747131"/>
                        <a:pt x="614348" y="747211"/>
                      </a:cubicBezTo>
                      <a:cubicBezTo>
                        <a:pt x="614348" y="747131"/>
                        <a:pt x="614348" y="747131"/>
                        <a:pt x="614348" y="747211"/>
                      </a:cubicBezTo>
                      <a:moveTo>
                        <a:pt x="614268" y="747211"/>
                      </a:moveTo>
                      <a:cubicBezTo>
                        <a:pt x="614268" y="747211"/>
                        <a:pt x="614348" y="747211"/>
                        <a:pt x="614348" y="747211"/>
                      </a:cubicBezTo>
                      <a:cubicBezTo>
                        <a:pt x="614268" y="747211"/>
                        <a:pt x="614268" y="747211"/>
                        <a:pt x="614268" y="747211"/>
                      </a:cubicBezTo>
                      <a:moveTo>
                        <a:pt x="614188" y="747211"/>
                      </a:moveTo>
                      <a:cubicBezTo>
                        <a:pt x="614188" y="747211"/>
                        <a:pt x="614188" y="747211"/>
                        <a:pt x="614188" y="747211"/>
                      </a:cubicBezTo>
                      <a:cubicBezTo>
                        <a:pt x="614188" y="747211"/>
                        <a:pt x="614188" y="747211"/>
                        <a:pt x="614188" y="747211"/>
                      </a:cubicBezTo>
                      <a:moveTo>
                        <a:pt x="614027" y="747211"/>
                      </a:moveTo>
                      <a:cubicBezTo>
                        <a:pt x="614027" y="747211"/>
                        <a:pt x="614107" y="747211"/>
                        <a:pt x="614188" y="747211"/>
                      </a:cubicBezTo>
                      <a:cubicBezTo>
                        <a:pt x="614107" y="747211"/>
                        <a:pt x="614107" y="747211"/>
                        <a:pt x="614027" y="747211"/>
                      </a:cubicBezTo>
                      <a:moveTo>
                        <a:pt x="614027" y="747211"/>
                      </a:moveTo>
                      <a:cubicBezTo>
                        <a:pt x="614027" y="747211"/>
                        <a:pt x="614027" y="747211"/>
                        <a:pt x="614027" y="747211"/>
                      </a:cubicBezTo>
                      <a:cubicBezTo>
                        <a:pt x="614027" y="747211"/>
                        <a:pt x="613947" y="747211"/>
                        <a:pt x="613866" y="747211"/>
                      </a:cubicBezTo>
                      <a:cubicBezTo>
                        <a:pt x="613947" y="747211"/>
                        <a:pt x="613947" y="747211"/>
                        <a:pt x="614027" y="747211"/>
                      </a:cubicBezTo>
                      <a:moveTo>
                        <a:pt x="46510" y="838303"/>
                      </a:moveTo>
                      <a:lnTo>
                        <a:pt x="43457" y="840793"/>
                      </a:lnTo>
                      <a:cubicBezTo>
                        <a:pt x="43216" y="839267"/>
                        <a:pt x="43618" y="837982"/>
                        <a:pt x="44903" y="836455"/>
                      </a:cubicBezTo>
                      <a:cubicBezTo>
                        <a:pt x="45385" y="837018"/>
                        <a:pt x="46028" y="837821"/>
                        <a:pt x="46510" y="838303"/>
                      </a:cubicBezTo>
                      <a:moveTo>
                        <a:pt x="757252" y="692668"/>
                      </a:moveTo>
                      <a:cubicBezTo>
                        <a:pt x="758055" y="692829"/>
                        <a:pt x="758698" y="693150"/>
                        <a:pt x="759421" y="693391"/>
                      </a:cubicBezTo>
                      <a:cubicBezTo>
                        <a:pt x="759180" y="693070"/>
                        <a:pt x="758858" y="692588"/>
                        <a:pt x="758617" y="692186"/>
                      </a:cubicBezTo>
                      <a:lnTo>
                        <a:pt x="759662" y="692588"/>
                      </a:lnTo>
                      <a:cubicBezTo>
                        <a:pt x="765285" y="694918"/>
                        <a:pt x="772112" y="697729"/>
                        <a:pt x="772675" y="698211"/>
                      </a:cubicBezTo>
                      <a:cubicBezTo>
                        <a:pt x="771711" y="698372"/>
                        <a:pt x="757332" y="692749"/>
                        <a:pt x="757252" y="692668"/>
                      </a:cubicBezTo>
                      <a:moveTo>
                        <a:pt x="60166" y="821354"/>
                      </a:moveTo>
                      <a:cubicBezTo>
                        <a:pt x="60166" y="821354"/>
                        <a:pt x="60166" y="821354"/>
                        <a:pt x="60166" y="821354"/>
                      </a:cubicBezTo>
                      <a:cubicBezTo>
                        <a:pt x="60166" y="821354"/>
                        <a:pt x="60246" y="821273"/>
                        <a:pt x="60326" y="821193"/>
                      </a:cubicBezTo>
                      <a:lnTo>
                        <a:pt x="60326" y="821193"/>
                      </a:lnTo>
                      <a:cubicBezTo>
                        <a:pt x="60246" y="821273"/>
                        <a:pt x="60166" y="821273"/>
                        <a:pt x="60166" y="821354"/>
                      </a:cubicBezTo>
                      <a:moveTo>
                        <a:pt x="45626" y="877985"/>
                      </a:moveTo>
                      <a:cubicBezTo>
                        <a:pt x="46349" y="878306"/>
                        <a:pt x="48438" y="878869"/>
                        <a:pt x="51330" y="877985"/>
                      </a:cubicBezTo>
                      <a:cubicBezTo>
                        <a:pt x="49643" y="874210"/>
                        <a:pt x="47795" y="874210"/>
                        <a:pt x="45466" y="877905"/>
                      </a:cubicBezTo>
                      <a:cubicBezTo>
                        <a:pt x="45466" y="877985"/>
                        <a:pt x="45546" y="877985"/>
                        <a:pt x="45626" y="877985"/>
                      </a:cubicBezTo>
                      <a:moveTo>
                        <a:pt x="964" y="876619"/>
                      </a:moveTo>
                      <a:cubicBezTo>
                        <a:pt x="643" y="875896"/>
                        <a:pt x="321" y="874933"/>
                        <a:pt x="0" y="874290"/>
                      </a:cubicBezTo>
                      <a:cubicBezTo>
                        <a:pt x="19198" y="873647"/>
                        <a:pt x="30364" y="867301"/>
                        <a:pt x="33336" y="865374"/>
                      </a:cubicBezTo>
                      <a:cubicBezTo>
                        <a:pt x="40003" y="861036"/>
                        <a:pt x="40325" y="860875"/>
                        <a:pt x="41449" y="847541"/>
                      </a:cubicBezTo>
                      <a:cubicBezTo>
                        <a:pt x="44020" y="846255"/>
                        <a:pt x="45225" y="844729"/>
                        <a:pt x="45867" y="842319"/>
                      </a:cubicBezTo>
                      <a:cubicBezTo>
                        <a:pt x="45546" y="846898"/>
                        <a:pt x="44984" y="856377"/>
                        <a:pt x="56471" y="846175"/>
                      </a:cubicBezTo>
                      <a:cubicBezTo>
                        <a:pt x="56872" y="845854"/>
                        <a:pt x="57274" y="845372"/>
                        <a:pt x="57675" y="845051"/>
                      </a:cubicBezTo>
                      <a:cubicBezTo>
                        <a:pt x="57836" y="839347"/>
                        <a:pt x="58961" y="834608"/>
                        <a:pt x="61853" y="826816"/>
                      </a:cubicBezTo>
                      <a:cubicBezTo>
                        <a:pt x="60889" y="827218"/>
                        <a:pt x="59523" y="827700"/>
                        <a:pt x="58559" y="828021"/>
                      </a:cubicBezTo>
                      <a:cubicBezTo>
                        <a:pt x="58398" y="822719"/>
                        <a:pt x="58398" y="822719"/>
                        <a:pt x="75107" y="809144"/>
                      </a:cubicBezTo>
                      <a:cubicBezTo>
                        <a:pt x="76151" y="809385"/>
                        <a:pt x="77517" y="809786"/>
                        <a:pt x="78561" y="810027"/>
                      </a:cubicBezTo>
                      <a:cubicBezTo>
                        <a:pt x="81533" y="806332"/>
                        <a:pt x="82095" y="803923"/>
                        <a:pt x="80810" y="801352"/>
                      </a:cubicBezTo>
                      <a:cubicBezTo>
                        <a:pt x="81051" y="801272"/>
                        <a:pt x="81372" y="801191"/>
                        <a:pt x="81613" y="801111"/>
                      </a:cubicBezTo>
                      <a:cubicBezTo>
                        <a:pt x="83862" y="800468"/>
                        <a:pt x="85148" y="800227"/>
                        <a:pt x="87076" y="799906"/>
                      </a:cubicBezTo>
                      <a:cubicBezTo>
                        <a:pt x="82657" y="807457"/>
                        <a:pt x="81212" y="810590"/>
                        <a:pt x="79043" y="817578"/>
                      </a:cubicBezTo>
                      <a:cubicBezTo>
                        <a:pt x="77597" y="816373"/>
                        <a:pt x="76231" y="816052"/>
                        <a:pt x="73821" y="816454"/>
                      </a:cubicBezTo>
                      <a:cubicBezTo>
                        <a:pt x="71331" y="830672"/>
                        <a:pt x="70769" y="832118"/>
                        <a:pt x="70528" y="832600"/>
                      </a:cubicBezTo>
                      <a:cubicBezTo>
                        <a:pt x="70448" y="831556"/>
                        <a:pt x="70448" y="831314"/>
                        <a:pt x="71010" y="825932"/>
                      </a:cubicBezTo>
                      <a:cubicBezTo>
                        <a:pt x="70608" y="828664"/>
                        <a:pt x="69323" y="830350"/>
                        <a:pt x="65869" y="832519"/>
                      </a:cubicBezTo>
                      <a:cubicBezTo>
                        <a:pt x="65789" y="832118"/>
                        <a:pt x="65708" y="831636"/>
                        <a:pt x="65708" y="831314"/>
                      </a:cubicBezTo>
                      <a:cubicBezTo>
                        <a:pt x="63700" y="833965"/>
                        <a:pt x="63539" y="835813"/>
                        <a:pt x="65146" y="838142"/>
                      </a:cubicBezTo>
                      <a:cubicBezTo>
                        <a:pt x="65869" y="836455"/>
                        <a:pt x="66431" y="835893"/>
                        <a:pt x="68279" y="835411"/>
                      </a:cubicBezTo>
                      <a:cubicBezTo>
                        <a:pt x="66833" y="842560"/>
                        <a:pt x="61612" y="845452"/>
                        <a:pt x="57836" y="847541"/>
                      </a:cubicBezTo>
                      <a:cubicBezTo>
                        <a:pt x="60246" y="846898"/>
                        <a:pt x="60728" y="847300"/>
                        <a:pt x="61612" y="847942"/>
                      </a:cubicBezTo>
                      <a:cubicBezTo>
                        <a:pt x="62094" y="847782"/>
                        <a:pt x="62094" y="847782"/>
                        <a:pt x="63539" y="846095"/>
                      </a:cubicBezTo>
                      <a:cubicBezTo>
                        <a:pt x="63379" y="846978"/>
                        <a:pt x="63379" y="846978"/>
                        <a:pt x="61772" y="850191"/>
                      </a:cubicBezTo>
                      <a:cubicBezTo>
                        <a:pt x="63298" y="852441"/>
                        <a:pt x="63057" y="854369"/>
                        <a:pt x="60969" y="857501"/>
                      </a:cubicBezTo>
                      <a:cubicBezTo>
                        <a:pt x="70769" y="864731"/>
                        <a:pt x="80408" y="872924"/>
                        <a:pt x="82095" y="886500"/>
                      </a:cubicBezTo>
                      <a:cubicBezTo>
                        <a:pt x="83862" y="901200"/>
                        <a:pt x="78882" y="909233"/>
                        <a:pt x="67395" y="910518"/>
                      </a:cubicBezTo>
                      <a:cubicBezTo>
                        <a:pt x="52535" y="912124"/>
                        <a:pt x="37674" y="900557"/>
                        <a:pt x="31328" y="895657"/>
                      </a:cubicBezTo>
                      <a:cubicBezTo>
                        <a:pt x="31328" y="892444"/>
                        <a:pt x="31408" y="883849"/>
                        <a:pt x="15584" y="894051"/>
                      </a:cubicBezTo>
                      <a:cubicBezTo>
                        <a:pt x="6185" y="886580"/>
                        <a:pt x="2249" y="879351"/>
                        <a:pt x="964" y="876619"/>
                      </a:cubicBezTo>
                      <a:moveTo>
                        <a:pt x="1191425" y="554665"/>
                      </a:moveTo>
                      <a:cubicBezTo>
                        <a:pt x="1191425" y="554585"/>
                        <a:pt x="1191425" y="554504"/>
                        <a:pt x="1191505" y="554504"/>
                      </a:cubicBezTo>
                      <a:cubicBezTo>
                        <a:pt x="1191505" y="554504"/>
                        <a:pt x="1191585" y="554585"/>
                        <a:pt x="1191505" y="554986"/>
                      </a:cubicBezTo>
                      <a:cubicBezTo>
                        <a:pt x="1191425" y="554826"/>
                        <a:pt x="1191425" y="554745"/>
                        <a:pt x="1191425" y="554665"/>
                      </a:cubicBezTo>
                      <a:moveTo>
                        <a:pt x="902083" y="430237"/>
                      </a:moveTo>
                      <a:cubicBezTo>
                        <a:pt x="905055" y="432647"/>
                        <a:pt x="906260" y="434334"/>
                        <a:pt x="907867" y="437065"/>
                      </a:cubicBezTo>
                      <a:cubicBezTo>
                        <a:pt x="911964" y="433691"/>
                        <a:pt x="911160" y="430799"/>
                        <a:pt x="905537" y="428550"/>
                      </a:cubicBezTo>
                      <a:cubicBezTo>
                        <a:pt x="905216" y="429433"/>
                        <a:pt x="904573" y="429835"/>
                        <a:pt x="901521" y="429755"/>
                      </a:cubicBezTo>
                      <a:cubicBezTo>
                        <a:pt x="901682" y="429916"/>
                        <a:pt x="901923" y="430076"/>
                        <a:pt x="902083" y="430237"/>
                      </a:cubicBezTo>
                      <a:moveTo>
                        <a:pt x="446302" y="656922"/>
                      </a:moveTo>
                      <a:cubicBezTo>
                        <a:pt x="425497" y="590170"/>
                        <a:pt x="480281" y="543339"/>
                        <a:pt x="496829" y="546391"/>
                      </a:cubicBezTo>
                      <a:cubicBezTo>
                        <a:pt x="502050" y="538358"/>
                        <a:pt x="507833" y="529602"/>
                        <a:pt x="515063" y="519320"/>
                      </a:cubicBezTo>
                      <a:cubicBezTo>
                        <a:pt x="514179" y="519481"/>
                        <a:pt x="512894" y="519722"/>
                        <a:pt x="512011" y="519883"/>
                      </a:cubicBezTo>
                      <a:cubicBezTo>
                        <a:pt x="567678" y="495704"/>
                        <a:pt x="621578" y="387583"/>
                        <a:pt x="621899" y="386538"/>
                      </a:cubicBezTo>
                      <a:cubicBezTo>
                        <a:pt x="622863" y="386699"/>
                        <a:pt x="624148" y="386940"/>
                        <a:pt x="625112" y="387101"/>
                      </a:cubicBezTo>
                      <a:cubicBezTo>
                        <a:pt x="630976" y="389671"/>
                        <a:pt x="633788" y="395776"/>
                        <a:pt x="638929" y="399230"/>
                      </a:cubicBezTo>
                      <a:cubicBezTo>
                        <a:pt x="639973" y="400355"/>
                        <a:pt x="641258" y="401881"/>
                        <a:pt x="642303" y="403006"/>
                      </a:cubicBezTo>
                      <a:cubicBezTo>
                        <a:pt x="641820" y="404451"/>
                        <a:pt x="641258" y="406379"/>
                        <a:pt x="640776" y="407825"/>
                      </a:cubicBezTo>
                      <a:cubicBezTo>
                        <a:pt x="651460" y="417143"/>
                        <a:pt x="745444" y="495624"/>
                        <a:pt x="752754" y="390715"/>
                      </a:cubicBezTo>
                      <a:cubicBezTo>
                        <a:pt x="753958" y="391037"/>
                        <a:pt x="755645" y="391519"/>
                        <a:pt x="756850" y="391840"/>
                      </a:cubicBezTo>
                      <a:cubicBezTo>
                        <a:pt x="758296" y="390796"/>
                        <a:pt x="760144" y="389028"/>
                        <a:pt x="760786" y="387342"/>
                      </a:cubicBezTo>
                      <a:lnTo>
                        <a:pt x="758778" y="386056"/>
                      </a:lnTo>
                      <a:cubicBezTo>
                        <a:pt x="825531" y="373204"/>
                        <a:pt x="825531" y="373204"/>
                        <a:pt x="830832" y="378104"/>
                      </a:cubicBezTo>
                      <a:cubicBezTo>
                        <a:pt x="828744" y="380433"/>
                        <a:pt x="825691" y="383325"/>
                        <a:pt x="823201" y="385173"/>
                      </a:cubicBezTo>
                      <a:cubicBezTo>
                        <a:pt x="832117" y="385012"/>
                        <a:pt x="859750" y="386056"/>
                        <a:pt x="859831" y="386137"/>
                      </a:cubicBezTo>
                      <a:lnTo>
                        <a:pt x="860313" y="388386"/>
                      </a:lnTo>
                      <a:cubicBezTo>
                        <a:pt x="876860" y="393527"/>
                        <a:pt x="879913" y="398587"/>
                        <a:pt x="888026" y="412083"/>
                      </a:cubicBezTo>
                      <a:cubicBezTo>
                        <a:pt x="886901" y="412725"/>
                        <a:pt x="885375" y="413609"/>
                        <a:pt x="884250" y="414252"/>
                      </a:cubicBezTo>
                      <a:cubicBezTo>
                        <a:pt x="894211" y="417947"/>
                        <a:pt x="907786" y="406219"/>
                        <a:pt x="915096" y="418991"/>
                      </a:cubicBezTo>
                      <a:cubicBezTo>
                        <a:pt x="915659" y="418669"/>
                        <a:pt x="916462" y="418268"/>
                        <a:pt x="917024" y="418027"/>
                      </a:cubicBezTo>
                      <a:lnTo>
                        <a:pt x="918711" y="419232"/>
                      </a:lnTo>
                      <a:cubicBezTo>
                        <a:pt x="919354" y="416420"/>
                        <a:pt x="921282" y="407825"/>
                        <a:pt x="927788" y="404773"/>
                      </a:cubicBezTo>
                      <a:cubicBezTo>
                        <a:pt x="936223" y="400756"/>
                        <a:pt x="945460" y="405897"/>
                        <a:pt x="953895" y="402283"/>
                      </a:cubicBezTo>
                      <a:cubicBezTo>
                        <a:pt x="955341" y="404692"/>
                        <a:pt x="957670" y="407745"/>
                        <a:pt x="959598" y="409753"/>
                      </a:cubicBezTo>
                      <a:cubicBezTo>
                        <a:pt x="960401" y="409110"/>
                        <a:pt x="961446" y="408307"/>
                        <a:pt x="962249" y="407665"/>
                      </a:cubicBezTo>
                      <a:lnTo>
                        <a:pt x="963855" y="408548"/>
                      </a:lnTo>
                      <a:cubicBezTo>
                        <a:pt x="972531" y="411520"/>
                        <a:pt x="975101" y="413288"/>
                        <a:pt x="978395" y="415537"/>
                      </a:cubicBezTo>
                      <a:cubicBezTo>
                        <a:pt x="978073" y="416742"/>
                        <a:pt x="977672" y="418428"/>
                        <a:pt x="977350" y="419633"/>
                      </a:cubicBezTo>
                      <a:cubicBezTo>
                        <a:pt x="983295" y="416661"/>
                        <a:pt x="984660" y="417786"/>
                        <a:pt x="988275" y="420758"/>
                      </a:cubicBezTo>
                      <a:cubicBezTo>
                        <a:pt x="988034" y="423248"/>
                        <a:pt x="988516" y="426863"/>
                        <a:pt x="989721" y="429112"/>
                      </a:cubicBezTo>
                      <a:cubicBezTo>
                        <a:pt x="1002172" y="429273"/>
                        <a:pt x="1002172" y="429273"/>
                        <a:pt x="1006670" y="431120"/>
                      </a:cubicBezTo>
                      <a:cubicBezTo>
                        <a:pt x="1004983" y="433289"/>
                        <a:pt x="1003296" y="436824"/>
                        <a:pt x="1002814" y="439555"/>
                      </a:cubicBezTo>
                      <a:cubicBezTo>
                        <a:pt x="1006108" y="443491"/>
                        <a:pt x="1006188" y="443571"/>
                        <a:pt x="1032616" y="452086"/>
                      </a:cubicBezTo>
                      <a:cubicBezTo>
                        <a:pt x="1078724" y="466947"/>
                        <a:pt x="1129090" y="486707"/>
                        <a:pt x="1182267" y="510726"/>
                      </a:cubicBezTo>
                      <a:cubicBezTo>
                        <a:pt x="1182348" y="508235"/>
                        <a:pt x="1182267" y="504942"/>
                        <a:pt x="1182187" y="502452"/>
                      </a:cubicBezTo>
                      <a:cubicBezTo>
                        <a:pt x="1184838" y="511529"/>
                        <a:pt x="1188131" y="522775"/>
                        <a:pt x="1188613" y="554263"/>
                      </a:cubicBezTo>
                      <a:cubicBezTo>
                        <a:pt x="1188613" y="555789"/>
                        <a:pt x="1188613" y="555789"/>
                        <a:pt x="1188613" y="555789"/>
                      </a:cubicBezTo>
                      <a:lnTo>
                        <a:pt x="1190220" y="557717"/>
                      </a:lnTo>
                      <a:cubicBezTo>
                        <a:pt x="1191505" y="557396"/>
                        <a:pt x="1193192" y="557075"/>
                        <a:pt x="1194477" y="556753"/>
                      </a:cubicBezTo>
                      <a:cubicBezTo>
                        <a:pt x="1195441" y="557476"/>
                        <a:pt x="1196726" y="558360"/>
                        <a:pt x="1197690" y="559083"/>
                      </a:cubicBezTo>
                      <a:cubicBezTo>
                        <a:pt x="1174957" y="591054"/>
                        <a:pt x="1157044" y="616276"/>
                        <a:pt x="1169254" y="654432"/>
                      </a:cubicBezTo>
                      <a:cubicBezTo>
                        <a:pt x="1130536" y="661581"/>
                        <a:pt x="1096638" y="659011"/>
                        <a:pt x="1030528" y="650094"/>
                      </a:cubicBezTo>
                      <a:cubicBezTo>
                        <a:pt x="969398" y="641821"/>
                        <a:pt x="911723" y="634029"/>
                        <a:pt x="851316" y="641580"/>
                      </a:cubicBezTo>
                      <a:cubicBezTo>
                        <a:pt x="820309" y="645435"/>
                        <a:pt x="819908" y="645596"/>
                        <a:pt x="809385" y="657726"/>
                      </a:cubicBezTo>
                      <a:cubicBezTo>
                        <a:pt x="790186" y="679896"/>
                        <a:pt x="790186" y="679896"/>
                        <a:pt x="789544" y="680137"/>
                      </a:cubicBezTo>
                      <a:cubicBezTo>
                        <a:pt x="776932" y="669132"/>
                        <a:pt x="766409" y="660537"/>
                        <a:pt x="751790" y="649693"/>
                      </a:cubicBezTo>
                      <a:cubicBezTo>
                        <a:pt x="750986" y="665276"/>
                        <a:pt x="756690" y="675237"/>
                        <a:pt x="772353" y="685118"/>
                      </a:cubicBezTo>
                      <a:cubicBezTo>
                        <a:pt x="756127" y="685599"/>
                        <a:pt x="753798" y="682145"/>
                        <a:pt x="748978" y="675398"/>
                      </a:cubicBezTo>
                      <a:cubicBezTo>
                        <a:pt x="747291" y="676040"/>
                        <a:pt x="745042" y="676924"/>
                        <a:pt x="743275" y="677567"/>
                      </a:cubicBezTo>
                      <a:cubicBezTo>
                        <a:pt x="741106" y="684636"/>
                        <a:pt x="741668" y="686322"/>
                        <a:pt x="747934" y="692508"/>
                      </a:cubicBezTo>
                      <a:cubicBezTo>
                        <a:pt x="732752" y="690258"/>
                        <a:pt x="731145" y="691383"/>
                        <a:pt x="726968" y="694516"/>
                      </a:cubicBezTo>
                      <a:cubicBezTo>
                        <a:pt x="728093" y="694114"/>
                        <a:pt x="729619" y="693632"/>
                        <a:pt x="730824" y="693231"/>
                      </a:cubicBezTo>
                      <a:cubicBezTo>
                        <a:pt x="727209" y="706404"/>
                        <a:pt x="709296" y="749059"/>
                        <a:pt x="628245" y="743114"/>
                      </a:cubicBezTo>
                      <a:cubicBezTo>
                        <a:pt x="629289" y="742713"/>
                        <a:pt x="630735" y="742150"/>
                        <a:pt x="631779" y="741749"/>
                      </a:cubicBezTo>
                      <a:cubicBezTo>
                        <a:pt x="629530" y="741347"/>
                        <a:pt x="626398" y="741106"/>
                        <a:pt x="624068" y="741106"/>
                      </a:cubicBezTo>
                      <a:cubicBezTo>
                        <a:pt x="625112" y="742311"/>
                        <a:pt x="626398" y="743918"/>
                        <a:pt x="627442" y="745203"/>
                      </a:cubicBezTo>
                      <a:cubicBezTo>
                        <a:pt x="620373" y="745444"/>
                        <a:pt x="619650" y="745604"/>
                        <a:pt x="614589" y="746890"/>
                      </a:cubicBezTo>
                      <a:cubicBezTo>
                        <a:pt x="613786" y="747211"/>
                        <a:pt x="613706" y="747211"/>
                        <a:pt x="613706" y="747211"/>
                      </a:cubicBezTo>
                      <a:lnTo>
                        <a:pt x="613706" y="747211"/>
                      </a:lnTo>
                      <a:cubicBezTo>
                        <a:pt x="613706" y="747211"/>
                        <a:pt x="613625" y="747211"/>
                        <a:pt x="613625" y="747211"/>
                      </a:cubicBezTo>
                      <a:lnTo>
                        <a:pt x="613625" y="747211"/>
                      </a:lnTo>
                      <a:cubicBezTo>
                        <a:pt x="613625" y="747211"/>
                        <a:pt x="613545" y="747211"/>
                        <a:pt x="613545" y="747211"/>
                      </a:cubicBezTo>
                      <a:lnTo>
                        <a:pt x="613545" y="747211"/>
                      </a:lnTo>
                      <a:cubicBezTo>
                        <a:pt x="613545" y="747211"/>
                        <a:pt x="613465" y="747211"/>
                        <a:pt x="613465" y="747211"/>
                      </a:cubicBezTo>
                      <a:lnTo>
                        <a:pt x="613465" y="747211"/>
                      </a:lnTo>
                      <a:cubicBezTo>
                        <a:pt x="613465" y="747211"/>
                        <a:pt x="613384" y="747211"/>
                        <a:pt x="613384" y="747211"/>
                      </a:cubicBezTo>
                      <a:lnTo>
                        <a:pt x="613384" y="747211"/>
                      </a:lnTo>
                      <a:cubicBezTo>
                        <a:pt x="613384" y="747211"/>
                        <a:pt x="613304" y="747211"/>
                        <a:pt x="613304" y="747211"/>
                      </a:cubicBezTo>
                      <a:lnTo>
                        <a:pt x="613304" y="747211"/>
                      </a:lnTo>
                      <a:cubicBezTo>
                        <a:pt x="613304" y="747211"/>
                        <a:pt x="613224" y="747211"/>
                        <a:pt x="613224" y="747211"/>
                      </a:cubicBezTo>
                      <a:lnTo>
                        <a:pt x="613224" y="747211"/>
                      </a:lnTo>
                      <a:cubicBezTo>
                        <a:pt x="613143" y="747211"/>
                        <a:pt x="613143" y="747211"/>
                        <a:pt x="613063" y="747211"/>
                      </a:cubicBezTo>
                      <a:cubicBezTo>
                        <a:pt x="613143" y="747211"/>
                        <a:pt x="613143" y="747211"/>
                        <a:pt x="613224" y="747211"/>
                      </a:cubicBezTo>
                      <a:cubicBezTo>
                        <a:pt x="613224" y="747211"/>
                        <a:pt x="613304" y="747211"/>
                        <a:pt x="613304" y="747211"/>
                      </a:cubicBezTo>
                      <a:lnTo>
                        <a:pt x="613304" y="747211"/>
                      </a:lnTo>
                      <a:cubicBezTo>
                        <a:pt x="613304" y="747211"/>
                        <a:pt x="613384" y="747211"/>
                        <a:pt x="613384" y="747211"/>
                      </a:cubicBezTo>
                      <a:lnTo>
                        <a:pt x="613384" y="747211"/>
                      </a:lnTo>
                      <a:cubicBezTo>
                        <a:pt x="613384" y="747211"/>
                        <a:pt x="613465" y="747211"/>
                        <a:pt x="613465" y="747211"/>
                      </a:cubicBezTo>
                      <a:lnTo>
                        <a:pt x="613465" y="747211"/>
                      </a:lnTo>
                      <a:cubicBezTo>
                        <a:pt x="613465" y="747211"/>
                        <a:pt x="613545" y="747211"/>
                        <a:pt x="613545" y="747211"/>
                      </a:cubicBezTo>
                      <a:lnTo>
                        <a:pt x="613545" y="747211"/>
                      </a:lnTo>
                      <a:cubicBezTo>
                        <a:pt x="613545" y="747211"/>
                        <a:pt x="613625" y="747211"/>
                        <a:pt x="613625" y="747211"/>
                      </a:cubicBezTo>
                      <a:lnTo>
                        <a:pt x="613625" y="747211"/>
                      </a:lnTo>
                      <a:cubicBezTo>
                        <a:pt x="613625" y="747211"/>
                        <a:pt x="613706" y="747211"/>
                        <a:pt x="613706" y="747211"/>
                      </a:cubicBezTo>
                      <a:lnTo>
                        <a:pt x="613706" y="747211"/>
                      </a:lnTo>
                      <a:cubicBezTo>
                        <a:pt x="613706" y="747211"/>
                        <a:pt x="613786" y="747211"/>
                        <a:pt x="613786" y="747211"/>
                      </a:cubicBezTo>
                      <a:cubicBezTo>
                        <a:pt x="596837" y="776450"/>
                        <a:pt x="521329" y="748496"/>
                        <a:pt x="493214" y="702549"/>
                      </a:cubicBezTo>
                      <a:cubicBezTo>
                        <a:pt x="493856" y="702388"/>
                        <a:pt x="494660" y="702067"/>
                        <a:pt x="495222" y="701906"/>
                      </a:cubicBezTo>
                      <a:lnTo>
                        <a:pt x="492732" y="701986"/>
                      </a:lnTo>
                      <a:cubicBezTo>
                        <a:pt x="489117" y="695721"/>
                        <a:pt x="486788" y="691544"/>
                        <a:pt x="471445" y="687768"/>
                      </a:cubicBezTo>
                      <a:cubicBezTo>
                        <a:pt x="471766" y="687527"/>
                        <a:pt x="472088" y="687286"/>
                        <a:pt x="472409" y="687045"/>
                      </a:cubicBezTo>
                      <a:cubicBezTo>
                        <a:pt x="465340" y="682949"/>
                        <a:pt x="452006" y="675157"/>
                        <a:pt x="446302" y="656922"/>
                      </a:cubicBezTo>
                      <a:moveTo>
                        <a:pt x="694275" y="345089"/>
                      </a:moveTo>
                      <a:cubicBezTo>
                        <a:pt x="693953" y="345089"/>
                        <a:pt x="693471" y="345169"/>
                        <a:pt x="693070" y="345169"/>
                      </a:cubicBezTo>
                      <a:cubicBezTo>
                        <a:pt x="693471" y="345169"/>
                        <a:pt x="694034" y="345089"/>
                        <a:pt x="694435" y="345089"/>
                      </a:cubicBezTo>
                      <a:cubicBezTo>
                        <a:pt x="700701" y="344768"/>
                        <a:pt x="706966" y="344366"/>
                        <a:pt x="713232" y="344045"/>
                      </a:cubicBezTo>
                      <a:cubicBezTo>
                        <a:pt x="706886" y="344446"/>
                        <a:pt x="700540" y="344768"/>
                        <a:pt x="694275" y="345089"/>
                      </a:cubicBezTo>
                      <a:moveTo>
                        <a:pt x="1169254" y="345250"/>
                      </a:moveTo>
                      <a:cubicBezTo>
                        <a:pt x="1166603" y="345330"/>
                        <a:pt x="1163149" y="345410"/>
                        <a:pt x="1160579" y="345410"/>
                      </a:cubicBezTo>
                      <a:cubicBezTo>
                        <a:pt x="1196003" y="327738"/>
                        <a:pt x="1230866" y="321955"/>
                        <a:pt x="1284846" y="324686"/>
                      </a:cubicBezTo>
                      <a:cubicBezTo>
                        <a:pt x="1285087" y="325087"/>
                        <a:pt x="1285408" y="325569"/>
                        <a:pt x="1285569" y="325971"/>
                      </a:cubicBezTo>
                      <a:cubicBezTo>
                        <a:pt x="1303321" y="325328"/>
                        <a:pt x="1308141" y="333924"/>
                        <a:pt x="1308703" y="334968"/>
                      </a:cubicBezTo>
                      <a:cubicBezTo>
                        <a:pt x="1310872" y="339225"/>
                        <a:pt x="1312318" y="338020"/>
                        <a:pt x="1313041" y="337458"/>
                      </a:cubicBezTo>
                      <a:cubicBezTo>
                        <a:pt x="1308462" y="341314"/>
                        <a:pt x="1170620" y="345169"/>
                        <a:pt x="1169254" y="345250"/>
                      </a:cubicBezTo>
                      <a:moveTo>
                        <a:pt x="994701" y="248776"/>
                      </a:moveTo>
                      <a:cubicBezTo>
                        <a:pt x="994621" y="248695"/>
                        <a:pt x="994460" y="248615"/>
                        <a:pt x="994380" y="248535"/>
                      </a:cubicBezTo>
                      <a:cubicBezTo>
                        <a:pt x="994701" y="248213"/>
                        <a:pt x="995103" y="247812"/>
                        <a:pt x="995424" y="247571"/>
                      </a:cubicBezTo>
                      <a:lnTo>
                        <a:pt x="995826" y="247731"/>
                      </a:lnTo>
                      <a:cubicBezTo>
                        <a:pt x="999762" y="249338"/>
                        <a:pt x="1002814" y="251346"/>
                        <a:pt x="1005465" y="254158"/>
                      </a:cubicBezTo>
                      <a:cubicBezTo>
                        <a:pt x="1003859" y="253676"/>
                        <a:pt x="999280" y="252310"/>
                        <a:pt x="994701" y="248776"/>
                      </a:cubicBezTo>
                      <a:moveTo>
                        <a:pt x="453371" y="404050"/>
                      </a:moveTo>
                      <a:cubicBezTo>
                        <a:pt x="466224" y="386699"/>
                        <a:pt x="521007" y="329988"/>
                        <a:pt x="601094" y="298499"/>
                      </a:cubicBezTo>
                      <a:cubicBezTo>
                        <a:pt x="668329" y="271991"/>
                        <a:pt x="681181" y="273276"/>
                        <a:pt x="764883" y="281389"/>
                      </a:cubicBezTo>
                      <a:cubicBezTo>
                        <a:pt x="767212" y="277774"/>
                        <a:pt x="767212" y="277774"/>
                        <a:pt x="769944" y="277292"/>
                      </a:cubicBezTo>
                      <a:cubicBezTo>
                        <a:pt x="770426" y="277694"/>
                        <a:pt x="771068" y="278256"/>
                        <a:pt x="771631" y="278658"/>
                      </a:cubicBezTo>
                      <a:cubicBezTo>
                        <a:pt x="772595" y="266127"/>
                        <a:pt x="773558" y="253194"/>
                        <a:pt x="804083" y="251748"/>
                      </a:cubicBezTo>
                      <a:cubicBezTo>
                        <a:pt x="828101" y="251105"/>
                        <a:pt x="835411" y="256969"/>
                        <a:pt x="836134" y="257612"/>
                      </a:cubicBezTo>
                      <a:cubicBezTo>
                        <a:pt x="832198" y="260664"/>
                        <a:pt x="832198" y="260664"/>
                        <a:pt x="820390" y="262432"/>
                      </a:cubicBezTo>
                      <a:cubicBezTo>
                        <a:pt x="817900" y="266368"/>
                        <a:pt x="812035" y="275686"/>
                        <a:pt x="781832" y="270866"/>
                      </a:cubicBezTo>
                      <a:cubicBezTo>
                        <a:pt x="782716" y="271509"/>
                        <a:pt x="783921" y="272312"/>
                        <a:pt x="784885" y="272955"/>
                      </a:cubicBezTo>
                      <a:cubicBezTo>
                        <a:pt x="784563" y="273437"/>
                        <a:pt x="784162" y="274159"/>
                        <a:pt x="783840" y="274641"/>
                      </a:cubicBezTo>
                      <a:cubicBezTo>
                        <a:pt x="796211" y="282353"/>
                        <a:pt x="809385" y="274722"/>
                        <a:pt x="822076" y="276489"/>
                      </a:cubicBezTo>
                      <a:cubicBezTo>
                        <a:pt x="810108" y="291269"/>
                        <a:pt x="810108" y="291269"/>
                        <a:pt x="786411" y="282032"/>
                      </a:cubicBezTo>
                      <a:cubicBezTo>
                        <a:pt x="786090" y="286209"/>
                        <a:pt x="786090" y="286209"/>
                        <a:pt x="699657" y="318902"/>
                      </a:cubicBezTo>
                      <a:cubicBezTo>
                        <a:pt x="700621" y="319304"/>
                        <a:pt x="701825" y="319786"/>
                        <a:pt x="702790" y="320188"/>
                      </a:cubicBezTo>
                      <a:lnTo>
                        <a:pt x="699255" y="320910"/>
                      </a:lnTo>
                      <a:cubicBezTo>
                        <a:pt x="699175" y="325810"/>
                        <a:pt x="698050" y="328702"/>
                        <a:pt x="691142" y="333442"/>
                      </a:cubicBezTo>
                      <a:cubicBezTo>
                        <a:pt x="692347" y="333442"/>
                        <a:pt x="694034" y="333442"/>
                        <a:pt x="695239" y="333442"/>
                      </a:cubicBezTo>
                      <a:cubicBezTo>
                        <a:pt x="693953" y="335530"/>
                        <a:pt x="692749" y="337458"/>
                        <a:pt x="685358" y="337940"/>
                      </a:cubicBezTo>
                      <a:lnTo>
                        <a:pt x="686483" y="337860"/>
                      </a:lnTo>
                      <a:cubicBezTo>
                        <a:pt x="689937" y="337699"/>
                        <a:pt x="690499" y="337699"/>
                        <a:pt x="693070" y="337779"/>
                      </a:cubicBezTo>
                      <a:cubicBezTo>
                        <a:pt x="695239" y="342920"/>
                        <a:pt x="692106" y="347499"/>
                        <a:pt x="691222" y="347820"/>
                      </a:cubicBezTo>
                      <a:lnTo>
                        <a:pt x="668971" y="348784"/>
                      </a:lnTo>
                      <a:cubicBezTo>
                        <a:pt x="664553" y="347338"/>
                        <a:pt x="659011" y="352961"/>
                        <a:pt x="654914" y="355210"/>
                      </a:cubicBezTo>
                      <a:cubicBezTo>
                        <a:pt x="627281" y="370232"/>
                        <a:pt x="623425" y="369670"/>
                        <a:pt x="619730" y="369187"/>
                      </a:cubicBezTo>
                      <a:cubicBezTo>
                        <a:pt x="618847" y="366296"/>
                        <a:pt x="618525" y="365412"/>
                        <a:pt x="625675" y="356014"/>
                      </a:cubicBezTo>
                      <a:cubicBezTo>
                        <a:pt x="621498" y="357219"/>
                        <a:pt x="612822" y="359709"/>
                        <a:pt x="596917" y="359387"/>
                      </a:cubicBezTo>
                      <a:cubicBezTo>
                        <a:pt x="597319" y="358584"/>
                        <a:pt x="597961" y="357620"/>
                        <a:pt x="598363" y="356817"/>
                      </a:cubicBezTo>
                      <a:cubicBezTo>
                        <a:pt x="595873" y="357299"/>
                        <a:pt x="593383" y="357620"/>
                        <a:pt x="590973" y="358022"/>
                      </a:cubicBezTo>
                      <a:cubicBezTo>
                        <a:pt x="591214" y="357701"/>
                        <a:pt x="591535" y="357299"/>
                        <a:pt x="591776" y="356978"/>
                      </a:cubicBezTo>
                      <a:cubicBezTo>
                        <a:pt x="591134" y="357058"/>
                        <a:pt x="590411" y="357138"/>
                        <a:pt x="589768" y="357219"/>
                      </a:cubicBezTo>
                      <a:cubicBezTo>
                        <a:pt x="591214" y="353925"/>
                        <a:pt x="591214" y="353925"/>
                        <a:pt x="593784" y="351676"/>
                      </a:cubicBezTo>
                      <a:cubicBezTo>
                        <a:pt x="582378" y="356014"/>
                        <a:pt x="569927" y="355773"/>
                        <a:pt x="558601" y="360512"/>
                      </a:cubicBezTo>
                      <a:cubicBezTo>
                        <a:pt x="543579" y="366778"/>
                        <a:pt x="533378" y="375453"/>
                        <a:pt x="530004" y="378345"/>
                      </a:cubicBezTo>
                      <a:cubicBezTo>
                        <a:pt x="522935" y="384369"/>
                        <a:pt x="504058" y="400355"/>
                        <a:pt x="459235" y="406379"/>
                      </a:cubicBezTo>
                      <a:cubicBezTo>
                        <a:pt x="459717" y="405817"/>
                        <a:pt x="460440" y="405094"/>
                        <a:pt x="460922" y="404451"/>
                      </a:cubicBezTo>
                      <a:cubicBezTo>
                        <a:pt x="458271" y="404130"/>
                        <a:pt x="455781" y="404291"/>
                        <a:pt x="453371" y="404050"/>
                      </a:cubicBezTo>
                      <a:moveTo>
                        <a:pt x="1004341" y="290225"/>
                      </a:moveTo>
                      <a:cubicBezTo>
                        <a:pt x="1004260" y="289984"/>
                        <a:pt x="1004260" y="289663"/>
                        <a:pt x="1004180" y="289422"/>
                      </a:cubicBezTo>
                      <a:cubicBezTo>
                        <a:pt x="1007554" y="284200"/>
                        <a:pt x="1017755" y="268456"/>
                        <a:pt x="1005385" y="254077"/>
                      </a:cubicBezTo>
                      <a:cubicBezTo>
                        <a:pt x="1013900" y="256327"/>
                        <a:pt x="1031010" y="257050"/>
                        <a:pt x="1040890" y="245241"/>
                      </a:cubicBezTo>
                      <a:cubicBezTo>
                        <a:pt x="1041292" y="245482"/>
                        <a:pt x="1041774" y="245723"/>
                        <a:pt x="1042175" y="245884"/>
                      </a:cubicBezTo>
                      <a:cubicBezTo>
                        <a:pt x="1045951" y="247812"/>
                        <a:pt x="1047959" y="248856"/>
                        <a:pt x="1051574" y="250463"/>
                      </a:cubicBezTo>
                      <a:cubicBezTo>
                        <a:pt x="1052216" y="249901"/>
                        <a:pt x="1053100" y="249097"/>
                        <a:pt x="1053742" y="248535"/>
                      </a:cubicBezTo>
                      <a:cubicBezTo>
                        <a:pt x="1063141" y="252712"/>
                        <a:pt x="1070692" y="272392"/>
                        <a:pt x="1070129" y="279622"/>
                      </a:cubicBezTo>
                      <a:cubicBezTo>
                        <a:pt x="1069165" y="292715"/>
                        <a:pt x="1061454" y="298820"/>
                        <a:pt x="1049485" y="304282"/>
                      </a:cubicBezTo>
                      <a:cubicBezTo>
                        <a:pt x="1049244" y="268054"/>
                        <a:pt x="1034142" y="271107"/>
                        <a:pt x="1004341" y="290225"/>
                      </a:cubicBezTo>
                      <a:moveTo>
                        <a:pt x="1020326" y="233755"/>
                      </a:moveTo>
                      <a:cubicBezTo>
                        <a:pt x="1019924" y="233514"/>
                        <a:pt x="1019362" y="233273"/>
                        <a:pt x="1018960" y="233032"/>
                      </a:cubicBezTo>
                      <a:cubicBezTo>
                        <a:pt x="1019201" y="233032"/>
                        <a:pt x="1019523" y="233112"/>
                        <a:pt x="1019764" y="233192"/>
                      </a:cubicBezTo>
                      <a:cubicBezTo>
                        <a:pt x="1029082" y="234718"/>
                        <a:pt x="1036151" y="236084"/>
                        <a:pt x="1042818" y="237690"/>
                      </a:cubicBezTo>
                      <a:cubicBezTo>
                        <a:pt x="1043059" y="240663"/>
                        <a:pt x="1042577" y="242510"/>
                        <a:pt x="1040890" y="245241"/>
                      </a:cubicBezTo>
                      <a:cubicBezTo>
                        <a:pt x="1033982" y="241546"/>
                        <a:pt x="1027314" y="237369"/>
                        <a:pt x="1020326" y="233755"/>
                      </a:cubicBezTo>
                      <a:moveTo>
                        <a:pt x="947067" y="223794"/>
                      </a:moveTo>
                      <a:cubicBezTo>
                        <a:pt x="946505" y="223714"/>
                        <a:pt x="945782" y="223633"/>
                        <a:pt x="945219" y="223473"/>
                      </a:cubicBezTo>
                      <a:cubicBezTo>
                        <a:pt x="959036" y="222187"/>
                        <a:pt x="964980" y="222187"/>
                        <a:pt x="971888" y="222268"/>
                      </a:cubicBezTo>
                      <a:cubicBezTo>
                        <a:pt x="991569" y="222910"/>
                        <a:pt x="1003939" y="225722"/>
                        <a:pt x="1018960" y="233032"/>
                      </a:cubicBezTo>
                      <a:cubicBezTo>
                        <a:pt x="995023" y="229337"/>
                        <a:pt x="970924" y="227409"/>
                        <a:pt x="947067" y="223794"/>
                      </a:cubicBezTo>
                      <a:moveTo>
                        <a:pt x="1392887" y="251828"/>
                      </a:moveTo>
                      <a:cubicBezTo>
                        <a:pt x="1393289" y="252230"/>
                        <a:pt x="1396823" y="251989"/>
                        <a:pt x="1398189" y="251909"/>
                      </a:cubicBezTo>
                      <a:cubicBezTo>
                        <a:pt x="1397948" y="251748"/>
                        <a:pt x="1397626" y="251587"/>
                        <a:pt x="1397385" y="251587"/>
                      </a:cubicBezTo>
                      <a:cubicBezTo>
                        <a:pt x="1396582" y="251587"/>
                        <a:pt x="1395940" y="251507"/>
                        <a:pt x="1395458" y="251427"/>
                      </a:cubicBezTo>
                      <a:cubicBezTo>
                        <a:pt x="1395136" y="251346"/>
                        <a:pt x="1394494" y="251186"/>
                        <a:pt x="1395458" y="250623"/>
                      </a:cubicBezTo>
                      <a:cubicBezTo>
                        <a:pt x="1396823" y="249820"/>
                        <a:pt x="1398430" y="249579"/>
                        <a:pt x="1399876" y="249017"/>
                      </a:cubicBezTo>
                      <a:cubicBezTo>
                        <a:pt x="1396261" y="250141"/>
                        <a:pt x="1392325" y="251346"/>
                        <a:pt x="1392887" y="251828"/>
                      </a:cubicBezTo>
                      <a:moveTo>
                        <a:pt x="1305330" y="306532"/>
                      </a:moveTo>
                      <a:cubicBezTo>
                        <a:pt x="1298582" y="288136"/>
                        <a:pt x="1323644" y="275123"/>
                        <a:pt x="1333123" y="270304"/>
                      </a:cubicBezTo>
                      <a:cubicBezTo>
                        <a:pt x="1329990" y="266528"/>
                        <a:pt x="1325331" y="260745"/>
                        <a:pt x="1332962" y="261869"/>
                      </a:cubicBezTo>
                      <a:cubicBezTo>
                        <a:pt x="1336657" y="262432"/>
                        <a:pt x="1342843" y="265082"/>
                        <a:pt x="1345172" y="266127"/>
                      </a:cubicBezTo>
                      <a:cubicBezTo>
                        <a:pt x="1345494" y="263235"/>
                        <a:pt x="1345895" y="259942"/>
                        <a:pt x="1352081" y="255925"/>
                      </a:cubicBezTo>
                      <a:cubicBezTo>
                        <a:pt x="1353044" y="255282"/>
                        <a:pt x="1354490" y="254559"/>
                        <a:pt x="1355535" y="254077"/>
                      </a:cubicBezTo>
                      <a:cubicBezTo>
                        <a:pt x="1359149" y="252230"/>
                        <a:pt x="1363326" y="253515"/>
                        <a:pt x="1366941" y="251748"/>
                      </a:cubicBezTo>
                      <a:cubicBezTo>
                        <a:pt x="1375054" y="247731"/>
                        <a:pt x="1381079" y="240422"/>
                        <a:pt x="1389674" y="237048"/>
                      </a:cubicBezTo>
                      <a:cubicBezTo>
                        <a:pt x="1396903" y="234236"/>
                        <a:pt x="1412005" y="228372"/>
                        <a:pt x="1429677" y="233353"/>
                      </a:cubicBezTo>
                      <a:cubicBezTo>
                        <a:pt x="1433131" y="234397"/>
                        <a:pt x="1435220" y="235281"/>
                        <a:pt x="1438433" y="236968"/>
                      </a:cubicBezTo>
                      <a:cubicBezTo>
                        <a:pt x="1394413" y="281710"/>
                        <a:pt x="1334649" y="318982"/>
                        <a:pt x="1323082" y="326051"/>
                      </a:cubicBezTo>
                      <a:cubicBezTo>
                        <a:pt x="1317299" y="321553"/>
                        <a:pt x="1308382" y="314966"/>
                        <a:pt x="1305330" y="306532"/>
                      </a:cubicBezTo>
                      <a:moveTo>
                        <a:pt x="1068041" y="230622"/>
                      </a:moveTo>
                      <a:cubicBezTo>
                        <a:pt x="1067719" y="230461"/>
                        <a:pt x="1067479" y="230059"/>
                        <a:pt x="1067238" y="229819"/>
                      </a:cubicBezTo>
                      <a:cubicBezTo>
                        <a:pt x="1067960" y="228051"/>
                        <a:pt x="1068523" y="226766"/>
                        <a:pt x="1083544" y="219376"/>
                      </a:cubicBezTo>
                      <a:cubicBezTo>
                        <a:pt x="1076797" y="216002"/>
                        <a:pt x="1077038" y="213753"/>
                        <a:pt x="1084588" y="210700"/>
                      </a:cubicBezTo>
                      <a:cubicBezTo>
                        <a:pt x="1084187" y="210459"/>
                        <a:pt x="1083705" y="210218"/>
                        <a:pt x="1083303" y="209977"/>
                      </a:cubicBezTo>
                      <a:lnTo>
                        <a:pt x="1085633" y="209576"/>
                      </a:lnTo>
                      <a:lnTo>
                        <a:pt x="1084267" y="209335"/>
                      </a:lnTo>
                      <a:cubicBezTo>
                        <a:pt x="1087882" y="206041"/>
                        <a:pt x="1089247" y="204997"/>
                        <a:pt x="1093344" y="202346"/>
                      </a:cubicBezTo>
                      <a:cubicBezTo>
                        <a:pt x="1083223" y="202909"/>
                        <a:pt x="1056313" y="190699"/>
                        <a:pt x="1060892" y="182023"/>
                      </a:cubicBezTo>
                      <a:cubicBezTo>
                        <a:pt x="1062578" y="178891"/>
                        <a:pt x="1067559" y="176802"/>
                        <a:pt x="1070692" y="175115"/>
                      </a:cubicBezTo>
                      <a:cubicBezTo>
                        <a:pt x="1073664" y="176481"/>
                        <a:pt x="1075913" y="177043"/>
                        <a:pt x="1079528" y="177284"/>
                      </a:cubicBezTo>
                      <a:cubicBezTo>
                        <a:pt x="1077760" y="168850"/>
                        <a:pt x="1077519" y="167805"/>
                        <a:pt x="1083705" y="168207"/>
                      </a:cubicBezTo>
                      <a:cubicBezTo>
                        <a:pt x="1091256" y="169332"/>
                        <a:pt x="1095111" y="169894"/>
                        <a:pt x="1114952" y="182023"/>
                      </a:cubicBezTo>
                      <a:cubicBezTo>
                        <a:pt x="1115675" y="186923"/>
                        <a:pt x="1118165" y="188690"/>
                        <a:pt x="1126761" y="190297"/>
                      </a:cubicBezTo>
                      <a:cubicBezTo>
                        <a:pt x="1126600" y="189895"/>
                        <a:pt x="1126359" y="189414"/>
                        <a:pt x="1126198" y="189012"/>
                      </a:cubicBezTo>
                      <a:cubicBezTo>
                        <a:pt x="1150056" y="200740"/>
                        <a:pt x="1175600" y="208692"/>
                        <a:pt x="1198493" y="222428"/>
                      </a:cubicBezTo>
                      <a:cubicBezTo>
                        <a:pt x="1198574" y="222428"/>
                        <a:pt x="1202670" y="228372"/>
                        <a:pt x="1200984" y="233915"/>
                      </a:cubicBezTo>
                      <a:cubicBezTo>
                        <a:pt x="1214238" y="233273"/>
                        <a:pt x="1221548" y="231264"/>
                        <a:pt x="1224118" y="230461"/>
                      </a:cubicBezTo>
                      <a:cubicBezTo>
                        <a:pt x="1224921" y="230220"/>
                        <a:pt x="1225966" y="229497"/>
                        <a:pt x="1226849" y="229578"/>
                      </a:cubicBezTo>
                      <a:cubicBezTo>
                        <a:pt x="1226930" y="229578"/>
                        <a:pt x="1234079" y="231746"/>
                        <a:pt x="1238898" y="239538"/>
                      </a:cubicBezTo>
                      <a:cubicBezTo>
                        <a:pt x="1238256" y="239378"/>
                        <a:pt x="1237372" y="239217"/>
                        <a:pt x="1236730" y="239137"/>
                      </a:cubicBezTo>
                      <a:lnTo>
                        <a:pt x="1238657" y="239940"/>
                      </a:lnTo>
                      <a:cubicBezTo>
                        <a:pt x="1239300" y="266930"/>
                        <a:pt x="1220503" y="298338"/>
                        <a:pt x="1178170" y="280104"/>
                      </a:cubicBezTo>
                      <a:cubicBezTo>
                        <a:pt x="1176725" y="281068"/>
                        <a:pt x="1174716" y="282273"/>
                        <a:pt x="1173270" y="283237"/>
                      </a:cubicBezTo>
                      <a:cubicBezTo>
                        <a:pt x="1167246" y="284522"/>
                        <a:pt x="1162828" y="284200"/>
                        <a:pt x="1155679" y="281871"/>
                      </a:cubicBezTo>
                      <a:cubicBezTo>
                        <a:pt x="1155920" y="282433"/>
                        <a:pt x="1156161" y="283317"/>
                        <a:pt x="1156241" y="283960"/>
                      </a:cubicBezTo>
                      <a:cubicBezTo>
                        <a:pt x="1155116" y="284281"/>
                        <a:pt x="1155116" y="284281"/>
                        <a:pt x="1153269" y="283478"/>
                      </a:cubicBezTo>
                      <a:cubicBezTo>
                        <a:pt x="1148851" y="291028"/>
                        <a:pt x="1145397" y="296892"/>
                        <a:pt x="1121298" y="278497"/>
                      </a:cubicBezTo>
                      <a:cubicBezTo>
                        <a:pt x="1121700" y="277854"/>
                        <a:pt x="1122262" y="277051"/>
                        <a:pt x="1122744" y="276489"/>
                      </a:cubicBezTo>
                      <a:cubicBezTo>
                        <a:pt x="1119370" y="276248"/>
                        <a:pt x="1118888" y="275686"/>
                        <a:pt x="1118246" y="273035"/>
                      </a:cubicBezTo>
                      <a:cubicBezTo>
                        <a:pt x="1118647" y="272874"/>
                        <a:pt x="1119129" y="272714"/>
                        <a:pt x="1119531" y="272553"/>
                      </a:cubicBezTo>
                      <a:cubicBezTo>
                        <a:pt x="1115675" y="271107"/>
                        <a:pt x="1115595" y="270946"/>
                        <a:pt x="1115033" y="269260"/>
                      </a:cubicBezTo>
                      <a:cubicBezTo>
                        <a:pt x="1115997" y="268536"/>
                        <a:pt x="1117362" y="267733"/>
                        <a:pt x="1118487" y="267332"/>
                      </a:cubicBezTo>
                      <a:cubicBezTo>
                        <a:pt x="1115756" y="265966"/>
                        <a:pt x="1115756" y="265243"/>
                        <a:pt x="1115675" y="263797"/>
                      </a:cubicBezTo>
                      <a:cubicBezTo>
                        <a:pt x="1116720" y="263235"/>
                        <a:pt x="1117603" y="263315"/>
                        <a:pt x="1118406" y="263315"/>
                      </a:cubicBezTo>
                      <a:cubicBezTo>
                        <a:pt x="1111900" y="260584"/>
                        <a:pt x="1109570" y="258495"/>
                        <a:pt x="1108606" y="254559"/>
                      </a:cubicBezTo>
                      <a:cubicBezTo>
                        <a:pt x="1094469" y="250784"/>
                        <a:pt x="1087560" y="244036"/>
                        <a:pt x="1083062" y="229658"/>
                      </a:cubicBezTo>
                      <a:cubicBezTo>
                        <a:pt x="1080010" y="230220"/>
                        <a:pt x="1070210" y="231666"/>
                        <a:pt x="1068041" y="230622"/>
                      </a:cubicBezTo>
                      <a:moveTo>
                        <a:pt x="1595394" y="272714"/>
                      </a:moveTo>
                      <a:lnTo>
                        <a:pt x="1594591" y="270545"/>
                      </a:lnTo>
                      <a:lnTo>
                        <a:pt x="1594671" y="270625"/>
                      </a:lnTo>
                      <a:cubicBezTo>
                        <a:pt x="1595073" y="271589"/>
                        <a:pt x="1595314" y="272232"/>
                        <a:pt x="1595394" y="272714"/>
                      </a:cubicBezTo>
                      <a:moveTo>
                        <a:pt x="1581497" y="273115"/>
                      </a:moveTo>
                      <a:cubicBezTo>
                        <a:pt x="1580854" y="271107"/>
                        <a:pt x="1581256" y="268376"/>
                        <a:pt x="1581658" y="266528"/>
                      </a:cubicBezTo>
                      <a:cubicBezTo>
                        <a:pt x="1582542" y="262271"/>
                        <a:pt x="1584389" y="258335"/>
                        <a:pt x="1585514" y="254238"/>
                      </a:cubicBezTo>
                      <a:cubicBezTo>
                        <a:pt x="1586799" y="255122"/>
                        <a:pt x="1587361" y="255041"/>
                        <a:pt x="1587923" y="254961"/>
                      </a:cubicBezTo>
                      <a:cubicBezTo>
                        <a:pt x="1588164" y="255604"/>
                        <a:pt x="1588486" y="256568"/>
                        <a:pt x="1588727" y="257210"/>
                      </a:cubicBezTo>
                      <a:cubicBezTo>
                        <a:pt x="1591056" y="263476"/>
                        <a:pt x="1592583" y="267251"/>
                        <a:pt x="1595153" y="273517"/>
                      </a:cubicBezTo>
                      <a:cubicBezTo>
                        <a:pt x="1595314" y="273356"/>
                        <a:pt x="1595394" y="273276"/>
                        <a:pt x="1595394" y="272794"/>
                      </a:cubicBezTo>
                      <a:cubicBezTo>
                        <a:pt x="1595474" y="272955"/>
                        <a:pt x="1595555" y="273196"/>
                        <a:pt x="1595635" y="273356"/>
                      </a:cubicBezTo>
                      <a:cubicBezTo>
                        <a:pt x="1587522" y="277132"/>
                        <a:pt x="1582783" y="277051"/>
                        <a:pt x="1581497" y="273115"/>
                      </a:cubicBezTo>
                      <a:moveTo>
                        <a:pt x="909473" y="158809"/>
                      </a:moveTo>
                      <a:cubicBezTo>
                        <a:pt x="906260" y="149972"/>
                        <a:pt x="908509" y="143145"/>
                        <a:pt x="909795" y="139128"/>
                      </a:cubicBezTo>
                      <a:cubicBezTo>
                        <a:pt x="913570" y="138084"/>
                        <a:pt x="916060" y="136959"/>
                        <a:pt x="919514" y="134871"/>
                      </a:cubicBezTo>
                      <a:cubicBezTo>
                        <a:pt x="920398" y="135513"/>
                        <a:pt x="921523" y="136397"/>
                        <a:pt x="922326" y="137040"/>
                      </a:cubicBezTo>
                      <a:cubicBezTo>
                        <a:pt x="931242" y="142582"/>
                        <a:pt x="952770" y="151258"/>
                        <a:pt x="964337" y="151981"/>
                      </a:cubicBezTo>
                      <a:cubicBezTo>
                        <a:pt x="982491" y="153025"/>
                        <a:pt x="989239" y="153667"/>
                        <a:pt x="991167" y="154390"/>
                      </a:cubicBezTo>
                      <a:cubicBezTo>
                        <a:pt x="990042" y="154953"/>
                        <a:pt x="986910" y="155194"/>
                        <a:pt x="972531" y="155515"/>
                      </a:cubicBezTo>
                      <a:cubicBezTo>
                        <a:pt x="972290" y="156077"/>
                        <a:pt x="971969" y="156800"/>
                        <a:pt x="970924" y="157443"/>
                      </a:cubicBezTo>
                      <a:cubicBezTo>
                        <a:pt x="969880" y="158085"/>
                        <a:pt x="968675" y="158085"/>
                        <a:pt x="967631" y="158648"/>
                      </a:cubicBezTo>
                      <a:cubicBezTo>
                        <a:pt x="966828" y="159130"/>
                        <a:pt x="966024" y="160174"/>
                        <a:pt x="965382" y="160897"/>
                      </a:cubicBezTo>
                      <a:cubicBezTo>
                        <a:pt x="954939" y="171099"/>
                        <a:pt x="949557" y="172304"/>
                        <a:pt x="943613" y="172786"/>
                      </a:cubicBezTo>
                      <a:cubicBezTo>
                        <a:pt x="934054" y="173589"/>
                        <a:pt x="924896" y="163628"/>
                        <a:pt x="921523" y="159853"/>
                      </a:cubicBezTo>
                      <a:cubicBezTo>
                        <a:pt x="919032" y="164271"/>
                        <a:pt x="917908" y="166922"/>
                        <a:pt x="916783" y="171099"/>
                      </a:cubicBezTo>
                      <a:cubicBezTo>
                        <a:pt x="914373" y="167966"/>
                        <a:pt x="911241" y="163628"/>
                        <a:pt x="909473" y="158809"/>
                      </a:cubicBezTo>
                      <a:moveTo>
                        <a:pt x="940159" y="100651"/>
                      </a:moveTo>
                      <a:cubicBezTo>
                        <a:pt x="939837" y="99928"/>
                        <a:pt x="939757" y="99286"/>
                        <a:pt x="939757" y="98723"/>
                      </a:cubicBezTo>
                      <a:cubicBezTo>
                        <a:pt x="941926" y="98241"/>
                        <a:pt x="943693" y="98000"/>
                        <a:pt x="946424" y="97839"/>
                      </a:cubicBezTo>
                      <a:cubicBezTo>
                        <a:pt x="946906" y="93743"/>
                        <a:pt x="948031" y="84103"/>
                        <a:pt x="971969" y="88602"/>
                      </a:cubicBezTo>
                      <a:cubicBezTo>
                        <a:pt x="969960" y="78400"/>
                        <a:pt x="971808" y="67957"/>
                        <a:pt x="969398" y="57756"/>
                      </a:cubicBezTo>
                      <a:cubicBezTo>
                        <a:pt x="967631" y="50285"/>
                        <a:pt x="963373" y="44743"/>
                        <a:pt x="960803" y="41449"/>
                      </a:cubicBezTo>
                      <a:cubicBezTo>
                        <a:pt x="962731" y="41610"/>
                        <a:pt x="965382" y="41771"/>
                        <a:pt x="967390" y="41931"/>
                      </a:cubicBezTo>
                      <a:cubicBezTo>
                        <a:pt x="982652" y="43779"/>
                        <a:pt x="988677" y="45867"/>
                        <a:pt x="995264" y="51731"/>
                      </a:cubicBezTo>
                      <a:cubicBezTo>
                        <a:pt x="995746" y="52213"/>
                        <a:pt x="1008357" y="65708"/>
                        <a:pt x="1008518" y="65869"/>
                      </a:cubicBezTo>
                      <a:cubicBezTo>
                        <a:pt x="1010285" y="69404"/>
                        <a:pt x="1012373" y="76071"/>
                        <a:pt x="1008919" y="78722"/>
                      </a:cubicBezTo>
                      <a:cubicBezTo>
                        <a:pt x="1005626" y="81292"/>
                        <a:pt x="1000083" y="76954"/>
                        <a:pt x="997754" y="81935"/>
                      </a:cubicBezTo>
                      <a:cubicBezTo>
                        <a:pt x="996629" y="84264"/>
                        <a:pt x="996790" y="85790"/>
                        <a:pt x="1003055" y="90931"/>
                      </a:cubicBezTo>
                      <a:cubicBezTo>
                        <a:pt x="971728" y="88039"/>
                        <a:pt x="959919" y="90530"/>
                        <a:pt x="942649" y="103543"/>
                      </a:cubicBezTo>
                      <a:cubicBezTo>
                        <a:pt x="941846" y="102981"/>
                        <a:pt x="940721" y="102017"/>
                        <a:pt x="940159" y="100651"/>
                      </a:cubicBezTo>
                      <a:moveTo>
                        <a:pt x="1158329" y="40325"/>
                      </a:moveTo>
                      <a:cubicBezTo>
                        <a:pt x="1156723" y="37192"/>
                        <a:pt x="1159615" y="36630"/>
                        <a:pt x="1163631" y="35907"/>
                      </a:cubicBezTo>
                      <a:cubicBezTo>
                        <a:pt x="1163711" y="36228"/>
                        <a:pt x="1163792" y="36469"/>
                        <a:pt x="1163952" y="36790"/>
                      </a:cubicBezTo>
                      <a:cubicBezTo>
                        <a:pt x="1167647" y="36630"/>
                        <a:pt x="1175279" y="36871"/>
                        <a:pt x="1184677" y="40967"/>
                      </a:cubicBezTo>
                      <a:cubicBezTo>
                        <a:pt x="1184195" y="40967"/>
                        <a:pt x="1183552" y="40887"/>
                        <a:pt x="1183070" y="40887"/>
                      </a:cubicBezTo>
                      <a:lnTo>
                        <a:pt x="1187087" y="42815"/>
                      </a:lnTo>
                      <a:cubicBezTo>
                        <a:pt x="1190300" y="46108"/>
                        <a:pt x="1198895" y="54864"/>
                        <a:pt x="1189095" y="55185"/>
                      </a:cubicBezTo>
                      <a:cubicBezTo>
                        <a:pt x="1172708" y="55748"/>
                        <a:pt x="1159695" y="42976"/>
                        <a:pt x="1158329" y="40325"/>
                      </a:cubicBezTo>
                      <a:moveTo>
                        <a:pt x="1170780" y="33015"/>
                      </a:moveTo>
                      <a:lnTo>
                        <a:pt x="1169254" y="33015"/>
                      </a:lnTo>
                      <a:cubicBezTo>
                        <a:pt x="1169254" y="33015"/>
                        <a:pt x="1169334" y="32935"/>
                        <a:pt x="1169334" y="32935"/>
                      </a:cubicBezTo>
                      <a:cubicBezTo>
                        <a:pt x="1169736" y="33015"/>
                        <a:pt x="1170218" y="33015"/>
                        <a:pt x="1170780" y="33015"/>
                      </a:cubicBezTo>
                      <a:moveTo>
                        <a:pt x="982893" y="0"/>
                      </a:moveTo>
                      <a:lnTo>
                        <a:pt x="982732" y="80"/>
                      </a:lnTo>
                      <a:cubicBezTo>
                        <a:pt x="982732" y="80"/>
                        <a:pt x="982732" y="80"/>
                        <a:pt x="982732" y="80"/>
                      </a:cubicBezTo>
                      <a:cubicBezTo>
                        <a:pt x="982813" y="80"/>
                        <a:pt x="982893" y="80"/>
                        <a:pt x="982893" y="0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21" name="Graphic 9">
                <a:extLst>
                  <a:ext uri="{FF2B5EF4-FFF2-40B4-BE49-F238E27FC236}">
                    <a16:creationId xmlns:a16="http://schemas.microsoft.com/office/drawing/2014/main" id="{999BEA62-2D31-8D55-C0C2-5E66B575E69E}"/>
                  </a:ext>
                </a:extLst>
              </p:cNvPr>
              <p:cNvGrpSpPr/>
              <p:nvPr/>
            </p:nvGrpSpPr>
            <p:grpSpPr>
              <a:xfrm>
                <a:off x="-5378635" y="1905630"/>
                <a:ext cx="2455184" cy="2457568"/>
                <a:chOff x="-5378635" y="1905630"/>
                <a:chExt cx="2455184" cy="2457568"/>
              </a:xfrm>
            </p:grpSpPr>
            <p:sp>
              <p:nvSpPr>
                <p:cNvPr id="422" name="Freeform: Shape 421">
                  <a:extLst>
                    <a:ext uri="{FF2B5EF4-FFF2-40B4-BE49-F238E27FC236}">
                      <a16:creationId xmlns:a16="http://schemas.microsoft.com/office/drawing/2014/main" id="{716C64A2-DDE1-97FC-E546-1DFBF9239972}"/>
                    </a:ext>
                  </a:extLst>
                </p:cNvPr>
                <p:cNvSpPr/>
                <p:nvPr/>
              </p:nvSpPr>
              <p:spPr>
                <a:xfrm>
                  <a:off x="-5291725" y="1905630"/>
                  <a:ext cx="2368274" cy="2457568"/>
                </a:xfrm>
                <a:custGeom>
                  <a:avLst/>
                  <a:gdLst>
                    <a:gd name="connsiteX0" fmla="*/ 881444 w 2368274"/>
                    <a:gd name="connsiteY0" fmla="*/ 2409566 h 2457568"/>
                    <a:gd name="connsiteX1" fmla="*/ 902651 w 2368274"/>
                    <a:gd name="connsiteY1" fmla="*/ 2420651 h 2457568"/>
                    <a:gd name="connsiteX2" fmla="*/ 896867 w 2368274"/>
                    <a:gd name="connsiteY2" fmla="*/ 2419205 h 2457568"/>
                    <a:gd name="connsiteX3" fmla="*/ 874054 w 2368274"/>
                    <a:gd name="connsiteY3" fmla="*/ 2413422 h 2457568"/>
                    <a:gd name="connsiteX4" fmla="*/ 866905 w 2368274"/>
                    <a:gd name="connsiteY4" fmla="*/ 2412779 h 2457568"/>
                    <a:gd name="connsiteX5" fmla="*/ 859033 w 2368274"/>
                    <a:gd name="connsiteY5" fmla="*/ 2413502 h 2457568"/>
                    <a:gd name="connsiteX6" fmla="*/ 850598 w 2368274"/>
                    <a:gd name="connsiteY6" fmla="*/ 2411815 h 2457568"/>
                    <a:gd name="connsiteX7" fmla="*/ 850197 w 2368274"/>
                    <a:gd name="connsiteY7" fmla="*/ 2411815 h 2457568"/>
                    <a:gd name="connsiteX8" fmla="*/ 840718 w 2368274"/>
                    <a:gd name="connsiteY8" fmla="*/ 2409405 h 2457568"/>
                    <a:gd name="connsiteX9" fmla="*/ 835737 w 2368274"/>
                    <a:gd name="connsiteY9" fmla="*/ 2407236 h 2457568"/>
                    <a:gd name="connsiteX10" fmla="*/ 859274 w 2368274"/>
                    <a:gd name="connsiteY10" fmla="*/ 2407959 h 2457568"/>
                    <a:gd name="connsiteX11" fmla="*/ 846582 w 2368274"/>
                    <a:gd name="connsiteY11" fmla="*/ 2404987 h 2457568"/>
                    <a:gd name="connsiteX12" fmla="*/ 881444 w 2368274"/>
                    <a:gd name="connsiteY12" fmla="*/ 2409566 h 2457568"/>
                    <a:gd name="connsiteX13" fmla="*/ 877347 w 2368274"/>
                    <a:gd name="connsiteY13" fmla="*/ 2407317 h 2457568"/>
                    <a:gd name="connsiteX14" fmla="*/ 878311 w 2368274"/>
                    <a:gd name="connsiteY14" fmla="*/ 2408120 h 2457568"/>
                    <a:gd name="connsiteX15" fmla="*/ 877749 w 2368274"/>
                    <a:gd name="connsiteY15" fmla="*/ 2407879 h 2457568"/>
                    <a:gd name="connsiteX16" fmla="*/ 877187 w 2368274"/>
                    <a:gd name="connsiteY16" fmla="*/ 2407558 h 2457568"/>
                    <a:gd name="connsiteX17" fmla="*/ 876624 w 2368274"/>
                    <a:gd name="connsiteY17" fmla="*/ 2407236 h 2457568"/>
                    <a:gd name="connsiteX18" fmla="*/ 876062 w 2368274"/>
                    <a:gd name="connsiteY18" fmla="*/ 2406915 h 2457568"/>
                    <a:gd name="connsiteX19" fmla="*/ 875500 w 2368274"/>
                    <a:gd name="connsiteY19" fmla="*/ 2406594 h 2457568"/>
                    <a:gd name="connsiteX20" fmla="*/ 874938 w 2368274"/>
                    <a:gd name="connsiteY20" fmla="*/ 2406272 h 2457568"/>
                    <a:gd name="connsiteX21" fmla="*/ 874375 w 2368274"/>
                    <a:gd name="connsiteY21" fmla="*/ 2405951 h 2457568"/>
                    <a:gd name="connsiteX22" fmla="*/ 873813 w 2368274"/>
                    <a:gd name="connsiteY22" fmla="*/ 2405629 h 2457568"/>
                    <a:gd name="connsiteX23" fmla="*/ 873893 w 2368274"/>
                    <a:gd name="connsiteY23" fmla="*/ 2405629 h 2457568"/>
                    <a:gd name="connsiteX24" fmla="*/ 877347 w 2368274"/>
                    <a:gd name="connsiteY24" fmla="*/ 2407317 h 2457568"/>
                    <a:gd name="connsiteX25" fmla="*/ 867306 w 2368274"/>
                    <a:gd name="connsiteY25" fmla="*/ 2401372 h 2457568"/>
                    <a:gd name="connsiteX26" fmla="*/ 864897 w 2368274"/>
                    <a:gd name="connsiteY26" fmla="*/ 2401372 h 2457568"/>
                    <a:gd name="connsiteX27" fmla="*/ 873813 w 2368274"/>
                    <a:gd name="connsiteY27" fmla="*/ 2405871 h 2457568"/>
                    <a:gd name="connsiteX28" fmla="*/ 857587 w 2368274"/>
                    <a:gd name="connsiteY28" fmla="*/ 2401854 h 2457568"/>
                    <a:gd name="connsiteX29" fmla="*/ 864897 w 2368274"/>
                    <a:gd name="connsiteY29" fmla="*/ 2401372 h 2457568"/>
                    <a:gd name="connsiteX30" fmla="*/ 862487 w 2368274"/>
                    <a:gd name="connsiteY30" fmla="*/ 2400087 h 2457568"/>
                    <a:gd name="connsiteX31" fmla="*/ 867628 w 2368274"/>
                    <a:gd name="connsiteY31" fmla="*/ 2401372 h 2457568"/>
                    <a:gd name="connsiteX32" fmla="*/ 867306 w 2368274"/>
                    <a:gd name="connsiteY32" fmla="*/ 2401372 h 2457568"/>
                    <a:gd name="connsiteX33" fmla="*/ 859756 w 2368274"/>
                    <a:gd name="connsiteY33" fmla="*/ 2399364 h 2457568"/>
                    <a:gd name="connsiteX34" fmla="*/ 822965 w 2368274"/>
                    <a:gd name="connsiteY34" fmla="*/ 2388038 h 2457568"/>
                    <a:gd name="connsiteX35" fmla="*/ 823126 w 2368274"/>
                    <a:gd name="connsiteY35" fmla="*/ 2387716 h 2457568"/>
                    <a:gd name="connsiteX36" fmla="*/ 843369 w 2368274"/>
                    <a:gd name="connsiteY36" fmla="*/ 2389885 h 2457568"/>
                    <a:gd name="connsiteX37" fmla="*/ 844654 w 2368274"/>
                    <a:gd name="connsiteY37" fmla="*/ 2390528 h 2457568"/>
                    <a:gd name="connsiteX38" fmla="*/ 862567 w 2368274"/>
                    <a:gd name="connsiteY38" fmla="*/ 2399926 h 2457568"/>
                    <a:gd name="connsiteX39" fmla="*/ 859756 w 2368274"/>
                    <a:gd name="connsiteY39" fmla="*/ 2399364 h 2457568"/>
                    <a:gd name="connsiteX40" fmla="*/ 908434 w 2368274"/>
                    <a:gd name="connsiteY40" fmla="*/ 2361690 h 2457568"/>
                    <a:gd name="connsiteX41" fmla="*/ 908434 w 2368274"/>
                    <a:gd name="connsiteY41" fmla="*/ 2361690 h 2457568"/>
                    <a:gd name="connsiteX42" fmla="*/ 908274 w 2368274"/>
                    <a:gd name="connsiteY42" fmla="*/ 2361690 h 2457568"/>
                    <a:gd name="connsiteX43" fmla="*/ 908193 w 2368274"/>
                    <a:gd name="connsiteY43" fmla="*/ 2361690 h 2457568"/>
                    <a:gd name="connsiteX44" fmla="*/ 908113 w 2368274"/>
                    <a:gd name="connsiteY44" fmla="*/ 2361690 h 2457568"/>
                    <a:gd name="connsiteX45" fmla="*/ 908033 w 2368274"/>
                    <a:gd name="connsiteY45" fmla="*/ 2361690 h 2457568"/>
                    <a:gd name="connsiteX46" fmla="*/ 907952 w 2368274"/>
                    <a:gd name="connsiteY46" fmla="*/ 2361690 h 2457568"/>
                    <a:gd name="connsiteX47" fmla="*/ 907872 w 2368274"/>
                    <a:gd name="connsiteY47" fmla="*/ 2361690 h 2457568"/>
                    <a:gd name="connsiteX48" fmla="*/ 907792 w 2368274"/>
                    <a:gd name="connsiteY48" fmla="*/ 2361690 h 2457568"/>
                    <a:gd name="connsiteX49" fmla="*/ 907711 w 2368274"/>
                    <a:gd name="connsiteY49" fmla="*/ 2361690 h 2457568"/>
                    <a:gd name="connsiteX50" fmla="*/ 907631 w 2368274"/>
                    <a:gd name="connsiteY50" fmla="*/ 2361690 h 2457568"/>
                    <a:gd name="connsiteX51" fmla="*/ 907551 w 2368274"/>
                    <a:gd name="connsiteY51" fmla="*/ 2361690 h 2457568"/>
                    <a:gd name="connsiteX52" fmla="*/ 907470 w 2368274"/>
                    <a:gd name="connsiteY52" fmla="*/ 2361690 h 2457568"/>
                    <a:gd name="connsiteX53" fmla="*/ 907390 w 2368274"/>
                    <a:gd name="connsiteY53" fmla="*/ 2361690 h 2457568"/>
                    <a:gd name="connsiteX54" fmla="*/ 907310 w 2368274"/>
                    <a:gd name="connsiteY54" fmla="*/ 2361690 h 2457568"/>
                    <a:gd name="connsiteX55" fmla="*/ 907229 w 2368274"/>
                    <a:gd name="connsiteY55" fmla="*/ 2361690 h 2457568"/>
                    <a:gd name="connsiteX56" fmla="*/ 907149 w 2368274"/>
                    <a:gd name="connsiteY56" fmla="*/ 2361690 h 2457568"/>
                    <a:gd name="connsiteX57" fmla="*/ 907069 w 2368274"/>
                    <a:gd name="connsiteY57" fmla="*/ 2361690 h 2457568"/>
                    <a:gd name="connsiteX58" fmla="*/ 906988 w 2368274"/>
                    <a:gd name="connsiteY58" fmla="*/ 2361690 h 2457568"/>
                    <a:gd name="connsiteX59" fmla="*/ 906908 w 2368274"/>
                    <a:gd name="connsiteY59" fmla="*/ 2361690 h 2457568"/>
                    <a:gd name="connsiteX60" fmla="*/ 906828 w 2368274"/>
                    <a:gd name="connsiteY60" fmla="*/ 2361690 h 2457568"/>
                    <a:gd name="connsiteX61" fmla="*/ 906747 w 2368274"/>
                    <a:gd name="connsiteY61" fmla="*/ 2361690 h 2457568"/>
                    <a:gd name="connsiteX62" fmla="*/ 906667 w 2368274"/>
                    <a:gd name="connsiteY62" fmla="*/ 2361690 h 2457568"/>
                    <a:gd name="connsiteX63" fmla="*/ 906587 w 2368274"/>
                    <a:gd name="connsiteY63" fmla="*/ 2361690 h 2457568"/>
                    <a:gd name="connsiteX64" fmla="*/ 906506 w 2368274"/>
                    <a:gd name="connsiteY64" fmla="*/ 2361690 h 2457568"/>
                    <a:gd name="connsiteX65" fmla="*/ 906426 w 2368274"/>
                    <a:gd name="connsiteY65" fmla="*/ 2361690 h 2457568"/>
                    <a:gd name="connsiteX66" fmla="*/ 906346 w 2368274"/>
                    <a:gd name="connsiteY66" fmla="*/ 2361690 h 2457568"/>
                    <a:gd name="connsiteX67" fmla="*/ 906265 w 2368274"/>
                    <a:gd name="connsiteY67" fmla="*/ 2361690 h 2457568"/>
                    <a:gd name="connsiteX68" fmla="*/ 906185 w 2368274"/>
                    <a:gd name="connsiteY68" fmla="*/ 2361690 h 2457568"/>
                    <a:gd name="connsiteX69" fmla="*/ 906105 w 2368274"/>
                    <a:gd name="connsiteY69" fmla="*/ 2361690 h 2457568"/>
                    <a:gd name="connsiteX70" fmla="*/ 906024 w 2368274"/>
                    <a:gd name="connsiteY70" fmla="*/ 2361690 h 2457568"/>
                    <a:gd name="connsiteX71" fmla="*/ 905944 w 2368274"/>
                    <a:gd name="connsiteY71" fmla="*/ 2361690 h 2457568"/>
                    <a:gd name="connsiteX72" fmla="*/ 908434 w 2368274"/>
                    <a:gd name="connsiteY72" fmla="*/ 2361690 h 2457568"/>
                    <a:gd name="connsiteX73" fmla="*/ 908434 w 2368274"/>
                    <a:gd name="connsiteY73" fmla="*/ 2361690 h 2457568"/>
                    <a:gd name="connsiteX74" fmla="*/ 731311 w 2368274"/>
                    <a:gd name="connsiteY74" fmla="*/ 2234371 h 2457568"/>
                    <a:gd name="connsiteX75" fmla="*/ 657731 w 2368274"/>
                    <a:gd name="connsiteY75" fmla="*/ 2227302 h 2457568"/>
                    <a:gd name="connsiteX76" fmla="*/ 637408 w 2368274"/>
                    <a:gd name="connsiteY76" fmla="*/ 2222000 h 2457568"/>
                    <a:gd name="connsiteX77" fmla="*/ 659337 w 2368274"/>
                    <a:gd name="connsiteY77" fmla="*/ 2225133 h 2457568"/>
                    <a:gd name="connsiteX78" fmla="*/ 648493 w 2368274"/>
                    <a:gd name="connsiteY78" fmla="*/ 2216698 h 2457568"/>
                    <a:gd name="connsiteX79" fmla="*/ 647047 w 2368274"/>
                    <a:gd name="connsiteY79" fmla="*/ 2215333 h 2457568"/>
                    <a:gd name="connsiteX80" fmla="*/ 648332 w 2368274"/>
                    <a:gd name="connsiteY80" fmla="*/ 2214610 h 2457568"/>
                    <a:gd name="connsiteX81" fmla="*/ 653714 w 2368274"/>
                    <a:gd name="connsiteY81" fmla="*/ 2218867 h 2457568"/>
                    <a:gd name="connsiteX82" fmla="*/ 650341 w 2368274"/>
                    <a:gd name="connsiteY82" fmla="*/ 2218787 h 2457568"/>
                    <a:gd name="connsiteX83" fmla="*/ 674037 w 2368274"/>
                    <a:gd name="connsiteY83" fmla="*/ 2226820 h 2457568"/>
                    <a:gd name="connsiteX84" fmla="*/ 643352 w 2368274"/>
                    <a:gd name="connsiteY84" fmla="*/ 2204970 h 2457568"/>
                    <a:gd name="connsiteX85" fmla="*/ 677250 w 2368274"/>
                    <a:gd name="connsiteY85" fmla="*/ 2211236 h 2457568"/>
                    <a:gd name="connsiteX86" fmla="*/ 733239 w 2368274"/>
                    <a:gd name="connsiteY86" fmla="*/ 2234451 h 2457568"/>
                    <a:gd name="connsiteX87" fmla="*/ 731311 w 2368274"/>
                    <a:gd name="connsiteY87" fmla="*/ 2234371 h 2457568"/>
                    <a:gd name="connsiteX88" fmla="*/ 1185726 w 2368274"/>
                    <a:gd name="connsiteY88" fmla="*/ 2456959 h 2457568"/>
                    <a:gd name="connsiteX89" fmla="*/ 904338 w 2368274"/>
                    <a:gd name="connsiteY89" fmla="*/ 2184406 h 2457568"/>
                    <a:gd name="connsiteX90" fmla="*/ 650341 w 2368274"/>
                    <a:gd name="connsiteY90" fmla="*/ 2180390 h 2457568"/>
                    <a:gd name="connsiteX91" fmla="*/ 646886 w 2368274"/>
                    <a:gd name="connsiteY91" fmla="*/ 2186575 h 2457568"/>
                    <a:gd name="connsiteX92" fmla="*/ 650983 w 2368274"/>
                    <a:gd name="connsiteY92" fmla="*/ 2189306 h 2457568"/>
                    <a:gd name="connsiteX93" fmla="*/ 628090 w 2368274"/>
                    <a:gd name="connsiteY93" fmla="*/ 2211477 h 2457568"/>
                    <a:gd name="connsiteX94" fmla="*/ 630339 w 2368274"/>
                    <a:gd name="connsiteY94" fmla="*/ 2206416 h 2457568"/>
                    <a:gd name="connsiteX95" fmla="*/ 610337 w 2368274"/>
                    <a:gd name="connsiteY95" fmla="*/ 2205854 h 2457568"/>
                    <a:gd name="connsiteX96" fmla="*/ 625760 w 2368274"/>
                    <a:gd name="connsiteY96" fmla="*/ 2201597 h 2457568"/>
                    <a:gd name="connsiteX97" fmla="*/ 585034 w 2368274"/>
                    <a:gd name="connsiteY97" fmla="*/ 2193725 h 2457568"/>
                    <a:gd name="connsiteX98" fmla="*/ 606240 w 2368274"/>
                    <a:gd name="connsiteY98" fmla="*/ 2195251 h 2457568"/>
                    <a:gd name="connsiteX99" fmla="*/ 592263 w 2368274"/>
                    <a:gd name="connsiteY99" fmla="*/ 2186174 h 2457568"/>
                    <a:gd name="connsiteX100" fmla="*/ 597565 w 2368274"/>
                    <a:gd name="connsiteY100" fmla="*/ 2188985 h 2457568"/>
                    <a:gd name="connsiteX101" fmla="*/ 558847 w 2368274"/>
                    <a:gd name="connsiteY101" fmla="*/ 2173803 h 2457568"/>
                    <a:gd name="connsiteX102" fmla="*/ 573627 w 2368274"/>
                    <a:gd name="connsiteY102" fmla="*/ 2173964 h 2457568"/>
                    <a:gd name="connsiteX103" fmla="*/ 568968 w 2368274"/>
                    <a:gd name="connsiteY103" fmla="*/ 2172518 h 2457568"/>
                    <a:gd name="connsiteX104" fmla="*/ 451368 w 2368274"/>
                    <a:gd name="connsiteY104" fmla="*/ 2151954 h 2457568"/>
                    <a:gd name="connsiteX105" fmla="*/ 222594 w 2368274"/>
                    <a:gd name="connsiteY105" fmla="*/ 2044555 h 2457568"/>
                    <a:gd name="connsiteX106" fmla="*/ 297701 w 2368274"/>
                    <a:gd name="connsiteY106" fmla="*/ 2121911 h 2457568"/>
                    <a:gd name="connsiteX107" fmla="*/ 459722 w 2368274"/>
                    <a:gd name="connsiteY107" fmla="*/ 2250838 h 2457568"/>
                    <a:gd name="connsiteX108" fmla="*/ 648091 w 2368274"/>
                    <a:gd name="connsiteY108" fmla="*/ 2353979 h 2457568"/>
                    <a:gd name="connsiteX109" fmla="*/ 752277 w 2368274"/>
                    <a:gd name="connsiteY109" fmla="*/ 2394143 h 2457568"/>
                    <a:gd name="connsiteX110" fmla="*/ 752437 w 2368274"/>
                    <a:gd name="connsiteY110" fmla="*/ 2394223 h 2457568"/>
                    <a:gd name="connsiteX111" fmla="*/ 918315 w 2368274"/>
                    <a:gd name="connsiteY111" fmla="*/ 2425069 h 2457568"/>
                    <a:gd name="connsiteX112" fmla="*/ 916949 w 2368274"/>
                    <a:gd name="connsiteY112" fmla="*/ 2417518 h 2457568"/>
                    <a:gd name="connsiteX113" fmla="*/ 860478 w 2368274"/>
                    <a:gd name="connsiteY113" fmla="*/ 2392376 h 2457568"/>
                    <a:gd name="connsiteX114" fmla="*/ 871564 w 2368274"/>
                    <a:gd name="connsiteY114" fmla="*/ 2392616 h 2457568"/>
                    <a:gd name="connsiteX115" fmla="*/ 850036 w 2368274"/>
                    <a:gd name="connsiteY115" fmla="*/ 2373258 h 2457568"/>
                    <a:gd name="connsiteX116" fmla="*/ 852526 w 2368274"/>
                    <a:gd name="connsiteY116" fmla="*/ 2371731 h 2457568"/>
                    <a:gd name="connsiteX117" fmla="*/ 848108 w 2368274"/>
                    <a:gd name="connsiteY117" fmla="*/ 2367715 h 2457568"/>
                    <a:gd name="connsiteX118" fmla="*/ 848108 w 2368274"/>
                    <a:gd name="connsiteY118" fmla="*/ 2362011 h 2457568"/>
                    <a:gd name="connsiteX119" fmla="*/ 857426 w 2368274"/>
                    <a:gd name="connsiteY119" fmla="*/ 2359120 h 2457568"/>
                    <a:gd name="connsiteX120" fmla="*/ 859675 w 2368274"/>
                    <a:gd name="connsiteY120" fmla="*/ 2354782 h 2457568"/>
                    <a:gd name="connsiteX121" fmla="*/ 856221 w 2368274"/>
                    <a:gd name="connsiteY121" fmla="*/ 2350605 h 2457568"/>
                    <a:gd name="connsiteX122" fmla="*/ 927552 w 2368274"/>
                    <a:gd name="connsiteY122" fmla="*/ 2334620 h 2457568"/>
                    <a:gd name="connsiteX123" fmla="*/ 883613 w 2368274"/>
                    <a:gd name="connsiteY123" fmla="*/ 2350766 h 2457568"/>
                    <a:gd name="connsiteX124" fmla="*/ 903695 w 2368274"/>
                    <a:gd name="connsiteY124" fmla="*/ 2361529 h 2457568"/>
                    <a:gd name="connsiteX125" fmla="*/ 889156 w 2368274"/>
                    <a:gd name="connsiteY125" fmla="*/ 2362735 h 2457568"/>
                    <a:gd name="connsiteX126" fmla="*/ 893252 w 2368274"/>
                    <a:gd name="connsiteY126" fmla="*/ 2367634 h 2457568"/>
                    <a:gd name="connsiteX127" fmla="*/ 872608 w 2368274"/>
                    <a:gd name="connsiteY127" fmla="*/ 2362493 h 2457568"/>
                    <a:gd name="connsiteX128" fmla="*/ 875741 w 2368274"/>
                    <a:gd name="connsiteY128" fmla="*/ 2367153 h 2457568"/>
                    <a:gd name="connsiteX129" fmla="*/ 870359 w 2368274"/>
                    <a:gd name="connsiteY129" fmla="*/ 2376631 h 2457568"/>
                    <a:gd name="connsiteX130" fmla="*/ 911647 w 2368274"/>
                    <a:gd name="connsiteY130" fmla="*/ 2386190 h 2457568"/>
                    <a:gd name="connsiteX131" fmla="*/ 949161 w 2368274"/>
                    <a:gd name="connsiteY131" fmla="*/ 2404505 h 2457568"/>
                    <a:gd name="connsiteX132" fmla="*/ 946108 w 2368274"/>
                    <a:gd name="connsiteY132" fmla="*/ 2403943 h 2457568"/>
                    <a:gd name="connsiteX133" fmla="*/ 972054 w 2368274"/>
                    <a:gd name="connsiteY133" fmla="*/ 2412698 h 2457568"/>
                    <a:gd name="connsiteX134" fmla="*/ 973018 w 2368274"/>
                    <a:gd name="connsiteY134" fmla="*/ 2417438 h 2457568"/>
                    <a:gd name="connsiteX135" fmla="*/ 979685 w 2368274"/>
                    <a:gd name="connsiteY135" fmla="*/ 2417599 h 2457568"/>
                    <a:gd name="connsiteX136" fmla="*/ 974384 w 2368274"/>
                    <a:gd name="connsiteY136" fmla="*/ 2420571 h 2457568"/>
                    <a:gd name="connsiteX137" fmla="*/ 1017921 w 2368274"/>
                    <a:gd name="connsiteY137" fmla="*/ 2431334 h 2457568"/>
                    <a:gd name="connsiteX138" fmla="*/ 996875 w 2368274"/>
                    <a:gd name="connsiteY138" fmla="*/ 2430290 h 2457568"/>
                    <a:gd name="connsiteX139" fmla="*/ 1026436 w 2368274"/>
                    <a:gd name="connsiteY139" fmla="*/ 2439448 h 2457568"/>
                    <a:gd name="connsiteX140" fmla="*/ 1020652 w 2368274"/>
                    <a:gd name="connsiteY140" fmla="*/ 2440251 h 2457568"/>
                    <a:gd name="connsiteX141" fmla="*/ 1025713 w 2368274"/>
                    <a:gd name="connsiteY141" fmla="*/ 2442420 h 2457568"/>
                    <a:gd name="connsiteX142" fmla="*/ 1015913 w 2368274"/>
                    <a:gd name="connsiteY142" fmla="*/ 2443143 h 2457568"/>
                    <a:gd name="connsiteX143" fmla="*/ 1022339 w 2368274"/>
                    <a:gd name="connsiteY143" fmla="*/ 2444107 h 2457568"/>
                    <a:gd name="connsiteX144" fmla="*/ 964262 w 2368274"/>
                    <a:gd name="connsiteY144" fmla="*/ 2444589 h 2457568"/>
                    <a:gd name="connsiteX145" fmla="*/ 993502 w 2368274"/>
                    <a:gd name="connsiteY145" fmla="*/ 2448525 h 2457568"/>
                    <a:gd name="connsiteX146" fmla="*/ 1087405 w 2368274"/>
                    <a:gd name="connsiteY146" fmla="*/ 2456317 h 2457568"/>
                    <a:gd name="connsiteX147" fmla="*/ 1164841 w 2368274"/>
                    <a:gd name="connsiteY147" fmla="*/ 2457281 h 2457568"/>
                    <a:gd name="connsiteX148" fmla="*/ 1185726 w 2368274"/>
                    <a:gd name="connsiteY148" fmla="*/ 2456959 h 2457568"/>
                    <a:gd name="connsiteX149" fmla="*/ 2359961 w 2368274"/>
                    <a:gd name="connsiteY149" fmla="*/ 1239508 h 2457568"/>
                    <a:gd name="connsiteX150" fmla="*/ 2344859 w 2368274"/>
                    <a:gd name="connsiteY150" fmla="*/ 1385304 h 2457568"/>
                    <a:gd name="connsiteX151" fmla="*/ 2338915 w 2368274"/>
                    <a:gd name="connsiteY151" fmla="*/ 1345140 h 2457568"/>
                    <a:gd name="connsiteX152" fmla="*/ 2352892 w 2368274"/>
                    <a:gd name="connsiteY152" fmla="*/ 1259189 h 2457568"/>
                    <a:gd name="connsiteX153" fmla="*/ 2353454 w 2368274"/>
                    <a:gd name="connsiteY153" fmla="*/ 1260393 h 2457568"/>
                    <a:gd name="connsiteX154" fmla="*/ 2358274 w 2368274"/>
                    <a:gd name="connsiteY154" fmla="*/ 1216052 h 2457568"/>
                    <a:gd name="connsiteX155" fmla="*/ 2359961 w 2368274"/>
                    <a:gd name="connsiteY155" fmla="*/ 1239508 h 2457568"/>
                    <a:gd name="connsiteX156" fmla="*/ 1731876 w 2368274"/>
                    <a:gd name="connsiteY156" fmla="*/ 1396871 h 2457568"/>
                    <a:gd name="connsiteX157" fmla="*/ 1734367 w 2368274"/>
                    <a:gd name="connsiteY157" fmla="*/ 1395907 h 2457568"/>
                    <a:gd name="connsiteX158" fmla="*/ 1731876 w 2368274"/>
                    <a:gd name="connsiteY158" fmla="*/ 1396871 h 2457568"/>
                    <a:gd name="connsiteX159" fmla="*/ 2121548 w 2368274"/>
                    <a:gd name="connsiteY159" fmla="*/ 844696 h 2457568"/>
                    <a:gd name="connsiteX160" fmla="*/ 2119379 w 2368274"/>
                    <a:gd name="connsiteY160" fmla="*/ 844937 h 2457568"/>
                    <a:gd name="connsiteX161" fmla="*/ 2121548 w 2368274"/>
                    <a:gd name="connsiteY161" fmla="*/ 844696 h 2457568"/>
                    <a:gd name="connsiteX162" fmla="*/ 2121548 w 2368274"/>
                    <a:gd name="connsiteY162" fmla="*/ 844696 h 2457568"/>
                    <a:gd name="connsiteX163" fmla="*/ 2119379 w 2368274"/>
                    <a:gd name="connsiteY163" fmla="*/ 844857 h 2457568"/>
                    <a:gd name="connsiteX164" fmla="*/ 2118977 w 2368274"/>
                    <a:gd name="connsiteY164" fmla="*/ 844937 h 2457568"/>
                    <a:gd name="connsiteX165" fmla="*/ 2118897 w 2368274"/>
                    <a:gd name="connsiteY165" fmla="*/ 844535 h 2457568"/>
                    <a:gd name="connsiteX166" fmla="*/ 2119379 w 2368274"/>
                    <a:gd name="connsiteY166" fmla="*/ 844857 h 2457568"/>
                    <a:gd name="connsiteX167" fmla="*/ 2119379 w 2368274"/>
                    <a:gd name="connsiteY167" fmla="*/ 844857 h 2457568"/>
                    <a:gd name="connsiteX168" fmla="*/ 1904260 w 2368274"/>
                    <a:gd name="connsiteY168" fmla="*/ 875140 h 2457568"/>
                    <a:gd name="connsiteX169" fmla="*/ 1906590 w 2368274"/>
                    <a:gd name="connsiteY169" fmla="*/ 888716 h 2457568"/>
                    <a:gd name="connsiteX170" fmla="*/ 1906027 w 2368274"/>
                    <a:gd name="connsiteY170" fmla="*/ 889599 h 2457568"/>
                    <a:gd name="connsiteX171" fmla="*/ 1908598 w 2368274"/>
                    <a:gd name="connsiteY171" fmla="*/ 896668 h 2457568"/>
                    <a:gd name="connsiteX172" fmla="*/ 1867390 w 2368274"/>
                    <a:gd name="connsiteY172" fmla="*/ 893295 h 2457568"/>
                    <a:gd name="connsiteX173" fmla="*/ 1882170 w 2368274"/>
                    <a:gd name="connsiteY173" fmla="*/ 889198 h 2457568"/>
                    <a:gd name="connsiteX174" fmla="*/ 1905304 w 2368274"/>
                    <a:gd name="connsiteY174" fmla="*/ 872731 h 2457568"/>
                    <a:gd name="connsiteX175" fmla="*/ 1904260 w 2368274"/>
                    <a:gd name="connsiteY175" fmla="*/ 875140 h 2457568"/>
                    <a:gd name="connsiteX176" fmla="*/ 1928278 w 2368274"/>
                    <a:gd name="connsiteY176" fmla="*/ 833852 h 2457568"/>
                    <a:gd name="connsiteX177" fmla="*/ 1928278 w 2368274"/>
                    <a:gd name="connsiteY177" fmla="*/ 834093 h 2457568"/>
                    <a:gd name="connsiteX178" fmla="*/ 1927154 w 2368274"/>
                    <a:gd name="connsiteY178" fmla="*/ 834013 h 2457568"/>
                    <a:gd name="connsiteX179" fmla="*/ 1928278 w 2368274"/>
                    <a:gd name="connsiteY179" fmla="*/ 833852 h 2457568"/>
                    <a:gd name="connsiteX180" fmla="*/ 1811963 w 2368274"/>
                    <a:gd name="connsiteY180" fmla="*/ 885422 h 2457568"/>
                    <a:gd name="connsiteX181" fmla="*/ 1812606 w 2368274"/>
                    <a:gd name="connsiteY181" fmla="*/ 897150 h 2457568"/>
                    <a:gd name="connsiteX182" fmla="*/ 1810437 w 2368274"/>
                    <a:gd name="connsiteY182" fmla="*/ 901327 h 2457568"/>
                    <a:gd name="connsiteX183" fmla="*/ 1809795 w 2368274"/>
                    <a:gd name="connsiteY183" fmla="*/ 902131 h 2457568"/>
                    <a:gd name="connsiteX184" fmla="*/ 1804011 w 2368274"/>
                    <a:gd name="connsiteY184" fmla="*/ 909601 h 2457568"/>
                    <a:gd name="connsiteX185" fmla="*/ 1796540 w 2368274"/>
                    <a:gd name="connsiteY185" fmla="*/ 900604 h 2457568"/>
                    <a:gd name="connsiteX186" fmla="*/ 1785857 w 2368274"/>
                    <a:gd name="connsiteY186" fmla="*/ 888635 h 2457568"/>
                    <a:gd name="connsiteX187" fmla="*/ 1785455 w 2368274"/>
                    <a:gd name="connsiteY187" fmla="*/ 886467 h 2457568"/>
                    <a:gd name="connsiteX188" fmla="*/ 1805296 w 2368274"/>
                    <a:gd name="connsiteY188" fmla="*/ 876104 h 2457568"/>
                    <a:gd name="connsiteX189" fmla="*/ 1811963 w 2368274"/>
                    <a:gd name="connsiteY189" fmla="*/ 885422 h 2457568"/>
                    <a:gd name="connsiteX190" fmla="*/ 1794452 w 2368274"/>
                    <a:gd name="connsiteY190" fmla="*/ 854416 h 2457568"/>
                    <a:gd name="connsiteX191" fmla="*/ 1796621 w 2368274"/>
                    <a:gd name="connsiteY191" fmla="*/ 873855 h 2457568"/>
                    <a:gd name="connsiteX192" fmla="*/ 1786580 w 2368274"/>
                    <a:gd name="connsiteY192" fmla="*/ 869357 h 2457568"/>
                    <a:gd name="connsiteX193" fmla="*/ 1782081 w 2368274"/>
                    <a:gd name="connsiteY193" fmla="*/ 866304 h 2457568"/>
                    <a:gd name="connsiteX194" fmla="*/ 1783206 w 2368274"/>
                    <a:gd name="connsiteY194" fmla="*/ 864698 h 2457568"/>
                    <a:gd name="connsiteX195" fmla="*/ 1781117 w 2368274"/>
                    <a:gd name="connsiteY195" fmla="*/ 864377 h 2457568"/>
                    <a:gd name="connsiteX196" fmla="*/ 1789311 w 2368274"/>
                    <a:gd name="connsiteY196" fmla="*/ 855058 h 2457568"/>
                    <a:gd name="connsiteX197" fmla="*/ 1794452 w 2368274"/>
                    <a:gd name="connsiteY197" fmla="*/ 854416 h 2457568"/>
                    <a:gd name="connsiteX198" fmla="*/ 2302607 w 2368274"/>
                    <a:gd name="connsiteY198" fmla="*/ 826622 h 2457568"/>
                    <a:gd name="connsiteX199" fmla="*/ 2244208 w 2368274"/>
                    <a:gd name="connsiteY199" fmla="*/ 686370 h 2457568"/>
                    <a:gd name="connsiteX200" fmla="*/ 2244771 w 2368274"/>
                    <a:gd name="connsiteY200" fmla="*/ 687494 h 2457568"/>
                    <a:gd name="connsiteX201" fmla="*/ 2253446 w 2368274"/>
                    <a:gd name="connsiteY201" fmla="*/ 737057 h 2457568"/>
                    <a:gd name="connsiteX202" fmla="*/ 2282284 w 2368274"/>
                    <a:gd name="connsiteY202" fmla="*/ 975631 h 2457568"/>
                    <a:gd name="connsiteX203" fmla="*/ 2268789 w 2368274"/>
                    <a:gd name="connsiteY203" fmla="*/ 952175 h 2457568"/>
                    <a:gd name="connsiteX204" fmla="*/ 2269431 w 2368274"/>
                    <a:gd name="connsiteY204" fmla="*/ 952175 h 2457568"/>
                    <a:gd name="connsiteX205" fmla="*/ 2215130 w 2368274"/>
                    <a:gd name="connsiteY205" fmla="*/ 894740 h 2457568"/>
                    <a:gd name="connsiteX206" fmla="*/ 2215451 w 2368274"/>
                    <a:gd name="connsiteY206" fmla="*/ 894339 h 2457568"/>
                    <a:gd name="connsiteX207" fmla="*/ 2159703 w 2368274"/>
                    <a:gd name="connsiteY207" fmla="*/ 865581 h 2457568"/>
                    <a:gd name="connsiteX208" fmla="*/ 2153759 w 2368274"/>
                    <a:gd name="connsiteY208" fmla="*/ 845740 h 2457568"/>
                    <a:gd name="connsiteX209" fmla="*/ 2155928 w 2368274"/>
                    <a:gd name="connsiteY209" fmla="*/ 865019 h 2457568"/>
                    <a:gd name="connsiteX210" fmla="*/ 2148377 w 2368274"/>
                    <a:gd name="connsiteY210" fmla="*/ 870160 h 2457568"/>
                    <a:gd name="connsiteX211" fmla="*/ 2133115 w 2368274"/>
                    <a:gd name="connsiteY211" fmla="*/ 857790 h 2457568"/>
                    <a:gd name="connsiteX212" fmla="*/ 2212398 w 2368274"/>
                    <a:gd name="connsiteY212" fmla="*/ 927354 h 2457568"/>
                    <a:gd name="connsiteX213" fmla="*/ 2251438 w 2368274"/>
                    <a:gd name="connsiteY213" fmla="*/ 972016 h 2457568"/>
                    <a:gd name="connsiteX214" fmla="*/ 2279392 w 2368274"/>
                    <a:gd name="connsiteY214" fmla="*/ 978201 h 2457568"/>
                    <a:gd name="connsiteX215" fmla="*/ 2279151 w 2368274"/>
                    <a:gd name="connsiteY215" fmla="*/ 976916 h 2457568"/>
                    <a:gd name="connsiteX216" fmla="*/ 2281480 w 2368274"/>
                    <a:gd name="connsiteY216" fmla="*/ 995070 h 2457568"/>
                    <a:gd name="connsiteX217" fmla="*/ 2310479 w 2368274"/>
                    <a:gd name="connsiteY217" fmla="*/ 937073 h 2457568"/>
                    <a:gd name="connsiteX218" fmla="*/ 2309515 w 2368274"/>
                    <a:gd name="connsiteY218" fmla="*/ 1159100 h 2457568"/>
                    <a:gd name="connsiteX219" fmla="*/ 2309113 w 2368274"/>
                    <a:gd name="connsiteY219" fmla="*/ 1159261 h 2457568"/>
                    <a:gd name="connsiteX220" fmla="*/ 2319395 w 2368274"/>
                    <a:gd name="connsiteY220" fmla="*/ 1261839 h 2457568"/>
                    <a:gd name="connsiteX221" fmla="*/ 2320118 w 2368274"/>
                    <a:gd name="connsiteY221" fmla="*/ 1261679 h 2457568"/>
                    <a:gd name="connsiteX222" fmla="*/ 2320680 w 2368274"/>
                    <a:gd name="connsiteY222" fmla="*/ 1281439 h 2457568"/>
                    <a:gd name="connsiteX223" fmla="*/ 2321644 w 2368274"/>
                    <a:gd name="connsiteY223" fmla="*/ 1286580 h 2457568"/>
                    <a:gd name="connsiteX224" fmla="*/ 2114398 w 2368274"/>
                    <a:gd name="connsiteY224" fmla="*/ 1692478 h 2457568"/>
                    <a:gd name="connsiteX225" fmla="*/ 2064675 w 2368274"/>
                    <a:gd name="connsiteY225" fmla="*/ 1591586 h 2457568"/>
                    <a:gd name="connsiteX226" fmla="*/ 2065559 w 2368274"/>
                    <a:gd name="connsiteY226" fmla="*/ 1591586 h 2457568"/>
                    <a:gd name="connsiteX227" fmla="*/ 2035436 w 2368274"/>
                    <a:gd name="connsiteY227" fmla="*/ 1443541 h 2457568"/>
                    <a:gd name="connsiteX228" fmla="*/ 2035034 w 2368274"/>
                    <a:gd name="connsiteY228" fmla="*/ 1445068 h 2457568"/>
                    <a:gd name="connsiteX229" fmla="*/ 2030616 w 2368274"/>
                    <a:gd name="connsiteY229" fmla="*/ 1409402 h 2457568"/>
                    <a:gd name="connsiteX230" fmla="*/ 1965229 w 2368274"/>
                    <a:gd name="connsiteY230" fmla="*/ 1391890 h 2457568"/>
                    <a:gd name="connsiteX231" fmla="*/ 1968362 w 2368274"/>
                    <a:gd name="connsiteY231" fmla="*/ 1391248 h 2457568"/>
                    <a:gd name="connsiteX232" fmla="*/ 1953903 w 2368274"/>
                    <a:gd name="connsiteY232" fmla="*/ 1382572 h 2457568"/>
                    <a:gd name="connsiteX233" fmla="*/ 1961534 w 2368274"/>
                    <a:gd name="connsiteY233" fmla="*/ 1365864 h 2457568"/>
                    <a:gd name="connsiteX234" fmla="*/ 1969727 w 2368274"/>
                    <a:gd name="connsiteY234" fmla="*/ 1364418 h 2457568"/>
                    <a:gd name="connsiteX235" fmla="*/ 1961855 w 2368274"/>
                    <a:gd name="connsiteY235" fmla="*/ 1361526 h 2457568"/>
                    <a:gd name="connsiteX236" fmla="*/ 1960891 w 2368274"/>
                    <a:gd name="connsiteY236" fmla="*/ 1325620 h 2457568"/>
                    <a:gd name="connsiteX237" fmla="*/ 1959928 w 2368274"/>
                    <a:gd name="connsiteY237" fmla="*/ 1323290 h 2457568"/>
                    <a:gd name="connsiteX238" fmla="*/ 1958723 w 2368274"/>
                    <a:gd name="connsiteY238" fmla="*/ 1321282 h 2457568"/>
                    <a:gd name="connsiteX239" fmla="*/ 1958401 w 2368274"/>
                    <a:gd name="connsiteY239" fmla="*/ 1321121 h 2457568"/>
                    <a:gd name="connsiteX240" fmla="*/ 1955429 w 2368274"/>
                    <a:gd name="connsiteY240" fmla="*/ 1322567 h 2457568"/>
                    <a:gd name="connsiteX241" fmla="*/ 1938882 w 2368274"/>
                    <a:gd name="connsiteY241" fmla="*/ 1321443 h 2457568"/>
                    <a:gd name="connsiteX242" fmla="*/ 1892372 w 2368274"/>
                    <a:gd name="connsiteY242" fmla="*/ 1344015 h 2457568"/>
                    <a:gd name="connsiteX243" fmla="*/ 1882491 w 2368274"/>
                    <a:gd name="connsiteY243" fmla="*/ 1333653 h 2457568"/>
                    <a:gd name="connsiteX244" fmla="*/ 1735812 w 2368274"/>
                    <a:gd name="connsiteY244" fmla="*/ 1395184 h 2457568"/>
                    <a:gd name="connsiteX245" fmla="*/ 1735893 w 2368274"/>
                    <a:gd name="connsiteY245" fmla="*/ 1395184 h 2457568"/>
                    <a:gd name="connsiteX246" fmla="*/ 1735893 w 2368274"/>
                    <a:gd name="connsiteY246" fmla="*/ 1395184 h 2457568"/>
                    <a:gd name="connsiteX247" fmla="*/ 1735893 w 2368274"/>
                    <a:gd name="connsiteY247" fmla="*/ 1395184 h 2457568"/>
                    <a:gd name="connsiteX248" fmla="*/ 1735893 w 2368274"/>
                    <a:gd name="connsiteY248" fmla="*/ 1395184 h 2457568"/>
                    <a:gd name="connsiteX249" fmla="*/ 1735893 w 2368274"/>
                    <a:gd name="connsiteY249" fmla="*/ 1395184 h 2457568"/>
                    <a:gd name="connsiteX250" fmla="*/ 1735893 w 2368274"/>
                    <a:gd name="connsiteY250" fmla="*/ 1395184 h 2457568"/>
                    <a:gd name="connsiteX251" fmla="*/ 1735893 w 2368274"/>
                    <a:gd name="connsiteY251" fmla="*/ 1395184 h 2457568"/>
                    <a:gd name="connsiteX252" fmla="*/ 1735893 w 2368274"/>
                    <a:gd name="connsiteY252" fmla="*/ 1395184 h 2457568"/>
                    <a:gd name="connsiteX253" fmla="*/ 1735089 w 2368274"/>
                    <a:gd name="connsiteY253" fmla="*/ 1395505 h 2457568"/>
                    <a:gd name="connsiteX254" fmla="*/ 1631868 w 2368274"/>
                    <a:gd name="connsiteY254" fmla="*/ 1428841 h 2457568"/>
                    <a:gd name="connsiteX255" fmla="*/ 1541097 w 2368274"/>
                    <a:gd name="connsiteY255" fmla="*/ 1418881 h 2457568"/>
                    <a:gd name="connsiteX256" fmla="*/ 1501335 w 2368274"/>
                    <a:gd name="connsiteY256" fmla="*/ 1396469 h 2457568"/>
                    <a:gd name="connsiteX257" fmla="*/ 1492981 w 2368274"/>
                    <a:gd name="connsiteY257" fmla="*/ 1393176 h 2457568"/>
                    <a:gd name="connsiteX258" fmla="*/ 1489929 w 2368274"/>
                    <a:gd name="connsiteY258" fmla="*/ 1395345 h 2457568"/>
                    <a:gd name="connsiteX259" fmla="*/ 1489768 w 2368274"/>
                    <a:gd name="connsiteY259" fmla="*/ 1393738 h 2457568"/>
                    <a:gd name="connsiteX260" fmla="*/ 1489045 w 2368274"/>
                    <a:gd name="connsiteY260" fmla="*/ 1385304 h 2457568"/>
                    <a:gd name="connsiteX261" fmla="*/ 1456271 w 2368274"/>
                    <a:gd name="connsiteY261" fmla="*/ 1384500 h 2457568"/>
                    <a:gd name="connsiteX262" fmla="*/ 1454986 w 2368274"/>
                    <a:gd name="connsiteY262" fmla="*/ 1375745 h 2457568"/>
                    <a:gd name="connsiteX263" fmla="*/ 1463501 w 2368274"/>
                    <a:gd name="connsiteY263" fmla="*/ 1373656 h 2457568"/>
                    <a:gd name="connsiteX264" fmla="*/ 1468722 w 2368274"/>
                    <a:gd name="connsiteY264" fmla="*/ 1371728 h 2457568"/>
                    <a:gd name="connsiteX265" fmla="*/ 1468642 w 2368274"/>
                    <a:gd name="connsiteY265" fmla="*/ 1371728 h 2457568"/>
                    <a:gd name="connsiteX266" fmla="*/ 1468561 w 2368274"/>
                    <a:gd name="connsiteY266" fmla="*/ 1371728 h 2457568"/>
                    <a:gd name="connsiteX267" fmla="*/ 1468481 w 2368274"/>
                    <a:gd name="connsiteY267" fmla="*/ 1371728 h 2457568"/>
                    <a:gd name="connsiteX268" fmla="*/ 1468401 w 2368274"/>
                    <a:gd name="connsiteY268" fmla="*/ 1371728 h 2457568"/>
                    <a:gd name="connsiteX269" fmla="*/ 1468320 w 2368274"/>
                    <a:gd name="connsiteY269" fmla="*/ 1371728 h 2457568"/>
                    <a:gd name="connsiteX270" fmla="*/ 1468240 w 2368274"/>
                    <a:gd name="connsiteY270" fmla="*/ 1371728 h 2457568"/>
                    <a:gd name="connsiteX271" fmla="*/ 1468160 w 2368274"/>
                    <a:gd name="connsiteY271" fmla="*/ 1371728 h 2457568"/>
                    <a:gd name="connsiteX272" fmla="*/ 1452014 w 2368274"/>
                    <a:gd name="connsiteY272" fmla="*/ 1368033 h 2457568"/>
                    <a:gd name="connsiteX273" fmla="*/ 1435707 w 2368274"/>
                    <a:gd name="connsiteY273" fmla="*/ 1362651 h 2457568"/>
                    <a:gd name="connsiteX274" fmla="*/ 1447837 w 2368274"/>
                    <a:gd name="connsiteY274" fmla="*/ 1300156 h 2457568"/>
                    <a:gd name="connsiteX275" fmla="*/ 1445186 w 2368274"/>
                    <a:gd name="connsiteY275" fmla="*/ 1301361 h 2457568"/>
                    <a:gd name="connsiteX276" fmla="*/ 1447435 w 2368274"/>
                    <a:gd name="connsiteY276" fmla="*/ 1292525 h 2457568"/>
                    <a:gd name="connsiteX277" fmla="*/ 1440125 w 2368274"/>
                    <a:gd name="connsiteY277" fmla="*/ 1286821 h 2457568"/>
                    <a:gd name="connsiteX278" fmla="*/ 1439884 w 2368274"/>
                    <a:gd name="connsiteY278" fmla="*/ 1288267 h 2457568"/>
                    <a:gd name="connsiteX279" fmla="*/ 1432173 w 2368274"/>
                    <a:gd name="connsiteY279" fmla="*/ 1284010 h 2457568"/>
                    <a:gd name="connsiteX280" fmla="*/ 1442615 w 2368274"/>
                    <a:gd name="connsiteY280" fmla="*/ 1247862 h 2457568"/>
                    <a:gd name="connsiteX281" fmla="*/ 1594596 w 2368274"/>
                    <a:gd name="connsiteY281" fmla="*/ 1035475 h 2457568"/>
                    <a:gd name="connsiteX282" fmla="*/ 1794131 w 2368274"/>
                    <a:gd name="connsiteY282" fmla="*/ 945588 h 2457568"/>
                    <a:gd name="connsiteX283" fmla="*/ 1792845 w 2368274"/>
                    <a:gd name="connsiteY283" fmla="*/ 944142 h 2457568"/>
                    <a:gd name="connsiteX284" fmla="*/ 1832206 w 2368274"/>
                    <a:gd name="connsiteY284" fmla="*/ 926149 h 2457568"/>
                    <a:gd name="connsiteX285" fmla="*/ 1832206 w 2368274"/>
                    <a:gd name="connsiteY285" fmla="*/ 924382 h 2457568"/>
                    <a:gd name="connsiteX286" fmla="*/ 1840560 w 2368274"/>
                    <a:gd name="connsiteY286" fmla="*/ 926550 h 2457568"/>
                    <a:gd name="connsiteX287" fmla="*/ 1852529 w 2368274"/>
                    <a:gd name="connsiteY287" fmla="*/ 921008 h 2457568"/>
                    <a:gd name="connsiteX288" fmla="*/ 1865703 w 2368274"/>
                    <a:gd name="connsiteY288" fmla="*/ 966875 h 2457568"/>
                    <a:gd name="connsiteX289" fmla="*/ 1874057 w 2368274"/>
                    <a:gd name="connsiteY289" fmla="*/ 965750 h 2457568"/>
                    <a:gd name="connsiteX290" fmla="*/ 1873977 w 2368274"/>
                    <a:gd name="connsiteY290" fmla="*/ 967036 h 2457568"/>
                    <a:gd name="connsiteX291" fmla="*/ 2113033 w 2368274"/>
                    <a:gd name="connsiteY291" fmla="*/ 750231 h 2457568"/>
                    <a:gd name="connsiteX292" fmla="*/ 2051582 w 2368274"/>
                    <a:gd name="connsiteY292" fmla="*/ 806701 h 2457568"/>
                    <a:gd name="connsiteX293" fmla="*/ 2043308 w 2368274"/>
                    <a:gd name="connsiteY293" fmla="*/ 808789 h 2457568"/>
                    <a:gd name="connsiteX294" fmla="*/ 2026760 w 2368274"/>
                    <a:gd name="connsiteY294" fmla="*/ 798026 h 2457568"/>
                    <a:gd name="connsiteX295" fmla="*/ 2026118 w 2368274"/>
                    <a:gd name="connsiteY295" fmla="*/ 788868 h 2457568"/>
                    <a:gd name="connsiteX296" fmla="*/ 2013346 w 2368274"/>
                    <a:gd name="connsiteY296" fmla="*/ 776658 h 2457568"/>
                    <a:gd name="connsiteX297" fmla="*/ 2021138 w 2368274"/>
                    <a:gd name="connsiteY297" fmla="*/ 762038 h 2457568"/>
                    <a:gd name="connsiteX298" fmla="*/ 2029491 w 2368274"/>
                    <a:gd name="connsiteY298" fmla="*/ 757380 h 2457568"/>
                    <a:gd name="connsiteX299" fmla="*/ 2098252 w 2368274"/>
                    <a:gd name="connsiteY299" fmla="*/ 656247 h 2457568"/>
                    <a:gd name="connsiteX300" fmla="*/ 2046842 w 2368274"/>
                    <a:gd name="connsiteY300" fmla="*/ 639378 h 2457568"/>
                    <a:gd name="connsiteX301" fmla="*/ 2051421 w 2368274"/>
                    <a:gd name="connsiteY301" fmla="*/ 631747 h 2457568"/>
                    <a:gd name="connsiteX302" fmla="*/ 2042665 w 2368274"/>
                    <a:gd name="connsiteY302" fmla="*/ 609576 h 2457568"/>
                    <a:gd name="connsiteX303" fmla="*/ 2035115 w 2368274"/>
                    <a:gd name="connsiteY303" fmla="*/ 615601 h 2457568"/>
                    <a:gd name="connsiteX304" fmla="*/ 2030697 w 2368274"/>
                    <a:gd name="connsiteY304" fmla="*/ 642671 h 2457568"/>
                    <a:gd name="connsiteX305" fmla="*/ 2039372 w 2368274"/>
                    <a:gd name="connsiteY305" fmla="*/ 646045 h 2457568"/>
                    <a:gd name="connsiteX306" fmla="*/ 2045718 w 2368274"/>
                    <a:gd name="connsiteY306" fmla="*/ 640020 h 2457568"/>
                    <a:gd name="connsiteX307" fmla="*/ 2024511 w 2368274"/>
                    <a:gd name="connsiteY307" fmla="*/ 667653 h 2457568"/>
                    <a:gd name="connsiteX308" fmla="*/ 2019531 w 2368274"/>
                    <a:gd name="connsiteY308" fmla="*/ 650061 h 2457568"/>
                    <a:gd name="connsiteX309" fmla="*/ 2004188 w 2368274"/>
                    <a:gd name="connsiteY309" fmla="*/ 658737 h 2457568"/>
                    <a:gd name="connsiteX310" fmla="*/ 2007160 w 2368274"/>
                    <a:gd name="connsiteY310" fmla="*/ 650543 h 2457568"/>
                    <a:gd name="connsiteX311" fmla="*/ 1999690 w 2368274"/>
                    <a:gd name="connsiteY311" fmla="*/ 655283 h 2457568"/>
                    <a:gd name="connsiteX312" fmla="*/ 1998164 w 2368274"/>
                    <a:gd name="connsiteY312" fmla="*/ 654078 h 2457568"/>
                    <a:gd name="connsiteX313" fmla="*/ 1997280 w 2368274"/>
                    <a:gd name="connsiteY313" fmla="*/ 700909 h 2457568"/>
                    <a:gd name="connsiteX314" fmla="*/ 2002983 w 2368274"/>
                    <a:gd name="connsiteY314" fmla="*/ 737860 h 2457568"/>
                    <a:gd name="connsiteX315" fmla="*/ 2020495 w 2368274"/>
                    <a:gd name="connsiteY315" fmla="*/ 743724 h 2457568"/>
                    <a:gd name="connsiteX316" fmla="*/ 2011418 w 2368274"/>
                    <a:gd name="connsiteY316" fmla="*/ 772160 h 2457568"/>
                    <a:gd name="connsiteX317" fmla="*/ 1986998 w 2368274"/>
                    <a:gd name="connsiteY317" fmla="*/ 778104 h 2457568"/>
                    <a:gd name="connsiteX318" fmla="*/ 1988765 w 2368274"/>
                    <a:gd name="connsiteY318" fmla="*/ 787101 h 2457568"/>
                    <a:gd name="connsiteX319" fmla="*/ 1984026 w 2368274"/>
                    <a:gd name="connsiteY319" fmla="*/ 793929 h 2457568"/>
                    <a:gd name="connsiteX320" fmla="*/ 1974547 w 2368274"/>
                    <a:gd name="connsiteY320" fmla="*/ 794090 h 2457568"/>
                    <a:gd name="connsiteX321" fmla="*/ 1986195 w 2368274"/>
                    <a:gd name="connsiteY321" fmla="*/ 812083 h 2457568"/>
                    <a:gd name="connsiteX322" fmla="*/ 1999690 w 2368274"/>
                    <a:gd name="connsiteY322" fmla="*/ 827667 h 2457568"/>
                    <a:gd name="connsiteX323" fmla="*/ 1993746 w 2368274"/>
                    <a:gd name="connsiteY323" fmla="*/ 832325 h 2457568"/>
                    <a:gd name="connsiteX324" fmla="*/ 1993665 w 2368274"/>
                    <a:gd name="connsiteY324" fmla="*/ 832325 h 2457568"/>
                    <a:gd name="connsiteX325" fmla="*/ 1993585 w 2368274"/>
                    <a:gd name="connsiteY325" fmla="*/ 832406 h 2457568"/>
                    <a:gd name="connsiteX326" fmla="*/ 1993505 w 2368274"/>
                    <a:gd name="connsiteY326" fmla="*/ 832486 h 2457568"/>
                    <a:gd name="connsiteX327" fmla="*/ 1993424 w 2368274"/>
                    <a:gd name="connsiteY327" fmla="*/ 832567 h 2457568"/>
                    <a:gd name="connsiteX328" fmla="*/ 1993344 w 2368274"/>
                    <a:gd name="connsiteY328" fmla="*/ 832647 h 2457568"/>
                    <a:gd name="connsiteX329" fmla="*/ 1993264 w 2368274"/>
                    <a:gd name="connsiteY329" fmla="*/ 832727 h 2457568"/>
                    <a:gd name="connsiteX330" fmla="*/ 1993183 w 2368274"/>
                    <a:gd name="connsiteY330" fmla="*/ 832808 h 2457568"/>
                    <a:gd name="connsiteX331" fmla="*/ 2000413 w 2368274"/>
                    <a:gd name="connsiteY331" fmla="*/ 840198 h 2457568"/>
                    <a:gd name="connsiteX332" fmla="*/ 1997521 w 2368274"/>
                    <a:gd name="connsiteY332" fmla="*/ 848070 h 2457568"/>
                    <a:gd name="connsiteX333" fmla="*/ 1975350 w 2368274"/>
                    <a:gd name="connsiteY333" fmla="*/ 838190 h 2457568"/>
                    <a:gd name="connsiteX334" fmla="*/ 1991255 w 2368274"/>
                    <a:gd name="connsiteY334" fmla="*/ 826060 h 2457568"/>
                    <a:gd name="connsiteX335" fmla="*/ 1936632 w 2368274"/>
                    <a:gd name="connsiteY335" fmla="*/ 819393 h 2457568"/>
                    <a:gd name="connsiteX336" fmla="*/ 1822004 w 2368274"/>
                    <a:gd name="connsiteY336" fmla="*/ 786298 h 2457568"/>
                    <a:gd name="connsiteX337" fmla="*/ 1814614 w 2368274"/>
                    <a:gd name="connsiteY337" fmla="*/ 791840 h 2457568"/>
                    <a:gd name="connsiteX338" fmla="*/ 1926511 w 2368274"/>
                    <a:gd name="connsiteY338" fmla="*/ 833932 h 2457568"/>
                    <a:gd name="connsiteX339" fmla="*/ 1907875 w 2368274"/>
                    <a:gd name="connsiteY339" fmla="*/ 874578 h 2457568"/>
                    <a:gd name="connsiteX340" fmla="*/ 1717417 w 2368274"/>
                    <a:gd name="connsiteY340" fmla="*/ 873695 h 2457568"/>
                    <a:gd name="connsiteX341" fmla="*/ 1696612 w 2368274"/>
                    <a:gd name="connsiteY341" fmla="*/ 888394 h 2457568"/>
                    <a:gd name="connsiteX342" fmla="*/ 1701512 w 2368274"/>
                    <a:gd name="connsiteY342" fmla="*/ 898195 h 2457568"/>
                    <a:gd name="connsiteX343" fmla="*/ 1669381 w 2368274"/>
                    <a:gd name="connsiteY343" fmla="*/ 934182 h 2457568"/>
                    <a:gd name="connsiteX344" fmla="*/ 1663196 w 2368274"/>
                    <a:gd name="connsiteY344" fmla="*/ 986314 h 2457568"/>
                    <a:gd name="connsiteX345" fmla="*/ 1570739 w 2368274"/>
                    <a:gd name="connsiteY345" fmla="*/ 1029209 h 2457568"/>
                    <a:gd name="connsiteX346" fmla="*/ 1525915 w 2368274"/>
                    <a:gd name="connsiteY346" fmla="*/ 1039813 h 2457568"/>
                    <a:gd name="connsiteX347" fmla="*/ 1519007 w 2368274"/>
                    <a:gd name="connsiteY347" fmla="*/ 1010975 h 2457568"/>
                    <a:gd name="connsiteX348" fmla="*/ 1509930 w 2368274"/>
                    <a:gd name="connsiteY348" fmla="*/ 1010172 h 2457568"/>
                    <a:gd name="connsiteX349" fmla="*/ 1505512 w 2368274"/>
                    <a:gd name="connsiteY349" fmla="*/ 965027 h 2457568"/>
                    <a:gd name="connsiteX350" fmla="*/ 1503343 w 2368274"/>
                    <a:gd name="connsiteY350" fmla="*/ 965429 h 2457568"/>
                    <a:gd name="connsiteX351" fmla="*/ 1504227 w 2368274"/>
                    <a:gd name="connsiteY351" fmla="*/ 963180 h 2457568"/>
                    <a:gd name="connsiteX352" fmla="*/ 1617730 w 2368274"/>
                    <a:gd name="connsiteY352" fmla="*/ 889278 h 2457568"/>
                    <a:gd name="connsiteX353" fmla="*/ 1615963 w 2368274"/>
                    <a:gd name="connsiteY353" fmla="*/ 888635 h 2457568"/>
                    <a:gd name="connsiteX354" fmla="*/ 1615160 w 2368274"/>
                    <a:gd name="connsiteY354" fmla="*/ 890563 h 2457568"/>
                    <a:gd name="connsiteX355" fmla="*/ 1612750 w 2368274"/>
                    <a:gd name="connsiteY355" fmla="*/ 882209 h 2457568"/>
                    <a:gd name="connsiteX356" fmla="*/ 1621666 w 2368274"/>
                    <a:gd name="connsiteY356" fmla="*/ 880201 h 2457568"/>
                    <a:gd name="connsiteX357" fmla="*/ 1611786 w 2368274"/>
                    <a:gd name="connsiteY357" fmla="*/ 873534 h 2457568"/>
                    <a:gd name="connsiteX358" fmla="*/ 1593311 w 2368274"/>
                    <a:gd name="connsiteY358" fmla="*/ 864136 h 2457568"/>
                    <a:gd name="connsiteX359" fmla="*/ 714442 w 2368274"/>
                    <a:gd name="connsiteY359" fmla="*/ 1020775 h 2457568"/>
                    <a:gd name="connsiteX360" fmla="*/ 742637 w 2368274"/>
                    <a:gd name="connsiteY360" fmla="*/ 1570460 h 2457568"/>
                    <a:gd name="connsiteX361" fmla="*/ 756132 w 2368274"/>
                    <a:gd name="connsiteY361" fmla="*/ 1575761 h 2457568"/>
                    <a:gd name="connsiteX362" fmla="*/ 769708 w 2368274"/>
                    <a:gd name="connsiteY362" fmla="*/ 1644924 h 2457568"/>
                    <a:gd name="connsiteX363" fmla="*/ 758382 w 2368274"/>
                    <a:gd name="connsiteY363" fmla="*/ 1649663 h 2457568"/>
                    <a:gd name="connsiteX364" fmla="*/ 819029 w 2368274"/>
                    <a:gd name="connsiteY364" fmla="*/ 1647655 h 2457568"/>
                    <a:gd name="connsiteX365" fmla="*/ 821439 w 2368274"/>
                    <a:gd name="connsiteY365" fmla="*/ 1656732 h 2457568"/>
                    <a:gd name="connsiteX366" fmla="*/ 843449 w 2368274"/>
                    <a:gd name="connsiteY366" fmla="*/ 1644442 h 2457568"/>
                    <a:gd name="connsiteX367" fmla="*/ 847546 w 2368274"/>
                    <a:gd name="connsiteY367" fmla="*/ 1636409 h 2457568"/>
                    <a:gd name="connsiteX368" fmla="*/ 913013 w 2368274"/>
                    <a:gd name="connsiteY368" fmla="*/ 1640345 h 2457568"/>
                    <a:gd name="connsiteX369" fmla="*/ 915744 w 2368274"/>
                    <a:gd name="connsiteY369" fmla="*/ 1642674 h 2457568"/>
                    <a:gd name="connsiteX370" fmla="*/ 918154 w 2368274"/>
                    <a:gd name="connsiteY370" fmla="*/ 1641871 h 2457568"/>
                    <a:gd name="connsiteX371" fmla="*/ 919118 w 2368274"/>
                    <a:gd name="connsiteY371" fmla="*/ 1649100 h 2457568"/>
                    <a:gd name="connsiteX372" fmla="*/ 919359 w 2368274"/>
                    <a:gd name="connsiteY372" fmla="*/ 1658659 h 2457568"/>
                    <a:gd name="connsiteX373" fmla="*/ 925223 w 2368274"/>
                    <a:gd name="connsiteY373" fmla="*/ 1651993 h 2457568"/>
                    <a:gd name="connsiteX374" fmla="*/ 1072946 w 2368274"/>
                    <a:gd name="connsiteY374" fmla="*/ 1656812 h 2457568"/>
                    <a:gd name="connsiteX375" fmla="*/ 1104515 w 2368274"/>
                    <a:gd name="connsiteY375" fmla="*/ 1719147 h 2457568"/>
                    <a:gd name="connsiteX376" fmla="*/ 1084915 w 2368274"/>
                    <a:gd name="connsiteY376" fmla="*/ 1732321 h 2457568"/>
                    <a:gd name="connsiteX377" fmla="*/ 1056880 w 2368274"/>
                    <a:gd name="connsiteY377" fmla="*/ 1753527 h 2457568"/>
                    <a:gd name="connsiteX378" fmla="*/ 1056880 w 2368274"/>
                    <a:gd name="connsiteY378" fmla="*/ 1767102 h 2457568"/>
                    <a:gd name="connsiteX379" fmla="*/ 901687 w 2368274"/>
                    <a:gd name="connsiteY379" fmla="*/ 1903097 h 2457568"/>
                    <a:gd name="connsiteX380" fmla="*/ 903293 w 2368274"/>
                    <a:gd name="connsiteY380" fmla="*/ 1903339 h 2457568"/>
                    <a:gd name="connsiteX381" fmla="*/ 898554 w 2368274"/>
                    <a:gd name="connsiteY381" fmla="*/ 1906311 h 2457568"/>
                    <a:gd name="connsiteX382" fmla="*/ 889959 w 2368274"/>
                    <a:gd name="connsiteY382" fmla="*/ 1907757 h 2457568"/>
                    <a:gd name="connsiteX383" fmla="*/ 851080 w 2368274"/>
                    <a:gd name="connsiteY383" fmla="*/ 1980052 h 2457568"/>
                    <a:gd name="connsiteX384" fmla="*/ 862487 w 2368274"/>
                    <a:gd name="connsiteY384" fmla="*/ 1966798 h 2457568"/>
                    <a:gd name="connsiteX385" fmla="*/ 851964 w 2368274"/>
                    <a:gd name="connsiteY385" fmla="*/ 1960452 h 2457568"/>
                    <a:gd name="connsiteX386" fmla="*/ 852767 w 2368274"/>
                    <a:gd name="connsiteY386" fmla="*/ 1967440 h 2457568"/>
                    <a:gd name="connsiteX387" fmla="*/ 834533 w 2368274"/>
                    <a:gd name="connsiteY387" fmla="*/ 1990976 h 2457568"/>
                    <a:gd name="connsiteX388" fmla="*/ 903534 w 2368274"/>
                    <a:gd name="connsiteY388" fmla="*/ 2184166 h 2457568"/>
                    <a:gd name="connsiteX389" fmla="*/ 1928760 w 2368274"/>
                    <a:gd name="connsiteY389" fmla="*/ 1966396 h 2457568"/>
                    <a:gd name="connsiteX390" fmla="*/ 2271198 w 2368274"/>
                    <a:gd name="connsiteY390" fmla="*/ 1710150 h 2457568"/>
                    <a:gd name="connsiteX391" fmla="*/ 2330079 w 2368274"/>
                    <a:gd name="connsiteY391" fmla="*/ 1537605 h 2457568"/>
                    <a:gd name="connsiteX392" fmla="*/ 2364861 w 2368274"/>
                    <a:gd name="connsiteY392" fmla="*/ 1335340 h 2457568"/>
                    <a:gd name="connsiteX393" fmla="*/ 2353213 w 2368274"/>
                    <a:gd name="connsiteY393" fmla="*/ 1030977 h 2457568"/>
                    <a:gd name="connsiteX394" fmla="*/ 2302607 w 2368274"/>
                    <a:gd name="connsiteY394" fmla="*/ 826622 h 2457568"/>
                    <a:gd name="connsiteX395" fmla="*/ 1704565 w 2368274"/>
                    <a:gd name="connsiteY395" fmla="*/ 157329 h 2457568"/>
                    <a:gd name="connsiteX396" fmla="*/ 1701512 w 2368274"/>
                    <a:gd name="connsiteY396" fmla="*/ 156606 h 2457568"/>
                    <a:gd name="connsiteX397" fmla="*/ 1713883 w 2368274"/>
                    <a:gd name="connsiteY397" fmla="*/ 162310 h 2457568"/>
                    <a:gd name="connsiteX398" fmla="*/ 1704565 w 2368274"/>
                    <a:gd name="connsiteY398" fmla="*/ 157329 h 2457568"/>
                    <a:gd name="connsiteX399" fmla="*/ 533544 w 2368274"/>
                    <a:gd name="connsiteY399" fmla="*/ 989447 h 2457568"/>
                    <a:gd name="connsiteX400" fmla="*/ 528804 w 2368274"/>
                    <a:gd name="connsiteY400" fmla="*/ 989527 h 2457568"/>
                    <a:gd name="connsiteX401" fmla="*/ 529045 w 2368274"/>
                    <a:gd name="connsiteY401" fmla="*/ 988644 h 2457568"/>
                    <a:gd name="connsiteX402" fmla="*/ 533624 w 2368274"/>
                    <a:gd name="connsiteY402" fmla="*/ 989447 h 2457568"/>
                    <a:gd name="connsiteX403" fmla="*/ 533544 w 2368274"/>
                    <a:gd name="connsiteY403" fmla="*/ 989447 h 2457568"/>
                    <a:gd name="connsiteX404" fmla="*/ 400681 w 2368274"/>
                    <a:gd name="connsiteY404" fmla="*/ 676650 h 2457568"/>
                    <a:gd name="connsiteX405" fmla="*/ 335856 w 2368274"/>
                    <a:gd name="connsiteY405" fmla="*/ 664199 h 2457568"/>
                    <a:gd name="connsiteX406" fmla="*/ 379555 w 2368274"/>
                    <a:gd name="connsiteY406" fmla="*/ 615199 h 2457568"/>
                    <a:gd name="connsiteX407" fmla="*/ 398994 w 2368274"/>
                    <a:gd name="connsiteY407" fmla="*/ 663958 h 2457568"/>
                    <a:gd name="connsiteX408" fmla="*/ 403252 w 2368274"/>
                    <a:gd name="connsiteY408" fmla="*/ 672634 h 2457568"/>
                    <a:gd name="connsiteX409" fmla="*/ 405581 w 2368274"/>
                    <a:gd name="connsiteY409" fmla="*/ 676570 h 2457568"/>
                    <a:gd name="connsiteX410" fmla="*/ 400681 w 2368274"/>
                    <a:gd name="connsiteY410" fmla="*/ 676650 h 2457568"/>
                    <a:gd name="connsiteX411" fmla="*/ 349753 w 2368274"/>
                    <a:gd name="connsiteY411" fmla="*/ 518886 h 2457568"/>
                    <a:gd name="connsiteX412" fmla="*/ 339873 w 2368274"/>
                    <a:gd name="connsiteY412" fmla="*/ 501294 h 2457568"/>
                    <a:gd name="connsiteX413" fmla="*/ 347022 w 2368274"/>
                    <a:gd name="connsiteY413" fmla="*/ 494787 h 2457568"/>
                    <a:gd name="connsiteX414" fmla="*/ 348709 w 2368274"/>
                    <a:gd name="connsiteY414" fmla="*/ 492538 h 2457568"/>
                    <a:gd name="connsiteX415" fmla="*/ 348789 w 2368274"/>
                    <a:gd name="connsiteY415" fmla="*/ 496555 h 2457568"/>
                    <a:gd name="connsiteX416" fmla="*/ 358188 w 2368274"/>
                    <a:gd name="connsiteY416" fmla="*/ 491414 h 2457568"/>
                    <a:gd name="connsiteX417" fmla="*/ 354493 w 2368274"/>
                    <a:gd name="connsiteY417" fmla="*/ 508282 h 2457568"/>
                    <a:gd name="connsiteX418" fmla="*/ 350878 w 2368274"/>
                    <a:gd name="connsiteY418" fmla="*/ 518886 h 2457568"/>
                    <a:gd name="connsiteX419" fmla="*/ 349753 w 2368274"/>
                    <a:gd name="connsiteY419" fmla="*/ 518886 h 2457568"/>
                    <a:gd name="connsiteX420" fmla="*/ 295933 w 2368274"/>
                    <a:gd name="connsiteY420" fmla="*/ 368914 h 2457568"/>
                    <a:gd name="connsiteX421" fmla="*/ 295050 w 2368274"/>
                    <a:gd name="connsiteY421" fmla="*/ 369074 h 2457568"/>
                    <a:gd name="connsiteX422" fmla="*/ 296014 w 2368274"/>
                    <a:gd name="connsiteY422" fmla="*/ 368753 h 2457568"/>
                    <a:gd name="connsiteX423" fmla="*/ 295933 w 2368274"/>
                    <a:gd name="connsiteY423" fmla="*/ 368914 h 2457568"/>
                    <a:gd name="connsiteX424" fmla="*/ 440524 w 2368274"/>
                    <a:gd name="connsiteY424" fmla="*/ 403776 h 2457568"/>
                    <a:gd name="connsiteX425" fmla="*/ 436186 w 2368274"/>
                    <a:gd name="connsiteY425" fmla="*/ 407792 h 2457568"/>
                    <a:gd name="connsiteX426" fmla="*/ 442130 w 2368274"/>
                    <a:gd name="connsiteY426" fmla="*/ 401527 h 2457568"/>
                    <a:gd name="connsiteX427" fmla="*/ 440524 w 2368274"/>
                    <a:gd name="connsiteY427" fmla="*/ 403776 h 2457568"/>
                    <a:gd name="connsiteX428" fmla="*/ 572101 w 2368274"/>
                    <a:gd name="connsiteY428" fmla="*/ 443136 h 2457568"/>
                    <a:gd name="connsiteX429" fmla="*/ 554268 w 2368274"/>
                    <a:gd name="connsiteY429" fmla="*/ 447153 h 2457568"/>
                    <a:gd name="connsiteX430" fmla="*/ 549208 w 2368274"/>
                    <a:gd name="connsiteY430" fmla="*/ 424340 h 2457568"/>
                    <a:gd name="connsiteX431" fmla="*/ 575154 w 2368274"/>
                    <a:gd name="connsiteY431" fmla="*/ 439361 h 2457568"/>
                    <a:gd name="connsiteX432" fmla="*/ 575314 w 2368274"/>
                    <a:gd name="connsiteY432" fmla="*/ 441610 h 2457568"/>
                    <a:gd name="connsiteX433" fmla="*/ 572101 w 2368274"/>
                    <a:gd name="connsiteY433" fmla="*/ 443136 h 2457568"/>
                    <a:gd name="connsiteX434" fmla="*/ 643513 w 2368274"/>
                    <a:gd name="connsiteY434" fmla="*/ 625240 h 2457568"/>
                    <a:gd name="connsiteX435" fmla="*/ 640380 w 2368274"/>
                    <a:gd name="connsiteY435" fmla="*/ 627810 h 2457568"/>
                    <a:gd name="connsiteX436" fmla="*/ 637488 w 2368274"/>
                    <a:gd name="connsiteY436" fmla="*/ 628614 h 2457568"/>
                    <a:gd name="connsiteX437" fmla="*/ 640942 w 2368274"/>
                    <a:gd name="connsiteY437" fmla="*/ 634478 h 2457568"/>
                    <a:gd name="connsiteX438" fmla="*/ 639496 w 2368274"/>
                    <a:gd name="connsiteY438" fmla="*/ 636004 h 2457568"/>
                    <a:gd name="connsiteX439" fmla="*/ 631865 w 2368274"/>
                    <a:gd name="connsiteY439" fmla="*/ 634638 h 2457568"/>
                    <a:gd name="connsiteX440" fmla="*/ 630500 w 2368274"/>
                    <a:gd name="connsiteY440" fmla="*/ 635683 h 2457568"/>
                    <a:gd name="connsiteX441" fmla="*/ 634918 w 2368274"/>
                    <a:gd name="connsiteY441" fmla="*/ 643555 h 2457568"/>
                    <a:gd name="connsiteX442" fmla="*/ 627367 w 2368274"/>
                    <a:gd name="connsiteY442" fmla="*/ 643956 h 2457568"/>
                    <a:gd name="connsiteX443" fmla="*/ 624796 w 2368274"/>
                    <a:gd name="connsiteY443" fmla="*/ 651587 h 2457568"/>
                    <a:gd name="connsiteX444" fmla="*/ 614916 w 2368274"/>
                    <a:gd name="connsiteY444" fmla="*/ 648615 h 2457568"/>
                    <a:gd name="connsiteX445" fmla="*/ 613631 w 2368274"/>
                    <a:gd name="connsiteY445" fmla="*/ 652552 h 2457568"/>
                    <a:gd name="connsiteX446" fmla="*/ 615639 w 2368274"/>
                    <a:gd name="connsiteY446" fmla="*/ 653355 h 2457568"/>
                    <a:gd name="connsiteX447" fmla="*/ 607606 w 2368274"/>
                    <a:gd name="connsiteY447" fmla="*/ 669742 h 2457568"/>
                    <a:gd name="connsiteX448" fmla="*/ 602626 w 2368274"/>
                    <a:gd name="connsiteY448" fmla="*/ 665806 h 2457568"/>
                    <a:gd name="connsiteX449" fmla="*/ 600778 w 2368274"/>
                    <a:gd name="connsiteY449" fmla="*/ 664279 h 2457568"/>
                    <a:gd name="connsiteX450" fmla="*/ 602867 w 2368274"/>
                    <a:gd name="connsiteY450" fmla="*/ 658014 h 2457568"/>
                    <a:gd name="connsiteX451" fmla="*/ 597244 w 2368274"/>
                    <a:gd name="connsiteY451" fmla="*/ 664761 h 2457568"/>
                    <a:gd name="connsiteX452" fmla="*/ 601501 w 2368274"/>
                    <a:gd name="connsiteY452" fmla="*/ 639538 h 2457568"/>
                    <a:gd name="connsiteX453" fmla="*/ 592585 w 2368274"/>
                    <a:gd name="connsiteY453" fmla="*/ 642912 h 2457568"/>
                    <a:gd name="connsiteX454" fmla="*/ 592344 w 2368274"/>
                    <a:gd name="connsiteY454" fmla="*/ 637851 h 2457568"/>
                    <a:gd name="connsiteX455" fmla="*/ 580134 w 2368274"/>
                    <a:gd name="connsiteY455" fmla="*/ 626686 h 2457568"/>
                    <a:gd name="connsiteX456" fmla="*/ 579652 w 2368274"/>
                    <a:gd name="connsiteY456" fmla="*/ 628373 h 2457568"/>
                    <a:gd name="connsiteX457" fmla="*/ 576278 w 2368274"/>
                    <a:gd name="connsiteY457" fmla="*/ 627730 h 2457568"/>
                    <a:gd name="connsiteX458" fmla="*/ 574591 w 2368274"/>
                    <a:gd name="connsiteY458" fmla="*/ 633675 h 2457568"/>
                    <a:gd name="connsiteX459" fmla="*/ 569932 w 2368274"/>
                    <a:gd name="connsiteY459" fmla="*/ 630301 h 2457568"/>
                    <a:gd name="connsiteX460" fmla="*/ 569852 w 2368274"/>
                    <a:gd name="connsiteY460" fmla="*/ 641707 h 2457568"/>
                    <a:gd name="connsiteX461" fmla="*/ 556517 w 2368274"/>
                    <a:gd name="connsiteY461" fmla="*/ 635763 h 2457568"/>
                    <a:gd name="connsiteX462" fmla="*/ 568968 w 2368274"/>
                    <a:gd name="connsiteY462" fmla="*/ 655524 h 2457568"/>
                    <a:gd name="connsiteX463" fmla="*/ 565675 w 2368274"/>
                    <a:gd name="connsiteY463" fmla="*/ 657612 h 2457568"/>
                    <a:gd name="connsiteX464" fmla="*/ 569450 w 2368274"/>
                    <a:gd name="connsiteY464" fmla="*/ 669581 h 2457568"/>
                    <a:gd name="connsiteX465" fmla="*/ 571217 w 2368274"/>
                    <a:gd name="connsiteY465" fmla="*/ 666368 h 2457568"/>
                    <a:gd name="connsiteX466" fmla="*/ 584311 w 2368274"/>
                    <a:gd name="connsiteY466" fmla="*/ 674401 h 2457568"/>
                    <a:gd name="connsiteX467" fmla="*/ 584311 w 2368274"/>
                    <a:gd name="connsiteY467" fmla="*/ 676489 h 2457568"/>
                    <a:gd name="connsiteX468" fmla="*/ 580937 w 2368274"/>
                    <a:gd name="connsiteY468" fmla="*/ 678738 h 2457568"/>
                    <a:gd name="connsiteX469" fmla="*/ 585516 w 2368274"/>
                    <a:gd name="connsiteY469" fmla="*/ 680666 h 2457568"/>
                    <a:gd name="connsiteX470" fmla="*/ 578768 w 2368274"/>
                    <a:gd name="connsiteY470" fmla="*/ 683237 h 2457568"/>
                    <a:gd name="connsiteX471" fmla="*/ 585917 w 2368274"/>
                    <a:gd name="connsiteY471" fmla="*/ 692876 h 2457568"/>
                    <a:gd name="connsiteX472" fmla="*/ 589452 w 2368274"/>
                    <a:gd name="connsiteY472" fmla="*/ 698017 h 2457568"/>
                    <a:gd name="connsiteX473" fmla="*/ 587363 w 2368274"/>
                    <a:gd name="connsiteY473" fmla="*/ 698499 h 2457568"/>
                    <a:gd name="connsiteX474" fmla="*/ 585034 w 2368274"/>
                    <a:gd name="connsiteY474" fmla="*/ 706853 h 2457568"/>
                    <a:gd name="connsiteX475" fmla="*/ 583106 w 2368274"/>
                    <a:gd name="connsiteY475" fmla="*/ 706371 h 2457568"/>
                    <a:gd name="connsiteX476" fmla="*/ 580054 w 2368274"/>
                    <a:gd name="connsiteY476" fmla="*/ 696330 h 2457568"/>
                    <a:gd name="connsiteX477" fmla="*/ 575635 w 2368274"/>
                    <a:gd name="connsiteY477" fmla="*/ 714886 h 2457568"/>
                    <a:gd name="connsiteX478" fmla="*/ 562542 w 2368274"/>
                    <a:gd name="connsiteY478" fmla="*/ 710709 h 2457568"/>
                    <a:gd name="connsiteX479" fmla="*/ 561578 w 2368274"/>
                    <a:gd name="connsiteY479" fmla="*/ 712476 h 2457568"/>
                    <a:gd name="connsiteX480" fmla="*/ 559650 w 2368274"/>
                    <a:gd name="connsiteY480" fmla="*/ 711593 h 2457568"/>
                    <a:gd name="connsiteX481" fmla="*/ 558606 w 2368274"/>
                    <a:gd name="connsiteY481" fmla="*/ 707737 h 2457568"/>
                    <a:gd name="connsiteX482" fmla="*/ 546476 w 2368274"/>
                    <a:gd name="connsiteY482" fmla="*/ 695125 h 2457568"/>
                    <a:gd name="connsiteX483" fmla="*/ 546396 w 2368274"/>
                    <a:gd name="connsiteY483" fmla="*/ 702355 h 2457568"/>
                    <a:gd name="connsiteX484" fmla="*/ 543424 w 2368274"/>
                    <a:gd name="connsiteY484" fmla="*/ 696652 h 2457568"/>
                    <a:gd name="connsiteX485" fmla="*/ 560213 w 2368274"/>
                    <a:gd name="connsiteY485" fmla="*/ 730871 h 2457568"/>
                    <a:gd name="connsiteX486" fmla="*/ 557240 w 2368274"/>
                    <a:gd name="connsiteY486" fmla="*/ 735932 h 2457568"/>
                    <a:gd name="connsiteX487" fmla="*/ 496512 w 2368274"/>
                    <a:gd name="connsiteY487" fmla="*/ 700266 h 2457568"/>
                    <a:gd name="connsiteX488" fmla="*/ 503501 w 2368274"/>
                    <a:gd name="connsiteY488" fmla="*/ 695125 h 2457568"/>
                    <a:gd name="connsiteX489" fmla="*/ 496994 w 2368274"/>
                    <a:gd name="connsiteY489" fmla="*/ 687093 h 2457568"/>
                    <a:gd name="connsiteX490" fmla="*/ 490327 w 2368274"/>
                    <a:gd name="connsiteY490" fmla="*/ 669581 h 2457568"/>
                    <a:gd name="connsiteX491" fmla="*/ 473940 w 2368274"/>
                    <a:gd name="connsiteY491" fmla="*/ 662512 h 2457568"/>
                    <a:gd name="connsiteX492" fmla="*/ 443817 w 2368274"/>
                    <a:gd name="connsiteY492" fmla="*/ 659942 h 2457568"/>
                    <a:gd name="connsiteX493" fmla="*/ 468558 w 2368274"/>
                    <a:gd name="connsiteY493" fmla="*/ 660584 h 2457568"/>
                    <a:gd name="connsiteX494" fmla="*/ 495629 w 2368274"/>
                    <a:gd name="connsiteY494" fmla="*/ 647973 h 2457568"/>
                    <a:gd name="connsiteX495" fmla="*/ 530170 w 2368274"/>
                    <a:gd name="connsiteY495" fmla="*/ 576722 h 2457568"/>
                    <a:gd name="connsiteX496" fmla="*/ 523503 w 2368274"/>
                    <a:gd name="connsiteY496" fmla="*/ 558246 h 2457568"/>
                    <a:gd name="connsiteX497" fmla="*/ 507598 w 2368274"/>
                    <a:gd name="connsiteY497" fmla="*/ 509327 h 2457568"/>
                    <a:gd name="connsiteX498" fmla="*/ 476671 w 2368274"/>
                    <a:gd name="connsiteY498" fmla="*/ 518805 h 2457568"/>
                    <a:gd name="connsiteX499" fmla="*/ 476993 w 2368274"/>
                    <a:gd name="connsiteY499" fmla="*/ 529810 h 2457568"/>
                    <a:gd name="connsiteX500" fmla="*/ 444701 w 2368274"/>
                    <a:gd name="connsiteY500" fmla="*/ 499687 h 2457568"/>
                    <a:gd name="connsiteX501" fmla="*/ 436989 w 2368274"/>
                    <a:gd name="connsiteY501" fmla="*/ 502017 h 2457568"/>
                    <a:gd name="connsiteX502" fmla="*/ 434499 w 2368274"/>
                    <a:gd name="connsiteY502" fmla="*/ 477115 h 2457568"/>
                    <a:gd name="connsiteX503" fmla="*/ 443175 w 2368274"/>
                    <a:gd name="connsiteY503" fmla="*/ 482417 h 2457568"/>
                    <a:gd name="connsiteX504" fmla="*/ 448958 w 2368274"/>
                    <a:gd name="connsiteY504" fmla="*/ 483381 h 2457568"/>
                    <a:gd name="connsiteX505" fmla="*/ 514667 w 2368274"/>
                    <a:gd name="connsiteY505" fmla="*/ 407390 h 2457568"/>
                    <a:gd name="connsiteX506" fmla="*/ 525671 w 2368274"/>
                    <a:gd name="connsiteY506" fmla="*/ 408113 h 2457568"/>
                    <a:gd name="connsiteX507" fmla="*/ 453698 w 2368274"/>
                    <a:gd name="connsiteY507" fmla="*/ 485309 h 2457568"/>
                    <a:gd name="connsiteX508" fmla="*/ 466791 w 2368274"/>
                    <a:gd name="connsiteY508" fmla="*/ 483863 h 2457568"/>
                    <a:gd name="connsiteX509" fmla="*/ 491934 w 2368274"/>
                    <a:gd name="connsiteY509" fmla="*/ 460568 h 2457568"/>
                    <a:gd name="connsiteX510" fmla="*/ 496432 w 2368274"/>
                    <a:gd name="connsiteY510" fmla="*/ 450527 h 2457568"/>
                    <a:gd name="connsiteX511" fmla="*/ 507598 w 2368274"/>
                    <a:gd name="connsiteY511" fmla="*/ 438879 h 2457568"/>
                    <a:gd name="connsiteX512" fmla="*/ 542219 w 2368274"/>
                    <a:gd name="connsiteY512" fmla="*/ 422733 h 2457568"/>
                    <a:gd name="connsiteX513" fmla="*/ 527599 w 2368274"/>
                    <a:gd name="connsiteY513" fmla="*/ 451410 h 2457568"/>
                    <a:gd name="connsiteX514" fmla="*/ 519085 w 2368274"/>
                    <a:gd name="connsiteY514" fmla="*/ 464905 h 2457568"/>
                    <a:gd name="connsiteX515" fmla="*/ 528804 w 2368274"/>
                    <a:gd name="connsiteY515" fmla="*/ 464022 h 2457568"/>
                    <a:gd name="connsiteX516" fmla="*/ 536837 w 2368274"/>
                    <a:gd name="connsiteY516" fmla="*/ 458238 h 2457568"/>
                    <a:gd name="connsiteX517" fmla="*/ 533865 w 2368274"/>
                    <a:gd name="connsiteY517" fmla="*/ 474464 h 2457568"/>
                    <a:gd name="connsiteX518" fmla="*/ 541657 w 2368274"/>
                    <a:gd name="connsiteY518" fmla="*/ 460809 h 2457568"/>
                    <a:gd name="connsiteX519" fmla="*/ 548083 w 2368274"/>
                    <a:gd name="connsiteY519" fmla="*/ 467395 h 2457568"/>
                    <a:gd name="connsiteX520" fmla="*/ 563104 w 2368274"/>
                    <a:gd name="connsiteY520" fmla="*/ 455266 h 2457568"/>
                    <a:gd name="connsiteX521" fmla="*/ 553626 w 2368274"/>
                    <a:gd name="connsiteY521" fmla="*/ 482578 h 2457568"/>
                    <a:gd name="connsiteX522" fmla="*/ 571217 w 2368274"/>
                    <a:gd name="connsiteY522" fmla="*/ 475187 h 2457568"/>
                    <a:gd name="connsiteX523" fmla="*/ 559811 w 2368274"/>
                    <a:gd name="connsiteY523" fmla="*/ 483702 h 2457568"/>
                    <a:gd name="connsiteX524" fmla="*/ 562944 w 2368274"/>
                    <a:gd name="connsiteY524" fmla="*/ 485309 h 2457568"/>
                    <a:gd name="connsiteX525" fmla="*/ 553626 w 2368274"/>
                    <a:gd name="connsiteY525" fmla="*/ 497920 h 2457568"/>
                    <a:gd name="connsiteX526" fmla="*/ 570013 w 2368274"/>
                    <a:gd name="connsiteY526" fmla="*/ 484184 h 2457568"/>
                    <a:gd name="connsiteX527" fmla="*/ 563827 w 2368274"/>
                    <a:gd name="connsiteY527" fmla="*/ 493582 h 2457568"/>
                    <a:gd name="connsiteX528" fmla="*/ 571057 w 2368274"/>
                    <a:gd name="connsiteY528" fmla="*/ 489004 h 2457568"/>
                    <a:gd name="connsiteX529" fmla="*/ 571137 w 2368274"/>
                    <a:gd name="connsiteY529" fmla="*/ 498161 h 2457568"/>
                    <a:gd name="connsiteX530" fmla="*/ 579732 w 2368274"/>
                    <a:gd name="connsiteY530" fmla="*/ 487236 h 2457568"/>
                    <a:gd name="connsiteX531" fmla="*/ 569450 w 2368274"/>
                    <a:gd name="connsiteY531" fmla="*/ 511415 h 2457568"/>
                    <a:gd name="connsiteX532" fmla="*/ 588327 w 2368274"/>
                    <a:gd name="connsiteY532" fmla="*/ 508684 h 2457568"/>
                    <a:gd name="connsiteX533" fmla="*/ 570816 w 2368274"/>
                    <a:gd name="connsiteY533" fmla="*/ 523224 h 2457568"/>
                    <a:gd name="connsiteX534" fmla="*/ 575876 w 2368274"/>
                    <a:gd name="connsiteY534" fmla="*/ 521215 h 2457568"/>
                    <a:gd name="connsiteX535" fmla="*/ 577081 w 2368274"/>
                    <a:gd name="connsiteY535" fmla="*/ 522742 h 2457568"/>
                    <a:gd name="connsiteX536" fmla="*/ 571217 w 2368274"/>
                    <a:gd name="connsiteY536" fmla="*/ 532060 h 2457568"/>
                    <a:gd name="connsiteX537" fmla="*/ 606562 w 2368274"/>
                    <a:gd name="connsiteY537" fmla="*/ 521697 h 2457568"/>
                    <a:gd name="connsiteX538" fmla="*/ 606562 w 2368274"/>
                    <a:gd name="connsiteY538" fmla="*/ 523705 h 2457568"/>
                    <a:gd name="connsiteX539" fmla="*/ 590577 w 2368274"/>
                    <a:gd name="connsiteY539" fmla="*/ 531658 h 2457568"/>
                    <a:gd name="connsiteX540" fmla="*/ 594593 w 2368274"/>
                    <a:gd name="connsiteY540" fmla="*/ 535674 h 2457568"/>
                    <a:gd name="connsiteX541" fmla="*/ 593388 w 2368274"/>
                    <a:gd name="connsiteY541" fmla="*/ 538325 h 2457568"/>
                    <a:gd name="connsiteX542" fmla="*/ 608329 w 2368274"/>
                    <a:gd name="connsiteY542" fmla="*/ 537522 h 2457568"/>
                    <a:gd name="connsiteX543" fmla="*/ 608168 w 2368274"/>
                    <a:gd name="connsiteY543" fmla="*/ 539450 h 2457568"/>
                    <a:gd name="connsiteX544" fmla="*/ 585436 w 2368274"/>
                    <a:gd name="connsiteY544" fmla="*/ 550776 h 2457568"/>
                    <a:gd name="connsiteX545" fmla="*/ 605839 w 2368274"/>
                    <a:gd name="connsiteY545" fmla="*/ 557122 h 2457568"/>
                    <a:gd name="connsiteX546" fmla="*/ 591139 w 2368274"/>
                    <a:gd name="connsiteY546" fmla="*/ 561379 h 2457568"/>
                    <a:gd name="connsiteX547" fmla="*/ 591460 w 2368274"/>
                    <a:gd name="connsiteY547" fmla="*/ 571179 h 2457568"/>
                    <a:gd name="connsiteX548" fmla="*/ 579893 w 2368274"/>
                    <a:gd name="connsiteY548" fmla="*/ 570215 h 2457568"/>
                    <a:gd name="connsiteX549" fmla="*/ 580134 w 2368274"/>
                    <a:gd name="connsiteY549" fmla="*/ 572063 h 2457568"/>
                    <a:gd name="connsiteX550" fmla="*/ 600617 w 2368274"/>
                    <a:gd name="connsiteY550" fmla="*/ 580819 h 2457568"/>
                    <a:gd name="connsiteX551" fmla="*/ 594754 w 2368274"/>
                    <a:gd name="connsiteY551" fmla="*/ 590619 h 2457568"/>
                    <a:gd name="connsiteX552" fmla="*/ 603188 w 2368274"/>
                    <a:gd name="connsiteY552" fmla="*/ 585638 h 2457568"/>
                    <a:gd name="connsiteX553" fmla="*/ 597886 w 2368274"/>
                    <a:gd name="connsiteY553" fmla="*/ 595117 h 2457568"/>
                    <a:gd name="connsiteX554" fmla="*/ 599573 w 2368274"/>
                    <a:gd name="connsiteY554" fmla="*/ 595438 h 2457568"/>
                    <a:gd name="connsiteX555" fmla="*/ 605357 w 2368274"/>
                    <a:gd name="connsiteY555" fmla="*/ 591020 h 2457568"/>
                    <a:gd name="connsiteX556" fmla="*/ 604554 w 2368274"/>
                    <a:gd name="connsiteY556" fmla="*/ 594474 h 2457568"/>
                    <a:gd name="connsiteX557" fmla="*/ 608490 w 2368274"/>
                    <a:gd name="connsiteY557" fmla="*/ 594314 h 2457568"/>
                    <a:gd name="connsiteX558" fmla="*/ 607767 w 2368274"/>
                    <a:gd name="connsiteY558" fmla="*/ 601463 h 2457568"/>
                    <a:gd name="connsiteX559" fmla="*/ 621342 w 2368274"/>
                    <a:gd name="connsiteY559" fmla="*/ 603391 h 2457568"/>
                    <a:gd name="connsiteX560" fmla="*/ 623109 w 2368274"/>
                    <a:gd name="connsiteY560" fmla="*/ 602668 h 2457568"/>
                    <a:gd name="connsiteX561" fmla="*/ 624395 w 2368274"/>
                    <a:gd name="connsiteY561" fmla="*/ 604997 h 2457568"/>
                    <a:gd name="connsiteX562" fmla="*/ 620459 w 2368274"/>
                    <a:gd name="connsiteY562" fmla="*/ 609496 h 2457568"/>
                    <a:gd name="connsiteX563" fmla="*/ 612827 w 2368274"/>
                    <a:gd name="connsiteY563" fmla="*/ 610058 h 2457568"/>
                    <a:gd name="connsiteX564" fmla="*/ 622065 w 2368274"/>
                    <a:gd name="connsiteY564" fmla="*/ 612629 h 2457568"/>
                    <a:gd name="connsiteX565" fmla="*/ 630018 w 2368274"/>
                    <a:gd name="connsiteY565" fmla="*/ 612388 h 2457568"/>
                    <a:gd name="connsiteX566" fmla="*/ 620137 w 2368274"/>
                    <a:gd name="connsiteY566" fmla="*/ 623794 h 2457568"/>
                    <a:gd name="connsiteX567" fmla="*/ 643432 w 2368274"/>
                    <a:gd name="connsiteY567" fmla="*/ 623152 h 2457568"/>
                    <a:gd name="connsiteX568" fmla="*/ 643513 w 2368274"/>
                    <a:gd name="connsiteY568" fmla="*/ 625240 h 2457568"/>
                    <a:gd name="connsiteX569" fmla="*/ 474503 w 2368274"/>
                    <a:gd name="connsiteY569" fmla="*/ 411005 h 2457568"/>
                    <a:gd name="connsiteX570" fmla="*/ 471450 w 2368274"/>
                    <a:gd name="connsiteY570" fmla="*/ 412050 h 2457568"/>
                    <a:gd name="connsiteX571" fmla="*/ 469763 w 2368274"/>
                    <a:gd name="connsiteY571" fmla="*/ 413897 h 2457568"/>
                    <a:gd name="connsiteX572" fmla="*/ 458919 w 2368274"/>
                    <a:gd name="connsiteY572" fmla="*/ 422251 h 2457568"/>
                    <a:gd name="connsiteX573" fmla="*/ 449039 w 2368274"/>
                    <a:gd name="connsiteY573" fmla="*/ 423215 h 2457568"/>
                    <a:gd name="connsiteX574" fmla="*/ 444540 w 2368274"/>
                    <a:gd name="connsiteY574" fmla="*/ 419681 h 2457568"/>
                    <a:gd name="connsiteX575" fmla="*/ 456830 w 2368274"/>
                    <a:gd name="connsiteY575" fmla="*/ 402812 h 2457568"/>
                    <a:gd name="connsiteX576" fmla="*/ 466871 w 2368274"/>
                    <a:gd name="connsiteY576" fmla="*/ 391968 h 2457568"/>
                    <a:gd name="connsiteX577" fmla="*/ 476511 w 2368274"/>
                    <a:gd name="connsiteY577" fmla="*/ 391968 h 2457568"/>
                    <a:gd name="connsiteX578" fmla="*/ 474985 w 2368274"/>
                    <a:gd name="connsiteY578" fmla="*/ 410764 h 2457568"/>
                    <a:gd name="connsiteX579" fmla="*/ 474503 w 2368274"/>
                    <a:gd name="connsiteY579" fmla="*/ 411005 h 2457568"/>
                    <a:gd name="connsiteX580" fmla="*/ 460044 w 2368274"/>
                    <a:gd name="connsiteY580" fmla="*/ 374135 h 2457568"/>
                    <a:gd name="connsiteX581" fmla="*/ 451288 w 2368274"/>
                    <a:gd name="connsiteY581" fmla="*/ 377910 h 2457568"/>
                    <a:gd name="connsiteX582" fmla="*/ 462453 w 2368274"/>
                    <a:gd name="connsiteY582" fmla="*/ 373090 h 2457568"/>
                    <a:gd name="connsiteX583" fmla="*/ 460044 w 2368274"/>
                    <a:gd name="connsiteY583" fmla="*/ 374135 h 2457568"/>
                    <a:gd name="connsiteX584" fmla="*/ 426788 w 2368274"/>
                    <a:gd name="connsiteY584" fmla="*/ 420805 h 2457568"/>
                    <a:gd name="connsiteX585" fmla="*/ 421325 w 2368274"/>
                    <a:gd name="connsiteY585" fmla="*/ 425223 h 2457568"/>
                    <a:gd name="connsiteX586" fmla="*/ 416988 w 2368274"/>
                    <a:gd name="connsiteY586" fmla="*/ 428919 h 2457568"/>
                    <a:gd name="connsiteX587" fmla="*/ 400761 w 2368274"/>
                    <a:gd name="connsiteY587" fmla="*/ 434140 h 2457568"/>
                    <a:gd name="connsiteX588" fmla="*/ 400761 w 2368274"/>
                    <a:gd name="connsiteY588" fmla="*/ 434140 h 2457568"/>
                    <a:gd name="connsiteX589" fmla="*/ 400761 w 2368274"/>
                    <a:gd name="connsiteY589" fmla="*/ 434140 h 2457568"/>
                    <a:gd name="connsiteX590" fmla="*/ 400761 w 2368274"/>
                    <a:gd name="connsiteY590" fmla="*/ 434140 h 2457568"/>
                    <a:gd name="connsiteX591" fmla="*/ 400761 w 2368274"/>
                    <a:gd name="connsiteY591" fmla="*/ 434140 h 2457568"/>
                    <a:gd name="connsiteX592" fmla="*/ 400761 w 2368274"/>
                    <a:gd name="connsiteY592" fmla="*/ 434140 h 2457568"/>
                    <a:gd name="connsiteX593" fmla="*/ 400761 w 2368274"/>
                    <a:gd name="connsiteY593" fmla="*/ 434140 h 2457568"/>
                    <a:gd name="connsiteX594" fmla="*/ 400761 w 2368274"/>
                    <a:gd name="connsiteY594" fmla="*/ 434140 h 2457568"/>
                    <a:gd name="connsiteX595" fmla="*/ 400761 w 2368274"/>
                    <a:gd name="connsiteY595" fmla="*/ 434140 h 2457568"/>
                    <a:gd name="connsiteX596" fmla="*/ 400761 w 2368274"/>
                    <a:gd name="connsiteY596" fmla="*/ 434140 h 2457568"/>
                    <a:gd name="connsiteX597" fmla="*/ 400761 w 2368274"/>
                    <a:gd name="connsiteY597" fmla="*/ 434140 h 2457568"/>
                    <a:gd name="connsiteX598" fmla="*/ 400761 w 2368274"/>
                    <a:gd name="connsiteY598" fmla="*/ 434140 h 2457568"/>
                    <a:gd name="connsiteX599" fmla="*/ 400761 w 2368274"/>
                    <a:gd name="connsiteY599" fmla="*/ 434140 h 2457568"/>
                    <a:gd name="connsiteX600" fmla="*/ 400761 w 2368274"/>
                    <a:gd name="connsiteY600" fmla="*/ 434140 h 2457568"/>
                    <a:gd name="connsiteX601" fmla="*/ 400761 w 2368274"/>
                    <a:gd name="connsiteY601" fmla="*/ 434140 h 2457568"/>
                    <a:gd name="connsiteX602" fmla="*/ 400761 w 2368274"/>
                    <a:gd name="connsiteY602" fmla="*/ 434140 h 2457568"/>
                    <a:gd name="connsiteX603" fmla="*/ 400761 w 2368274"/>
                    <a:gd name="connsiteY603" fmla="*/ 434140 h 2457568"/>
                    <a:gd name="connsiteX604" fmla="*/ 405742 w 2368274"/>
                    <a:gd name="connsiteY604" fmla="*/ 397912 h 2457568"/>
                    <a:gd name="connsiteX605" fmla="*/ 410080 w 2368274"/>
                    <a:gd name="connsiteY605" fmla="*/ 398072 h 2457568"/>
                    <a:gd name="connsiteX606" fmla="*/ 413132 w 2368274"/>
                    <a:gd name="connsiteY606" fmla="*/ 400402 h 2457568"/>
                    <a:gd name="connsiteX607" fmla="*/ 420763 w 2368274"/>
                    <a:gd name="connsiteY607" fmla="*/ 398474 h 2457568"/>
                    <a:gd name="connsiteX608" fmla="*/ 429519 w 2368274"/>
                    <a:gd name="connsiteY608" fmla="*/ 393735 h 2457568"/>
                    <a:gd name="connsiteX609" fmla="*/ 431206 w 2368274"/>
                    <a:gd name="connsiteY609" fmla="*/ 388433 h 2457568"/>
                    <a:gd name="connsiteX610" fmla="*/ 430884 w 2368274"/>
                    <a:gd name="connsiteY610" fmla="*/ 382087 h 2457568"/>
                    <a:gd name="connsiteX611" fmla="*/ 433214 w 2368274"/>
                    <a:gd name="connsiteY611" fmla="*/ 385541 h 2457568"/>
                    <a:gd name="connsiteX612" fmla="*/ 452011 w 2368274"/>
                    <a:gd name="connsiteY612" fmla="*/ 381043 h 2457568"/>
                    <a:gd name="connsiteX613" fmla="*/ 443898 w 2368274"/>
                    <a:gd name="connsiteY613" fmla="*/ 393012 h 2457568"/>
                    <a:gd name="connsiteX614" fmla="*/ 426306 w 2368274"/>
                    <a:gd name="connsiteY614" fmla="*/ 416387 h 2457568"/>
                    <a:gd name="connsiteX615" fmla="*/ 430001 w 2368274"/>
                    <a:gd name="connsiteY615" fmla="*/ 416869 h 2457568"/>
                    <a:gd name="connsiteX616" fmla="*/ 426788 w 2368274"/>
                    <a:gd name="connsiteY616" fmla="*/ 420805 h 2457568"/>
                    <a:gd name="connsiteX617" fmla="*/ 338989 w 2368274"/>
                    <a:gd name="connsiteY617" fmla="*/ 481694 h 2457568"/>
                    <a:gd name="connsiteX618" fmla="*/ 337865 w 2368274"/>
                    <a:gd name="connsiteY618" fmla="*/ 481774 h 2457568"/>
                    <a:gd name="connsiteX619" fmla="*/ 337302 w 2368274"/>
                    <a:gd name="connsiteY619" fmla="*/ 480569 h 2457568"/>
                    <a:gd name="connsiteX620" fmla="*/ 339552 w 2368274"/>
                    <a:gd name="connsiteY620" fmla="*/ 476633 h 2457568"/>
                    <a:gd name="connsiteX621" fmla="*/ 318425 w 2368274"/>
                    <a:gd name="connsiteY621" fmla="*/ 487397 h 2457568"/>
                    <a:gd name="connsiteX622" fmla="*/ 296737 w 2368274"/>
                    <a:gd name="connsiteY622" fmla="*/ 418717 h 2457568"/>
                    <a:gd name="connsiteX623" fmla="*/ 313204 w 2368274"/>
                    <a:gd name="connsiteY623" fmla="*/ 433015 h 2457568"/>
                    <a:gd name="connsiteX624" fmla="*/ 330956 w 2368274"/>
                    <a:gd name="connsiteY624" fmla="*/ 393012 h 2457568"/>
                    <a:gd name="connsiteX625" fmla="*/ 335455 w 2368274"/>
                    <a:gd name="connsiteY625" fmla="*/ 380882 h 2457568"/>
                    <a:gd name="connsiteX626" fmla="*/ 335535 w 2368274"/>
                    <a:gd name="connsiteY626" fmla="*/ 380159 h 2457568"/>
                    <a:gd name="connsiteX627" fmla="*/ 335535 w 2368274"/>
                    <a:gd name="connsiteY627" fmla="*/ 380159 h 2457568"/>
                    <a:gd name="connsiteX628" fmla="*/ 335535 w 2368274"/>
                    <a:gd name="connsiteY628" fmla="*/ 380159 h 2457568"/>
                    <a:gd name="connsiteX629" fmla="*/ 335535 w 2368274"/>
                    <a:gd name="connsiteY629" fmla="*/ 380159 h 2457568"/>
                    <a:gd name="connsiteX630" fmla="*/ 335535 w 2368274"/>
                    <a:gd name="connsiteY630" fmla="*/ 380159 h 2457568"/>
                    <a:gd name="connsiteX631" fmla="*/ 335535 w 2368274"/>
                    <a:gd name="connsiteY631" fmla="*/ 380159 h 2457568"/>
                    <a:gd name="connsiteX632" fmla="*/ 335535 w 2368274"/>
                    <a:gd name="connsiteY632" fmla="*/ 380159 h 2457568"/>
                    <a:gd name="connsiteX633" fmla="*/ 335535 w 2368274"/>
                    <a:gd name="connsiteY633" fmla="*/ 380159 h 2457568"/>
                    <a:gd name="connsiteX634" fmla="*/ 357706 w 2368274"/>
                    <a:gd name="connsiteY634" fmla="*/ 360077 h 2457568"/>
                    <a:gd name="connsiteX635" fmla="*/ 331760 w 2368274"/>
                    <a:gd name="connsiteY635" fmla="*/ 362086 h 2457568"/>
                    <a:gd name="connsiteX636" fmla="*/ 341640 w 2368274"/>
                    <a:gd name="connsiteY636" fmla="*/ 343128 h 2457568"/>
                    <a:gd name="connsiteX637" fmla="*/ 412489 w 2368274"/>
                    <a:gd name="connsiteY637" fmla="*/ 293485 h 2457568"/>
                    <a:gd name="connsiteX638" fmla="*/ 417791 w 2368274"/>
                    <a:gd name="connsiteY638" fmla="*/ 294289 h 2457568"/>
                    <a:gd name="connsiteX639" fmla="*/ 415542 w 2368274"/>
                    <a:gd name="connsiteY639" fmla="*/ 302563 h 2457568"/>
                    <a:gd name="connsiteX640" fmla="*/ 410722 w 2368274"/>
                    <a:gd name="connsiteY640" fmla="*/ 312122 h 2457568"/>
                    <a:gd name="connsiteX641" fmla="*/ 406465 w 2368274"/>
                    <a:gd name="connsiteY641" fmla="*/ 314692 h 2457568"/>
                    <a:gd name="connsiteX642" fmla="*/ 408875 w 2368274"/>
                    <a:gd name="connsiteY642" fmla="*/ 313808 h 2457568"/>
                    <a:gd name="connsiteX643" fmla="*/ 408955 w 2368274"/>
                    <a:gd name="connsiteY643" fmla="*/ 314853 h 2457568"/>
                    <a:gd name="connsiteX644" fmla="*/ 369112 w 2368274"/>
                    <a:gd name="connsiteY644" fmla="*/ 353490 h 2457568"/>
                    <a:gd name="connsiteX645" fmla="*/ 389435 w 2368274"/>
                    <a:gd name="connsiteY645" fmla="*/ 348430 h 2457568"/>
                    <a:gd name="connsiteX646" fmla="*/ 368630 w 2368274"/>
                    <a:gd name="connsiteY646" fmla="*/ 367548 h 2457568"/>
                    <a:gd name="connsiteX647" fmla="*/ 376181 w 2368274"/>
                    <a:gd name="connsiteY647" fmla="*/ 366102 h 2457568"/>
                    <a:gd name="connsiteX648" fmla="*/ 376984 w 2368274"/>
                    <a:gd name="connsiteY648" fmla="*/ 367307 h 2457568"/>
                    <a:gd name="connsiteX649" fmla="*/ 364052 w 2368274"/>
                    <a:gd name="connsiteY649" fmla="*/ 384417 h 2457568"/>
                    <a:gd name="connsiteX650" fmla="*/ 369514 w 2368274"/>
                    <a:gd name="connsiteY650" fmla="*/ 381686 h 2457568"/>
                    <a:gd name="connsiteX651" fmla="*/ 386704 w 2368274"/>
                    <a:gd name="connsiteY651" fmla="*/ 369636 h 2457568"/>
                    <a:gd name="connsiteX652" fmla="*/ 365738 w 2368274"/>
                    <a:gd name="connsiteY652" fmla="*/ 407310 h 2457568"/>
                    <a:gd name="connsiteX653" fmla="*/ 403734 w 2368274"/>
                    <a:gd name="connsiteY653" fmla="*/ 368351 h 2457568"/>
                    <a:gd name="connsiteX654" fmla="*/ 339230 w 2368274"/>
                    <a:gd name="connsiteY654" fmla="*/ 481694 h 2457568"/>
                    <a:gd name="connsiteX655" fmla="*/ 338989 w 2368274"/>
                    <a:gd name="connsiteY655" fmla="*/ 481694 h 2457568"/>
                    <a:gd name="connsiteX656" fmla="*/ 488721 w 2368274"/>
                    <a:gd name="connsiteY656" fmla="*/ 365620 h 2457568"/>
                    <a:gd name="connsiteX657" fmla="*/ 486070 w 2368274"/>
                    <a:gd name="connsiteY657" fmla="*/ 365299 h 2457568"/>
                    <a:gd name="connsiteX658" fmla="*/ 488721 w 2368274"/>
                    <a:gd name="connsiteY658" fmla="*/ 365620 h 2457568"/>
                    <a:gd name="connsiteX659" fmla="*/ 488721 w 2368274"/>
                    <a:gd name="connsiteY659" fmla="*/ 365620 h 2457568"/>
                    <a:gd name="connsiteX660" fmla="*/ 479804 w 2368274"/>
                    <a:gd name="connsiteY660" fmla="*/ 361523 h 2457568"/>
                    <a:gd name="connsiteX661" fmla="*/ 478278 w 2368274"/>
                    <a:gd name="connsiteY661" fmla="*/ 362568 h 2457568"/>
                    <a:gd name="connsiteX662" fmla="*/ 475065 w 2368274"/>
                    <a:gd name="connsiteY662" fmla="*/ 363692 h 2457568"/>
                    <a:gd name="connsiteX663" fmla="*/ 481089 w 2368274"/>
                    <a:gd name="connsiteY663" fmla="*/ 359595 h 2457568"/>
                    <a:gd name="connsiteX664" fmla="*/ 479804 w 2368274"/>
                    <a:gd name="connsiteY664" fmla="*/ 361523 h 2457568"/>
                    <a:gd name="connsiteX665" fmla="*/ 474663 w 2368274"/>
                    <a:gd name="connsiteY665" fmla="*/ 329231 h 2457568"/>
                    <a:gd name="connsiteX666" fmla="*/ 477234 w 2368274"/>
                    <a:gd name="connsiteY666" fmla="*/ 323287 h 2457568"/>
                    <a:gd name="connsiteX667" fmla="*/ 474663 w 2368274"/>
                    <a:gd name="connsiteY667" fmla="*/ 329231 h 2457568"/>
                    <a:gd name="connsiteX668" fmla="*/ 474663 w 2368274"/>
                    <a:gd name="connsiteY668" fmla="*/ 329231 h 2457568"/>
                    <a:gd name="connsiteX669" fmla="*/ 506794 w 2368274"/>
                    <a:gd name="connsiteY669" fmla="*/ 360559 h 2457568"/>
                    <a:gd name="connsiteX670" fmla="*/ 502135 w 2368274"/>
                    <a:gd name="connsiteY670" fmla="*/ 358310 h 2457568"/>
                    <a:gd name="connsiteX671" fmla="*/ 496512 w 2368274"/>
                    <a:gd name="connsiteY671" fmla="*/ 352848 h 2457568"/>
                    <a:gd name="connsiteX672" fmla="*/ 495147 w 2368274"/>
                    <a:gd name="connsiteY672" fmla="*/ 353571 h 2457568"/>
                    <a:gd name="connsiteX673" fmla="*/ 524065 w 2368274"/>
                    <a:gd name="connsiteY673" fmla="*/ 339031 h 2457568"/>
                    <a:gd name="connsiteX674" fmla="*/ 506794 w 2368274"/>
                    <a:gd name="connsiteY674" fmla="*/ 360559 h 2457568"/>
                    <a:gd name="connsiteX675" fmla="*/ 515871 w 2368274"/>
                    <a:gd name="connsiteY675" fmla="*/ 335979 h 2457568"/>
                    <a:gd name="connsiteX676" fmla="*/ 513863 w 2368274"/>
                    <a:gd name="connsiteY676" fmla="*/ 336059 h 2457568"/>
                    <a:gd name="connsiteX677" fmla="*/ 513863 w 2368274"/>
                    <a:gd name="connsiteY677" fmla="*/ 336059 h 2457568"/>
                    <a:gd name="connsiteX678" fmla="*/ 513863 w 2368274"/>
                    <a:gd name="connsiteY678" fmla="*/ 336059 h 2457568"/>
                    <a:gd name="connsiteX679" fmla="*/ 513863 w 2368274"/>
                    <a:gd name="connsiteY679" fmla="*/ 336059 h 2457568"/>
                    <a:gd name="connsiteX680" fmla="*/ 513863 w 2368274"/>
                    <a:gd name="connsiteY680" fmla="*/ 336059 h 2457568"/>
                    <a:gd name="connsiteX681" fmla="*/ 513863 w 2368274"/>
                    <a:gd name="connsiteY681" fmla="*/ 336059 h 2457568"/>
                    <a:gd name="connsiteX682" fmla="*/ 513863 w 2368274"/>
                    <a:gd name="connsiteY682" fmla="*/ 336059 h 2457568"/>
                    <a:gd name="connsiteX683" fmla="*/ 513863 w 2368274"/>
                    <a:gd name="connsiteY683" fmla="*/ 336059 h 2457568"/>
                    <a:gd name="connsiteX684" fmla="*/ 513863 w 2368274"/>
                    <a:gd name="connsiteY684" fmla="*/ 336059 h 2457568"/>
                    <a:gd name="connsiteX685" fmla="*/ 508481 w 2368274"/>
                    <a:gd name="connsiteY685" fmla="*/ 337585 h 2457568"/>
                    <a:gd name="connsiteX686" fmla="*/ 508401 w 2368274"/>
                    <a:gd name="connsiteY686" fmla="*/ 337505 h 2457568"/>
                    <a:gd name="connsiteX687" fmla="*/ 518603 w 2368274"/>
                    <a:gd name="connsiteY687" fmla="*/ 331641 h 2457568"/>
                    <a:gd name="connsiteX688" fmla="*/ 515871 w 2368274"/>
                    <a:gd name="connsiteY688" fmla="*/ 335979 h 2457568"/>
                    <a:gd name="connsiteX689" fmla="*/ 532981 w 2368274"/>
                    <a:gd name="connsiteY689" fmla="*/ 328509 h 2457568"/>
                    <a:gd name="connsiteX690" fmla="*/ 532981 w 2368274"/>
                    <a:gd name="connsiteY690" fmla="*/ 328509 h 2457568"/>
                    <a:gd name="connsiteX691" fmla="*/ 532981 w 2368274"/>
                    <a:gd name="connsiteY691" fmla="*/ 328509 h 2457568"/>
                    <a:gd name="connsiteX692" fmla="*/ 532017 w 2368274"/>
                    <a:gd name="connsiteY692" fmla="*/ 328348 h 2457568"/>
                    <a:gd name="connsiteX693" fmla="*/ 532098 w 2368274"/>
                    <a:gd name="connsiteY693" fmla="*/ 328348 h 2457568"/>
                    <a:gd name="connsiteX694" fmla="*/ 532981 w 2368274"/>
                    <a:gd name="connsiteY694" fmla="*/ 328509 h 2457568"/>
                    <a:gd name="connsiteX695" fmla="*/ 534026 w 2368274"/>
                    <a:gd name="connsiteY695" fmla="*/ 328669 h 2457568"/>
                    <a:gd name="connsiteX696" fmla="*/ 534026 w 2368274"/>
                    <a:gd name="connsiteY696" fmla="*/ 328669 h 2457568"/>
                    <a:gd name="connsiteX697" fmla="*/ 533062 w 2368274"/>
                    <a:gd name="connsiteY697" fmla="*/ 328509 h 2457568"/>
                    <a:gd name="connsiteX698" fmla="*/ 533142 w 2368274"/>
                    <a:gd name="connsiteY698" fmla="*/ 328509 h 2457568"/>
                    <a:gd name="connsiteX699" fmla="*/ 534026 w 2368274"/>
                    <a:gd name="connsiteY699" fmla="*/ 328669 h 2457568"/>
                    <a:gd name="connsiteX700" fmla="*/ 468880 w 2368274"/>
                    <a:gd name="connsiteY700" fmla="*/ 267379 h 2457568"/>
                    <a:gd name="connsiteX701" fmla="*/ 465024 w 2368274"/>
                    <a:gd name="connsiteY701" fmla="*/ 269307 h 2457568"/>
                    <a:gd name="connsiteX702" fmla="*/ 465265 w 2368274"/>
                    <a:gd name="connsiteY702" fmla="*/ 268745 h 2457568"/>
                    <a:gd name="connsiteX703" fmla="*/ 471691 w 2368274"/>
                    <a:gd name="connsiteY703" fmla="*/ 265531 h 2457568"/>
                    <a:gd name="connsiteX704" fmla="*/ 468880 w 2368274"/>
                    <a:gd name="connsiteY704" fmla="*/ 267379 h 2457568"/>
                    <a:gd name="connsiteX705" fmla="*/ 479644 w 2368274"/>
                    <a:gd name="connsiteY705" fmla="*/ 270833 h 2457568"/>
                    <a:gd name="connsiteX706" fmla="*/ 460766 w 2368274"/>
                    <a:gd name="connsiteY706" fmla="*/ 278866 h 2457568"/>
                    <a:gd name="connsiteX707" fmla="*/ 480848 w 2368274"/>
                    <a:gd name="connsiteY707" fmla="*/ 270351 h 2457568"/>
                    <a:gd name="connsiteX708" fmla="*/ 479644 w 2368274"/>
                    <a:gd name="connsiteY708" fmla="*/ 270833 h 2457568"/>
                    <a:gd name="connsiteX709" fmla="*/ 622949 w 2368274"/>
                    <a:gd name="connsiteY709" fmla="*/ 347707 h 2457568"/>
                    <a:gd name="connsiteX710" fmla="*/ 618370 w 2368274"/>
                    <a:gd name="connsiteY710" fmla="*/ 352527 h 2457568"/>
                    <a:gd name="connsiteX711" fmla="*/ 616281 w 2368274"/>
                    <a:gd name="connsiteY711" fmla="*/ 352446 h 2457568"/>
                    <a:gd name="connsiteX712" fmla="*/ 621342 w 2368274"/>
                    <a:gd name="connsiteY712" fmla="*/ 346341 h 2457568"/>
                    <a:gd name="connsiteX713" fmla="*/ 626242 w 2368274"/>
                    <a:gd name="connsiteY713" fmla="*/ 343449 h 2457568"/>
                    <a:gd name="connsiteX714" fmla="*/ 622949 w 2368274"/>
                    <a:gd name="connsiteY714" fmla="*/ 347707 h 2457568"/>
                    <a:gd name="connsiteX715" fmla="*/ 507517 w 2368274"/>
                    <a:gd name="connsiteY715" fmla="*/ 310836 h 2457568"/>
                    <a:gd name="connsiteX716" fmla="*/ 497075 w 2368274"/>
                    <a:gd name="connsiteY716" fmla="*/ 313728 h 2457568"/>
                    <a:gd name="connsiteX717" fmla="*/ 505188 w 2368274"/>
                    <a:gd name="connsiteY717" fmla="*/ 305695 h 2457568"/>
                    <a:gd name="connsiteX718" fmla="*/ 511453 w 2368274"/>
                    <a:gd name="connsiteY718" fmla="*/ 299510 h 2457568"/>
                    <a:gd name="connsiteX719" fmla="*/ 515389 w 2368274"/>
                    <a:gd name="connsiteY719" fmla="*/ 302884 h 2457568"/>
                    <a:gd name="connsiteX720" fmla="*/ 507517 w 2368274"/>
                    <a:gd name="connsiteY720" fmla="*/ 310836 h 2457568"/>
                    <a:gd name="connsiteX721" fmla="*/ 515229 w 2368274"/>
                    <a:gd name="connsiteY721" fmla="*/ 328107 h 2457568"/>
                    <a:gd name="connsiteX722" fmla="*/ 496191 w 2368274"/>
                    <a:gd name="connsiteY722" fmla="*/ 343449 h 2457568"/>
                    <a:gd name="connsiteX723" fmla="*/ 496593 w 2368274"/>
                    <a:gd name="connsiteY723" fmla="*/ 341602 h 2457568"/>
                    <a:gd name="connsiteX724" fmla="*/ 485748 w 2368274"/>
                    <a:gd name="connsiteY724" fmla="*/ 340718 h 2457568"/>
                    <a:gd name="connsiteX725" fmla="*/ 508883 w 2368274"/>
                    <a:gd name="connsiteY725" fmla="*/ 324572 h 2457568"/>
                    <a:gd name="connsiteX726" fmla="*/ 495468 w 2368274"/>
                    <a:gd name="connsiteY726" fmla="*/ 319431 h 2457568"/>
                    <a:gd name="connsiteX727" fmla="*/ 506071 w 2368274"/>
                    <a:gd name="connsiteY727" fmla="*/ 317905 h 2457568"/>
                    <a:gd name="connsiteX728" fmla="*/ 524627 w 2368274"/>
                    <a:gd name="connsiteY728" fmla="*/ 301277 h 2457568"/>
                    <a:gd name="connsiteX729" fmla="*/ 523583 w 2368274"/>
                    <a:gd name="connsiteY729" fmla="*/ 310595 h 2457568"/>
                    <a:gd name="connsiteX730" fmla="*/ 537640 w 2368274"/>
                    <a:gd name="connsiteY730" fmla="*/ 302322 h 2457568"/>
                    <a:gd name="connsiteX731" fmla="*/ 542781 w 2368274"/>
                    <a:gd name="connsiteY731" fmla="*/ 297582 h 2457568"/>
                    <a:gd name="connsiteX732" fmla="*/ 515229 w 2368274"/>
                    <a:gd name="connsiteY732" fmla="*/ 328107 h 2457568"/>
                    <a:gd name="connsiteX733" fmla="*/ 518442 w 2368274"/>
                    <a:gd name="connsiteY733" fmla="*/ 295253 h 2457568"/>
                    <a:gd name="connsiteX734" fmla="*/ 518442 w 2368274"/>
                    <a:gd name="connsiteY734" fmla="*/ 295253 h 2457568"/>
                    <a:gd name="connsiteX735" fmla="*/ 525832 w 2368274"/>
                    <a:gd name="connsiteY735" fmla="*/ 288505 h 2457568"/>
                    <a:gd name="connsiteX736" fmla="*/ 528242 w 2368274"/>
                    <a:gd name="connsiteY736" fmla="*/ 286979 h 2457568"/>
                    <a:gd name="connsiteX737" fmla="*/ 522378 w 2368274"/>
                    <a:gd name="connsiteY737" fmla="*/ 291959 h 2457568"/>
                    <a:gd name="connsiteX738" fmla="*/ 519406 w 2368274"/>
                    <a:gd name="connsiteY738" fmla="*/ 294449 h 2457568"/>
                    <a:gd name="connsiteX739" fmla="*/ 518442 w 2368274"/>
                    <a:gd name="connsiteY739" fmla="*/ 295253 h 2457568"/>
                    <a:gd name="connsiteX740" fmla="*/ 542380 w 2368274"/>
                    <a:gd name="connsiteY740" fmla="*/ 291879 h 2457568"/>
                    <a:gd name="connsiteX741" fmla="*/ 534267 w 2368274"/>
                    <a:gd name="connsiteY741" fmla="*/ 293566 h 2457568"/>
                    <a:gd name="connsiteX742" fmla="*/ 533865 w 2368274"/>
                    <a:gd name="connsiteY742" fmla="*/ 292762 h 2457568"/>
                    <a:gd name="connsiteX743" fmla="*/ 543183 w 2368274"/>
                    <a:gd name="connsiteY743" fmla="*/ 291558 h 2457568"/>
                    <a:gd name="connsiteX744" fmla="*/ 542380 w 2368274"/>
                    <a:gd name="connsiteY744" fmla="*/ 291879 h 2457568"/>
                    <a:gd name="connsiteX745" fmla="*/ 483098 w 2368274"/>
                    <a:gd name="connsiteY745" fmla="*/ 313326 h 2457568"/>
                    <a:gd name="connsiteX746" fmla="*/ 454581 w 2368274"/>
                    <a:gd name="connsiteY746" fmla="*/ 322404 h 2457568"/>
                    <a:gd name="connsiteX747" fmla="*/ 456911 w 2368274"/>
                    <a:gd name="connsiteY747" fmla="*/ 320154 h 2457568"/>
                    <a:gd name="connsiteX748" fmla="*/ 431286 w 2368274"/>
                    <a:gd name="connsiteY748" fmla="*/ 325617 h 2457568"/>
                    <a:gd name="connsiteX749" fmla="*/ 432009 w 2368274"/>
                    <a:gd name="connsiteY749" fmla="*/ 315897 h 2457568"/>
                    <a:gd name="connsiteX750" fmla="*/ 457714 w 2368274"/>
                    <a:gd name="connsiteY750" fmla="*/ 310194 h 2457568"/>
                    <a:gd name="connsiteX751" fmla="*/ 451047 w 2368274"/>
                    <a:gd name="connsiteY751" fmla="*/ 305615 h 2457568"/>
                    <a:gd name="connsiteX752" fmla="*/ 459963 w 2368274"/>
                    <a:gd name="connsiteY752" fmla="*/ 298868 h 2457568"/>
                    <a:gd name="connsiteX753" fmla="*/ 458276 w 2368274"/>
                    <a:gd name="connsiteY753" fmla="*/ 299028 h 2457568"/>
                    <a:gd name="connsiteX754" fmla="*/ 459803 w 2368274"/>
                    <a:gd name="connsiteY754" fmla="*/ 296939 h 2457568"/>
                    <a:gd name="connsiteX755" fmla="*/ 452412 w 2368274"/>
                    <a:gd name="connsiteY755" fmla="*/ 301759 h 2457568"/>
                    <a:gd name="connsiteX756" fmla="*/ 443978 w 2368274"/>
                    <a:gd name="connsiteY756" fmla="*/ 299028 h 2457568"/>
                    <a:gd name="connsiteX757" fmla="*/ 468317 w 2368274"/>
                    <a:gd name="connsiteY757" fmla="*/ 286898 h 2457568"/>
                    <a:gd name="connsiteX758" fmla="*/ 464462 w 2368274"/>
                    <a:gd name="connsiteY758" fmla="*/ 283284 h 2457568"/>
                    <a:gd name="connsiteX759" fmla="*/ 475868 w 2368274"/>
                    <a:gd name="connsiteY759" fmla="*/ 282240 h 2457568"/>
                    <a:gd name="connsiteX760" fmla="*/ 486953 w 2368274"/>
                    <a:gd name="connsiteY760" fmla="*/ 275412 h 2457568"/>
                    <a:gd name="connsiteX761" fmla="*/ 496753 w 2368274"/>
                    <a:gd name="connsiteY761" fmla="*/ 267138 h 2457568"/>
                    <a:gd name="connsiteX762" fmla="*/ 491934 w 2368274"/>
                    <a:gd name="connsiteY762" fmla="*/ 274207 h 2457568"/>
                    <a:gd name="connsiteX763" fmla="*/ 490488 w 2368274"/>
                    <a:gd name="connsiteY763" fmla="*/ 275974 h 2457568"/>
                    <a:gd name="connsiteX764" fmla="*/ 489042 w 2368274"/>
                    <a:gd name="connsiteY764" fmla="*/ 279589 h 2457568"/>
                    <a:gd name="connsiteX765" fmla="*/ 472655 w 2368274"/>
                    <a:gd name="connsiteY765" fmla="*/ 307543 h 2457568"/>
                    <a:gd name="connsiteX766" fmla="*/ 523744 w 2368274"/>
                    <a:gd name="connsiteY766" fmla="*/ 271395 h 2457568"/>
                    <a:gd name="connsiteX767" fmla="*/ 485588 w 2368274"/>
                    <a:gd name="connsiteY767" fmla="*/ 301840 h 2457568"/>
                    <a:gd name="connsiteX768" fmla="*/ 490006 w 2368274"/>
                    <a:gd name="connsiteY768" fmla="*/ 300795 h 2457568"/>
                    <a:gd name="connsiteX769" fmla="*/ 490327 w 2368274"/>
                    <a:gd name="connsiteY769" fmla="*/ 301197 h 2457568"/>
                    <a:gd name="connsiteX770" fmla="*/ 483740 w 2368274"/>
                    <a:gd name="connsiteY770" fmla="*/ 307944 h 2457568"/>
                    <a:gd name="connsiteX771" fmla="*/ 487596 w 2368274"/>
                    <a:gd name="connsiteY771" fmla="*/ 310354 h 2457568"/>
                    <a:gd name="connsiteX772" fmla="*/ 483098 w 2368274"/>
                    <a:gd name="connsiteY772" fmla="*/ 313326 h 2457568"/>
                    <a:gd name="connsiteX773" fmla="*/ 515068 w 2368274"/>
                    <a:gd name="connsiteY773" fmla="*/ 259185 h 2457568"/>
                    <a:gd name="connsiteX774" fmla="*/ 510811 w 2368274"/>
                    <a:gd name="connsiteY774" fmla="*/ 261033 h 2457568"/>
                    <a:gd name="connsiteX775" fmla="*/ 515389 w 2368274"/>
                    <a:gd name="connsiteY775" fmla="*/ 259025 h 2457568"/>
                    <a:gd name="connsiteX776" fmla="*/ 515068 w 2368274"/>
                    <a:gd name="connsiteY776" fmla="*/ 259185 h 2457568"/>
                    <a:gd name="connsiteX777" fmla="*/ 590336 w 2368274"/>
                    <a:gd name="connsiteY777" fmla="*/ 376545 h 2457568"/>
                    <a:gd name="connsiteX778" fmla="*/ 563586 w 2368274"/>
                    <a:gd name="connsiteY778" fmla="*/ 386907 h 2457568"/>
                    <a:gd name="connsiteX779" fmla="*/ 563908 w 2368274"/>
                    <a:gd name="connsiteY779" fmla="*/ 377187 h 2457568"/>
                    <a:gd name="connsiteX780" fmla="*/ 546396 w 2368274"/>
                    <a:gd name="connsiteY780" fmla="*/ 383774 h 2457568"/>
                    <a:gd name="connsiteX781" fmla="*/ 543103 w 2368274"/>
                    <a:gd name="connsiteY781" fmla="*/ 386104 h 2457568"/>
                    <a:gd name="connsiteX782" fmla="*/ 543585 w 2368274"/>
                    <a:gd name="connsiteY782" fmla="*/ 383372 h 2457568"/>
                    <a:gd name="connsiteX783" fmla="*/ 534668 w 2368274"/>
                    <a:gd name="connsiteY783" fmla="*/ 382569 h 2457568"/>
                    <a:gd name="connsiteX784" fmla="*/ 533222 w 2368274"/>
                    <a:gd name="connsiteY784" fmla="*/ 384738 h 2457568"/>
                    <a:gd name="connsiteX785" fmla="*/ 525912 w 2368274"/>
                    <a:gd name="connsiteY785" fmla="*/ 374777 h 2457568"/>
                    <a:gd name="connsiteX786" fmla="*/ 527599 w 2368274"/>
                    <a:gd name="connsiteY786" fmla="*/ 372448 h 2457568"/>
                    <a:gd name="connsiteX787" fmla="*/ 527358 w 2368274"/>
                    <a:gd name="connsiteY787" fmla="*/ 371966 h 2457568"/>
                    <a:gd name="connsiteX788" fmla="*/ 517317 w 2368274"/>
                    <a:gd name="connsiteY788" fmla="*/ 377428 h 2457568"/>
                    <a:gd name="connsiteX789" fmla="*/ 515550 w 2368274"/>
                    <a:gd name="connsiteY789" fmla="*/ 370440 h 2457568"/>
                    <a:gd name="connsiteX790" fmla="*/ 554027 w 2368274"/>
                    <a:gd name="connsiteY790" fmla="*/ 304812 h 2457568"/>
                    <a:gd name="connsiteX791" fmla="*/ 554027 w 2368274"/>
                    <a:gd name="connsiteY791" fmla="*/ 304812 h 2457568"/>
                    <a:gd name="connsiteX792" fmla="*/ 554027 w 2368274"/>
                    <a:gd name="connsiteY792" fmla="*/ 304812 h 2457568"/>
                    <a:gd name="connsiteX793" fmla="*/ 554027 w 2368274"/>
                    <a:gd name="connsiteY793" fmla="*/ 304812 h 2457568"/>
                    <a:gd name="connsiteX794" fmla="*/ 554027 w 2368274"/>
                    <a:gd name="connsiteY794" fmla="*/ 304812 h 2457568"/>
                    <a:gd name="connsiteX795" fmla="*/ 554027 w 2368274"/>
                    <a:gd name="connsiteY795" fmla="*/ 304812 h 2457568"/>
                    <a:gd name="connsiteX796" fmla="*/ 554027 w 2368274"/>
                    <a:gd name="connsiteY796" fmla="*/ 304812 h 2457568"/>
                    <a:gd name="connsiteX797" fmla="*/ 554027 w 2368274"/>
                    <a:gd name="connsiteY797" fmla="*/ 304812 h 2457568"/>
                    <a:gd name="connsiteX798" fmla="*/ 554027 w 2368274"/>
                    <a:gd name="connsiteY798" fmla="*/ 304812 h 2457568"/>
                    <a:gd name="connsiteX799" fmla="*/ 566478 w 2368274"/>
                    <a:gd name="connsiteY799" fmla="*/ 293084 h 2457568"/>
                    <a:gd name="connsiteX800" fmla="*/ 565193 w 2368274"/>
                    <a:gd name="connsiteY800" fmla="*/ 304651 h 2457568"/>
                    <a:gd name="connsiteX801" fmla="*/ 557963 w 2368274"/>
                    <a:gd name="connsiteY801" fmla="*/ 312844 h 2457568"/>
                    <a:gd name="connsiteX802" fmla="*/ 573467 w 2368274"/>
                    <a:gd name="connsiteY802" fmla="*/ 316299 h 2457568"/>
                    <a:gd name="connsiteX803" fmla="*/ 559650 w 2368274"/>
                    <a:gd name="connsiteY803" fmla="*/ 323608 h 2457568"/>
                    <a:gd name="connsiteX804" fmla="*/ 547280 w 2368274"/>
                    <a:gd name="connsiteY804" fmla="*/ 346903 h 2457568"/>
                    <a:gd name="connsiteX805" fmla="*/ 553385 w 2368274"/>
                    <a:gd name="connsiteY805" fmla="*/ 351000 h 2457568"/>
                    <a:gd name="connsiteX806" fmla="*/ 557883 w 2368274"/>
                    <a:gd name="connsiteY806" fmla="*/ 349795 h 2457568"/>
                    <a:gd name="connsiteX807" fmla="*/ 556196 w 2368274"/>
                    <a:gd name="connsiteY807" fmla="*/ 352928 h 2457568"/>
                    <a:gd name="connsiteX808" fmla="*/ 561739 w 2368274"/>
                    <a:gd name="connsiteY808" fmla="*/ 349233 h 2457568"/>
                    <a:gd name="connsiteX809" fmla="*/ 562622 w 2368274"/>
                    <a:gd name="connsiteY809" fmla="*/ 358230 h 2457568"/>
                    <a:gd name="connsiteX810" fmla="*/ 594432 w 2368274"/>
                    <a:gd name="connsiteY810" fmla="*/ 372127 h 2457568"/>
                    <a:gd name="connsiteX811" fmla="*/ 590336 w 2368274"/>
                    <a:gd name="connsiteY811" fmla="*/ 376545 h 2457568"/>
                    <a:gd name="connsiteX812" fmla="*/ 552421 w 2368274"/>
                    <a:gd name="connsiteY812" fmla="*/ 267861 h 2457568"/>
                    <a:gd name="connsiteX813" fmla="*/ 552421 w 2368274"/>
                    <a:gd name="connsiteY813" fmla="*/ 267861 h 2457568"/>
                    <a:gd name="connsiteX814" fmla="*/ 552421 w 2368274"/>
                    <a:gd name="connsiteY814" fmla="*/ 267861 h 2457568"/>
                    <a:gd name="connsiteX815" fmla="*/ 552421 w 2368274"/>
                    <a:gd name="connsiteY815" fmla="*/ 267861 h 2457568"/>
                    <a:gd name="connsiteX816" fmla="*/ 552421 w 2368274"/>
                    <a:gd name="connsiteY816" fmla="*/ 267861 h 2457568"/>
                    <a:gd name="connsiteX817" fmla="*/ 552421 w 2368274"/>
                    <a:gd name="connsiteY817" fmla="*/ 267861 h 2457568"/>
                    <a:gd name="connsiteX818" fmla="*/ 552421 w 2368274"/>
                    <a:gd name="connsiteY818" fmla="*/ 267861 h 2457568"/>
                    <a:gd name="connsiteX819" fmla="*/ 552421 w 2368274"/>
                    <a:gd name="connsiteY819" fmla="*/ 267861 h 2457568"/>
                    <a:gd name="connsiteX820" fmla="*/ 552421 w 2368274"/>
                    <a:gd name="connsiteY820" fmla="*/ 267861 h 2457568"/>
                    <a:gd name="connsiteX821" fmla="*/ 552421 w 2368274"/>
                    <a:gd name="connsiteY821" fmla="*/ 267861 h 2457568"/>
                    <a:gd name="connsiteX822" fmla="*/ 552421 w 2368274"/>
                    <a:gd name="connsiteY822" fmla="*/ 267861 h 2457568"/>
                    <a:gd name="connsiteX823" fmla="*/ 552421 w 2368274"/>
                    <a:gd name="connsiteY823" fmla="*/ 267861 h 2457568"/>
                    <a:gd name="connsiteX824" fmla="*/ 552421 w 2368274"/>
                    <a:gd name="connsiteY824" fmla="*/ 267861 h 2457568"/>
                    <a:gd name="connsiteX825" fmla="*/ 552421 w 2368274"/>
                    <a:gd name="connsiteY825" fmla="*/ 267861 h 2457568"/>
                    <a:gd name="connsiteX826" fmla="*/ 552421 w 2368274"/>
                    <a:gd name="connsiteY826" fmla="*/ 267861 h 2457568"/>
                    <a:gd name="connsiteX827" fmla="*/ 552421 w 2368274"/>
                    <a:gd name="connsiteY827" fmla="*/ 267861 h 2457568"/>
                    <a:gd name="connsiteX828" fmla="*/ 552421 w 2368274"/>
                    <a:gd name="connsiteY828" fmla="*/ 267861 h 2457568"/>
                    <a:gd name="connsiteX829" fmla="*/ 552421 w 2368274"/>
                    <a:gd name="connsiteY829" fmla="*/ 267861 h 2457568"/>
                    <a:gd name="connsiteX830" fmla="*/ 552421 w 2368274"/>
                    <a:gd name="connsiteY830" fmla="*/ 267861 h 2457568"/>
                    <a:gd name="connsiteX831" fmla="*/ 552421 w 2368274"/>
                    <a:gd name="connsiteY831" fmla="*/ 267861 h 2457568"/>
                    <a:gd name="connsiteX832" fmla="*/ 552421 w 2368274"/>
                    <a:gd name="connsiteY832" fmla="*/ 267861 h 2457568"/>
                    <a:gd name="connsiteX833" fmla="*/ 552421 w 2368274"/>
                    <a:gd name="connsiteY833" fmla="*/ 267861 h 2457568"/>
                    <a:gd name="connsiteX834" fmla="*/ 552421 w 2368274"/>
                    <a:gd name="connsiteY834" fmla="*/ 267861 h 2457568"/>
                    <a:gd name="connsiteX835" fmla="*/ 552421 w 2368274"/>
                    <a:gd name="connsiteY835" fmla="*/ 267861 h 2457568"/>
                    <a:gd name="connsiteX836" fmla="*/ 552421 w 2368274"/>
                    <a:gd name="connsiteY836" fmla="*/ 267861 h 2457568"/>
                    <a:gd name="connsiteX837" fmla="*/ 552421 w 2368274"/>
                    <a:gd name="connsiteY837" fmla="*/ 267861 h 2457568"/>
                    <a:gd name="connsiteX838" fmla="*/ 552421 w 2368274"/>
                    <a:gd name="connsiteY838" fmla="*/ 267861 h 2457568"/>
                    <a:gd name="connsiteX839" fmla="*/ 552421 w 2368274"/>
                    <a:gd name="connsiteY839" fmla="*/ 267861 h 2457568"/>
                    <a:gd name="connsiteX840" fmla="*/ 552421 w 2368274"/>
                    <a:gd name="connsiteY840" fmla="*/ 267861 h 2457568"/>
                    <a:gd name="connsiteX841" fmla="*/ 552421 w 2368274"/>
                    <a:gd name="connsiteY841" fmla="*/ 267861 h 2457568"/>
                    <a:gd name="connsiteX842" fmla="*/ 552421 w 2368274"/>
                    <a:gd name="connsiteY842" fmla="*/ 267861 h 2457568"/>
                    <a:gd name="connsiteX843" fmla="*/ 552421 w 2368274"/>
                    <a:gd name="connsiteY843" fmla="*/ 267861 h 2457568"/>
                    <a:gd name="connsiteX844" fmla="*/ 552421 w 2368274"/>
                    <a:gd name="connsiteY844" fmla="*/ 267861 h 2457568"/>
                    <a:gd name="connsiteX845" fmla="*/ 552421 w 2368274"/>
                    <a:gd name="connsiteY845" fmla="*/ 267861 h 2457568"/>
                    <a:gd name="connsiteX846" fmla="*/ 552421 w 2368274"/>
                    <a:gd name="connsiteY846" fmla="*/ 267861 h 2457568"/>
                    <a:gd name="connsiteX847" fmla="*/ 552421 w 2368274"/>
                    <a:gd name="connsiteY847" fmla="*/ 267861 h 2457568"/>
                    <a:gd name="connsiteX848" fmla="*/ 552421 w 2368274"/>
                    <a:gd name="connsiteY848" fmla="*/ 267861 h 2457568"/>
                    <a:gd name="connsiteX849" fmla="*/ 552421 w 2368274"/>
                    <a:gd name="connsiteY849" fmla="*/ 267861 h 2457568"/>
                    <a:gd name="connsiteX850" fmla="*/ 552421 w 2368274"/>
                    <a:gd name="connsiteY850" fmla="*/ 267861 h 2457568"/>
                    <a:gd name="connsiteX851" fmla="*/ 552421 w 2368274"/>
                    <a:gd name="connsiteY851" fmla="*/ 267861 h 2457568"/>
                    <a:gd name="connsiteX852" fmla="*/ 552421 w 2368274"/>
                    <a:gd name="connsiteY852" fmla="*/ 267861 h 2457568"/>
                    <a:gd name="connsiteX853" fmla="*/ 552421 w 2368274"/>
                    <a:gd name="connsiteY853" fmla="*/ 267861 h 2457568"/>
                    <a:gd name="connsiteX854" fmla="*/ 552421 w 2368274"/>
                    <a:gd name="connsiteY854" fmla="*/ 267861 h 2457568"/>
                    <a:gd name="connsiteX855" fmla="*/ 552421 w 2368274"/>
                    <a:gd name="connsiteY855" fmla="*/ 267861 h 2457568"/>
                    <a:gd name="connsiteX856" fmla="*/ 552421 w 2368274"/>
                    <a:gd name="connsiteY856" fmla="*/ 267861 h 2457568"/>
                    <a:gd name="connsiteX857" fmla="*/ 552421 w 2368274"/>
                    <a:gd name="connsiteY857" fmla="*/ 267861 h 2457568"/>
                    <a:gd name="connsiteX858" fmla="*/ 552421 w 2368274"/>
                    <a:gd name="connsiteY858" fmla="*/ 267861 h 2457568"/>
                    <a:gd name="connsiteX859" fmla="*/ 552421 w 2368274"/>
                    <a:gd name="connsiteY859" fmla="*/ 267861 h 2457568"/>
                    <a:gd name="connsiteX860" fmla="*/ 552421 w 2368274"/>
                    <a:gd name="connsiteY860" fmla="*/ 267861 h 2457568"/>
                    <a:gd name="connsiteX861" fmla="*/ 552421 w 2368274"/>
                    <a:gd name="connsiteY861" fmla="*/ 267861 h 2457568"/>
                    <a:gd name="connsiteX862" fmla="*/ 552421 w 2368274"/>
                    <a:gd name="connsiteY862" fmla="*/ 267861 h 2457568"/>
                    <a:gd name="connsiteX863" fmla="*/ 552421 w 2368274"/>
                    <a:gd name="connsiteY863" fmla="*/ 267861 h 2457568"/>
                    <a:gd name="connsiteX864" fmla="*/ 552421 w 2368274"/>
                    <a:gd name="connsiteY864" fmla="*/ 267861 h 2457568"/>
                    <a:gd name="connsiteX865" fmla="*/ 552421 w 2368274"/>
                    <a:gd name="connsiteY865" fmla="*/ 267861 h 2457568"/>
                    <a:gd name="connsiteX866" fmla="*/ 552421 w 2368274"/>
                    <a:gd name="connsiteY866" fmla="*/ 267861 h 2457568"/>
                    <a:gd name="connsiteX867" fmla="*/ 552421 w 2368274"/>
                    <a:gd name="connsiteY867" fmla="*/ 267861 h 2457568"/>
                    <a:gd name="connsiteX868" fmla="*/ 552421 w 2368274"/>
                    <a:gd name="connsiteY868" fmla="*/ 267861 h 2457568"/>
                    <a:gd name="connsiteX869" fmla="*/ 552421 w 2368274"/>
                    <a:gd name="connsiteY869" fmla="*/ 267861 h 2457568"/>
                    <a:gd name="connsiteX870" fmla="*/ 552421 w 2368274"/>
                    <a:gd name="connsiteY870" fmla="*/ 267861 h 2457568"/>
                    <a:gd name="connsiteX871" fmla="*/ 552421 w 2368274"/>
                    <a:gd name="connsiteY871" fmla="*/ 267861 h 2457568"/>
                    <a:gd name="connsiteX872" fmla="*/ 552421 w 2368274"/>
                    <a:gd name="connsiteY872" fmla="*/ 267861 h 2457568"/>
                    <a:gd name="connsiteX873" fmla="*/ 552421 w 2368274"/>
                    <a:gd name="connsiteY873" fmla="*/ 267861 h 2457568"/>
                    <a:gd name="connsiteX874" fmla="*/ 552421 w 2368274"/>
                    <a:gd name="connsiteY874" fmla="*/ 267861 h 2457568"/>
                    <a:gd name="connsiteX875" fmla="*/ 552421 w 2368274"/>
                    <a:gd name="connsiteY875" fmla="*/ 267861 h 2457568"/>
                    <a:gd name="connsiteX876" fmla="*/ 552421 w 2368274"/>
                    <a:gd name="connsiteY876" fmla="*/ 267861 h 2457568"/>
                    <a:gd name="connsiteX877" fmla="*/ 552421 w 2368274"/>
                    <a:gd name="connsiteY877" fmla="*/ 267861 h 2457568"/>
                    <a:gd name="connsiteX878" fmla="*/ 552421 w 2368274"/>
                    <a:gd name="connsiteY878" fmla="*/ 267861 h 2457568"/>
                    <a:gd name="connsiteX879" fmla="*/ 552421 w 2368274"/>
                    <a:gd name="connsiteY879" fmla="*/ 267861 h 2457568"/>
                    <a:gd name="connsiteX880" fmla="*/ 552421 w 2368274"/>
                    <a:gd name="connsiteY880" fmla="*/ 267861 h 2457568"/>
                    <a:gd name="connsiteX881" fmla="*/ 552421 w 2368274"/>
                    <a:gd name="connsiteY881" fmla="*/ 267861 h 2457568"/>
                    <a:gd name="connsiteX882" fmla="*/ 552421 w 2368274"/>
                    <a:gd name="connsiteY882" fmla="*/ 267861 h 2457568"/>
                    <a:gd name="connsiteX883" fmla="*/ 552421 w 2368274"/>
                    <a:gd name="connsiteY883" fmla="*/ 267861 h 2457568"/>
                    <a:gd name="connsiteX884" fmla="*/ 552421 w 2368274"/>
                    <a:gd name="connsiteY884" fmla="*/ 267861 h 2457568"/>
                    <a:gd name="connsiteX885" fmla="*/ 552421 w 2368274"/>
                    <a:gd name="connsiteY885" fmla="*/ 267861 h 2457568"/>
                    <a:gd name="connsiteX886" fmla="*/ 552421 w 2368274"/>
                    <a:gd name="connsiteY886" fmla="*/ 267861 h 2457568"/>
                    <a:gd name="connsiteX887" fmla="*/ 552421 w 2368274"/>
                    <a:gd name="connsiteY887" fmla="*/ 267861 h 2457568"/>
                    <a:gd name="connsiteX888" fmla="*/ 552421 w 2368274"/>
                    <a:gd name="connsiteY888" fmla="*/ 267861 h 2457568"/>
                    <a:gd name="connsiteX889" fmla="*/ 552421 w 2368274"/>
                    <a:gd name="connsiteY889" fmla="*/ 267861 h 2457568"/>
                    <a:gd name="connsiteX890" fmla="*/ 552421 w 2368274"/>
                    <a:gd name="connsiteY890" fmla="*/ 267861 h 2457568"/>
                    <a:gd name="connsiteX891" fmla="*/ 552421 w 2368274"/>
                    <a:gd name="connsiteY891" fmla="*/ 267861 h 2457568"/>
                    <a:gd name="connsiteX892" fmla="*/ 552421 w 2368274"/>
                    <a:gd name="connsiteY892" fmla="*/ 267861 h 2457568"/>
                    <a:gd name="connsiteX893" fmla="*/ 552421 w 2368274"/>
                    <a:gd name="connsiteY893" fmla="*/ 267861 h 2457568"/>
                    <a:gd name="connsiteX894" fmla="*/ 552421 w 2368274"/>
                    <a:gd name="connsiteY894" fmla="*/ 267861 h 2457568"/>
                    <a:gd name="connsiteX895" fmla="*/ 552421 w 2368274"/>
                    <a:gd name="connsiteY895" fmla="*/ 267861 h 2457568"/>
                    <a:gd name="connsiteX896" fmla="*/ 552421 w 2368274"/>
                    <a:gd name="connsiteY896" fmla="*/ 267861 h 2457568"/>
                    <a:gd name="connsiteX897" fmla="*/ 552421 w 2368274"/>
                    <a:gd name="connsiteY897" fmla="*/ 267861 h 2457568"/>
                    <a:gd name="connsiteX898" fmla="*/ 552421 w 2368274"/>
                    <a:gd name="connsiteY898" fmla="*/ 267861 h 2457568"/>
                    <a:gd name="connsiteX899" fmla="*/ 552421 w 2368274"/>
                    <a:gd name="connsiteY899" fmla="*/ 267861 h 2457568"/>
                    <a:gd name="connsiteX900" fmla="*/ 552421 w 2368274"/>
                    <a:gd name="connsiteY900" fmla="*/ 267861 h 2457568"/>
                    <a:gd name="connsiteX901" fmla="*/ 552421 w 2368274"/>
                    <a:gd name="connsiteY901" fmla="*/ 267861 h 2457568"/>
                    <a:gd name="connsiteX902" fmla="*/ 552421 w 2368274"/>
                    <a:gd name="connsiteY902" fmla="*/ 267861 h 2457568"/>
                    <a:gd name="connsiteX903" fmla="*/ 552421 w 2368274"/>
                    <a:gd name="connsiteY903" fmla="*/ 267861 h 2457568"/>
                    <a:gd name="connsiteX904" fmla="*/ 552421 w 2368274"/>
                    <a:gd name="connsiteY904" fmla="*/ 267861 h 2457568"/>
                    <a:gd name="connsiteX905" fmla="*/ 552421 w 2368274"/>
                    <a:gd name="connsiteY905" fmla="*/ 267861 h 2457568"/>
                    <a:gd name="connsiteX906" fmla="*/ 514988 w 2368274"/>
                    <a:gd name="connsiteY906" fmla="*/ 252277 h 2457568"/>
                    <a:gd name="connsiteX907" fmla="*/ 487837 w 2368274"/>
                    <a:gd name="connsiteY907" fmla="*/ 266174 h 2457568"/>
                    <a:gd name="connsiteX908" fmla="*/ 504385 w 2368274"/>
                    <a:gd name="connsiteY908" fmla="*/ 253562 h 2457568"/>
                    <a:gd name="connsiteX909" fmla="*/ 488640 w 2368274"/>
                    <a:gd name="connsiteY909" fmla="*/ 258864 h 2457568"/>
                    <a:gd name="connsiteX910" fmla="*/ 474262 w 2368274"/>
                    <a:gd name="connsiteY910" fmla="*/ 268021 h 2457568"/>
                    <a:gd name="connsiteX911" fmla="*/ 480126 w 2368274"/>
                    <a:gd name="connsiteY911" fmla="*/ 255089 h 2457568"/>
                    <a:gd name="connsiteX912" fmla="*/ 478680 w 2368274"/>
                    <a:gd name="connsiteY912" fmla="*/ 255169 h 2457568"/>
                    <a:gd name="connsiteX913" fmla="*/ 534508 w 2368274"/>
                    <a:gd name="connsiteY913" fmla="*/ 237898 h 2457568"/>
                    <a:gd name="connsiteX914" fmla="*/ 514988 w 2368274"/>
                    <a:gd name="connsiteY914" fmla="*/ 252277 h 2457568"/>
                    <a:gd name="connsiteX915" fmla="*/ 608249 w 2368274"/>
                    <a:gd name="connsiteY915" fmla="*/ 288827 h 2457568"/>
                    <a:gd name="connsiteX916" fmla="*/ 608249 w 2368274"/>
                    <a:gd name="connsiteY916" fmla="*/ 282240 h 2457568"/>
                    <a:gd name="connsiteX917" fmla="*/ 608249 w 2368274"/>
                    <a:gd name="connsiteY917" fmla="*/ 289308 h 2457568"/>
                    <a:gd name="connsiteX918" fmla="*/ 608249 w 2368274"/>
                    <a:gd name="connsiteY918" fmla="*/ 288827 h 2457568"/>
                    <a:gd name="connsiteX919" fmla="*/ 556517 w 2368274"/>
                    <a:gd name="connsiteY919" fmla="*/ 262720 h 2457568"/>
                    <a:gd name="connsiteX920" fmla="*/ 563024 w 2368274"/>
                    <a:gd name="connsiteY920" fmla="*/ 254848 h 2457568"/>
                    <a:gd name="connsiteX921" fmla="*/ 556357 w 2368274"/>
                    <a:gd name="connsiteY921" fmla="*/ 262880 h 2457568"/>
                    <a:gd name="connsiteX922" fmla="*/ 556517 w 2368274"/>
                    <a:gd name="connsiteY922" fmla="*/ 262720 h 2457568"/>
                    <a:gd name="connsiteX923" fmla="*/ 605277 w 2368274"/>
                    <a:gd name="connsiteY923" fmla="*/ 272199 h 2457568"/>
                    <a:gd name="connsiteX924" fmla="*/ 587524 w 2368274"/>
                    <a:gd name="connsiteY924" fmla="*/ 276135 h 2457568"/>
                    <a:gd name="connsiteX925" fmla="*/ 605357 w 2368274"/>
                    <a:gd name="connsiteY925" fmla="*/ 272199 h 2457568"/>
                    <a:gd name="connsiteX926" fmla="*/ 605277 w 2368274"/>
                    <a:gd name="connsiteY926" fmla="*/ 272199 h 2457568"/>
                    <a:gd name="connsiteX927" fmla="*/ 605437 w 2368274"/>
                    <a:gd name="connsiteY927" fmla="*/ 272199 h 2457568"/>
                    <a:gd name="connsiteX928" fmla="*/ 605437 w 2368274"/>
                    <a:gd name="connsiteY928" fmla="*/ 272199 h 2457568"/>
                    <a:gd name="connsiteX929" fmla="*/ 605437 w 2368274"/>
                    <a:gd name="connsiteY929" fmla="*/ 272199 h 2457568"/>
                    <a:gd name="connsiteX930" fmla="*/ 605437 w 2368274"/>
                    <a:gd name="connsiteY930" fmla="*/ 272199 h 2457568"/>
                    <a:gd name="connsiteX931" fmla="*/ 605437 w 2368274"/>
                    <a:gd name="connsiteY931" fmla="*/ 272199 h 2457568"/>
                    <a:gd name="connsiteX932" fmla="*/ 605437 w 2368274"/>
                    <a:gd name="connsiteY932" fmla="*/ 272199 h 2457568"/>
                    <a:gd name="connsiteX933" fmla="*/ 605437 w 2368274"/>
                    <a:gd name="connsiteY933" fmla="*/ 272199 h 2457568"/>
                    <a:gd name="connsiteX934" fmla="*/ 605437 w 2368274"/>
                    <a:gd name="connsiteY934" fmla="*/ 272199 h 2457568"/>
                    <a:gd name="connsiteX935" fmla="*/ 605437 w 2368274"/>
                    <a:gd name="connsiteY935" fmla="*/ 272199 h 2457568"/>
                    <a:gd name="connsiteX936" fmla="*/ 605437 w 2368274"/>
                    <a:gd name="connsiteY936" fmla="*/ 272199 h 2457568"/>
                    <a:gd name="connsiteX937" fmla="*/ 605437 w 2368274"/>
                    <a:gd name="connsiteY937" fmla="*/ 272199 h 2457568"/>
                    <a:gd name="connsiteX938" fmla="*/ 605437 w 2368274"/>
                    <a:gd name="connsiteY938" fmla="*/ 272199 h 2457568"/>
                    <a:gd name="connsiteX939" fmla="*/ 605437 w 2368274"/>
                    <a:gd name="connsiteY939" fmla="*/ 272199 h 2457568"/>
                    <a:gd name="connsiteX940" fmla="*/ 605437 w 2368274"/>
                    <a:gd name="connsiteY940" fmla="*/ 272199 h 2457568"/>
                    <a:gd name="connsiteX941" fmla="*/ 605437 w 2368274"/>
                    <a:gd name="connsiteY941" fmla="*/ 272199 h 2457568"/>
                    <a:gd name="connsiteX942" fmla="*/ 605437 w 2368274"/>
                    <a:gd name="connsiteY942" fmla="*/ 272199 h 2457568"/>
                    <a:gd name="connsiteX943" fmla="*/ 605437 w 2368274"/>
                    <a:gd name="connsiteY943" fmla="*/ 272199 h 2457568"/>
                    <a:gd name="connsiteX944" fmla="*/ 605437 w 2368274"/>
                    <a:gd name="connsiteY944" fmla="*/ 272199 h 2457568"/>
                    <a:gd name="connsiteX945" fmla="*/ 605437 w 2368274"/>
                    <a:gd name="connsiteY945" fmla="*/ 272199 h 2457568"/>
                    <a:gd name="connsiteX946" fmla="*/ 605437 w 2368274"/>
                    <a:gd name="connsiteY946" fmla="*/ 272199 h 2457568"/>
                    <a:gd name="connsiteX947" fmla="*/ 605437 w 2368274"/>
                    <a:gd name="connsiteY947" fmla="*/ 272199 h 2457568"/>
                    <a:gd name="connsiteX948" fmla="*/ 605437 w 2368274"/>
                    <a:gd name="connsiteY948" fmla="*/ 272199 h 2457568"/>
                    <a:gd name="connsiteX949" fmla="*/ 605437 w 2368274"/>
                    <a:gd name="connsiteY949" fmla="*/ 272199 h 2457568"/>
                    <a:gd name="connsiteX950" fmla="*/ 605437 w 2368274"/>
                    <a:gd name="connsiteY950" fmla="*/ 272199 h 2457568"/>
                    <a:gd name="connsiteX951" fmla="*/ 605437 w 2368274"/>
                    <a:gd name="connsiteY951" fmla="*/ 272199 h 2457568"/>
                    <a:gd name="connsiteX952" fmla="*/ 605437 w 2368274"/>
                    <a:gd name="connsiteY952" fmla="*/ 272199 h 2457568"/>
                    <a:gd name="connsiteX953" fmla="*/ 605437 w 2368274"/>
                    <a:gd name="connsiteY953" fmla="*/ 272199 h 2457568"/>
                    <a:gd name="connsiteX954" fmla="*/ 605437 w 2368274"/>
                    <a:gd name="connsiteY954" fmla="*/ 272199 h 2457568"/>
                    <a:gd name="connsiteX955" fmla="*/ 605437 w 2368274"/>
                    <a:gd name="connsiteY955" fmla="*/ 272199 h 2457568"/>
                    <a:gd name="connsiteX956" fmla="*/ 605437 w 2368274"/>
                    <a:gd name="connsiteY956" fmla="*/ 272199 h 2457568"/>
                    <a:gd name="connsiteX957" fmla="*/ 605437 w 2368274"/>
                    <a:gd name="connsiteY957" fmla="*/ 272199 h 2457568"/>
                    <a:gd name="connsiteX958" fmla="*/ 605437 w 2368274"/>
                    <a:gd name="connsiteY958" fmla="*/ 272199 h 2457568"/>
                    <a:gd name="connsiteX959" fmla="*/ 605437 w 2368274"/>
                    <a:gd name="connsiteY959" fmla="*/ 272199 h 2457568"/>
                    <a:gd name="connsiteX960" fmla="*/ 605437 w 2368274"/>
                    <a:gd name="connsiteY960" fmla="*/ 272199 h 2457568"/>
                    <a:gd name="connsiteX961" fmla="*/ 605437 w 2368274"/>
                    <a:gd name="connsiteY961" fmla="*/ 272199 h 2457568"/>
                    <a:gd name="connsiteX962" fmla="*/ 605437 w 2368274"/>
                    <a:gd name="connsiteY962" fmla="*/ 272199 h 2457568"/>
                    <a:gd name="connsiteX963" fmla="*/ 605437 w 2368274"/>
                    <a:gd name="connsiteY963" fmla="*/ 272199 h 2457568"/>
                    <a:gd name="connsiteX964" fmla="*/ 605437 w 2368274"/>
                    <a:gd name="connsiteY964" fmla="*/ 272199 h 2457568"/>
                    <a:gd name="connsiteX965" fmla="*/ 605437 w 2368274"/>
                    <a:gd name="connsiteY965" fmla="*/ 272199 h 2457568"/>
                    <a:gd name="connsiteX966" fmla="*/ 605437 w 2368274"/>
                    <a:gd name="connsiteY966" fmla="*/ 272199 h 2457568"/>
                    <a:gd name="connsiteX967" fmla="*/ 605437 w 2368274"/>
                    <a:gd name="connsiteY967" fmla="*/ 272199 h 2457568"/>
                    <a:gd name="connsiteX968" fmla="*/ 605437 w 2368274"/>
                    <a:gd name="connsiteY968" fmla="*/ 272199 h 2457568"/>
                    <a:gd name="connsiteX969" fmla="*/ 605437 w 2368274"/>
                    <a:gd name="connsiteY969" fmla="*/ 272199 h 2457568"/>
                    <a:gd name="connsiteX970" fmla="*/ 605437 w 2368274"/>
                    <a:gd name="connsiteY970" fmla="*/ 272199 h 2457568"/>
                    <a:gd name="connsiteX971" fmla="*/ 605437 w 2368274"/>
                    <a:gd name="connsiteY971" fmla="*/ 272199 h 2457568"/>
                    <a:gd name="connsiteX972" fmla="*/ 605437 w 2368274"/>
                    <a:gd name="connsiteY972" fmla="*/ 272199 h 2457568"/>
                    <a:gd name="connsiteX973" fmla="*/ 605437 w 2368274"/>
                    <a:gd name="connsiteY973" fmla="*/ 272199 h 2457568"/>
                    <a:gd name="connsiteX974" fmla="*/ 605437 w 2368274"/>
                    <a:gd name="connsiteY974" fmla="*/ 272199 h 2457568"/>
                    <a:gd name="connsiteX975" fmla="*/ 605437 w 2368274"/>
                    <a:gd name="connsiteY975" fmla="*/ 272199 h 2457568"/>
                    <a:gd name="connsiteX976" fmla="*/ 605437 w 2368274"/>
                    <a:gd name="connsiteY976" fmla="*/ 272199 h 2457568"/>
                    <a:gd name="connsiteX977" fmla="*/ 605437 w 2368274"/>
                    <a:gd name="connsiteY977" fmla="*/ 272199 h 2457568"/>
                    <a:gd name="connsiteX978" fmla="*/ 605437 w 2368274"/>
                    <a:gd name="connsiteY978" fmla="*/ 272199 h 2457568"/>
                    <a:gd name="connsiteX979" fmla="*/ 605437 w 2368274"/>
                    <a:gd name="connsiteY979" fmla="*/ 272199 h 2457568"/>
                    <a:gd name="connsiteX980" fmla="*/ 605437 w 2368274"/>
                    <a:gd name="connsiteY980" fmla="*/ 272199 h 2457568"/>
                    <a:gd name="connsiteX981" fmla="*/ 605518 w 2368274"/>
                    <a:gd name="connsiteY981" fmla="*/ 272199 h 2457568"/>
                    <a:gd name="connsiteX982" fmla="*/ 605518 w 2368274"/>
                    <a:gd name="connsiteY982" fmla="*/ 272199 h 2457568"/>
                    <a:gd name="connsiteX983" fmla="*/ 605518 w 2368274"/>
                    <a:gd name="connsiteY983" fmla="*/ 272199 h 2457568"/>
                    <a:gd name="connsiteX984" fmla="*/ 605518 w 2368274"/>
                    <a:gd name="connsiteY984" fmla="*/ 272199 h 2457568"/>
                    <a:gd name="connsiteX985" fmla="*/ 605518 w 2368274"/>
                    <a:gd name="connsiteY985" fmla="*/ 272199 h 2457568"/>
                    <a:gd name="connsiteX986" fmla="*/ 605518 w 2368274"/>
                    <a:gd name="connsiteY986" fmla="*/ 272199 h 2457568"/>
                    <a:gd name="connsiteX987" fmla="*/ 605518 w 2368274"/>
                    <a:gd name="connsiteY987" fmla="*/ 272199 h 2457568"/>
                    <a:gd name="connsiteX988" fmla="*/ 605518 w 2368274"/>
                    <a:gd name="connsiteY988" fmla="*/ 272199 h 2457568"/>
                    <a:gd name="connsiteX989" fmla="*/ 605518 w 2368274"/>
                    <a:gd name="connsiteY989" fmla="*/ 272199 h 2457568"/>
                    <a:gd name="connsiteX990" fmla="*/ 605518 w 2368274"/>
                    <a:gd name="connsiteY990" fmla="*/ 272199 h 2457568"/>
                    <a:gd name="connsiteX991" fmla="*/ 605518 w 2368274"/>
                    <a:gd name="connsiteY991" fmla="*/ 272199 h 2457568"/>
                    <a:gd name="connsiteX992" fmla="*/ 605518 w 2368274"/>
                    <a:gd name="connsiteY992" fmla="*/ 272199 h 2457568"/>
                    <a:gd name="connsiteX993" fmla="*/ 605518 w 2368274"/>
                    <a:gd name="connsiteY993" fmla="*/ 272199 h 2457568"/>
                    <a:gd name="connsiteX994" fmla="*/ 605518 w 2368274"/>
                    <a:gd name="connsiteY994" fmla="*/ 272199 h 2457568"/>
                    <a:gd name="connsiteX995" fmla="*/ 605518 w 2368274"/>
                    <a:gd name="connsiteY995" fmla="*/ 272199 h 2457568"/>
                    <a:gd name="connsiteX996" fmla="*/ 605518 w 2368274"/>
                    <a:gd name="connsiteY996" fmla="*/ 272199 h 2457568"/>
                    <a:gd name="connsiteX997" fmla="*/ 605518 w 2368274"/>
                    <a:gd name="connsiteY997" fmla="*/ 272199 h 2457568"/>
                    <a:gd name="connsiteX998" fmla="*/ 605518 w 2368274"/>
                    <a:gd name="connsiteY998" fmla="*/ 272199 h 2457568"/>
                    <a:gd name="connsiteX999" fmla="*/ 605518 w 2368274"/>
                    <a:gd name="connsiteY999" fmla="*/ 272199 h 2457568"/>
                    <a:gd name="connsiteX1000" fmla="*/ 605518 w 2368274"/>
                    <a:gd name="connsiteY1000" fmla="*/ 272199 h 2457568"/>
                    <a:gd name="connsiteX1001" fmla="*/ 605518 w 2368274"/>
                    <a:gd name="connsiteY1001" fmla="*/ 272199 h 2457568"/>
                    <a:gd name="connsiteX1002" fmla="*/ 605518 w 2368274"/>
                    <a:gd name="connsiteY1002" fmla="*/ 272199 h 2457568"/>
                    <a:gd name="connsiteX1003" fmla="*/ 605518 w 2368274"/>
                    <a:gd name="connsiteY1003" fmla="*/ 272199 h 2457568"/>
                    <a:gd name="connsiteX1004" fmla="*/ 605518 w 2368274"/>
                    <a:gd name="connsiteY1004" fmla="*/ 272199 h 2457568"/>
                    <a:gd name="connsiteX1005" fmla="*/ 605518 w 2368274"/>
                    <a:gd name="connsiteY1005" fmla="*/ 272199 h 2457568"/>
                    <a:gd name="connsiteX1006" fmla="*/ 605518 w 2368274"/>
                    <a:gd name="connsiteY1006" fmla="*/ 272199 h 2457568"/>
                    <a:gd name="connsiteX1007" fmla="*/ 605518 w 2368274"/>
                    <a:gd name="connsiteY1007" fmla="*/ 272199 h 2457568"/>
                    <a:gd name="connsiteX1008" fmla="*/ 605518 w 2368274"/>
                    <a:gd name="connsiteY1008" fmla="*/ 272199 h 2457568"/>
                    <a:gd name="connsiteX1009" fmla="*/ 605518 w 2368274"/>
                    <a:gd name="connsiteY1009" fmla="*/ 272199 h 2457568"/>
                    <a:gd name="connsiteX1010" fmla="*/ 605518 w 2368274"/>
                    <a:gd name="connsiteY1010" fmla="*/ 272199 h 2457568"/>
                    <a:gd name="connsiteX1011" fmla="*/ 605518 w 2368274"/>
                    <a:gd name="connsiteY1011" fmla="*/ 272199 h 2457568"/>
                    <a:gd name="connsiteX1012" fmla="*/ 605518 w 2368274"/>
                    <a:gd name="connsiteY1012" fmla="*/ 272199 h 2457568"/>
                    <a:gd name="connsiteX1013" fmla="*/ 605518 w 2368274"/>
                    <a:gd name="connsiteY1013" fmla="*/ 272199 h 2457568"/>
                    <a:gd name="connsiteX1014" fmla="*/ 605518 w 2368274"/>
                    <a:gd name="connsiteY1014" fmla="*/ 272199 h 2457568"/>
                    <a:gd name="connsiteX1015" fmla="*/ 605518 w 2368274"/>
                    <a:gd name="connsiteY1015" fmla="*/ 272199 h 2457568"/>
                    <a:gd name="connsiteX1016" fmla="*/ 605518 w 2368274"/>
                    <a:gd name="connsiteY1016" fmla="*/ 272199 h 2457568"/>
                    <a:gd name="connsiteX1017" fmla="*/ 605518 w 2368274"/>
                    <a:gd name="connsiteY1017" fmla="*/ 272199 h 2457568"/>
                    <a:gd name="connsiteX1018" fmla="*/ 605518 w 2368274"/>
                    <a:gd name="connsiteY1018" fmla="*/ 272199 h 2457568"/>
                    <a:gd name="connsiteX1019" fmla="*/ 605518 w 2368274"/>
                    <a:gd name="connsiteY1019" fmla="*/ 272199 h 2457568"/>
                    <a:gd name="connsiteX1020" fmla="*/ 605518 w 2368274"/>
                    <a:gd name="connsiteY1020" fmla="*/ 272199 h 2457568"/>
                    <a:gd name="connsiteX1021" fmla="*/ 605518 w 2368274"/>
                    <a:gd name="connsiteY1021" fmla="*/ 272199 h 2457568"/>
                    <a:gd name="connsiteX1022" fmla="*/ 605518 w 2368274"/>
                    <a:gd name="connsiteY1022" fmla="*/ 272199 h 2457568"/>
                    <a:gd name="connsiteX1023" fmla="*/ 605598 w 2368274"/>
                    <a:gd name="connsiteY1023" fmla="*/ 272118 h 2457568"/>
                    <a:gd name="connsiteX1024" fmla="*/ 605598 w 2368274"/>
                    <a:gd name="connsiteY1024" fmla="*/ 272118 h 2457568"/>
                    <a:gd name="connsiteX1025" fmla="*/ 605598 w 2368274"/>
                    <a:gd name="connsiteY1025" fmla="*/ 272118 h 2457568"/>
                    <a:gd name="connsiteX1026" fmla="*/ 605598 w 2368274"/>
                    <a:gd name="connsiteY1026" fmla="*/ 272118 h 2457568"/>
                    <a:gd name="connsiteX1027" fmla="*/ 605598 w 2368274"/>
                    <a:gd name="connsiteY1027" fmla="*/ 272118 h 2457568"/>
                    <a:gd name="connsiteX1028" fmla="*/ 605598 w 2368274"/>
                    <a:gd name="connsiteY1028" fmla="*/ 272118 h 2457568"/>
                    <a:gd name="connsiteX1029" fmla="*/ 605598 w 2368274"/>
                    <a:gd name="connsiteY1029" fmla="*/ 272118 h 2457568"/>
                    <a:gd name="connsiteX1030" fmla="*/ 605598 w 2368274"/>
                    <a:gd name="connsiteY1030" fmla="*/ 272118 h 2457568"/>
                    <a:gd name="connsiteX1031" fmla="*/ 605598 w 2368274"/>
                    <a:gd name="connsiteY1031" fmla="*/ 272118 h 2457568"/>
                    <a:gd name="connsiteX1032" fmla="*/ 605598 w 2368274"/>
                    <a:gd name="connsiteY1032" fmla="*/ 272118 h 2457568"/>
                    <a:gd name="connsiteX1033" fmla="*/ 605598 w 2368274"/>
                    <a:gd name="connsiteY1033" fmla="*/ 272118 h 2457568"/>
                    <a:gd name="connsiteX1034" fmla="*/ 605598 w 2368274"/>
                    <a:gd name="connsiteY1034" fmla="*/ 272118 h 2457568"/>
                    <a:gd name="connsiteX1035" fmla="*/ 605598 w 2368274"/>
                    <a:gd name="connsiteY1035" fmla="*/ 272118 h 2457568"/>
                    <a:gd name="connsiteX1036" fmla="*/ 605598 w 2368274"/>
                    <a:gd name="connsiteY1036" fmla="*/ 272118 h 2457568"/>
                    <a:gd name="connsiteX1037" fmla="*/ 605598 w 2368274"/>
                    <a:gd name="connsiteY1037" fmla="*/ 272118 h 2457568"/>
                    <a:gd name="connsiteX1038" fmla="*/ 605598 w 2368274"/>
                    <a:gd name="connsiteY1038" fmla="*/ 272118 h 2457568"/>
                    <a:gd name="connsiteX1039" fmla="*/ 605598 w 2368274"/>
                    <a:gd name="connsiteY1039" fmla="*/ 272118 h 2457568"/>
                    <a:gd name="connsiteX1040" fmla="*/ 605598 w 2368274"/>
                    <a:gd name="connsiteY1040" fmla="*/ 272118 h 2457568"/>
                    <a:gd name="connsiteX1041" fmla="*/ 605598 w 2368274"/>
                    <a:gd name="connsiteY1041" fmla="*/ 272118 h 2457568"/>
                    <a:gd name="connsiteX1042" fmla="*/ 605598 w 2368274"/>
                    <a:gd name="connsiteY1042" fmla="*/ 272118 h 2457568"/>
                    <a:gd name="connsiteX1043" fmla="*/ 605598 w 2368274"/>
                    <a:gd name="connsiteY1043" fmla="*/ 272118 h 2457568"/>
                    <a:gd name="connsiteX1044" fmla="*/ 605598 w 2368274"/>
                    <a:gd name="connsiteY1044" fmla="*/ 272118 h 2457568"/>
                    <a:gd name="connsiteX1045" fmla="*/ 605598 w 2368274"/>
                    <a:gd name="connsiteY1045" fmla="*/ 272118 h 2457568"/>
                    <a:gd name="connsiteX1046" fmla="*/ 605598 w 2368274"/>
                    <a:gd name="connsiteY1046" fmla="*/ 272118 h 2457568"/>
                    <a:gd name="connsiteX1047" fmla="*/ 605598 w 2368274"/>
                    <a:gd name="connsiteY1047" fmla="*/ 272118 h 2457568"/>
                    <a:gd name="connsiteX1048" fmla="*/ 605598 w 2368274"/>
                    <a:gd name="connsiteY1048" fmla="*/ 272118 h 2457568"/>
                    <a:gd name="connsiteX1049" fmla="*/ 605598 w 2368274"/>
                    <a:gd name="connsiteY1049" fmla="*/ 272118 h 2457568"/>
                    <a:gd name="connsiteX1050" fmla="*/ 605598 w 2368274"/>
                    <a:gd name="connsiteY1050" fmla="*/ 272118 h 2457568"/>
                    <a:gd name="connsiteX1051" fmla="*/ 605598 w 2368274"/>
                    <a:gd name="connsiteY1051" fmla="*/ 272118 h 2457568"/>
                    <a:gd name="connsiteX1052" fmla="*/ 605598 w 2368274"/>
                    <a:gd name="connsiteY1052" fmla="*/ 272118 h 2457568"/>
                    <a:gd name="connsiteX1053" fmla="*/ 605598 w 2368274"/>
                    <a:gd name="connsiteY1053" fmla="*/ 272118 h 2457568"/>
                    <a:gd name="connsiteX1054" fmla="*/ 605598 w 2368274"/>
                    <a:gd name="connsiteY1054" fmla="*/ 272118 h 2457568"/>
                    <a:gd name="connsiteX1055" fmla="*/ 605598 w 2368274"/>
                    <a:gd name="connsiteY1055" fmla="*/ 272118 h 2457568"/>
                    <a:gd name="connsiteX1056" fmla="*/ 605598 w 2368274"/>
                    <a:gd name="connsiteY1056" fmla="*/ 272118 h 2457568"/>
                    <a:gd name="connsiteX1057" fmla="*/ 605598 w 2368274"/>
                    <a:gd name="connsiteY1057" fmla="*/ 272118 h 2457568"/>
                    <a:gd name="connsiteX1058" fmla="*/ 605598 w 2368274"/>
                    <a:gd name="connsiteY1058" fmla="*/ 272118 h 2457568"/>
                    <a:gd name="connsiteX1059" fmla="*/ 605598 w 2368274"/>
                    <a:gd name="connsiteY1059" fmla="*/ 272118 h 2457568"/>
                    <a:gd name="connsiteX1060" fmla="*/ 605598 w 2368274"/>
                    <a:gd name="connsiteY1060" fmla="*/ 272118 h 2457568"/>
                    <a:gd name="connsiteX1061" fmla="*/ 605598 w 2368274"/>
                    <a:gd name="connsiteY1061" fmla="*/ 272118 h 2457568"/>
                    <a:gd name="connsiteX1062" fmla="*/ 605598 w 2368274"/>
                    <a:gd name="connsiteY1062" fmla="*/ 272118 h 2457568"/>
                    <a:gd name="connsiteX1063" fmla="*/ 605598 w 2368274"/>
                    <a:gd name="connsiteY1063" fmla="*/ 272118 h 2457568"/>
                    <a:gd name="connsiteX1064" fmla="*/ 605598 w 2368274"/>
                    <a:gd name="connsiteY1064" fmla="*/ 272118 h 2457568"/>
                    <a:gd name="connsiteX1065" fmla="*/ 605598 w 2368274"/>
                    <a:gd name="connsiteY1065" fmla="*/ 272118 h 2457568"/>
                    <a:gd name="connsiteX1066" fmla="*/ 605598 w 2368274"/>
                    <a:gd name="connsiteY1066" fmla="*/ 272118 h 2457568"/>
                    <a:gd name="connsiteX1067" fmla="*/ 605598 w 2368274"/>
                    <a:gd name="connsiteY1067" fmla="*/ 272118 h 2457568"/>
                    <a:gd name="connsiteX1068" fmla="*/ 605598 w 2368274"/>
                    <a:gd name="connsiteY1068" fmla="*/ 272118 h 2457568"/>
                    <a:gd name="connsiteX1069" fmla="*/ 605598 w 2368274"/>
                    <a:gd name="connsiteY1069" fmla="*/ 272118 h 2457568"/>
                    <a:gd name="connsiteX1070" fmla="*/ 605598 w 2368274"/>
                    <a:gd name="connsiteY1070" fmla="*/ 272118 h 2457568"/>
                    <a:gd name="connsiteX1071" fmla="*/ 605598 w 2368274"/>
                    <a:gd name="connsiteY1071" fmla="*/ 272118 h 2457568"/>
                    <a:gd name="connsiteX1072" fmla="*/ 605598 w 2368274"/>
                    <a:gd name="connsiteY1072" fmla="*/ 272118 h 2457568"/>
                    <a:gd name="connsiteX1073" fmla="*/ 605598 w 2368274"/>
                    <a:gd name="connsiteY1073" fmla="*/ 272118 h 2457568"/>
                    <a:gd name="connsiteX1074" fmla="*/ 605598 w 2368274"/>
                    <a:gd name="connsiteY1074" fmla="*/ 272118 h 2457568"/>
                    <a:gd name="connsiteX1075" fmla="*/ 605598 w 2368274"/>
                    <a:gd name="connsiteY1075" fmla="*/ 272118 h 2457568"/>
                    <a:gd name="connsiteX1076" fmla="*/ 605598 w 2368274"/>
                    <a:gd name="connsiteY1076" fmla="*/ 272118 h 2457568"/>
                    <a:gd name="connsiteX1077" fmla="*/ 605598 w 2368274"/>
                    <a:gd name="connsiteY1077" fmla="*/ 272118 h 2457568"/>
                    <a:gd name="connsiteX1078" fmla="*/ 605598 w 2368274"/>
                    <a:gd name="connsiteY1078" fmla="*/ 272118 h 2457568"/>
                    <a:gd name="connsiteX1079" fmla="*/ 605598 w 2368274"/>
                    <a:gd name="connsiteY1079" fmla="*/ 272118 h 2457568"/>
                    <a:gd name="connsiteX1080" fmla="*/ 605598 w 2368274"/>
                    <a:gd name="connsiteY1080" fmla="*/ 272118 h 2457568"/>
                    <a:gd name="connsiteX1081" fmla="*/ 605598 w 2368274"/>
                    <a:gd name="connsiteY1081" fmla="*/ 272118 h 2457568"/>
                    <a:gd name="connsiteX1082" fmla="*/ 605598 w 2368274"/>
                    <a:gd name="connsiteY1082" fmla="*/ 272118 h 2457568"/>
                    <a:gd name="connsiteX1083" fmla="*/ 605598 w 2368274"/>
                    <a:gd name="connsiteY1083" fmla="*/ 272118 h 2457568"/>
                    <a:gd name="connsiteX1084" fmla="*/ 605598 w 2368274"/>
                    <a:gd name="connsiteY1084" fmla="*/ 272118 h 2457568"/>
                    <a:gd name="connsiteX1085" fmla="*/ 605598 w 2368274"/>
                    <a:gd name="connsiteY1085" fmla="*/ 272118 h 2457568"/>
                    <a:gd name="connsiteX1086" fmla="*/ 605598 w 2368274"/>
                    <a:gd name="connsiteY1086" fmla="*/ 272118 h 2457568"/>
                    <a:gd name="connsiteX1087" fmla="*/ 605598 w 2368274"/>
                    <a:gd name="connsiteY1087" fmla="*/ 272118 h 2457568"/>
                    <a:gd name="connsiteX1088" fmla="*/ 605598 w 2368274"/>
                    <a:gd name="connsiteY1088" fmla="*/ 272118 h 2457568"/>
                    <a:gd name="connsiteX1089" fmla="*/ 605598 w 2368274"/>
                    <a:gd name="connsiteY1089" fmla="*/ 272118 h 2457568"/>
                    <a:gd name="connsiteX1090" fmla="*/ 605598 w 2368274"/>
                    <a:gd name="connsiteY1090" fmla="*/ 272118 h 2457568"/>
                    <a:gd name="connsiteX1091" fmla="*/ 605598 w 2368274"/>
                    <a:gd name="connsiteY1091" fmla="*/ 272118 h 2457568"/>
                    <a:gd name="connsiteX1092" fmla="*/ 605598 w 2368274"/>
                    <a:gd name="connsiteY1092" fmla="*/ 272118 h 2457568"/>
                    <a:gd name="connsiteX1093" fmla="*/ 605598 w 2368274"/>
                    <a:gd name="connsiteY1093" fmla="*/ 272118 h 2457568"/>
                    <a:gd name="connsiteX1094" fmla="*/ 605598 w 2368274"/>
                    <a:gd name="connsiteY1094" fmla="*/ 272118 h 2457568"/>
                    <a:gd name="connsiteX1095" fmla="*/ 605598 w 2368274"/>
                    <a:gd name="connsiteY1095" fmla="*/ 272118 h 2457568"/>
                    <a:gd name="connsiteX1096" fmla="*/ 605598 w 2368274"/>
                    <a:gd name="connsiteY1096" fmla="*/ 272118 h 2457568"/>
                    <a:gd name="connsiteX1097" fmla="*/ 605598 w 2368274"/>
                    <a:gd name="connsiteY1097" fmla="*/ 272118 h 2457568"/>
                    <a:gd name="connsiteX1098" fmla="*/ 605598 w 2368274"/>
                    <a:gd name="connsiteY1098" fmla="*/ 272118 h 2457568"/>
                    <a:gd name="connsiteX1099" fmla="*/ 605598 w 2368274"/>
                    <a:gd name="connsiteY1099" fmla="*/ 272118 h 2457568"/>
                    <a:gd name="connsiteX1100" fmla="*/ 605598 w 2368274"/>
                    <a:gd name="connsiteY1100" fmla="*/ 272118 h 2457568"/>
                    <a:gd name="connsiteX1101" fmla="*/ 605598 w 2368274"/>
                    <a:gd name="connsiteY1101" fmla="*/ 272118 h 2457568"/>
                    <a:gd name="connsiteX1102" fmla="*/ 605598 w 2368274"/>
                    <a:gd name="connsiteY1102" fmla="*/ 272118 h 2457568"/>
                    <a:gd name="connsiteX1103" fmla="*/ 605598 w 2368274"/>
                    <a:gd name="connsiteY1103" fmla="*/ 272118 h 2457568"/>
                    <a:gd name="connsiteX1104" fmla="*/ 605598 w 2368274"/>
                    <a:gd name="connsiteY1104" fmla="*/ 272118 h 2457568"/>
                    <a:gd name="connsiteX1105" fmla="*/ 605598 w 2368274"/>
                    <a:gd name="connsiteY1105" fmla="*/ 272118 h 2457568"/>
                    <a:gd name="connsiteX1106" fmla="*/ 605598 w 2368274"/>
                    <a:gd name="connsiteY1106" fmla="*/ 272118 h 2457568"/>
                    <a:gd name="connsiteX1107" fmla="*/ 605598 w 2368274"/>
                    <a:gd name="connsiteY1107" fmla="*/ 272118 h 2457568"/>
                    <a:gd name="connsiteX1108" fmla="*/ 605598 w 2368274"/>
                    <a:gd name="connsiteY1108" fmla="*/ 272118 h 2457568"/>
                    <a:gd name="connsiteX1109" fmla="*/ 605598 w 2368274"/>
                    <a:gd name="connsiteY1109" fmla="*/ 272118 h 2457568"/>
                    <a:gd name="connsiteX1110" fmla="*/ 605598 w 2368274"/>
                    <a:gd name="connsiteY1110" fmla="*/ 272118 h 2457568"/>
                    <a:gd name="connsiteX1111" fmla="*/ 605598 w 2368274"/>
                    <a:gd name="connsiteY1111" fmla="*/ 272118 h 2457568"/>
                    <a:gd name="connsiteX1112" fmla="*/ 605598 w 2368274"/>
                    <a:gd name="connsiteY1112" fmla="*/ 272118 h 2457568"/>
                    <a:gd name="connsiteX1113" fmla="*/ 605598 w 2368274"/>
                    <a:gd name="connsiteY1113" fmla="*/ 272118 h 2457568"/>
                    <a:gd name="connsiteX1114" fmla="*/ 605598 w 2368274"/>
                    <a:gd name="connsiteY1114" fmla="*/ 272118 h 2457568"/>
                    <a:gd name="connsiteX1115" fmla="*/ 605598 w 2368274"/>
                    <a:gd name="connsiteY1115" fmla="*/ 272118 h 2457568"/>
                    <a:gd name="connsiteX1116" fmla="*/ 605598 w 2368274"/>
                    <a:gd name="connsiteY1116" fmla="*/ 272118 h 2457568"/>
                    <a:gd name="connsiteX1117" fmla="*/ 605598 w 2368274"/>
                    <a:gd name="connsiteY1117" fmla="*/ 272118 h 2457568"/>
                    <a:gd name="connsiteX1118" fmla="*/ 605598 w 2368274"/>
                    <a:gd name="connsiteY1118" fmla="*/ 272118 h 2457568"/>
                    <a:gd name="connsiteX1119" fmla="*/ 581981 w 2368274"/>
                    <a:gd name="connsiteY1119" fmla="*/ 259507 h 2457568"/>
                    <a:gd name="connsiteX1120" fmla="*/ 582062 w 2368274"/>
                    <a:gd name="connsiteY1120" fmla="*/ 255089 h 2457568"/>
                    <a:gd name="connsiteX1121" fmla="*/ 583749 w 2368274"/>
                    <a:gd name="connsiteY1121" fmla="*/ 258382 h 2457568"/>
                    <a:gd name="connsiteX1122" fmla="*/ 581981 w 2368274"/>
                    <a:gd name="connsiteY1122" fmla="*/ 259828 h 2457568"/>
                    <a:gd name="connsiteX1123" fmla="*/ 581981 w 2368274"/>
                    <a:gd name="connsiteY1123" fmla="*/ 259507 h 2457568"/>
                    <a:gd name="connsiteX1124" fmla="*/ 568245 w 2368274"/>
                    <a:gd name="connsiteY1124" fmla="*/ 237738 h 2457568"/>
                    <a:gd name="connsiteX1125" fmla="*/ 560775 w 2368274"/>
                    <a:gd name="connsiteY1125" fmla="*/ 241513 h 2457568"/>
                    <a:gd name="connsiteX1126" fmla="*/ 540131 w 2368274"/>
                    <a:gd name="connsiteY1126" fmla="*/ 249305 h 2457568"/>
                    <a:gd name="connsiteX1127" fmla="*/ 562944 w 2368274"/>
                    <a:gd name="connsiteY1127" fmla="*/ 234284 h 2457568"/>
                    <a:gd name="connsiteX1128" fmla="*/ 568245 w 2368274"/>
                    <a:gd name="connsiteY1128" fmla="*/ 236051 h 2457568"/>
                    <a:gd name="connsiteX1129" fmla="*/ 568888 w 2368274"/>
                    <a:gd name="connsiteY1129" fmla="*/ 237577 h 2457568"/>
                    <a:gd name="connsiteX1130" fmla="*/ 568245 w 2368274"/>
                    <a:gd name="connsiteY1130" fmla="*/ 237738 h 2457568"/>
                    <a:gd name="connsiteX1131" fmla="*/ 560614 w 2368274"/>
                    <a:gd name="connsiteY1131" fmla="*/ 232276 h 2457568"/>
                    <a:gd name="connsiteX1132" fmla="*/ 556276 w 2368274"/>
                    <a:gd name="connsiteY1132" fmla="*/ 232838 h 2457568"/>
                    <a:gd name="connsiteX1133" fmla="*/ 556116 w 2368274"/>
                    <a:gd name="connsiteY1133" fmla="*/ 232356 h 2457568"/>
                    <a:gd name="connsiteX1134" fmla="*/ 565032 w 2368274"/>
                    <a:gd name="connsiteY1134" fmla="*/ 226010 h 2457568"/>
                    <a:gd name="connsiteX1135" fmla="*/ 565755 w 2368274"/>
                    <a:gd name="connsiteY1135" fmla="*/ 225849 h 2457568"/>
                    <a:gd name="connsiteX1136" fmla="*/ 571137 w 2368274"/>
                    <a:gd name="connsiteY1136" fmla="*/ 224403 h 2457568"/>
                    <a:gd name="connsiteX1137" fmla="*/ 560614 w 2368274"/>
                    <a:gd name="connsiteY1137" fmla="*/ 232276 h 2457568"/>
                    <a:gd name="connsiteX1138" fmla="*/ 609695 w 2368274"/>
                    <a:gd name="connsiteY1138" fmla="*/ 254607 h 2457568"/>
                    <a:gd name="connsiteX1139" fmla="*/ 607847 w 2368274"/>
                    <a:gd name="connsiteY1139" fmla="*/ 254607 h 2457568"/>
                    <a:gd name="connsiteX1140" fmla="*/ 607526 w 2368274"/>
                    <a:gd name="connsiteY1140" fmla="*/ 254366 h 2457568"/>
                    <a:gd name="connsiteX1141" fmla="*/ 610096 w 2368274"/>
                    <a:gd name="connsiteY1141" fmla="*/ 254526 h 2457568"/>
                    <a:gd name="connsiteX1142" fmla="*/ 609695 w 2368274"/>
                    <a:gd name="connsiteY1142" fmla="*/ 254607 h 2457568"/>
                    <a:gd name="connsiteX1143" fmla="*/ 622467 w 2368274"/>
                    <a:gd name="connsiteY1143" fmla="*/ 251795 h 2457568"/>
                    <a:gd name="connsiteX1144" fmla="*/ 610016 w 2368274"/>
                    <a:gd name="connsiteY1144" fmla="*/ 254526 h 2457568"/>
                    <a:gd name="connsiteX1145" fmla="*/ 612426 w 2368274"/>
                    <a:gd name="connsiteY1145" fmla="*/ 253482 h 2457568"/>
                    <a:gd name="connsiteX1146" fmla="*/ 628572 w 2368274"/>
                    <a:gd name="connsiteY1146" fmla="*/ 237898 h 2457568"/>
                    <a:gd name="connsiteX1147" fmla="*/ 622467 w 2368274"/>
                    <a:gd name="connsiteY1147" fmla="*/ 251795 h 2457568"/>
                    <a:gd name="connsiteX1148" fmla="*/ 590737 w 2368274"/>
                    <a:gd name="connsiteY1148" fmla="*/ 226411 h 2457568"/>
                    <a:gd name="connsiteX1149" fmla="*/ 587444 w 2368274"/>
                    <a:gd name="connsiteY1149" fmla="*/ 221833 h 2457568"/>
                    <a:gd name="connsiteX1150" fmla="*/ 582785 w 2368274"/>
                    <a:gd name="connsiteY1150" fmla="*/ 220949 h 2457568"/>
                    <a:gd name="connsiteX1151" fmla="*/ 596119 w 2368274"/>
                    <a:gd name="connsiteY1151" fmla="*/ 216852 h 2457568"/>
                    <a:gd name="connsiteX1152" fmla="*/ 603991 w 2368274"/>
                    <a:gd name="connsiteY1152" fmla="*/ 218218 h 2457568"/>
                    <a:gd name="connsiteX1153" fmla="*/ 603108 w 2368274"/>
                    <a:gd name="connsiteY1153" fmla="*/ 219262 h 2457568"/>
                    <a:gd name="connsiteX1154" fmla="*/ 591058 w 2368274"/>
                    <a:gd name="connsiteY1154" fmla="*/ 226652 h 2457568"/>
                    <a:gd name="connsiteX1155" fmla="*/ 590737 w 2368274"/>
                    <a:gd name="connsiteY1155" fmla="*/ 226411 h 2457568"/>
                    <a:gd name="connsiteX1156" fmla="*/ 587604 w 2368274"/>
                    <a:gd name="connsiteY1156" fmla="*/ 259828 h 2457568"/>
                    <a:gd name="connsiteX1157" fmla="*/ 606240 w 2368274"/>
                    <a:gd name="connsiteY1157" fmla="*/ 237336 h 2457568"/>
                    <a:gd name="connsiteX1158" fmla="*/ 606160 w 2368274"/>
                    <a:gd name="connsiteY1158" fmla="*/ 237256 h 2457568"/>
                    <a:gd name="connsiteX1159" fmla="*/ 606080 w 2368274"/>
                    <a:gd name="connsiteY1159" fmla="*/ 237175 h 2457568"/>
                    <a:gd name="connsiteX1160" fmla="*/ 605999 w 2368274"/>
                    <a:gd name="connsiteY1160" fmla="*/ 237095 h 2457568"/>
                    <a:gd name="connsiteX1161" fmla="*/ 605919 w 2368274"/>
                    <a:gd name="connsiteY1161" fmla="*/ 237015 h 2457568"/>
                    <a:gd name="connsiteX1162" fmla="*/ 605839 w 2368274"/>
                    <a:gd name="connsiteY1162" fmla="*/ 236934 h 2457568"/>
                    <a:gd name="connsiteX1163" fmla="*/ 605758 w 2368274"/>
                    <a:gd name="connsiteY1163" fmla="*/ 236854 h 2457568"/>
                    <a:gd name="connsiteX1164" fmla="*/ 605678 w 2368274"/>
                    <a:gd name="connsiteY1164" fmla="*/ 236774 h 2457568"/>
                    <a:gd name="connsiteX1165" fmla="*/ 605598 w 2368274"/>
                    <a:gd name="connsiteY1165" fmla="*/ 236693 h 2457568"/>
                    <a:gd name="connsiteX1166" fmla="*/ 615157 w 2368274"/>
                    <a:gd name="connsiteY1166" fmla="*/ 227134 h 2457568"/>
                    <a:gd name="connsiteX1167" fmla="*/ 632990 w 2368274"/>
                    <a:gd name="connsiteY1167" fmla="*/ 212354 h 2457568"/>
                    <a:gd name="connsiteX1168" fmla="*/ 650822 w 2368274"/>
                    <a:gd name="connsiteY1168" fmla="*/ 205848 h 2457568"/>
                    <a:gd name="connsiteX1169" fmla="*/ 635962 w 2368274"/>
                    <a:gd name="connsiteY1169" fmla="*/ 218379 h 2457568"/>
                    <a:gd name="connsiteX1170" fmla="*/ 630500 w 2368274"/>
                    <a:gd name="connsiteY1170" fmla="*/ 222716 h 2457568"/>
                    <a:gd name="connsiteX1171" fmla="*/ 620780 w 2368274"/>
                    <a:gd name="connsiteY1171" fmla="*/ 235971 h 2457568"/>
                    <a:gd name="connsiteX1172" fmla="*/ 617968 w 2368274"/>
                    <a:gd name="connsiteY1172" fmla="*/ 238622 h 2457568"/>
                    <a:gd name="connsiteX1173" fmla="*/ 592585 w 2368274"/>
                    <a:gd name="connsiteY1173" fmla="*/ 258944 h 2457568"/>
                    <a:gd name="connsiteX1174" fmla="*/ 587604 w 2368274"/>
                    <a:gd name="connsiteY1174" fmla="*/ 259828 h 2457568"/>
                    <a:gd name="connsiteX1175" fmla="*/ 705204 w 2368274"/>
                    <a:gd name="connsiteY1175" fmla="*/ 227536 h 2457568"/>
                    <a:gd name="connsiteX1176" fmla="*/ 668173 w 2368274"/>
                    <a:gd name="connsiteY1176" fmla="*/ 248903 h 2457568"/>
                    <a:gd name="connsiteX1177" fmla="*/ 672109 w 2368274"/>
                    <a:gd name="connsiteY1177" fmla="*/ 244485 h 2457568"/>
                    <a:gd name="connsiteX1178" fmla="*/ 650341 w 2368274"/>
                    <a:gd name="connsiteY1178" fmla="*/ 258543 h 2457568"/>
                    <a:gd name="connsiteX1179" fmla="*/ 656044 w 2368274"/>
                    <a:gd name="connsiteY1179" fmla="*/ 248261 h 2457568"/>
                    <a:gd name="connsiteX1180" fmla="*/ 639416 w 2368274"/>
                    <a:gd name="connsiteY1180" fmla="*/ 263844 h 2457568"/>
                    <a:gd name="connsiteX1181" fmla="*/ 646726 w 2368274"/>
                    <a:gd name="connsiteY1181" fmla="*/ 248020 h 2457568"/>
                    <a:gd name="connsiteX1182" fmla="*/ 686488 w 2368274"/>
                    <a:gd name="connsiteY1182" fmla="*/ 220869 h 2457568"/>
                    <a:gd name="connsiteX1183" fmla="*/ 675001 w 2368274"/>
                    <a:gd name="connsiteY1183" fmla="*/ 217415 h 2457568"/>
                    <a:gd name="connsiteX1184" fmla="*/ 695646 w 2368274"/>
                    <a:gd name="connsiteY1184" fmla="*/ 205125 h 2457568"/>
                    <a:gd name="connsiteX1185" fmla="*/ 690424 w 2368274"/>
                    <a:gd name="connsiteY1185" fmla="*/ 204723 h 2457568"/>
                    <a:gd name="connsiteX1186" fmla="*/ 711309 w 2368274"/>
                    <a:gd name="connsiteY1186" fmla="*/ 189220 h 2457568"/>
                    <a:gd name="connsiteX1187" fmla="*/ 711068 w 2368274"/>
                    <a:gd name="connsiteY1187" fmla="*/ 194280 h 2457568"/>
                    <a:gd name="connsiteX1188" fmla="*/ 720386 w 2368274"/>
                    <a:gd name="connsiteY1188" fmla="*/ 189862 h 2457568"/>
                    <a:gd name="connsiteX1189" fmla="*/ 715487 w 2368274"/>
                    <a:gd name="connsiteY1189" fmla="*/ 191067 h 2457568"/>
                    <a:gd name="connsiteX1190" fmla="*/ 744967 w 2368274"/>
                    <a:gd name="connsiteY1190" fmla="*/ 172030 h 2457568"/>
                    <a:gd name="connsiteX1191" fmla="*/ 745610 w 2368274"/>
                    <a:gd name="connsiteY1191" fmla="*/ 172672 h 2457568"/>
                    <a:gd name="connsiteX1192" fmla="*/ 741673 w 2368274"/>
                    <a:gd name="connsiteY1192" fmla="*/ 177894 h 2457568"/>
                    <a:gd name="connsiteX1193" fmla="*/ 788585 w 2368274"/>
                    <a:gd name="connsiteY1193" fmla="*/ 151225 h 2457568"/>
                    <a:gd name="connsiteX1194" fmla="*/ 791718 w 2368274"/>
                    <a:gd name="connsiteY1194" fmla="*/ 150984 h 2457568"/>
                    <a:gd name="connsiteX1195" fmla="*/ 732275 w 2368274"/>
                    <a:gd name="connsiteY1195" fmla="*/ 198538 h 2457568"/>
                    <a:gd name="connsiteX1196" fmla="*/ 744083 w 2368274"/>
                    <a:gd name="connsiteY1196" fmla="*/ 191148 h 2457568"/>
                    <a:gd name="connsiteX1197" fmla="*/ 709301 w 2368274"/>
                    <a:gd name="connsiteY1197" fmla="*/ 222716 h 2457568"/>
                    <a:gd name="connsiteX1198" fmla="*/ 716611 w 2368274"/>
                    <a:gd name="connsiteY1198" fmla="*/ 218218 h 2457568"/>
                    <a:gd name="connsiteX1199" fmla="*/ 705204 w 2368274"/>
                    <a:gd name="connsiteY1199" fmla="*/ 227536 h 2457568"/>
                    <a:gd name="connsiteX1200" fmla="*/ 903615 w 2368274"/>
                    <a:gd name="connsiteY1200" fmla="*/ 123190 h 2457568"/>
                    <a:gd name="connsiteX1201" fmla="*/ 844895 w 2368274"/>
                    <a:gd name="connsiteY1201" fmla="*/ 166647 h 2457568"/>
                    <a:gd name="connsiteX1202" fmla="*/ 865057 w 2368274"/>
                    <a:gd name="connsiteY1202" fmla="*/ 158294 h 2457568"/>
                    <a:gd name="connsiteX1203" fmla="*/ 803606 w 2368274"/>
                    <a:gd name="connsiteY1203" fmla="*/ 198939 h 2457568"/>
                    <a:gd name="connsiteX1204" fmla="*/ 780472 w 2368274"/>
                    <a:gd name="connsiteY1204" fmla="*/ 220307 h 2457568"/>
                    <a:gd name="connsiteX1205" fmla="*/ 778785 w 2368274"/>
                    <a:gd name="connsiteY1205" fmla="*/ 221431 h 2457568"/>
                    <a:gd name="connsiteX1206" fmla="*/ 768342 w 2368274"/>
                    <a:gd name="connsiteY1206" fmla="*/ 219343 h 2457568"/>
                    <a:gd name="connsiteX1207" fmla="*/ 746493 w 2368274"/>
                    <a:gd name="connsiteY1207" fmla="*/ 228902 h 2457568"/>
                    <a:gd name="connsiteX1208" fmla="*/ 746172 w 2368274"/>
                    <a:gd name="connsiteY1208" fmla="*/ 240630 h 2457568"/>
                    <a:gd name="connsiteX1209" fmla="*/ 723841 w 2368274"/>
                    <a:gd name="connsiteY1209" fmla="*/ 244084 h 2457568"/>
                    <a:gd name="connsiteX1210" fmla="*/ 727214 w 2368274"/>
                    <a:gd name="connsiteY1210" fmla="*/ 257739 h 2457568"/>
                    <a:gd name="connsiteX1211" fmla="*/ 721591 w 2368274"/>
                    <a:gd name="connsiteY1211" fmla="*/ 261274 h 2457568"/>
                    <a:gd name="connsiteX1212" fmla="*/ 664318 w 2368274"/>
                    <a:gd name="connsiteY1212" fmla="*/ 296618 h 2457568"/>
                    <a:gd name="connsiteX1213" fmla="*/ 653875 w 2368274"/>
                    <a:gd name="connsiteY1213" fmla="*/ 295092 h 2457568"/>
                    <a:gd name="connsiteX1214" fmla="*/ 643031 w 2368274"/>
                    <a:gd name="connsiteY1214" fmla="*/ 301759 h 2457568"/>
                    <a:gd name="connsiteX1215" fmla="*/ 624073 w 2368274"/>
                    <a:gd name="connsiteY1215" fmla="*/ 322082 h 2457568"/>
                    <a:gd name="connsiteX1216" fmla="*/ 622226 w 2368274"/>
                    <a:gd name="connsiteY1216" fmla="*/ 320235 h 2457568"/>
                    <a:gd name="connsiteX1217" fmla="*/ 610337 w 2368274"/>
                    <a:gd name="connsiteY1217" fmla="*/ 328589 h 2457568"/>
                    <a:gd name="connsiteX1218" fmla="*/ 611221 w 2368274"/>
                    <a:gd name="connsiteY1218" fmla="*/ 319672 h 2457568"/>
                    <a:gd name="connsiteX1219" fmla="*/ 595798 w 2368274"/>
                    <a:gd name="connsiteY1219" fmla="*/ 329954 h 2457568"/>
                    <a:gd name="connsiteX1220" fmla="*/ 593790 w 2368274"/>
                    <a:gd name="connsiteY1220" fmla="*/ 328910 h 2457568"/>
                    <a:gd name="connsiteX1221" fmla="*/ 596360 w 2368274"/>
                    <a:gd name="connsiteY1221" fmla="*/ 319512 h 2457568"/>
                    <a:gd name="connsiteX1222" fmla="*/ 588488 w 2368274"/>
                    <a:gd name="connsiteY1222" fmla="*/ 325777 h 2457568"/>
                    <a:gd name="connsiteX1223" fmla="*/ 591058 w 2368274"/>
                    <a:gd name="connsiteY1223" fmla="*/ 317905 h 2457568"/>
                    <a:gd name="connsiteX1224" fmla="*/ 584472 w 2368274"/>
                    <a:gd name="connsiteY1224" fmla="*/ 324331 h 2457568"/>
                    <a:gd name="connsiteX1225" fmla="*/ 581258 w 2368274"/>
                    <a:gd name="connsiteY1225" fmla="*/ 322404 h 2457568"/>
                    <a:gd name="connsiteX1226" fmla="*/ 592424 w 2368274"/>
                    <a:gd name="connsiteY1226" fmla="*/ 310435 h 2457568"/>
                    <a:gd name="connsiteX1227" fmla="*/ 580295 w 2368274"/>
                    <a:gd name="connsiteY1227" fmla="*/ 321600 h 2457568"/>
                    <a:gd name="connsiteX1228" fmla="*/ 614755 w 2368274"/>
                    <a:gd name="connsiteY1228" fmla="*/ 299510 h 2457568"/>
                    <a:gd name="connsiteX1229" fmla="*/ 639496 w 2368274"/>
                    <a:gd name="connsiteY1229" fmla="*/ 275894 h 2457568"/>
                    <a:gd name="connsiteX1230" fmla="*/ 631222 w 2368274"/>
                    <a:gd name="connsiteY1230" fmla="*/ 294289 h 2457568"/>
                    <a:gd name="connsiteX1231" fmla="*/ 647770 w 2368274"/>
                    <a:gd name="connsiteY1231" fmla="*/ 285854 h 2457568"/>
                    <a:gd name="connsiteX1232" fmla="*/ 639175 w 2368274"/>
                    <a:gd name="connsiteY1232" fmla="*/ 288184 h 2457568"/>
                    <a:gd name="connsiteX1233" fmla="*/ 663755 w 2368274"/>
                    <a:gd name="connsiteY1233" fmla="*/ 267941 h 2457568"/>
                    <a:gd name="connsiteX1234" fmla="*/ 662711 w 2368274"/>
                    <a:gd name="connsiteY1234" fmla="*/ 266575 h 2457568"/>
                    <a:gd name="connsiteX1235" fmla="*/ 662229 w 2368274"/>
                    <a:gd name="connsiteY1235" fmla="*/ 266656 h 2457568"/>
                    <a:gd name="connsiteX1236" fmla="*/ 668173 w 2368274"/>
                    <a:gd name="connsiteY1236" fmla="*/ 261756 h 2457568"/>
                    <a:gd name="connsiteX1237" fmla="*/ 650341 w 2368274"/>
                    <a:gd name="connsiteY1237" fmla="*/ 270512 h 2457568"/>
                    <a:gd name="connsiteX1238" fmla="*/ 661827 w 2368274"/>
                    <a:gd name="connsiteY1238" fmla="*/ 261997 h 2457568"/>
                    <a:gd name="connsiteX1239" fmla="*/ 704803 w 2368274"/>
                    <a:gd name="connsiteY1239" fmla="*/ 244405 h 2457568"/>
                    <a:gd name="connsiteX1240" fmla="*/ 695083 w 2368274"/>
                    <a:gd name="connsiteY1240" fmla="*/ 241995 h 2457568"/>
                    <a:gd name="connsiteX1241" fmla="*/ 748341 w 2368274"/>
                    <a:gd name="connsiteY1241" fmla="*/ 192834 h 2457568"/>
                    <a:gd name="connsiteX1242" fmla="*/ 739665 w 2368274"/>
                    <a:gd name="connsiteY1242" fmla="*/ 220949 h 2457568"/>
                    <a:gd name="connsiteX1243" fmla="*/ 804169 w 2368274"/>
                    <a:gd name="connsiteY1243" fmla="*/ 178376 h 2457568"/>
                    <a:gd name="connsiteX1244" fmla="*/ 803044 w 2368274"/>
                    <a:gd name="connsiteY1244" fmla="*/ 176206 h 2457568"/>
                    <a:gd name="connsiteX1245" fmla="*/ 813567 w 2368274"/>
                    <a:gd name="connsiteY1245" fmla="*/ 167210 h 2457568"/>
                    <a:gd name="connsiteX1246" fmla="*/ 771475 w 2368274"/>
                    <a:gd name="connsiteY1246" fmla="*/ 186087 h 2457568"/>
                    <a:gd name="connsiteX1247" fmla="*/ 783123 w 2368274"/>
                    <a:gd name="connsiteY1247" fmla="*/ 179420 h 2457568"/>
                    <a:gd name="connsiteX1248" fmla="*/ 762639 w 2368274"/>
                    <a:gd name="connsiteY1248" fmla="*/ 185203 h 2457568"/>
                    <a:gd name="connsiteX1249" fmla="*/ 799831 w 2368274"/>
                    <a:gd name="connsiteY1249" fmla="*/ 165041 h 2457568"/>
                    <a:gd name="connsiteX1250" fmla="*/ 767057 w 2368274"/>
                    <a:gd name="connsiteY1250" fmla="*/ 176447 h 2457568"/>
                    <a:gd name="connsiteX1251" fmla="*/ 803606 w 2368274"/>
                    <a:gd name="connsiteY1251" fmla="*/ 159016 h 2457568"/>
                    <a:gd name="connsiteX1252" fmla="*/ 781677 w 2368274"/>
                    <a:gd name="connsiteY1252" fmla="*/ 165844 h 2457568"/>
                    <a:gd name="connsiteX1253" fmla="*/ 782078 w 2368274"/>
                    <a:gd name="connsiteY1253" fmla="*/ 163675 h 2457568"/>
                    <a:gd name="connsiteX1254" fmla="*/ 803205 w 2368274"/>
                    <a:gd name="connsiteY1254" fmla="*/ 151385 h 2457568"/>
                    <a:gd name="connsiteX1255" fmla="*/ 801357 w 2368274"/>
                    <a:gd name="connsiteY1255" fmla="*/ 151626 h 2457568"/>
                    <a:gd name="connsiteX1256" fmla="*/ 814933 w 2368274"/>
                    <a:gd name="connsiteY1256" fmla="*/ 143834 h 2457568"/>
                    <a:gd name="connsiteX1257" fmla="*/ 808346 w 2368274"/>
                    <a:gd name="connsiteY1257" fmla="*/ 145200 h 2457568"/>
                    <a:gd name="connsiteX1258" fmla="*/ 870038 w 2368274"/>
                    <a:gd name="connsiteY1258" fmla="*/ 119977 h 2457568"/>
                    <a:gd name="connsiteX1259" fmla="*/ 849474 w 2368274"/>
                    <a:gd name="connsiteY1259" fmla="*/ 139095 h 2457568"/>
                    <a:gd name="connsiteX1260" fmla="*/ 901205 w 2368274"/>
                    <a:gd name="connsiteY1260" fmla="*/ 106883 h 2457568"/>
                    <a:gd name="connsiteX1261" fmla="*/ 898152 w 2368274"/>
                    <a:gd name="connsiteY1261" fmla="*/ 110177 h 2457568"/>
                    <a:gd name="connsiteX1262" fmla="*/ 914539 w 2368274"/>
                    <a:gd name="connsiteY1262" fmla="*/ 100698 h 2457568"/>
                    <a:gd name="connsiteX1263" fmla="*/ 892449 w 2368274"/>
                    <a:gd name="connsiteY1263" fmla="*/ 116041 h 2457568"/>
                    <a:gd name="connsiteX1264" fmla="*/ 922572 w 2368274"/>
                    <a:gd name="connsiteY1264" fmla="*/ 97646 h 2457568"/>
                    <a:gd name="connsiteX1265" fmla="*/ 907149 w 2368274"/>
                    <a:gd name="connsiteY1265" fmla="*/ 109454 h 2457568"/>
                    <a:gd name="connsiteX1266" fmla="*/ 924500 w 2368274"/>
                    <a:gd name="connsiteY1266" fmla="*/ 97967 h 2457568"/>
                    <a:gd name="connsiteX1267" fmla="*/ 919038 w 2368274"/>
                    <a:gd name="connsiteY1267" fmla="*/ 102787 h 2457568"/>
                    <a:gd name="connsiteX1268" fmla="*/ 926910 w 2368274"/>
                    <a:gd name="connsiteY1268" fmla="*/ 98449 h 2457568"/>
                    <a:gd name="connsiteX1269" fmla="*/ 908354 w 2368274"/>
                    <a:gd name="connsiteY1269" fmla="*/ 112587 h 2457568"/>
                    <a:gd name="connsiteX1270" fmla="*/ 920082 w 2368274"/>
                    <a:gd name="connsiteY1270" fmla="*/ 106562 h 2457568"/>
                    <a:gd name="connsiteX1271" fmla="*/ 903615 w 2368274"/>
                    <a:gd name="connsiteY1271" fmla="*/ 123190 h 2457568"/>
                    <a:gd name="connsiteX1272" fmla="*/ 5066 w 2368274"/>
                    <a:gd name="connsiteY1272" fmla="*/ 803006 h 2457568"/>
                    <a:gd name="connsiteX1273" fmla="*/ 15027 w 2368274"/>
                    <a:gd name="connsiteY1273" fmla="*/ 774489 h 2457568"/>
                    <a:gd name="connsiteX1274" fmla="*/ 16392 w 2368274"/>
                    <a:gd name="connsiteY1274" fmla="*/ 773606 h 2457568"/>
                    <a:gd name="connsiteX1275" fmla="*/ 18481 w 2368274"/>
                    <a:gd name="connsiteY1275" fmla="*/ 767180 h 2457568"/>
                    <a:gd name="connsiteX1276" fmla="*/ 17276 w 2368274"/>
                    <a:gd name="connsiteY1276" fmla="*/ 766055 h 2457568"/>
                    <a:gd name="connsiteX1277" fmla="*/ 21854 w 2368274"/>
                    <a:gd name="connsiteY1277" fmla="*/ 755291 h 2457568"/>
                    <a:gd name="connsiteX1278" fmla="*/ 20649 w 2368274"/>
                    <a:gd name="connsiteY1278" fmla="*/ 756335 h 2457568"/>
                    <a:gd name="connsiteX1279" fmla="*/ 26915 w 2368274"/>
                    <a:gd name="connsiteY1279" fmla="*/ 739547 h 2457568"/>
                    <a:gd name="connsiteX1280" fmla="*/ 24987 w 2368274"/>
                    <a:gd name="connsiteY1280" fmla="*/ 742680 h 2457568"/>
                    <a:gd name="connsiteX1281" fmla="*/ 25309 w 2368274"/>
                    <a:gd name="connsiteY1281" fmla="*/ 739145 h 2457568"/>
                    <a:gd name="connsiteX1282" fmla="*/ 24104 w 2368274"/>
                    <a:gd name="connsiteY1282" fmla="*/ 738101 h 2457568"/>
                    <a:gd name="connsiteX1283" fmla="*/ 32859 w 2368274"/>
                    <a:gd name="connsiteY1283" fmla="*/ 716734 h 2457568"/>
                    <a:gd name="connsiteX1284" fmla="*/ 36876 w 2368274"/>
                    <a:gd name="connsiteY1284" fmla="*/ 706050 h 2457568"/>
                    <a:gd name="connsiteX1285" fmla="*/ 36956 w 2368274"/>
                    <a:gd name="connsiteY1285" fmla="*/ 705327 h 2457568"/>
                    <a:gd name="connsiteX1286" fmla="*/ 37840 w 2368274"/>
                    <a:gd name="connsiteY1286" fmla="*/ 703801 h 2457568"/>
                    <a:gd name="connsiteX1287" fmla="*/ 35912 w 2368274"/>
                    <a:gd name="connsiteY1287" fmla="*/ 706612 h 2457568"/>
                    <a:gd name="connsiteX1288" fmla="*/ 50451 w 2368274"/>
                    <a:gd name="connsiteY1288" fmla="*/ 675927 h 2457568"/>
                    <a:gd name="connsiteX1289" fmla="*/ 50291 w 2368274"/>
                    <a:gd name="connsiteY1289" fmla="*/ 677614 h 2457568"/>
                    <a:gd name="connsiteX1290" fmla="*/ 53263 w 2368274"/>
                    <a:gd name="connsiteY1290" fmla="*/ 671268 h 2457568"/>
                    <a:gd name="connsiteX1291" fmla="*/ 49327 w 2368274"/>
                    <a:gd name="connsiteY1291" fmla="*/ 676088 h 2457568"/>
                    <a:gd name="connsiteX1292" fmla="*/ 74148 w 2368274"/>
                    <a:gd name="connsiteY1292" fmla="*/ 631425 h 2457568"/>
                    <a:gd name="connsiteX1293" fmla="*/ 66517 w 2368274"/>
                    <a:gd name="connsiteY1293" fmla="*/ 642832 h 2457568"/>
                    <a:gd name="connsiteX1294" fmla="*/ 77763 w 2368274"/>
                    <a:gd name="connsiteY1294" fmla="*/ 622589 h 2457568"/>
                    <a:gd name="connsiteX1295" fmla="*/ 76397 w 2368274"/>
                    <a:gd name="connsiteY1295" fmla="*/ 623553 h 2457568"/>
                    <a:gd name="connsiteX1296" fmla="*/ 123469 w 2368274"/>
                    <a:gd name="connsiteY1296" fmla="*/ 544189 h 2457568"/>
                    <a:gd name="connsiteX1297" fmla="*/ 121140 w 2368274"/>
                    <a:gd name="connsiteY1297" fmla="*/ 547482 h 2457568"/>
                    <a:gd name="connsiteX1298" fmla="*/ 121300 w 2368274"/>
                    <a:gd name="connsiteY1298" fmla="*/ 547081 h 2457568"/>
                    <a:gd name="connsiteX1299" fmla="*/ 111259 w 2368274"/>
                    <a:gd name="connsiteY1299" fmla="*/ 562022 h 2457568"/>
                    <a:gd name="connsiteX1300" fmla="*/ 119051 w 2368274"/>
                    <a:gd name="connsiteY1300" fmla="*/ 549732 h 2457568"/>
                    <a:gd name="connsiteX1301" fmla="*/ 120818 w 2368274"/>
                    <a:gd name="connsiteY1301" fmla="*/ 547001 h 2457568"/>
                    <a:gd name="connsiteX1302" fmla="*/ 119694 w 2368274"/>
                    <a:gd name="connsiteY1302" fmla="*/ 548607 h 2457568"/>
                    <a:gd name="connsiteX1303" fmla="*/ 123871 w 2368274"/>
                    <a:gd name="connsiteY1303" fmla="*/ 541779 h 2457568"/>
                    <a:gd name="connsiteX1304" fmla="*/ 115677 w 2368274"/>
                    <a:gd name="connsiteY1304" fmla="*/ 554150 h 2457568"/>
                    <a:gd name="connsiteX1305" fmla="*/ 130538 w 2368274"/>
                    <a:gd name="connsiteY1305" fmla="*/ 531256 h 2457568"/>
                    <a:gd name="connsiteX1306" fmla="*/ 141945 w 2368274"/>
                    <a:gd name="connsiteY1306" fmla="*/ 514869 h 2457568"/>
                    <a:gd name="connsiteX1307" fmla="*/ 138491 w 2368274"/>
                    <a:gd name="connsiteY1307" fmla="*/ 519769 h 2457568"/>
                    <a:gd name="connsiteX1308" fmla="*/ 144274 w 2368274"/>
                    <a:gd name="connsiteY1308" fmla="*/ 511576 h 2457568"/>
                    <a:gd name="connsiteX1309" fmla="*/ 70694 w 2368274"/>
                    <a:gd name="connsiteY1309" fmla="*/ 626927 h 2457568"/>
                    <a:gd name="connsiteX1310" fmla="*/ 11813 w 2368274"/>
                    <a:gd name="connsiteY1310" fmla="*/ 746294 h 2457568"/>
                    <a:gd name="connsiteX1311" fmla="*/ 86 w 2368274"/>
                    <a:gd name="connsiteY1311" fmla="*/ 804211 h 2457568"/>
                    <a:gd name="connsiteX1312" fmla="*/ 567 w 2368274"/>
                    <a:gd name="connsiteY1312" fmla="*/ 802604 h 2457568"/>
                    <a:gd name="connsiteX1313" fmla="*/ 327 w 2368274"/>
                    <a:gd name="connsiteY1313" fmla="*/ 802283 h 2457568"/>
                    <a:gd name="connsiteX1314" fmla="*/ 9404 w 2368274"/>
                    <a:gd name="connsiteY1314" fmla="*/ 777944 h 2457568"/>
                    <a:gd name="connsiteX1315" fmla="*/ 5708 w 2368274"/>
                    <a:gd name="connsiteY1315" fmla="*/ 798427 h 2457568"/>
                    <a:gd name="connsiteX1316" fmla="*/ 6030 w 2368274"/>
                    <a:gd name="connsiteY1316" fmla="*/ 797544 h 2457568"/>
                    <a:gd name="connsiteX1317" fmla="*/ 3620 w 2368274"/>
                    <a:gd name="connsiteY1317" fmla="*/ 802524 h 2457568"/>
                    <a:gd name="connsiteX1318" fmla="*/ 3459 w 2368274"/>
                    <a:gd name="connsiteY1318" fmla="*/ 801962 h 2457568"/>
                    <a:gd name="connsiteX1319" fmla="*/ 6592 w 2368274"/>
                    <a:gd name="connsiteY1319" fmla="*/ 797785 h 2457568"/>
                    <a:gd name="connsiteX1320" fmla="*/ 2495 w 2368274"/>
                    <a:gd name="connsiteY1320" fmla="*/ 806299 h 2457568"/>
                    <a:gd name="connsiteX1321" fmla="*/ 5066 w 2368274"/>
                    <a:gd name="connsiteY1321" fmla="*/ 803006 h 2457568"/>
                    <a:gd name="connsiteX1322" fmla="*/ 919118 w 2368274"/>
                    <a:gd name="connsiteY1322" fmla="*/ 126242 h 2457568"/>
                    <a:gd name="connsiteX1323" fmla="*/ 954623 w 2368274"/>
                    <a:gd name="connsiteY1323" fmla="*/ 80295 h 2457568"/>
                    <a:gd name="connsiteX1324" fmla="*/ 651626 w 2368274"/>
                    <a:gd name="connsiteY1324" fmla="*/ 102144 h 2457568"/>
                    <a:gd name="connsiteX1325" fmla="*/ 395460 w 2368274"/>
                    <a:gd name="connsiteY1325" fmla="*/ 253000 h 2457568"/>
                    <a:gd name="connsiteX1326" fmla="*/ 394898 w 2368274"/>
                    <a:gd name="connsiteY1326" fmla="*/ 253321 h 2457568"/>
                    <a:gd name="connsiteX1327" fmla="*/ 278502 w 2368274"/>
                    <a:gd name="connsiteY1327" fmla="*/ 368271 h 2457568"/>
                    <a:gd name="connsiteX1328" fmla="*/ 284366 w 2368274"/>
                    <a:gd name="connsiteY1328" fmla="*/ 362889 h 2457568"/>
                    <a:gd name="connsiteX1329" fmla="*/ 288945 w 2368274"/>
                    <a:gd name="connsiteY1329" fmla="*/ 361041 h 2457568"/>
                    <a:gd name="connsiteX1330" fmla="*/ 280591 w 2368274"/>
                    <a:gd name="connsiteY1330" fmla="*/ 369797 h 2457568"/>
                    <a:gd name="connsiteX1331" fmla="*/ 293042 w 2368274"/>
                    <a:gd name="connsiteY1331" fmla="*/ 367467 h 2457568"/>
                    <a:gd name="connsiteX1332" fmla="*/ 275611 w 2368274"/>
                    <a:gd name="connsiteY1332" fmla="*/ 379517 h 2457568"/>
                    <a:gd name="connsiteX1333" fmla="*/ 295451 w 2368274"/>
                    <a:gd name="connsiteY1333" fmla="*/ 375420 h 2457568"/>
                    <a:gd name="connsiteX1334" fmla="*/ 283804 w 2368274"/>
                    <a:gd name="connsiteY1334" fmla="*/ 390281 h 2457568"/>
                    <a:gd name="connsiteX1335" fmla="*/ 287901 w 2368274"/>
                    <a:gd name="connsiteY1335" fmla="*/ 393012 h 2457568"/>
                    <a:gd name="connsiteX1336" fmla="*/ 251753 w 2368274"/>
                    <a:gd name="connsiteY1336" fmla="*/ 474384 h 2457568"/>
                    <a:gd name="connsiteX1337" fmla="*/ 261553 w 2368274"/>
                    <a:gd name="connsiteY1337" fmla="*/ 511817 h 2457568"/>
                    <a:gd name="connsiteX1338" fmla="*/ 248219 w 2368274"/>
                    <a:gd name="connsiteY1338" fmla="*/ 535835 h 2457568"/>
                    <a:gd name="connsiteX1339" fmla="*/ 254565 w 2368274"/>
                    <a:gd name="connsiteY1339" fmla="*/ 525714 h 2457568"/>
                    <a:gd name="connsiteX1340" fmla="*/ 256412 w 2368274"/>
                    <a:gd name="connsiteY1340" fmla="*/ 527963 h 2457568"/>
                    <a:gd name="connsiteX1341" fmla="*/ 291033 w 2368274"/>
                    <a:gd name="connsiteY1341" fmla="*/ 496555 h 2457568"/>
                    <a:gd name="connsiteX1342" fmla="*/ 285170 w 2368274"/>
                    <a:gd name="connsiteY1342" fmla="*/ 498241 h 2457568"/>
                    <a:gd name="connsiteX1343" fmla="*/ 320996 w 2368274"/>
                    <a:gd name="connsiteY1343" fmla="*/ 528284 h 2457568"/>
                    <a:gd name="connsiteX1344" fmla="*/ 323406 w 2368274"/>
                    <a:gd name="connsiteY1344" fmla="*/ 523224 h 2457568"/>
                    <a:gd name="connsiteX1345" fmla="*/ 333607 w 2368274"/>
                    <a:gd name="connsiteY1345" fmla="*/ 523625 h 2457568"/>
                    <a:gd name="connsiteX1346" fmla="*/ 335615 w 2368274"/>
                    <a:gd name="connsiteY1346" fmla="*/ 528204 h 2457568"/>
                    <a:gd name="connsiteX1347" fmla="*/ 332643 w 2368274"/>
                    <a:gd name="connsiteY1347" fmla="*/ 532381 h 2457568"/>
                    <a:gd name="connsiteX1348" fmla="*/ 337704 w 2368274"/>
                    <a:gd name="connsiteY1348" fmla="*/ 532220 h 2457568"/>
                    <a:gd name="connsiteX1349" fmla="*/ 322120 w 2368274"/>
                    <a:gd name="connsiteY1349" fmla="*/ 553347 h 2457568"/>
                    <a:gd name="connsiteX1350" fmla="*/ 322843 w 2368274"/>
                    <a:gd name="connsiteY1350" fmla="*/ 555435 h 2457568"/>
                    <a:gd name="connsiteX1351" fmla="*/ 322763 w 2368274"/>
                    <a:gd name="connsiteY1351" fmla="*/ 555515 h 2457568"/>
                    <a:gd name="connsiteX1352" fmla="*/ 322683 w 2368274"/>
                    <a:gd name="connsiteY1352" fmla="*/ 555596 h 2457568"/>
                    <a:gd name="connsiteX1353" fmla="*/ 322602 w 2368274"/>
                    <a:gd name="connsiteY1353" fmla="*/ 555676 h 2457568"/>
                    <a:gd name="connsiteX1354" fmla="*/ 322522 w 2368274"/>
                    <a:gd name="connsiteY1354" fmla="*/ 555756 h 2457568"/>
                    <a:gd name="connsiteX1355" fmla="*/ 322442 w 2368274"/>
                    <a:gd name="connsiteY1355" fmla="*/ 555837 h 2457568"/>
                    <a:gd name="connsiteX1356" fmla="*/ 322361 w 2368274"/>
                    <a:gd name="connsiteY1356" fmla="*/ 555917 h 2457568"/>
                    <a:gd name="connsiteX1357" fmla="*/ 322281 w 2368274"/>
                    <a:gd name="connsiteY1357" fmla="*/ 555997 h 2457568"/>
                    <a:gd name="connsiteX1358" fmla="*/ 360357 w 2368274"/>
                    <a:gd name="connsiteY1358" fmla="*/ 530212 h 2457568"/>
                    <a:gd name="connsiteX1359" fmla="*/ 423253 w 2368274"/>
                    <a:gd name="connsiteY1359" fmla="*/ 440084 h 2457568"/>
                    <a:gd name="connsiteX1360" fmla="*/ 383652 w 2368274"/>
                    <a:gd name="connsiteY1360" fmla="*/ 505310 h 2457568"/>
                    <a:gd name="connsiteX1361" fmla="*/ 395460 w 2368274"/>
                    <a:gd name="connsiteY1361" fmla="*/ 515030 h 2457568"/>
                    <a:gd name="connsiteX1362" fmla="*/ 377225 w 2368274"/>
                    <a:gd name="connsiteY1362" fmla="*/ 546278 h 2457568"/>
                    <a:gd name="connsiteX1363" fmla="*/ 392407 w 2368274"/>
                    <a:gd name="connsiteY1363" fmla="*/ 545314 h 2457568"/>
                    <a:gd name="connsiteX1364" fmla="*/ 382045 w 2368274"/>
                    <a:gd name="connsiteY1364" fmla="*/ 581220 h 2457568"/>
                    <a:gd name="connsiteX1365" fmla="*/ 457152 w 2368274"/>
                    <a:gd name="connsiteY1365" fmla="*/ 532622 h 2457568"/>
                    <a:gd name="connsiteX1366" fmla="*/ 461811 w 2368274"/>
                    <a:gd name="connsiteY1366" fmla="*/ 543145 h 2457568"/>
                    <a:gd name="connsiteX1367" fmla="*/ 436106 w 2368274"/>
                    <a:gd name="connsiteY1367" fmla="*/ 581622 h 2457568"/>
                    <a:gd name="connsiteX1368" fmla="*/ 393853 w 2368274"/>
                    <a:gd name="connsiteY1368" fmla="*/ 610058 h 2457568"/>
                    <a:gd name="connsiteX1369" fmla="*/ 378350 w 2368274"/>
                    <a:gd name="connsiteY1369" fmla="*/ 599374 h 2457568"/>
                    <a:gd name="connsiteX1370" fmla="*/ 363007 w 2368274"/>
                    <a:gd name="connsiteY1370" fmla="*/ 621143 h 2457568"/>
                    <a:gd name="connsiteX1371" fmla="*/ 342443 w 2368274"/>
                    <a:gd name="connsiteY1371" fmla="*/ 605720 h 2457568"/>
                    <a:gd name="connsiteX1372" fmla="*/ 334571 w 2368274"/>
                    <a:gd name="connsiteY1372" fmla="*/ 599455 h 2457568"/>
                    <a:gd name="connsiteX1373" fmla="*/ 299147 w 2368274"/>
                    <a:gd name="connsiteY1373" fmla="*/ 649981 h 2457568"/>
                    <a:gd name="connsiteX1374" fmla="*/ 288945 w 2368274"/>
                    <a:gd name="connsiteY1374" fmla="*/ 633755 h 2457568"/>
                    <a:gd name="connsiteX1375" fmla="*/ 273201 w 2368274"/>
                    <a:gd name="connsiteY1375" fmla="*/ 680024 h 2457568"/>
                    <a:gd name="connsiteX1376" fmla="*/ 271273 w 2368274"/>
                    <a:gd name="connsiteY1376" fmla="*/ 675043 h 2457568"/>
                    <a:gd name="connsiteX1377" fmla="*/ 220425 w 2368274"/>
                    <a:gd name="connsiteY1377" fmla="*/ 735048 h 2457568"/>
                    <a:gd name="connsiteX1378" fmla="*/ 217935 w 2368274"/>
                    <a:gd name="connsiteY1378" fmla="*/ 752158 h 2457568"/>
                    <a:gd name="connsiteX1379" fmla="*/ 228297 w 2368274"/>
                    <a:gd name="connsiteY1379" fmla="*/ 750632 h 2457568"/>
                    <a:gd name="connsiteX1380" fmla="*/ 218337 w 2368274"/>
                    <a:gd name="connsiteY1380" fmla="*/ 783647 h 2457568"/>
                    <a:gd name="connsiteX1381" fmla="*/ 223799 w 2368274"/>
                    <a:gd name="connsiteY1381" fmla="*/ 782924 h 2457568"/>
                    <a:gd name="connsiteX1382" fmla="*/ 222514 w 2368274"/>
                    <a:gd name="connsiteY1382" fmla="*/ 784049 h 2457568"/>
                    <a:gd name="connsiteX1383" fmla="*/ 277056 w 2368274"/>
                    <a:gd name="connsiteY1383" fmla="*/ 841162 h 2457568"/>
                    <a:gd name="connsiteX1384" fmla="*/ 300833 w 2368274"/>
                    <a:gd name="connsiteY1384" fmla="*/ 902371 h 2457568"/>
                    <a:gd name="connsiteX1385" fmla="*/ 307340 w 2368274"/>
                    <a:gd name="connsiteY1385" fmla="*/ 923980 h 2457568"/>
                    <a:gd name="connsiteX1386" fmla="*/ 324691 w 2368274"/>
                    <a:gd name="connsiteY1386" fmla="*/ 933941 h 2457568"/>
                    <a:gd name="connsiteX1387" fmla="*/ 324691 w 2368274"/>
                    <a:gd name="connsiteY1387" fmla="*/ 922855 h 2457568"/>
                    <a:gd name="connsiteX1388" fmla="*/ 329752 w 2368274"/>
                    <a:gd name="connsiteY1388" fmla="*/ 923578 h 2457568"/>
                    <a:gd name="connsiteX1389" fmla="*/ 408393 w 2368274"/>
                    <a:gd name="connsiteY1389" fmla="*/ 746053 h 2457568"/>
                    <a:gd name="connsiteX1390" fmla="*/ 403412 w 2368274"/>
                    <a:gd name="connsiteY1390" fmla="*/ 745893 h 2457568"/>
                    <a:gd name="connsiteX1391" fmla="*/ 415462 w 2368274"/>
                    <a:gd name="connsiteY1391" fmla="*/ 730711 h 2457568"/>
                    <a:gd name="connsiteX1392" fmla="*/ 439962 w 2368274"/>
                    <a:gd name="connsiteY1392" fmla="*/ 717376 h 2457568"/>
                    <a:gd name="connsiteX1393" fmla="*/ 440443 w 2368274"/>
                    <a:gd name="connsiteY1393" fmla="*/ 719947 h 2457568"/>
                    <a:gd name="connsiteX1394" fmla="*/ 440524 w 2368274"/>
                    <a:gd name="connsiteY1394" fmla="*/ 720268 h 2457568"/>
                    <a:gd name="connsiteX1395" fmla="*/ 453537 w 2368274"/>
                    <a:gd name="connsiteY1395" fmla="*/ 723481 h 2457568"/>
                    <a:gd name="connsiteX1396" fmla="*/ 470647 w 2368274"/>
                    <a:gd name="connsiteY1396" fmla="*/ 720830 h 2457568"/>
                    <a:gd name="connsiteX1397" fmla="*/ 473458 w 2368274"/>
                    <a:gd name="connsiteY1397" fmla="*/ 732237 h 2457568"/>
                    <a:gd name="connsiteX1398" fmla="*/ 479162 w 2368274"/>
                    <a:gd name="connsiteY1398" fmla="*/ 732880 h 2457568"/>
                    <a:gd name="connsiteX1399" fmla="*/ 477957 w 2368274"/>
                    <a:gd name="connsiteY1399" fmla="*/ 738181 h 2457568"/>
                    <a:gd name="connsiteX1400" fmla="*/ 483178 w 2368274"/>
                    <a:gd name="connsiteY1400" fmla="*/ 738181 h 2457568"/>
                    <a:gd name="connsiteX1401" fmla="*/ 484062 w 2368274"/>
                    <a:gd name="connsiteY1401" fmla="*/ 743001 h 2457568"/>
                    <a:gd name="connsiteX1402" fmla="*/ 504626 w 2368274"/>
                    <a:gd name="connsiteY1402" fmla="*/ 760914 h 2457568"/>
                    <a:gd name="connsiteX1403" fmla="*/ 487194 w 2368274"/>
                    <a:gd name="connsiteY1403" fmla="*/ 773686 h 2457568"/>
                    <a:gd name="connsiteX1404" fmla="*/ 498360 w 2368274"/>
                    <a:gd name="connsiteY1404" fmla="*/ 788386 h 2457568"/>
                    <a:gd name="connsiteX1405" fmla="*/ 486070 w 2368274"/>
                    <a:gd name="connsiteY1405" fmla="*/ 799712 h 2457568"/>
                    <a:gd name="connsiteX1406" fmla="*/ 505188 w 2368274"/>
                    <a:gd name="connsiteY1406" fmla="*/ 801399 h 2457568"/>
                    <a:gd name="connsiteX1407" fmla="*/ 507196 w 2368274"/>
                    <a:gd name="connsiteY1407" fmla="*/ 807665 h 2457568"/>
                    <a:gd name="connsiteX1408" fmla="*/ 496111 w 2368274"/>
                    <a:gd name="connsiteY1408" fmla="*/ 818911 h 2457568"/>
                    <a:gd name="connsiteX1409" fmla="*/ 512257 w 2368274"/>
                    <a:gd name="connsiteY1409" fmla="*/ 809753 h 2457568"/>
                    <a:gd name="connsiteX1410" fmla="*/ 510329 w 2368274"/>
                    <a:gd name="connsiteY1410" fmla="*/ 815135 h 2457568"/>
                    <a:gd name="connsiteX1411" fmla="*/ 514827 w 2368274"/>
                    <a:gd name="connsiteY1411" fmla="*/ 811521 h 2457568"/>
                    <a:gd name="connsiteX1412" fmla="*/ 515309 w 2368274"/>
                    <a:gd name="connsiteY1412" fmla="*/ 816421 h 2457568"/>
                    <a:gd name="connsiteX1413" fmla="*/ 534427 w 2368274"/>
                    <a:gd name="connsiteY1413" fmla="*/ 806139 h 2457568"/>
                    <a:gd name="connsiteX1414" fmla="*/ 538926 w 2368274"/>
                    <a:gd name="connsiteY1414" fmla="*/ 809834 h 2457568"/>
                    <a:gd name="connsiteX1415" fmla="*/ 548886 w 2368274"/>
                    <a:gd name="connsiteY1415" fmla="*/ 795214 h 2457568"/>
                    <a:gd name="connsiteX1416" fmla="*/ 551939 w 2368274"/>
                    <a:gd name="connsiteY1416" fmla="*/ 793286 h 2457568"/>
                    <a:gd name="connsiteX1417" fmla="*/ 556758 w 2368274"/>
                    <a:gd name="connsiteY1417" fmla="*/ 791599 h 2457568"/>
                    <a:gd name="connsiteX1418" fmla="*/ 553465 w 2368274"/>
                    <a:gd name="connsiteY1418" fmla="*/ 787583 h 2457568"/>
                    <a:gd name="connsiteX1419" fmla="*/ 559329 w 2368274"/>
                    <a:gd name="connsiteY1419" fmla="*/ 784049 h 2457568"/>
                    <a:gd name="connsiteX1420" fmla="*/ 564550 w 2368274"/>
                    <a:gd name="connsiteY1420" fmla="*/ 774329 h 2457568"/>
                    <a:gd name="connsiteX1421" fmla="*/ 564149 w 2368274"/>
                    <a:gd name="connsiteY1421" fmla="*/ 779148 h 2457568"/>
                    <a:gd name="connsiteX1422" fmla="*/ 569772 w 2368274"/>
                    <a:gd name="connsiteY1422" fmla="*/ 778586 h 2457568"/>
                    <a:gd name="connsiteX1423" fmla="*/ 570816 w 2368274"/>
                    <a:gd name="connsiteY1423" fmla="*/ 783647 h 2457568"/>
                    <a:gd name="connsiteX1424" fmla="*/ 572904 w 2368274"/>
                    <a:gd name="connsiteY1424" fmla="*/ 783486 h 2457568"/>
                    <a:gd name="connsiteX1425" fmla="*/ 573949 w 2368274"/>
                    <a:gd name="connsiteY1425" fmla="*/ 793206 h 2457568"/>
                    <a:gd name="connsiteX1426" fmla="*/ 577885 w 2368274"/>
                    <a:gd name="connsiteY1426" fmla="*/ 796419 h 2457568"/>
                    <a:gd name="connsiteX1427" fmla="*/ 572985 w 2368274"/>
                    <a:gd name="connsiteY1427" fmla="*/ 798829 h 2457568"/>
                    <a:gd name="connsiteX1428" fmla="*/ 578206 w 2368274"/>
                    <a:gd name="connsiteY1428" fmla="*/ 799712 h 2457568"/>
                    <a:gd name="connsiteX1429" fmla="*/ 580937 w 2368274"/>
                    <a:gd name="connsiteY1429" fmla="*/ 809914 h 2457568"/>
                    <a:gd name="connsiteX1430" fmla="*/ 585837 w 2368274"/>
                    <a:gd name="connsiteY1430" fmla="*/ 812967 h 2457568"/>
                    <a:gd name="connsiteX1431" fmla="*/ 578286 w 2368274"/>
                    <a:gd name="connsiteY1431" fmla="*/ 819714 h 2457568"/>
                    <a:gd name="connsiteX1432" fmla="*/ 591219 w 2368274"/>
                    <a:gd name="connsiteY1432" fmla="*/ 822686 h 2457568"/>
                    <a:gd name="connsiteX1433" fmla="*/ 588488 w 2368274"/>
                    <a:gd name="connsiteY1433" fmla="*/ 829353 h 2457568"/>
                    <a:gd name="connsiteX1434" fmla="*/ 597003 w 2368274"/>
                    <a:gd name="connsiteY1434" fmla="*/ 842929 h 2457568"/>
                    <a:gd name="connsiteX1435" fmla="*/ 593468 w 2368274"/>
                    <a:gd name="connsiteY1435" fmla="*/ 846544 h 2457568"/>
                    <a:gd name="connsiteX1436" fmla="*/ 582062 w 2368274"/>
                    <a:gd name="connsiteY1436" fmla="*/ 845499 h 2457568"/>
                    <a:gd name="connsiteX1437" fmla="*/ 588167 w 2368274"/>
                    <a:gd name="connsiteY1437" fmla="*/ 847990 h 2457568"/>
                    <a:gd name="connsiteX1438" fmla="*/ 588809 w 2368274"/>
                    <a:gd name="connsiteY1438" fmla="*/ 852809 h 2457568"/>
                    <a:gd name="connsiteX1439" fmla="*/ 594031 w 2368274"/>
                    <a:gd name="connsiteY1439" fmla="*/ 854014 h 2457568"/>
                    <a:gd name="connsiteX1440" fmla="*/ 594513 w 2368274"/>
                    <a:gd name="connsiteY1440" fmla="*/ 858914 h 2457568"/>
                    <a:gd name="connsiteX1441" fmla="*/ 608249 w 2368274"/>
                    <a:gd name="connsiteY1441" fmla="*/ 865501 h 2457568"/>
                    <a:gd name="connsiteX1442" fmla="*/ 610177 w 2368274"/>
                    <a:gd name="connsiteY1442" fmla="*/ 865903 h 2457568"/>
                    <a:gd name="connsiteX1443" fmla="*/ 603991 w 2368274"/>
                    <a:gd name="connsiteY1443" fmla="*/ 879639 h 2457568"/>
                    <a:gd name="connsiteX1444" fmla="*/ 619655 w 2368274"/>
                    <a:gd name="connsiteY1444" fmla="*/ 876586 h 2457568"/>
                    <a:gd name="connsiteX1445" fmla="*/ 617165 w 2368274"/>
                    <a:gd name="connsiteY1445" fmla="*/ 881727 h 2457568"/>
                    <a:gd name="connsiteX1446" fmla="*/ 639175 w 2368274"/>
                    <a:gd name="connsiteY1446" fmla="*/ 886145 h 2457568"/>
                    <a:gd name="connsiteX1447" fmla="*/ 641665 w 2368274"/>
                    <a:gd name="connsiteY1447" fmla="*/ 890644 h 2457568"/>
                    <a:gd name="connsiteX1448" fmla="*/ 603590 w 2368274"/>
                    <a:gd name="connsiteY1448" fmla="*/ 906067 h 2457568"/>
                    <a:gd name="connsiteX1449" fmla="*/ 607686 w 2368274"/>
                    <a:gd name="connsiteY1449" fmla="*/ 909119 h 2457568"/>
                    <a:gd name="connsiteX1450" fmla="*/ 604232 w 2368274"/>
                    <a:gd name="connsiteY1450" fmla="*/ 911449 h 2457568"/>
                    <a:gd name="connsiteX1451" fmla="*/ 605036 w 2368274"/>
                    <a:gd name="connsiteY1451" fmla="*/ 911770 h 2457568"/>
                    <a:gd name="connsiteX1452" fmla="*/ 603590 w 2368274"/>
                    <a:gd name="connsiteY1452" fmla="*/ 913216 h 2457568"/>
                    <a:gd name="connsiteX1453" fmla="*/ 642147 w 2368274"/>
                    <a:gd name="connsiteY1453" fmla="*/ 897873 h 2457568"/>
                    <a:gd name="connsiteX1454" fmla="*/ 647288 w 2368274"/>
                    <a:gd name="connsiteY1454" fmla="*/ 907191 h 2457568"/>
                    <a:gd name="connsiteX1455" fmla="*/ 671065 w 2368274"/>
                    <a:gd name="connsiteY1455" fmla="*/ 911127 h 2457568"/>
                    <a:gd name="connsiteX1456" fmla="*/ 664237 w 2368274"/>
                    <a:gd name="connsiteY1456" fmla="*/ 926229 h 2457568"/>
                    <a:gd name="connsiteX1457" fmla="*/ 670744 w 2368274"/>
                    <a:gd name="connsiteY1457" fmla="*/ 927032 h 2457568"/>
                    <a:gd name="connsiteX1458" fmla="*/ 472896 w 2368274"/>
                    <a:gd name="connsiteY1458" fmla="*/ 979968 h 2457568"/>
                    <a:gd name="connsiteX1459" fmla="*/ 473699 w 2368274"/>
                    <a:gd name="connsiteY1459" fmla="*/ 980852 h 2457568"/>
                    <a:gd name="connsiteX1460" fmla="*/ 433937 w 2368274"/>
                    <a:gd name="connsiteY1460" fmla="*/ 990572 h 2457568"/>
                    <a:gd name="connsiteX1461" fmla="*/ 429840 w 2368274"/>
                    <a:gd name="connsiteY1461" fmla="*/ 1007280 h 2457568"/>
                    <a:gd name="connsiteX1462" fmla="*/ 528724 w 2368274"/>
                    <a:gd name="connsiteY1462" fmla="*/ 990170 h 2457568"/>
                    <a:gd name="connsiteX1463" fmla="*/ 496673 w 2368274"/>
                    <a:gd name="connsiteY1463" fmla="*/ 1001657 h 2457568"/>
                    <a:gd name="connsiteX1464" fmla="*/ 519326 w 2368274"/>
                    <a:gd name="connsiteY1464" fmla="*/ 1005673 h 2457568"/>
                    <a:gd name="connsiteX1465" fmla="*/ 518362 w 2368274"/>
                    <a:gd name="connsiteY1465" fmla="*/ 1006557 h 2457568"/>
                    <a:gd name="connsiteX1466" fmla="*/ 523262 w 2368274"/>
                    <a:gd name="connsiteY1466" fmla="*/ 1007601 h 2457568"/>
                    <a:gd name="connsiteX1467" fmla="*/ 516193 w 2368274"/>
                    <a:gd name="connsiteY1467" fmla="*/ 1015634 h 2457568"/>
                    <a:gd name="connsiteX1468" fmla="*/ 519968 w 2368274"/>
                    <a:gd name="connsiteY1468" fmla="*/ 1018767 h 2457568"/>
                    <a:gd name="connsiteX1469" fmla="*/ 714924 w 2368274"/>
                    <a:gd name="connsiteY1469" fmla="*/ 1021578 h 2457568"/>
                    <a:gd name="connsiteX1470" fmla="*/ 715085 w 2368274"/>
                    <a:gd name="connsiteY1470" fmla="*/ 1014991 h 2457568"/>
                    <a:gd name="connsiteX1471" fmla="*/ 688416 w 2368274"/>
                    <a:gd name="connsiteY1471" fmla="*/ 1016839 h 2457568"/>
                    <a:gd name="connsiteX1472" fmla="*/ 688496 w 2368274"/>
                    <a:gd name="connsiteY1472" fmla="*/ 1011939 h 2457568"/>
                    <a:gd name="connsiteX1473" fmla="*/ 668896 w 2368274"/>
                    <a:gd name="connsiteY1473" fmla="*/ 1022060 h 2457568"/>
                    <a:gd name="connsiteX1474" fmla="*/ 683436 w 2368274"/>
                    <a:gd name="connsiteY1474" fmla="*/ 1010172 h 2457568"/>
                    <a:gd name="connsiteX1475" fmla="*/ 660944 w 2368274"/>
                    <a:gd name="connsiteY1475" fmla="*/ 1013305 h 2457568"/>
                    <a:gd name="connsiteX1476" fmla="*/ 665844 w 2368274"/>
                    <a:gd name="connsiteY1476" fmla="*/ 1010734 h 2457568"/>
                    <a:gd name="connsiteX1477" fmla="*/ 629134 w 2368274"/>
                    <a:gd name="connsiteY1477" fmla="*/ 1011296 h 2457568"/>
                    <a:gd name="connsiteX1478" fmla="*/ 625037 w 2368274"/>
                    <a:gd name="connsiteY1478" fmla="*/ 1009770 h 2457568"/>
                    <a:gd name="connsiteX1479" fmla="*/ 612506 w 2368274"/>
                    <a:gd name="connsiteY1479" fmla="*/ 1010011 h 2457568"/>
                    <a:gd name="connsiteX1480" fmla="*/ 613229 w 2368274"/>
                    <a:gd name="connsiteY1480" fmla="*/ 1004147 h 2457568"/>
                    <a:gd name="connsiteX1481" fmla="*/ 626081 w 2368274"/>
                    <a:gd name="connsiteY1481" fmla="*/ 996516 h 2457568"/>
                    <a:gd name="connsiteX1482" fmla="*/ 615960 w 2368274"/>
                    <a:gd name="connsiteY1482" fmla="*/ 996355 h 2457568"/>
                    <a:gd name="connsiteX1483" fmla="*/ 672591 w 2368274"/>
                    <a:gd name="connsiteY1483" fmla="*/ 945106 h 2457568"/>
                    <a:gd name="connsiteX1484" fmla="*/ 652027 w 2368274"/>
                    <a:gd name="connsiteY1484" fmla="*/ 977719 h 2457568"/>
                    <a:gd name="connsiteX1485" fmla="*/ 660382 w 2368274"/>
                    <a:gd name="connsiteY1485" fmla="*/ 970409 h 2457568"/>
                    <a:gd name="connsiteX1486" fmla="*/ 671226 w 2368274"/>
                    <a:gd name="connsiteY1486" fmla="*/ 971213 h 2457568"/>
                    <a:gd name="connsiteX1487" fmla="*/ 664559 w 2368274"/>
                    <a:gd name="connsiteY1487" fmla="*/ 979968 h 2457568"/>
                    <a:gd name="connsiteX1488" fmla="*/ 675323 w 2368274"/>
                    <a:gd name="connsiteY1488" fmla="*/ 979486 h 2457568"/>
                    <a:gd name="connsiteX1489" fmla="*/ 676527 w 2368274"/>
                    <a:gd name="connsiteY1489" fmla="*/ 984547 h 2457568"/>
                    <a:gd name="connsiteX1490" fmla="*/ 699501 w 2368274"/>
                    <a:gd name="connsiteY1490" fmla="*/ 981334 h 2457568"/>
                    <a:gd name="connsiteX1491" fmla="*/ 700465 w 2368274"/>
                    <a:gd name="connsiteY1491" fmla="*/ 986636 h 2457568"/>
                    <a:gd name="connsiteX1492" fmla="*/ 694601 w 2368274"/>
                    <a:gd name="connsiteY1492" fmla="*/ 990893 h 2457568"/>
                    <a:gd name="connsiteX1493" fmla="*/ 699742 w 2368274"/>
                    <a:gd name="connsiteY1493" fmla="*/ 991214 h 2457568"/>
                    <a:gd name="connsiteX1494" fmla="*/ 698537 w 2368274"/>
                    <a:gd name="connsiteY1494" fmla="*/ 996114 h 2457568"/>
                    <a:gd name="connsiteX1495" fmla="*/ 708980 w 2368274"/>
                    <a:gd name="connsiteY1495" fmla="*/ 993946 h 2457568"/>
                    <a:gd name="connsiteX1496" fmla="*/ 703036 w 2368274"/>
                    <a:gd name="connsiteY1496" fmla="*/ 1002460 h 2457568"/>
                    <a:gd name="connsiteX1497" fmla="*/ 708337 w 2368274"/>
                    <a:gd name="connsiteY1497" fmla="*/ 1003665 h 2457568"/>
                    <a:gd name="connsiteX1498" fmla="*/ 711229 w 2368274"/>
                    <a:gd name="connsiteY1498" fmla="*/ 1009690 h 2457568"/>
                    <a:gd name="connsiteX1499" fmla="*/ 746895 w 2368274"/>
                    <a:gd name="connsiteY1499" fmla="*/ 653355 h 2457568"/>
                    <a:gd name="connsiteX1500" fmla="*/ 742075 w 2368274"/>
                    <a:gd name="connsiteY1500" fmla="*/ 643475 h 2457568"/>
                    <a:gd name="connsiteX1501" fmla="*/ 746493 w 2368274"/>
                    <a:gd name="connsiteY1501" fmla="*/ 640261 h 2457568"/>
                    <a:gd name="connsiteX1502" fmla="*/ 749867 w 2368274"/>
                    <a:gd name="connsiteY1502" fmla="*/ 634237 h 2457568"/>
                    <a:gd name="connsiteX1503" fmla="*/ 745047 w 2368274"/>
                    <a:gd name="connsiteY1503" fmla="*/ 636325 h 2457568"/>
                    <a:gd name="connsiteX1504" fmla="*/ 748421 w 2368274"/>
                    <a:gd name="connsiteY1504" fmla="*/ 630060 h 2457568"/>
                    <a:gd name="connsiteX1505" fmla="*/ 753000 w 2368274"/>
                    <a:gd name="connsiteY1505" fmla="*/ 614878 h 2457568"/>
                    <a:gd name="connsiteX1506" fmla="*/ 754687 w 2368274"/>
                    <a:gd name="connsiteY1506" fmla="*/ 604837 h 2457568"/>
                    <a:gd name="connsiteX1507" fmla="*/ 755409 w 2368274"/>
                    <a:gd name="connsiteY1507" fmla="*/ 600579 h 2457568"/>
                    <a:gd name="connsiteX1508" fmla="*/ 745368 w 2368274"/>
                    <a:gd name="connsiteY1508" fmla="*/ 604997 h 2457568"/>
                    <a:gd name="connsiteX1509" fmla="*/ 754847 w 2368274"/>
                    <a:gd name="connsiteY1509" fmla="*/ 600097 h 2457568"/>
                    <a:gd name="connsiteX1510" fmla="*/ 758141 w 2368274"/>
                    <a:gd name="connsiteY1510" fmla="*/ 585317 h 2457568"/>
                    <a:gd name="connsiteX1511" fmla="*/ 752759 w 2368274"/>
                    <a:gd name="connsiteY1511" fmla="*/ 586120 h 2457568"/>
                    <a:gd name="connsiteX1512" fmla="*/ 757096 w 2368274"/>
                    <a:gd name="connsiteY1512" fmla="*/ 583068 h 2457568"/>
                    <a:gd name="connsiteX1513" fmla="*/ 764808 w 2368274"/>
                    <a:gd name="connsiteY1513" fmla="*/ 550053 h 2457568"/>
                    <a:gd name="connsiteX1514" fmla="*/ 743601 w 2368274"/>
                    <a:gd name="connsiteY1514" fmla="*/ 549892 h 2457568"/>
                    <a:gd name="connsiteX1515" fmla="*/ 746332 w 2368274"/>
                    <a:gd name="connsiteY1515" fmla="*/ 542101 h 2457568"/>
                    <a:gd name="connsiteX1516" fmla="*/ 764728 w 2368274"/>
                    <a:gd name="connsiteY1516" fmla="*/ 544269 h 2457568"/>
                    <a:gd name="connsiteX1517" fmla="*/ 769547 w 2368274"/>
                    <a:gd name="connsiteY1517" fmla="*/ 526758 h 2457568"/>
                    <a:gd name="connsiteX1518" fmla="*/ 753321 w 2368274"/>
                    <a:gd name="connsiteY1518" fmla="*/ 522019 h 2457568"/>
                    <a:gd name="connsiteX1519" fmla="*/ 770110 w 2368274"/>
                    <a:gd name="connsiteY1519" fmla="*/ 524268 h 2457568"/>
                    <a:gd name="connsiteX1520" fmla="*/ 776134 w 2368274"/>
                    <a:gd name="connsiteY1520" fmla="*/ 496796 h 2457568"/>
                    <a:gd name="connsiteX1521" fmla="*/ 772841 w 2368274"/>
                    <a:gd name="connsiteY1521" fmla="*/ 490209 h 2457568"/>
                    <a:gd name="connsiteX1522" fmla="*/ 772760 w 2368274"/>
                    <a:gd name="connsiteY1522" fmla="*/ 478481 h 2457568"/>
                    <a:gd name="connsiteX1523" fmla="*/ 752839 w 2368274"/>
                    <a:gd name="connsiteY1523" fmla="*/ 499527 h 2457568"/>
                    <a:gd name="connsiteX1524" fmla="*/ 750188 w 2368274"/>
                    <a:gd name="connsiteY1524" fmla="*/ 495109 h 2457568"/>
                    <a:gd name="connsiteX1525" fmla="*/ 761354 w 2368274"/>
                    <a:gd name="connsiteY1525" fmla="*/ 473019 h 2457568"/>
                    <a:gd name="connsiteX1526" fmla="*/ 757177 w 2368274"/>
                    <a:gd name="connsiteY1526" fmla="*/ 476151 h 2457568"/>
                    <a:gd name="connsiteX1527" fmla="*/ 764888 w 2368274"/>
                    <a:gd name="connsiteY1527" fmla="*/ 454463 h 2457568"/>
                    <a:gd name="connsiteX1528" fmla="*/ 760229 w 2368274"/>
                    <a:gd name="connsiteY1528" fmla="*/ 452294 h 2457568"/>
                    <a:gd name="connsiteX1529" fmla="*/ 765290 w 2368274"/>
                    <a:gd name="connsiteY1529" fmla="*/ 440968 h 2457568"/>
                    <a:gd name="connsiteX1530" fmla="*/ 760711 w 2368274"/>
                    <a:gd name="connsiteY1530" fmla="*/ 439281 h 2457568"/>
                    <a:gd name="connsiteX1531" fmla="*/ 764326 w 2368274"/>
                    <a:gd name="connsiteY1531" fmla="*/ 422091 h 2457568"/>
                    <a:gd name="connsiteX1532" fmla="*/ 758944 w 2368274"/>
                    <a:gd name="connsiteY1532" fmla="*/ 420243 h 2457568"/>
                    <a:gd name="connsiteX1533" fmla="*/ 706329 w 2368274"/>
                    <a:gd name="connsiteY1533" fmla="*/ 358873 h 2457568"/>
                    <a:gd name="connsiteX1534" fmla="*/ 707454 w 2368274"/>
                    <a:gd name="connsiteY1534" fmla="*/ 323126 h 2457568"/>
                    <a:gd name="connsiteX1535" fmla="*/ 698457 w 2368274"/>
                    <a:gd name="connsiteY1535" fmla="*/ 328348 h 2457568"/>
                    <a:gd name="connsiteX1536" fmla="*/ 733239 w 2368274"/>
                    <a:gd name="connsiteY1536" fmla="*/ 313728 h 2457568"/>
                    <a:gd name="connsiteX1537" fmla="*/ 820314 w 2368274"/>
                    <a:gd name="connsiteY1537" fmla="*/ 212515 h 2457568"/>
                    <a:gd name="connsiteX1538" fmla="*/ 817985 w 2368274"/>
                    <a:gd name="connsiteY1538" fmla="*/ 208017 h 2457568"/>
                    <a:gd name="connsiteX1539" fmla="*/ 888915 w 2368274"/>
                    <a:gd name="connsiteY1539" fmla="*/ 145441 h 2457568"/>
                    <a:gd name="connsiteX1540" fmla="*/ 884256 w 2368274"/>
                    <a:gd name="connsiteY1540" fmla="*/ 164077 h 2457568"/>
                    <a:gd name="connsiteX1541" fmla="*/ 909238 w 2368274"/>
                    <a:gd name="connsiteY1541" fmla="*/ 130339 h 2457568"/>
                    <a:gd name="connsiteX1542" fmla="*/ 900562 w 2368274"/>
                    <a:gd name="connsiteY1542" fmla="*/ 152510 h 2457568"/>
                    <a:gd name="connsiteX1543" fmla="*/ 919118 w 2368274"/>
                    <a:gd name="connsiteY1543" fmla="*/ 126242 h 2457568"/>
                    <a:gd name="connsiteX1544" fmla="*/ 1559252 w 2368274"/>
                    <a:gd name="connsiteY1544" fmla="*/ 97887 h 2457568"/>
                    <a:gd name="connsiteX1545" fmla="*/ 1573871 w 2368274"/>
                    <a:gd name="connsiteY1545" fmla="*/ 104715 h 2457568"/>
                    <a:gd name="connsiteX1546" fmla="*/ 1574674 w 2368274"/>
                    <a:gd name="connsiteY1546" fmla="*/ 105197 h 2457568"/>
                    <a:gd name="connsiteX1547" fmla="*/ 1559252 w 2368274"/>
                    <a:gd name="connsiteY1547" fmla="*/ 97887 h 2457568"/>
                    <a:gd name="connsiteX1548" fmla="*/ 1226854 w 2368274"/>
                    <a:gd name="connsiteY1548" fmla="*/ 9526 h 2457568"/>
                    <a:gd name="connsiteX1549" fmla="*/ 1234807 w 2368274"/>
                    <a:gd name="connsiteY1549" fmla="*/ 12578 h 2457568"/>
                    <a:gd name="connsiteX1550" fmla="*/ 1224927 w 2368274"/>
                    <a:gd name="connsiteY1550" fmla="*/ 12257 h 2457568"/>
                    <a:gd name="connsiteX1551" fmla="*/ 1220508 w 2368274"/>
                    <a:gd name="connsiteY1551" fmla="*/ 12498 h 2457568"/>
                    <a:gd name="connsiteX1552" fmla="*/ 1205808 w 2368274"/>
                    <a:gd name="connsiteY1552" fmla="*/ 13221 h 2457568"/>
                    <a:gd name="connsiteX1553" fmla="*/ 1204443 w 2368274"/>
                    <a:gd name="connsiteY1553" fmla="*/ 13221 h 2457568"/>
                    <a:gd name="connsiteX1554" fmla="*/ 1203158 w 2368274"/>
                    <a:gd name="connsiteY1554" fmla="*/ 13221 h 2457568"/>
                    <a:gd name="connsiteX1555" fmla="*/ 1198659 w 2368274"/>
                    <a:gd name="connsiteY1555" fmla="*/ 12498 h 2457568"/>
                    <a:gd name="connsiteX1556" fmla="*/ 1191349 w 2368274"/>
                    <a:gd name="connsiteY1556" fmla="*/ 12498 h 2457568"/>
                    <a:gd name="connsiteX1557" fmla="*/ 1194322 w 2368274"/>
                    <a:gd name="connsiteY1557" fmla="*/ 12096 h 2457568"/>
                    <a:gd name="connsiteX1558" fmla="*/ 1216331 w 2368274"/>
                    <a:gd name="connsiteY1558" fmla="*/ 11052 h 2457568"/>
                    <a:gd name="connsiteX1559" fmla="*/ 1226854 w 2368274"/>
                    <a:gd name="connsiteY1559" fmla="*/ 9526 h 2457568"/>
                    <a:gd name="connsiteX1560" fmla="*/ 1187574 w 2368274"/>
                    <a:gd name="connsiteY1560" fmla="*/ 15872 h 2457568"/>
                    <a:gd name="connsiteX1561" fmla="*/ 1192153 w 2368274"/>
                    <a:gd name="connsiteY1561" fmla="*/ 15872 h 2457568"/>
                    <a:gd name="connsiteX1562" fmla="*/ 1186771 w 2368274"/>
                    <a:gd name="connsiteY1562" fmla="*/ 16273 h 2457568"/>
                    <a:gd name="connsiteX1563" fmla="*/ 1187413 w 2368274"/>
                    <a:gd name="connsiteY1563" fmla="*/ 16032 h 2457568"/>
                    <a:gd name="connsiteX1564" fmla="*/ 1187333 w 2368274"/>
                    <a:gd name="connsiteY1564" fmla="*/ 15952 h 2457568"/>
                    <a:gd name="connsiteX1565" fmla="*/ 1187574 w 2368274"/>
                    <a:gd name="connsiteY1565" fmla="*/ 15872 h 2457568"/>
                    <a:gd name="connsiteX1566" fmla="*/ 1203399 w 2368274"/>
                    <a:gd name="connsiteY1566" fmla="*/ 22700 h 2457568"/>
                    <a:gd name="connsiteX1567" fmla="*/ 1203881 w 2368274"/>
                    <a:gd name="connsiteY1567" fmla="*/ 25029 h 2457568"/>
                    <a:gd name="connsiteX1568" fmla="*/ 1203318 w 2368274"/>
                    <a:gd name="connsiteY1568" fmla="*/ 22539 h 2457568"/>
                    <a:gd name="connsiteX1569" fmla="*/ 1203399 w 2368274"/>
                    <a:gd name="connsiteY1569" fmla="*/ 22700 h 2457568"/>
                    <a:gd name="connsiteX1570" fmla="*/ 1188297 w 2368274"/>
                    <a:gd name="connsiteY1570" fmla="*/ 16434 h 2457568"/>
                    <a:gd name="connsiteX1571" fmla="*/ 1235369 w 2368274"/>
                    <a:gd name="connsiteY1571" fmla="*/ 17238 h 2457568"/>
                    <a:gd name="connsiteX1572" fmla="*/ 1235209 w 2368274"/>
                    <a:gd name="connsiteY1572" fmla="*/ 17720 h 2457568"/>
                    <a:gd name="connsiteX1573" fmla="*/ 1225649 w 2368274"/>
                    <a:gd name="connsiteY1573" fmla="*/ 19085 h 2457568"/>
                    <a:gd name="connsiteX1574" fmla="*/ 1184040 w 2368274"/>
                    <a:gd name="connsiteY1574" fmla="*/ 22700 h 2457568"/>
                    <a:gd name="connsiteX1575" fmla="*/ 1186690 w 2368274"/>
                    <a:gd name="connsiteY1575" fmla="*/ 22057 h 2457568"/>
                    <a:gd name="connsiteX1576" fmla="*/ 1171990 w 2368274"/>
                    <a:gd name="connsiteY1576" fmla="*/ 21013 h 2457568"/>
                    <a:gd name="connsiteX1577" fmla="*/ 1192795 w 2368274"/>
                    <a:gd name="connsiteY1577" fmla="*/ 18603 h 2457568"/>
                    <a:gd name="connsiteX1578" fmla="*/ 1180104 w 2368274"/>
                    <a:gd name="connsiteY1578" fmla="*/ 18041 h 2457568"/>
                    <a:gd name="connsiteX1579" fmla="*/ 1188297 w 2368274"/>
                    <a:gd name="connsiteY1579" fmla="*/ 16434 h 2457568"/>
                    <a:gd name="connsiteX1580" fmla="*/ 1146205 w 2368274"/>
                    <a:gd name="connsiteY1580" fmla="*/ 24467 h 2457568"/>
                    <a:gd name="connsiteX1581" fmla="*/ 1184040 w 2368274"/>
                    <a:gd name="connsiteY1581" fmla="*/ 23342 h 2457568"/>
                    <a:gd name="connsiteX1582" fmla="*/ 1183959 w 2368274"/>
                    <a:gd name="connsiteY1582" fmla="*/ 26716 h 2457568"/>
                    <a:gd name="connsiteX1583" fmla="*/ 1179702 w 2368274"/>
                    <a:gd name="connsiteY1583" fmla="*/ 27037 h 2457568"/>
                    <a:gd name="connsiteX1584" fmla="*/ 1149017 w 2368274"/>
                    <a:gd name="connsiteY1584" fmla="*/ 29206 h 2457568"/>
                    <a:gd name="connsiteX1585" fmla="*/ 1142671 w 2368274"/>
                    <a:gd name="connsiteY1585" fmla="*/ 29929 h 2457568"/>
                    <a:gd name="connsiteX1586" fmla="*/ 1113351 w 2368274"/>
                    <a:gd name="connsiteY1586" fmla="*/ 32580 h 2457568"/>
                    <a:gd name="connsiteX1587" fmla="*/ 1146205 w 2368274"/>
                    <a:gd name="connsiteY1587" fmla="*/ 24467 h 2457568"/>
                    <a:gd name="connsiteX1588" fmla="*/ 651545 w 2368274"/>
                    <a:gd name="connsiteY1588" fmla="*/ 102144 h 2457568"/>
                    <a:gd name="connsiteX1589" fmla="*/ 954543 w 2368274"/>
                    <a:gd name="connsiteY1589" fmla="*/ 80295 h 2457568"/>
                    <a:gd name="connsiteX1590" fmla="*/ 1601183 w 2368274"/>
                    <a:gd name="connsiteY1590" fmla="*/ 116683 h 2457568"/>
                    <a:gd name="connsiteX1591" fmla="*/ 1577566 w 2368274"/>
                    <a:gd name="connsiteY1591" fmla="*/ 107044 h 2457568"/>
                    <a:gd name="connsiteX1592" fmla="*/ 1746978 w 2368274"/>
                    <a:gd name="connsiteY1592" fmla="*/ 172431 h 2457568"/>
                    <a:gd name="connsiteX1593" fmla="*/ 1567927 w 2368274"/>
                    <a:gd name="connsiteY1593" fmla="*/ 92826 h 2457568"/>
                    <a:gd name="connsiteX1594" fmla="*/ 1616606 w 2368274"/>
                    <a:gd name="connsiteY1594" fmla="*/ 105598 h 2457568"/>
                    <a:gd name="connsiteX1595" fmla="*/ 1458520 w 2368274"/>
                    <a:gd name="connsiteY1595" fmla="*/ 48646 h 2457568"/>
                    <a:gd name="connsiteX1596" fmla="*/ 1456994 w 2368274"/>
                    <a:gd name="connsiteY1596" fmla="*/ 47441 h 2457568"/>
                    <a:gd name="connsiteX1597" fmla="*/ 1376345 w 2368274"/>
                    <a:gd name="connsiteY1597" fmla="*/ 26716 h 2457568"/>
                    <a:gd name="connsiteX1598" fmla="*/ 1377630 w 2368274"/>
                    <a:gd name="connsiteY1598" fmla="*/ 27359 h 2457568"/>
                    <a:gd name="connsiteX1599" fmla="*/ 1375461 w 2368274"/>
                    <a:gd name="connsiteY1599" fmla="*/ 27118 h 2457568"/>
                    <a:gd name="connsiteX1600" fmla="*/ 1357709 w 2368274"/>
                    <a:gd name="connsiteY1600" fmla="*/ 22539 h 2457568"/>
                    <a:gd name="connsiteX1601" fmla="*/ 1366946 w 2368274"/>
                    <a:gd name="connsiteY1601" fmla="*/ 23664 h 2457568"/>
                    <a:gd name="connsiteX1602" fmla="*/ 1310476 w 2368274"/>
                    <a:gd name="connsiteY1602" fmla="*/ 13301 h 2457568"/>
                    <a:gd name="connsiteX1603" fmla="*/ 1258584 w 2368274"/>
                    <a:gd name="connsiteY1603" fmla="*/ 8964 h 2457568"/>
                    <a:gd name="connsiteX1604" fmla="*/ 1274087 w 2368274"/>
                    <a:gd name="connsiteY1604" fmla="*/ 9124 h 2457568"/>
                    <a:gd name="connsiteX1605" fmla="*/ 1261877 w 2368274"/>
                    <a:gd name="connsiteY1605" fmla="*/ 7197 h 2457568"/>
                    <a:gd name="connsiteX1606" fmla="*/ 1280433 w 2368274"/>
                    <a:gd name="connsiteY1606" fmla="*/ 8401 h 2457568"/>
                    <a:gd name="connsiteX1607" fmla="*/ 1196169 w 2368274"/>
                    <a:gd name="connsiteY1607" fmla="*/ 1252 h 2457568"/>
                    <a:gd name="connsiteX1608" fmla="*/ 1118733 w 2368274"/>
                    <a:gd name="connsiteY1608" fmla="*/ 288 h 2457568"/>
                    <a:gd name="connsiteX1609" fmla="*/ 1051016 w 2368274"/>
                    <a:gd name="connsiteY1609" fmla="*/ 3421 h 2457568"/>
                    <a:gd name="connsiteX1610" fmla="*/ 988762 w 2368274"/>
                    <a:gd name="connsiteY1610" fmla="*/ 9606 h 2457568"/>
                    <a:gd name="connsiteX1611" fmla="*/ 928757 w 2368274"/>
                    <a:gd name="connsiteY1611" fmla="*/ 18603 h 2457568"/>
                    <a:gd name="connsiteX1612" fmla="*/ 868351 w 2368274"/>
                    <a:gd name="connsiteY1612" fmla="*/ 30813 h 2457568"/>
                    <a:gd name="connsiteX1613" fmla="*/ 804651 w 2368274"/>
                    <a:gd name="connsiteY1613" fmla="*/ 47119 h 2457568"/>
                    <a:gd name="connsiteX1614" fmla="*/ 734042 w 2368274"/>
                    <a:gd name="connsiteY1614" fmla="*/ 69611 h 2457568"/>
                    <a:gd name="connsiteX1615" fmla="*/ 651545 w 2368274"/>
                    <a:gd name="connsiteY1615" fmla="*/ 102144 h 2457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  <a:cxn ang="0">
                      <a:pos x="connsiteX1605" y="connsiteY1605"/>
                    </a:cxn>
                    <a:cxn ang="0">
                      <a:pos x="connsiteX1606" y="connsiteY1606"/>
                    </a:cxn>
                    <a:cxn ang="0">
                      <a:pos x="connsiteX1607" y="connsiteY1607"/>
                    </a:cxn>
                    <a:cxn ang="0">
                      <a:pos x="connsiteX1608" y="connsiteY1608"/>
                    </a:cxn>
                    <a:cxn ang="0">
                      <a:pos x="connsiteX1609" y="connsiteY1609"/>
                    </a:cxn>
                    <a:cxn ang="0">
                      <a:pos x="connsiteX1610" y="connsiteY1610"/>
                    </a:cxn>
                    <a:cxn ang="0">
                      <a:pos x="connsiteX1611" y="connsiteY1611"/>
                    </a:cxn>
                    <a:cxn ang="0">
                      <a:pos x="connsiteX1612" y="connsiteY1612"/>
                    </a:cxn>
                    <a:cxn ang="0">
                      <a:pos x="connsiteX1613" y="connsiteY1613"/>
                    </a:cxn>
                    <a:cxn ang="0">
                      <a:pos x="connsiteX1614" y="connsiteY1614"/>
                    </a:cxn>
                    <a:cxn ang="0">
                      <a:pos x="connsiteX1615" y="connsiteY1615"/>
                    </a:cxn>
                  </a:cxnLst>
                  <a:rect l="l" t="t" r="r" b="b"/>
                  <a:pathLst>
                    <a:path w="2368274" h="2457568">
                      <a:moveTo>
                        <a:pt x="881444" y="2409566"/>
                      </a:moveTo>
                      <a:cubicBezTo>
                        <a:pt x="902490" y="2419928"/>
                        <a:pt x="902490" y="2419928"/>
                        <a:pt x="902651" y="2420651"/>
                      </a:cubicBezTo>
                      <a:cubicBezTo>
                        <a:pt x="902329" y="2420651"/>
                        <a:pt x="901365" y="2420651"/>
                        <a:pt x="896867" y="2419205"/>
                      </a:cubicBezTo>
                      <a:cubicBezTo>
                        <a:pt x="893895" y="2418241"/>
                        <a:pt x="874134" y="2413422"/>
                        <a:pt x="874054" y="2413422"/>
                      </a:cubicBezTo>
                      <a:cubicBezTo>
                        <a:pt x="871403" y="2413020"/>
                        <a:pt x="869957" y="2412779"/>
                        <a:pt x="866905" y="2412779"/>
                      </a:cubicBezTo>
                      <a:cubicBezTo>
                        <a:pt x="864254" y="2412779"/>
                        <a:pt x="861683" y="2414145"/>
                        <a:pt x="859033" y="2413502"/>
                      </a:cubicBezTo>
                      <a:cubicBezTo>
                        <a:pt x="856703" y="2412940"/>
                        <a:pt x="852526" y="2411976"/>
                        <a:pt x="850598" y="2411815"/>
                      </a:cubicBezTo>
                      <a:cubicBezTo>
                        <a:pt x="850518" y="2411815"/>
                        <a:pt x="850357" y="2411815"/>
                        <a:pt x="850197" y="2411815"/>
                      </a:cubicBezTo>
                      <a:lnTo>
                        <a:pt x="840718" y="2409405"/>
                      </a:lnTo>
                      <a:cubicBezTo>
                        <a:pt x="839192" y="2408762"/>
                        <a:pt x="837264" y="2407879"/>
                        <a:pt x="835737" y="2407236"/>
                      </a:cubicBezTo>
                      <a:cubicBezTo>
                        <a:pt x="843610" y="2407076"/>
                        <a:pt x="851401" y="2408120"/>
                        <a:pt x="859274" y="2407959"/>
                      </a:cubicBezTo>
                      <a:cubicBezTo>
                        <a:pt x="854133" y="2407076"/>
                        <a:pt x="850919" y="2406272"/>
                        <a:pt x="846582" y="2404987"/>
                      </a:cubicBezTo>
                      <a:cubicBezTo>
                        <a:pt x="851883" y="2404907"/>
                        <a:pt x="873893" y="2406031"/>
                        <a:pt x="881444" y="2409566"/>
                      </a:cubicBezTo>
                      <a:moveTo>
                        <a:pt x="877347" y="2407317"/>
                      </a:moveTo>
                      <a:cubicBezTo>
                        <a:pt x="877910" y="2407638"/>
                        <a:pt x="878151" y="2407879"/>
                        <a:pt x="878311" y="2408120"/>
                      </a:cubicBezTo>
                      <a:cubicBezTo>
                        <a:pt x="878151" y="2408040"/>
                        <a:pt x="877910" y="2407959"/>
                        <a:pt x="877749" y="2407879"/>
                      </a:cubicBezTo>
                      <a:cubicBezTo>
                        <a:pt x="877588" y="2407798"/>
                        <a:pt x="877347" y="2407718"/>
                        <a:pt x="877187" y="2407558"/>
                      </a:cubicBezTo>
                      <a:cubicBezTo>
                        <a:pt x="877026" y="2407477"/>
                        <a:pt x="876785" y="2407397"/>
                        <a:pt x="876624" y="2407236"/>
                      </a:cubicBezTo>
                      <a:cubicBezTo>
                        <a:pt x="876464" y="2407156"/>
                        <a:pt x="876223" y="2407076"/>
                        <a:pt x="876062" y="2406915"/>
                      </a:cubicBezTo>
                      <a:cubicBezTo>
                        <a:pt x="875901" y="2406835"/>
                        <a:pt x="875660" y="2406754"/>
                        <a:pt x="875500" y="2406594"/>
                      </a:cubicBezTo>
                      <a:cubicBezTo>
                        <a:pt x="875339" y="2406513"/>
                        <a:pt x="875098" y="2406433"/>
                        <a:pt x="874938" y="2406272"/>
                      </a:cubicBezTo>
                      <a:cubicBezTo>
                        <a:pt x="874777" y="2406192"/>
                        <a:pt x="874536" y="2406112"/>
                        <a:pt x="874375" y="2405951"/>
                      </a:cubicBezTo>
                      <a:cubicBezTo>
                        <a:pt x="874215" y="2405871"/>
                        <a:pt x="873974" y="2405790"/>
                        <a:pt x="873813" y="2405629"/>
                      </a:cubicBezTo>
                      <a:cubicBezTo>
                        <a:pt x="873813" y="2405629"/>
                        <a:pt x="873893" y="2405629"/>
                        <a:pt x="873893" y="2405629"/>
                      </a:cubicBezTo>
                      <a:cubicBezTo>
                        <a:pt x="874697" y="2406112"/>
                        <a:pt x="876223" y="2406594"/>
                        <a:pt x="877347" y="2407317"/>
                      </a:cubicBezTo>
                      <a:moveTo>
                        <a:pt x="867306" y="2401372"/>
                      </a:moveTo>
                      <a:cubicBezTo>
                        <a:pt x="866503" y="2401372"/>
                        <a:pt x="865700" y="2401372"/>
                        <a:pt x="864897" y="2401372"/>
                      </a:cubicBezTo>
                      <a:cubicBezTo>
                        <a:pt x="867869" y="2402899"/>
                        <a:pt x="870841" y="2404344"/>
                        <a:pt x="873813" y="2405871"/>
                      </a:cubicBezTo>
                      <a:cubicBezTo>
                        <a:pt x="859434" y="2403461"/>
                        <a:pt x="857024" y="2402336"/>
                        <a:pt x="857587" y="2401854"/>
                      </a:cubicBezTo>
                      <a:cubicBezTo>
                        <a:pt x="858149" y="2401372"/>
                        <a:pt x="862728" y="2401372"/>
                        <a:pt x="864897" y="2401372"/>
                      </a:cubicBezTo>
                      <a:cubicBezTo>
                        <a:pt x="864093" y="2400971"/>
                        <a:pt x="863290" y="2400489"/>
                        <a:pt x="862487" y="2400087"/>
                      </a:cubicBezTo>
                      <a:cubicBezTo>
                        <a:pt x="864174" y="2400489"/>
                        <a:pt x="865941" y="2400971"/>
                        <a:pt x="867628" y="2401372"/>
                      </a:cubicBezTo>
                      <a:cubicBezTo>
                        <a:pt x="867547" y="2401372"/>
                        <a:pt x="867467" y="2401372"/>
                        <a:pt x="867306" y="2401372"/>
                      </a:cubicBezTo>
                      <a:moveTo>
                        <a:pt x="859756" y="2399364"/>
                      </a:moveTo>
                      <a:cubicBezTo>
                        <a:pt x="853972" y="2397918"/>
                        <a:pt x="825134" y="2390448"/>
                        <a:pt x="822965" y="2388038"/>
                      </a:cubicBezTo>
                      <a:cubicBezTo>
                        <a:pt x="823046" y="2387958"/>
                        <a:pt x="823046" y="2387877"/>
                        <a:pt x="823126" y="2387716"/>
                      </a:cubicBezTo>
                      <a:cubicBezTo>
                        <a:pt x="825777" y="2386994"/>
                        <a:pt x="843208" y="2389885"/>
                        <a:pt x="843369" y="2389885"/>
                      </a:cubicBezTo>
                      <a:cubicBezTo>
                        <a:pt x="843770" y="2390046"/>
                        <a:pt x="844252" y="2390367"/>
                        <a:pt x="844654" y="2390528"/>
                      </a:cubicBezTo>
                      <a:cubicBezTo>
                        <a:pt x="854695" y="2395910"/>
                        <a:pt x="859033" y="2398159"/>
                        <a:pt x="862567" y="2399926"/>
                      </a:cubicBezTo>
                      <a:cubicBezTo>
                        <a:pt x="861683" y="2399846"/>
                        <a:pt x="860559" y="2399605"/>
                        <a:pt x="859756" y="2399364"/>
                      </a:cubicBezTo>
                      <a:moveTo>
                        <a:pt x="908434" y="2361690"/>
                      </a:moveTo>
                      <a:cubicBezTo>
                        <a:pt x="908354" y="2361690"/>
                        <a:pt x="908354" y="2361690"/>
                        <a:pt x="908434" y="2361690"/>
                      </a:cubicBezTo>
                      <a:cubicBezTo>
                        <a:pt x="908354" y="2361690"/>
                        <a:pt x="908274" y="2361690"/>
                        <a:pt x="908274" y="2361690"/>
                      </a:cubicBezTo>
                      <a:cubicBezTo>
                        <a:pt x="908274" y="2361690"/>
                        <a:pt x="908193" y="2361690"/>
                        <a:pt x="908193" y="2361690"/>
                      </a:cubicBezTo>
                      <a:cubicBezTo>
                        <a:pt x="908193" y="2361690"/>
                        <a:pt x="908113" y="2361690"/>
                        <a:pt x="908113" y="2361690"/>
                      </a:cubicBezTo>
                      <a:cubicBezTo>
                        <a:pt x="908113" y="2361690"/>
                        <a:pt x="908033" y="2361690"/>
                        <a:pt x="908033" y="2361690"/>
                      </a:cubicBezTo>
                      <a:cubicBezTo>
                        <a:pt x="908033" y="2361690"/>
                        <a:pt x="907952" y="2361690"/>
                        <a:pt x="907952" y="2361690"/>
                      </a:cubicBezTo>
                      <a:cubicBezTo>
                        <a:pt x="907952" y="2361690"/>
                        <a:pt x="907872" y="2361690"/>
                        <a:pt x="907872" y="2361690"/>
                      </a:cubicBezTo>
                      <a:cubicBezTo>
                        <a:pt x="907872" y="2361690"/>
                        <a:pt x="907792" y="2361690"/>
                        <a:pt x="907792" y="2361690"/>
                      </a:cubicBezTo>
                      <a:cubicBezTo>
                        <a:pt x="907792" y="2361690"/>
                        <a:pt x="907711" y="2361690"/>
                        <a:pt x="907711" y="2361690"/>
                      </a:cubicBezTo>
                      <a:cubicBezTo>
                        <a:pt x="907711" y="2361690"/>
                        <a:pt x="907631" y="2361690"/>
                        <a:pt x="907631" y="2361690"/>
                      </a:cubicBezTo>
                      <a:cubicBezTo>
                        <a:pt x="907631" y="2361690"/>
                        <a:pt x="907551" y="2361690"/>
                        <a:pt x="907551" y="2361690"/>
                      </a:cubicBezTo>
                      <a:cubicBezTo>
                        <a:pt x="907551" y="2361690"/>
                        <a:pt x="907470" y="2361690"/>
                        <a:pt x="907470" y="2361690"/>
                      </a:cubicBezTo>
                      <a:cubicBezTo>
                        <a:pt x="907470" y="2361690"/>
                        <a:pt x="907390" y="2361690"/>
                        <a:pt x="907390" y="2361690"/>
                      </a:cubicBezTo>
                      <a:cubicBezTo>
                        <a:pt x="907390" y="2361690"/>
                        <a:pt x="907310" y="2361690"/>
                        <a:pt x="907310" y="2361690"/>
                      </a:cubicBezTo>
                      <a:cubicBezTo>
                        <a:pt x="907310" y="2361690"/>
                        <a:pt x="907229" y="2361690"/>
                        <a:pt x="907229" y="2361690"/>
                      </a:cubicBezTo>
                      <a:cubicBezTo>
                        <a:pt x="907229" y="2361690"/>
                        <a:pt x="907149" y="2361690"/>
                        <a:pt x="907149" y="2361690"/>
                      </a:cubicBezTo>
                      <a:cubicBezTo>
                        <a:pt x="907149" y="2361690"/>
                        <a:pt x="907069" y="2361690"/>
                        <a:pt x="907069" y="2361690"/>
                      </a:cubicBezTo>
                      <a:cubicBezTo>
                        <a:pt x="907069" y="2361690"/>
                        <a:pt x="906988" y="2361690"/>
                        <a:pt x="906988" y="2361690"/>
                      </a:cubicBezTo>
                      <a:cubicBezTo>
                        <a:pt x="906988" y="2361690"/>
                        <a:pt x="906908" y="2361690"/>
                        <a:pt x="906908" y="2361690"/>
                      </a:cubicBezTo>
                      <a:cubicBezTo>
                        <a:pt x="906908" y="2361690"/>
                        <a:pt x="906828" y="2361690"/>
                        <a:pt x="906828" y="2361690"/>
                      </a:cubicBezTo>
                      <a:cubicBezTo>
                        <a:pt x="906828" y="2361690"/>
                        <a:pt x="906747" y="2361690"/>
                        <a:pt x="906747" y="2361690"/>
                      </a:cubicBezTo>
                      <a:cubicBezTo>
                        <a:pt x="906747" y="2361690"/>
                        <a:pt x="906667" y="2361690"/>
                        <a:pt x="906667" y="2361690"/>
                      </a:cubicBezTo>
                      <a:cubicBezTo>
                        <a:pt x="906667" y="2361690"/>
                        <a:pt x="906587" y="2361690"/>
                        <a:pt x="906587" y="2361690"/>
                      </a:cubicBezTo>
                      <a:cubicBezTo>
                        <a:pt x="906587" y="2361690"/>
                        <a:pt x="906506" y="2361690"/>
                        <a:pt x="906506" y="2361690"/>
                      </a:cubicBezTo>
                      <a:cubicBezTo>
                        <a:pt x="906506" y="2361690"/>
                        <a:pt x="906426" y="2361690"/>
                        <a:pt x="906426" y="2361690"/>
                      </a:cubicBezTo>
                      <a:cubicBezTo>
                        <a:pt x="906426" y="2361690"/>
                        <a:pt x="906346" y="2361690"/>
                        <a:pt x="906346" y="2361690"/>
                      </a:cubicBezTo>
                      <a:cubicBezTo>
                        <a:pt x="906346" y="2361690"/>
                        <a:pt x="906265" y="2361690"/>
                        <a:pt x="906265" y="2361690"/>
                      </a:cubicBezTo>
                      <a:cubicBezTo>
                        <a:pt x="906265" y="2361690"/>
                        <a:pt x="906185" y="2361690"/>
                        <a:pt x="906185" y="2361690"/>
                      </a:cubicBezTo>
                      <a:cubicBezTo>
                        <a:pt x="906185" y="2361690"/>
                        <a:pt x="906105" y="2361690"/>
                        <a:pt x="906105" y="2361690"/>
                      </a:cubicBezTo>
                      <a:cubicBezTo>
                        <a:pt x="906105" y="2361690"/>
                        <a:pt x="906024" y="2361690"/>
                        <a:pt x="906024" y="2361690"/>
                      </a:cubicBezTo>
                      <a:cubicBezTo>
                        <a:pt x="906024" y="2361690"/>
                        <a:pt x="905944" y="2361690"/>
                        <a:pt x="905944" y="2361690"/>
                      </a:cubicBezTo>
                      <a:cubicBezTo>
                        <a:pt x="906587" y="2361529"/>
                        <a:pt x="907149" y="2361529"/>
                        <a:pt x="908434" y="2361690"/>
                      </a:cubicBezTo>
                      <a:cubicBezTo>
                        <a:pt x="908434" y="2361690"/>
                        <a:pt x="908434" y="2361690"/>
                        <a:pt x="908434" y="2361690"/>
                      </a:cubicBezTo>
                      <a:moveTo>
                        <a:pt x="731311" y="2234371"/>
                      </a:moveTo>
                      <a:cubicBezTo>
                        <a:pt x="716450" y="2234129"/>
                        <a:pt x="691629" y="2231800"/>
                        <a:pt x="657731" y="2227302"/>
                      </a:cubicBezTo>
                      <a:cubicBezTo>
                        <a:pt x="649698" y="2226257"/>
                        <a:pt x="642870" y="2224490"/>
                        <a:pt x="637408" y="2222000"/>
                      </a:cubicBezTo>
                      <a:cubicBezTo>
                        <a:pt x="643834" y="2222000"/>
                        <a:pt x="643834" y="2222000"/>
                        <a:pt x="659337" y="2225133"/>
                      </a:cubicBezTo>
                      <a:cubicBezTo>
                        <a:pt x="650099" y="2221437"/>
                        <a:pt x="647368" y="2219269"/>
                        <a:pt x="648493" y="2216698"/>
                      </a:cubicBezTo>
                      <a:cubicBezTo>
                        <a:pt x="647529" y="2216056"/>
                        <a:pt x="647529" y="2216056"/>
                        <a:pt x="647047" y="2215333"/>
                      </a:cubicBezTo>
                      <a:cubicBezTo>
                        <a:pt x="647288" y="2215011"/>
                        <a:pt x="647931" y="2214771"/>
                        <a:pt x="648332" y="2214610"/>
                      </a:cubicBezTo>
                      <a:cubicBezTo>
                        <a:pt x="649859" y="2216216"/>
                        <a:pt x="651144" y="2217261"/>
                        <a:pt x="653714" y="2218867"/>
                      </a:cubicBezTo>
                      <a:cubicBezTo>
                        <a:pt x="652670" y="2218867"/>
                        <a:pt x="651304" y="2218787"/>
                        <a:pt x="650341" y="2218787"/>
                      </a:cubicBezTo>
                      <a:cubicBezTo>
                        <a:pt x="660382" y="2222723"/>
                        <a:pt x="664157" y="2224008"/>
                        <a:pt x="674037" y="2226820"/>
                      </a:cubicBezTo>
                      <a:cubicBezTo>
                        <a:pt x="659016" y="2214931"/>
                        <a:pt x="659016" y="2214931"/>
                        <a:pt x="643352" y="2204970"/>
                      </a:cubicBezTo>
                      <a:cubicBezTo>
                        <a:pt x="654277" y="2202480"/>
                        <a:pt x="664478" y="2204328"/>
                        <a:pt x="677250" y="2211236"/>
                      </a:cubicBezTo>
                      <a:cubicBezTo>
                        <a:pt x="686408" y="2216136"/>
                        <a:pt x="721431" y="2230675"/>
                        <a:pt x="733239" y="2234451"/>
                      </a:cubicBezTo>
                      <a:cubicBezTo>
                        <a:pt x="732677" y="2234371"/>
                        <a:pt x="731954" y="2234371"/>
                        <a:pt x="731311" y="2234371"/>
                      </a:cubicBezTo>
                      <a:moveTo>
                        <a:pt x="1185726" y="2456959"/>
                      </a:moveTo>
                      <a:cubicBezTo>
                        <a:pt x="1086200" y="2460333"/>
                        <a:pt x="986593" y="2362092"/>
                        <a:pt x="904338" y="2184406"/>
                      </a:cubicBezTo>
                      <a:cubicBezTo>
                        <a:pt x="815414" y="2187620"/>
                        <a:pt x="729865" y="2186415"/>
                        <a:pt x="650341" y="2180390"/>
                      </a:cubicBezTo>
                      <a:cubicBezTo>
                        <a:pt x="649136" y="2182157"/>
                        <a:pt x="647047" y="2184406"/>
                        <a:pt x="646886" y="2186575"/>
                      </a:cubicBezTo>
                      <a:cubicBezTo>
                        <a:pt x="648091" y="2187378"/>
                        <a:pt x="649778" y="2188503"/>
                        <a:pt x="650983" y="2189306"/>
                      </a:cubicBezTo>
                      <a:cubicBezTo>
                        <a:pt x="628732" y="2211317"/>
                        <a:pt x="628732" y="2211317"/>
                        <a:pt x="628090" y="2211477"/>
                      </a:cubicBezTo>
                      <a:cubicBezTo>
                        <a:pt x="628732" y="2209951"/>
                        <a:pt x="629696" y="2207942"/>
                        <a:pt x="630339" y="2206416"/>
                      </a:cubicBezTo>
                      <a:cubicBezTo>
                        <a:pt x="623672" y="2206015"/>
                        <a:pt x="616924" y="2209469"/>
                        <a:pt x="610337" y="2205854"/>
                      </a:cubicBezTo>
                      <a:cubicBezTo>
                        <a:pt x="615318" y="2201757"/>
                        <a:pt x="615318" y="2201757"/>
                        <a:pt x="625760" y="2201597"/>
                      </a:cubicBezTo>
                      <a:cubicBezTo>
                        <a:pt x="612345" y="2198143"/>
                        <a:pt x="597485" y="2202159"/>
                        <a:pt x="585034" y="2193725"/>
                      </a:cubicBezTo>
                      <a:cubicBezTo>
                        <a:pt x="587444" y="2192841"/>
                        <a:pt x="587444" y="2192841"/>
                        <a:pt x="606240" y="2195251"/>
                      </a:cubicBezTo>
                      <a:cubicBezTo>
                        <a:pt x="602626" y="2191796"/>
                        <a:pt x="596762" y="2188342"/>
                        <a:pt x="592263" y="2186174"/>
                      </a:cubicBezTo>
                      <a:cubicBezTo>
                        <a:pt x="593870" y="2186977"/>
                        <a:pt x="595958" y="2188102"/>
                        <a:pt x="597565" y="2188985"/>
                      </a:cubicBezTo>
                      <a:cubicBezTo>
                        <a:pt x="593629" y="2190110"/>
                        <a:pt x="593629" y="2190110"/>
                        <a:pt x="558847" y="2173803"/>
                      </a:cubicBezTo>
                      <a:cubicBezTo>
                        <a:pt x="559409" y="2173643"/>
                        <a:pt x="559409" y="2173643"/>
                        <a:pt x="573627" y="2173964"/>
                      </a:cubicBezTo>
                      <a:cubicBezTo>
                        <a:pt x="572262" y="2173562"/>
                        <a:pt x="570414" y="2172919"/>
                        <a:pt x="568968" y="2172518"/>
                      </a:cubicBezTo>
                      <a:cubicBezTo>
                        <a:pt x="526555" y="2166734"/>
                        <a:pt x="487676" y="2160147"/>
                        <a:pt x="451368" y="2151954"/>
                      </a:cubicBezTo>
                      <a:cubicBezTo>
                        <a:pt x="338588" y="2126570"/>
                        <a:pt x="262597" y="2089298"/>
                        <a:pt x="222594" y="2044555"/>
                      </a:cubicBezTo>
                      <a:cubicBezTo>
                        <a:pt x="245006" y="2067931"/>
                        <a:pt x="274325" y="2099580"/>
                        <a:pt x="297701" y="2121911"/>
                      </a:cubicBezTo>
                      <a:cubicBezTo>
                        <a:pt x="385017" y="2198383"/>
                        <a:pt x="392166" y="2204649"/>
                        <a:pt x="459722" y="2250838"/>
                      </a:cubicBezTo>
                      <a:cubicBezTo>
                        <a:pt x="549208" y="2306103"/>
                        <a:pt x="562944" y="2314618"/>
                        <a:pt x="648091" y="2353979"/>
                      </a:cubicBezTo>
                      <a:cubicBezTo>
                        <a:pt x="679178" y="2366510"/>
                        <a:pt x="720708" y="2382977"/>
                        <a:pt x="752277" y="2394143"/>
                      </a:cubicBezTo>
                      <a:lnTo>
                        <a:pt x="752437" y="2394223"/>
                      </a:lnTo>
                      <a:cubicBezTo>
                        <a:pt x="856623" y="2428282"/>
                        <a:pt x="917913" y="2425150"/>
                        <a:pt x="918315" y="2425069"/>
                      </a:cubicBezTo>
                      <a:cubicBezTo>
                        <a:pt x="917913" y="2422820"/>
                        <a:pt x="917351" y="2419767"/>
                        <a:pt x="916949" y="2417518"/>
                      </a:cubicBezTo>
                      <a:cubicBezTo>
                        <a:pt x="901124" y="2407718"/>
                        <a:pt x="894056" y="2405068"/>
                        <a:pt x="860478" y="2392376"/>
                      </a:cubicBezTo>
                      <a:cubicBezTo>
                        <a:pt x="863772" y="2392134"/>
                        <a:pt x="868270" y="2392295"/>
                        <a:pt x="871564" y="2392616"/>
                      </a:cubicBezTo>
                      <a:cubicBezTo>
                        <a:pt x="864495" y="2386030"/>
                        <a:pt x="857024" y="2379925"/>
                        <a:pt x="850036" y="2373258"/>
                      </a:cubicBezTo>
                      <a:cubicBezTo>
                        <a:pt x="850759" y="2372776"/>
                        <a:pt x="851803" y="2372213"/>
                        <a:pt x="852526" y="2371731"/>
                      </a:cubicBezTo>
                      <a:cubicBezTo>
                        <a:pt x="851160" y="2370526"/>
                        <a:pt x="849393" y="2368920"/>
                        <a:pt x="848108" y="2367715"/>
                      </a:cubicBezTo>
                      <a:cubicBezTo>
                        <a:pt x="848108" y="2366028"/>
                        <a:pt x="848108" y="2363698"/>
                        <a:pt x="848108" y="2362011"/>
                      </a:cubicBezTo>
                      <a:cubicBezTo>
                        <a:pt x="850759" y="2360807"/>
                        <a:pt x="854534" y="2359682"/>
                        <a:pt x="857426" y="2359120"/>
                      </a:cubicBezTo>
                      <a:cubicBezTo>
                        <a:pt x="858069" y="2357835"/>
                        <a:pt x="858952" y="2356067"/>
                        <a:pt x="859675" y="2354782"/>
                      </a:cubicBezTo>
                      <a:cubicBezTo>
                        <a:pt x="858631" y="2353497"/>
                        <a:pt x="857265" y="2351810"/>
                        <a:pt x="856221" y="2350605"/>
                      </a:cubicBezTo>
                      <a:cubicBezTo>
                        <a:pt x="880320" y="2346749"/>
                        <a:pt x="902892" y="2335744"/>
                        <a:pt x="927552" y="2334620"/>
                      </a:cubicBezTo>
                      <a:cubicBezTo>
                        <a:pt x="911808" y="2336949"/>
                        <a:pt x="898393" y="2345705"/>
                        <a:pt x="883613" y="2350766"/>
                      </a:cubicBezTo>
                      <a:cubicBezTo>
                        <a:pt x="889798" y="2358317"/>
                        <a:pt x="891485" y="2360325"/>
                        <a:pt x="903695" y="2361529"/>
                      </a:cubicBezTo>
                      <a:cubicBezTo>
                        <a:pt x="898072" y="2363618"/>
                        <a:pt x="896706" y="2364100"/>
                        <a:pt x="889156" y="2362735"/>
                      </a:cubicBezTo>
                      <a:cubicBezTo>
                        <a:pt x="890360" y="2364180"/>
                        <a:pt x="891967" y="2366189"/>
                        <a:pt x="893252" y="2367634"/>
                      </a:cubicBezTo>
                      <a:cubicBezTo>
                        <a:pt x="883452" y="2363779"/>
                        <a:pt x="880721" y="2363297"/>
                        <a:pt x="872608" y="2362493"/>
                      </a:cubicBezTo>
                      <a:cubicBezTo>
                        <a:pt x="873572" y="2363859"/>
                        <a:pt x="874857" y="2365787"/>
                        <a:pt x="875741" y="2367153"/>
                      </a:cubicBezTo>
                      <a:cubicBezTo>
                        <a:pt x="873170" y="2369241"/>
                        <a:pt x="870680" y="2373418"/>
                        <a:pt x="870359" y="2376631"/>
                      </a:cubicBezTo>
                      <a:cubicBezTo>
                        <a:pt x="872608" y="2378800"/>
                        <a:pt x="872608" y="2378800"/>
                        <a:pt x="911647" y="2386190"/>
                      </a:cubicBezTo>
                      <a:cubicBezTo>
                        <a:pt x="919118" y="2393259"/>
                        <a:pt x="921608" y="2395669"/>
                        <a:pt x="949161" y="2404505"/>
                      </a:cubicBezTo>
                      <a:cubicBezTo>
                        <a:pt x="948277" y="2404344"/>
                        <a:pt x="946992" y="2404104"/>
                        <a:pt x="946108" y="2403943"/>
                      </a:cubicBezTo>
                      <a:cubicBezTo>
                        <a:pt x="955989" y="2408843"/>
                        <a:pt x="971893" y="2412698"/>
                        <a:pt x="972054" y="2412698"/>
                      </a:cubicBezTo>
                      <a:cubicBezTo>
                        <a:pt x="972295" y="2414145"/>
                        <a:pt x="972697" y="2415992"/>
                        <a:pt x="973018" y="2417438"/>
                      </a:cubicBezTo>
                      <a:cubicBezTo>
                        <a:pt x="975026" y="2417518"/>
                        <a:pt x="977677" y="2417518"/>
                        <a:pt x="979685" y="2417599"/>
                      </a:cubicBezTo>
                      <a:cubicBezTo>
                        <a:pt x="978079" y="2418482"/>
                        <a:pt x="975990" y="2419687"/>
                        <a:pt x="974384" y="2420571"/>
                      </a:cubicBezTo>
                      <a:cubicBezTo>
                        <a:pt x="983139" y="2420892"/>
                        <a:pt x="999446" y="2421535"/>
                        <a:pt x="1017921" y="2431334"/>
                      </a:cubicBezTo>
                      <a:cubicBezTo>
                        <a:pt x="1010933" y="2431013"/>
                        <a:pt x="1003864" y="2431334"/>
                        <a:pt x="996875" y="2430290"/>
                      </a:cubicBezTo>
                      <a:cubicBezTo>
                        <a:pt x="1011013" y="2433905"/>
                        <a:pt x="1011013" y="2433905"/>
                        <a:pt x="1026436" y="2439448"/>
                      </a:cubicBezTo>
                      <a:cubicBezTo>
                        <a:pt x="1024749" y="2439689"/>
                        <a:pt x="1022420" y="2440010"/>
                        <a:pt x="1020652" y="2440251"/>
                      </a:cubicBezTo>
                      <a:cubicBezTo>
                        <a:pt x="1022179" y="2440894"/>
                        <a:pt x="1024187" y="2441777"/>
                        <a:pt x="1025713" y="2442420"/>
                      </a:cubicBezTo>
                      <a:cubicBezTo>
                        <a:pt x="1022821" y="2442821"/>
                        <a:pt x="1018885" y="2443143"/>
                        <a:pt x="1015913" y="2443143"/>
                      </a:cubicBezTo>
                      <a:cubicBezTo>
                        <a:pt x="1017841" y="2443464"/>
                        <a:pt x="1020411" y="2443866"/>
                        <a:pt x="1022339" y="2444107"/>
                      </a:cubicBezTo>
                      <a:cubicBezTo>
                        <a:pt x="1018484" y="2448605"/>
                        <a:pt x="1015752" y="2451818"/>
                        <a:pt x="964262" y="2444589"/>
                      </a:cubicBezTo>
                      <a:cubicBezTo>
                        <a:pt x="973018" y="2445793"/>
                        <a:pt x="984746" y="2447320"/>
                        <a:pt x="993502" y="2448525"/>
                      </a:cubicBezTo>
                      <a:cubicBezTo>
                        <a:pt x="1054872" y="2454871"/>
                        <a:pt x="1054872" y="2454871"/>
                        <a:pt x="1087405" y="2456317"/>
                      </a:cubicBezTo>
                      <a:cubicBezTo>
                        <a:pt x="1138815" y="2457763"/>
                        <a:pt x="1138815" y="2457763"/>
                        <a:pt x="1164841" y="2457281"/>
                      </a:cubicBezTo>
                      <a:lnTo>
                        <a:pt x="1185726" y="2456959"/>
                      </a:lnTo>
                      <a:moveTo>
                        <a:pt x="2359961" y="1239508"/>
                      </a:moveTo>
                      <a:cubicBezTo>
                        <a:pt x="2361969" y="1299272"/>
                        <a:pt x="2353454" y="1381046"/>
                        <a:pt x="2344859" y="1385304"/>
                      </a:cubicBezTo>
                      <a:cubicBezTo>
                        <a:pt x="2344779" y="1385223"/>
                        <a:pt x="2336666" y="1380403"/>
                        <a:pt x="2338915" y="1345140"/>
                      </a:cubicBezTo>
                      <a:cubicBezTo>
                        <a:pt x="2340762" y="1315981"/>
                        <a:pt x="2349518" y="1288026"/>
                        <a:pt x="2352892" y="1259189"/>
                      </a:cubicBezTo>
                      <a:cubicBezTo>
                        <a:pt x="2353053" y="1259590"/>
                        <a:pt x="2353294" y="1260072"/>
                        <a:pt x="2353454" y="1260393"/>
                      </a:cubicBezTo>
                      <a:cubicBezTo>
                        <a:pt x="2355141" y="1245613"/>
                        <a:pt x="2355061" y="1230672"/>
                        <a:pt x="2358274" y="1216052"/>
                      </a:cubicBezTo>
                      <a:cubicBezTo>
                        <a:pt x="2358756" y="1219025"/>
                        <a:pt x="2359479" y="1225290"/>
                        <a:pt x="2359961" y="1239508"/>
                      </a:cubicBezTo>
                      <a:moveTo>
                        <a:pt x="1731876" y="1396871"/>
                      </a:moveTo>
                      <a:cubicBezTo>
                        <a:pt x="1732680" y="1396549"/>
                        <a:pt x="1733563" y="1396228"/>
                        <a:pt x="1734367" y="1395907"/>
                      </a:cubicBezTo>
                      <a:lnTo>
                        <a:pt x="1731876" y="1396871"/>
                      </a:lnTo>
                      <a:moveTo>
                        <a:pt x="2121548" y="844696"/>
                      </a:moveTo>
                      <a:cubicBezTo>
                        <a:pt x="2120503" y="845580"/>
                        <a:pt x="2119620" y="845098"/>
                        <a:pt x="2119379" y="844937"/>
                      </a:cubicBezTo>
                      <a:cubicBezTo>
                        <a:pt x="2120101" y="844776"/>
                        <a:pt x="2120824" y="844696"/>
                        <a:pt x="2121548" y="844696"/>
                      </a:cubicBezTo>
                      <a:cubicBezTo>
                        <a:pt x="2121628" y="844616"/>
                        <a:pt x="2121628" y="844696"/>
                        <a:pt x="2121548" y="844696"/>
                      </a:cubicBezTo>
                      <a:moveTo>
                        <a:pt x="2119379" y="844857"/>
                      </a:moveTo>
                      <a:cubicBezTo>
                        <a:pt x="2119218" y="844937"/>
                        <a:pt x="2119057" y="844937"/>
                        <a:pt x="2118977" y="844937"/>
                      </a:cubicBezTo>
                      <a:cubicBezTo>
                        <a:pt x="2118977" y="844776"/>
                        <a:pt x="2118977" y="844696"/>
                        <a:pt x="2118897" y="844535"/>
                      </a:cubicBezTo>
                      <a:cubicBezTo>
                        <a:pt x="2118977" y="844696"/>
                        <a:pt x="2119218" y="844857"/>
                        <a:pt x="2119379" y="844857"/>
                      </a:cubicBezTo>
                      <a:cubicBezTo>
                        <a:pt x="2119379" y="844857"/>
                        <a:pt x="2119379" y="844857"/>
                        <a:pt x="2119379" y="844857"/>
                      </a:cubicBezTo>
                      <a:moveTo>
                        <a:pt x="1904260" y="875140"/>
                      </a:moveTo>
                      <a:cubicBezTo>
                        <a:pt x="1901288" y="883655"/>
                        <a:pt x="1904903" y="887109"/>
                        <a:pt x="1906590" y="888716"/>
                      </a:cubicBezTo>
                      <a:cubicBezTo>
                        <a:pt x="1906429" y="888957"/>
                        <a:pt x="1906188" y="889358"/>
                        <a:pt x="1906027" y="889599"/>
                      </a:cubicBezTo>
                      <a:cubicBezTo>
                        <a:pt x="1908437" y="891367"/>
                        <a:pt x="1909000" y="892893"/>
                        <a:pt x="1908598" y="896668"/>
                      </a:cubicBezTo>
                      <a:cubicBezTo>
                        <a:pt x="1893978" y="901006"/>
                        <a:pt x="1874941" y="903978"/>
                        <a:pt x="1867390" y="893295"/>
                      </a:cubicBezTo>
                      <a:cubicBezTo>
                        <a:pt x="1872370" y="891045"/>
                        <a:pt x="1874619" y="890483"/>
                        <a:pt x="1882170" y="889198"/>
                      </a:cubicBezTo>
                      <a:cubicBezTo>
                        <a:pt x="1890604" y="883655"/>
                        <a:pt x="1897513" y="878755"/>
                        <a:pt x="1905304" y="872731"/>
                      </a:cubicBezTo>
                      <a:cubicBezTo>
                        <a:pt x="1904903" y="873454"/>
                        <a:pt x="1904501" y="874418"/>
                        <a:pt x="1904260" y="875140"/>
                      </a:cubicBezTo>
                      <a:moveTo>
                        <a:pt x="1928278" y="833852"/>
                      </a:moveTo>
                      <a:cubicBezTo>
                        <a:pt x="1928278" y="833932"/>
                        <a:pt x="1928278" y="834013"/>
                        <a:pt x="1928278" y="834093"/>
                      </a:cubicBezTo>
                      <a:cubicBezTo>
                        <a:pt x="1927877" y="834093"/>
                        <a:pt x="1927555" y="834013"/>
                        <a:pt x="1927154" y="834013"/>
                      </a:cubicBezTo>
                      <a:cubicBezTo>
                        <a:pt x="1927395" y="833932"/>
                        <a:pt x="1928118" y="833531"/>
                        <a:pt x="1928278" y="833852"/>
                      </a:cubicBezTo>
                      <a:moveTo>
                        <a:pt x="1811963" y="885422"/>
                      </a:moveTo>
                      <a:cubicBezTo>
                        <a:pt x="1813088" y="888234"/>
                        <a:pt x="1814132" y="892491"/>
                        <a:pt x="1812606" y="897150"/>
                      </a:cubicBezTo>
                      <a:cubicBezTo>
                        <a:pt x="1811963" y="899158"/>
                        <a:pt x="1810919" y="900685"/>
                        <a:pt x="1810437" y="901327"/>
                      </a:cubicBezTo>
                      <a:cubicBezTo>
                        <a:pt x="1810276" y="901568"/>
                        <a:pt x="1810035" y="901890"/>
                        <a:pt x="1809795" y="902131"/>
                      </a:cubicBezTo>
                      <a:cubicBezTo>
                        <a:pt x="1807867" y="904621"/>
                        <a:pt x="1807063" y="907995"/>
                        <a:pt x="1804011" y="909601"/>
                      </a:cubicBezTo>
                      <a:cubicBezTo>
                        <a:pt x="1801199" y="910163"/>
                        <a:pt x="1799432" y="908075"/>
                        <a:pt x="1796540" y="900604"/>
                      </a:cubicBezTo>
                      <a:cubicBezTo>
                        <a:pt x="1795898" y="898917"/>
                        <a:pt x="1793488" y="894259"/>
                        <a:pt x="1785857" y="888635"/>
                      </a:cubicBezTo>
                      <a:cubicBezTo>
                        <a:pt x="1785776" y="887993"/>
                        <a:pt x="1785616" y="887109"/>
                        <a:pt x="1785455" y="886467"/>
                      </a:cubicBezTo>
                      <a:cubicBezTo>
                        <a:pt x="1792444" y="879398"/>
                        <a:pt x="1797986" y="876426"/>
                        <a:pt x="1805296" y="876104"/>
                      </a:cubicBezTo>
                      <a:cubicBezTo>
                        <a:pt x="1806662" y="877390"/>
                        <a:pt x="1810035" y="880683"/>
                        <a:pt x="1811963" y="885422"/>
                      </a:cubicBezTo>
                      <a:moveTo>
                        <a:pt x="1794452" y="854416"/>
                      </a:moveTo>
                      <a:cubicBezTo>
                        <a:pt x="1795416" y="856665"/>
                        <a:pt x="1795416" y="856665"/>
                        <a:pt x="1796621" y="873855"/>
                      </a:cubicBezTo>
                      <a:cubicBezTo>
                        <a:pt x="1790757" y="874016"/>
                        <a:pt x="1788026" y="872731"/>
                        <a:pt x="1786580" y="869357"/>
                      </a:cubicBezTo>
                      <a:cubicBezTo>
                        <a:pt x="1784813" y="869035"/>
                        <a:pt x="1784170" y="868553"/>
                        <a:pt x="1782081" y="866304"/>
                      </a:cubicBezTo>
                      <a:lnTo>
                        <a:pt x="1783206" y="864698"/>
                      </a:lnTo>
                      <a:cubicBezTo>
                        <a:pt x="1782563" y="864617"/>
                        <a:pt x="1781760" y="864457"/>
                        <a:pt x="1781117" y="864377"/>
                      </a:cubicBezTo>
                      <a:cubicBezTo>
                        <a:pt x="1782403" y="858272"/>
                        <a:pt x="1787222" y="855862"/>
                        <a:pt x="1789311" y="855058"/>
                      </a:cubicBezTo>
                      <a:cubicBezTo>
                        <a:pt x="1790917" y="852970"/>
                        <a:pt x="1793006" y="850962"/>
                        <a:pt x="1794452" y="854416"/>
                      </a:cubicBezTo>
                      <a:moveTo>
                        <a:pt x="2302607" y="826622"/>
                      </a:moveTo>
                      <a:cubicBezTo>
                        <a:pt x="2286059" y="784129"/>
                        <a:pt x="2263407" y="727739"/>
                        <a:pt x="2244208" y="686370"/>
                      </a:cubicBezTo>
                      <a:lnTo>
                        <a:pt x="2244771" y="687494"/>
                      </a:lnTo>
                      <a:cubicBezTo>
                        <a:pt x="2256579" y="714083"/>
                        <a:pt x="2258025" y="722357"/>
                        <a:pt x="2253446" y="737057"/>
                      </a:cubicBezTo>
                      <a:cubicBezTo>
                        <a:pt x="2254249" y="737860"/>
                        <a:pt x="2328392" y="834575"/>
                        <a:pt x="2282284" y="975631"/>
                      </a:cubicBezTo>
                      <a:cubicBezTo>
                        <a:pt x="2276982" y="964546"/>
                        <a:pt x="2276982" y="964546"/>
                        <a:pt x="2268789" y="952175"/>
                      </a:cubicBezTo>
                      <a:lnTo>
                        <a:pt x="2269431" y="952175"/>
                      </a:lnTo>
                      <a:cubicBezTo>
                        <a:pt x="2251197" y="927916"/>
                        <a:pt x="2237541" y="913457"/>
                        <a:pt x="2215130" y="894740"/>
                      </a:cubicBezTo>
                      <a:cubicBezTo>
                        <a:pt x="2215210" y="894580"/>
                        <a:pt x="2215371" y="894500"/>
                        <a:pt x="2215451" y="894339"/>
                      </a:cubicBezTo>
                      <a:cubicBezTo>
                        <a:pt x="2192075" y="878996"/>
                        <a:pt x="2185328" y="875542"/>
                        <a:pt x="2159703" y="865581"/>
                      </a:cubicBezTo>
                      <a:cubicBezTo>
                        <a:pt x="2158177" y="859557"/>
                        <a:pt x="2155767" y="851604"/>
                        <a:pt x="2153759" y="845740"/>
                      </a:cubicBezTo>
                      <a:cubicBezTo>
                        <a:pt x="2154803" y="851444"/>
                        <a:pt x="2155687" y="859235"/>
                        <a:pt x="2155928" y="865019"/>
                      </a:cubicBezTo>
                      <a:cubicBezTo>
                        <a:pt x="2153679" y="866545"/>
                        <a:pt x="2150626" y="868634"/>
                        <a:pt x="2148377" y="870160"/>
                      </a:cubicBezTo>
                      <a:cubicBezTo>
                        <a:pt x="2143557" y="866786"/>
                        <a:pt x="2137372" y="861886"/>
                        <a:pt x="2133115" y="857790"/>
                      </a:cubicBezTo>
                      <a:cubicBezTo>
                        <a:pt x="2157454" y="885583"/>
                        <a:pt x="2211917" y="926952"/>
                        <a:pt x="2212398" y="927354"/>
                      </a:cubicBezTo>
                      <a:cubicBezTo>
                        <a:pt x="2219708" y="947195"/>
                        <a:pt x="2239067" y="956593"/>
                        <a:pt x="2251438" y="972016"/>
                      </a:cubicBezTo>
                      <a:cubicBezTo>
                        <a:pt x="2262603" y="972337"/>
                        <a:pt x="2262844" y="972337"/>
                        <a:pt x="2279392" y="978201"/>
                      </a:cubicBezTo>
                      <a:cubicBezTo>
                        <a:pt x="2279312" y="977800"/>
                        <a:pt x="2279231" y="977318"/>
                        <a:pt x="2279151" y="976916"/>
                      </a:cubicBezTo>
                      <a:cubicBezTo>
                        <a:pt x="2281963" y="981575"/>
                        <a:pt x="2282444" y="989688"/>
                        <a:pt x="2281480" y="995070"/>
                      </a:cubicBezTo>
                      <a:cubicBezTo>
                        <a:pt x="2294895" y="985993"/>
                        <a:pt x="2304856" y="976434"/>
                        <a:pt x="2310479" y="937073"/>
                      </a:cubicBezTo>
                      <a:cubicBezTo>
                        <a:pt x="2317708" y="951050"/>
                        <a:pt x="2317708" y="951050"/>
                        <a:pt x="2309515" y="1159100"/>
                      </a:cubicBezTo>
                      <a:lnTo>
                        <a:pt x="2309113" y="1159261"/>
                      </a:lnTo>
                      <a:cubicBezTo>
                        <a:pt x="2297707" y="1235331"/>
                        <a:pt x="2315620" y="1258064"/>
                        <a:pt x="2319395" y="1261839"/>
                      </a:cubicBezTo>
                      <a:lnTo>
                        <a:pt x="2320118" y="1261679"/>
                      </a:lnTo>
                      <a:cubicBezTo>
                        <a:pt x="2320279" y="1267623"/>
                        <a:pt x="2320520" y="1275576"/>
                        <a:pt x="2320680" y="1281439"/>
                      </a:cubicBezTo>
                      <a:cubicBezTo>
                        <a:pt x="2321162" y="1287143"/>
                        <a:pt x="2321403" y="1286821"/>
                        <a:pt x="2321644" y="1286580"/>
                      </a:cubicBezTo>
                      <a:cubicBezTo>
                        <a:pt x="2327749" y="1365222"/>
                        <a:pt x="2222600" y="1691112"/>
                        <a:pt x="2114398" y="1692478"/>
                      </a:cubicBezTo>
                      <a:cubicBezTo>
                        <a:pt x="2100019" y="1677778"/>
                        <a:pt x="2075841" y="1623556"/>
                        <a:pt x="2064675" y="1591586"/>
                      </a:cubicBezTo>
                      <a:cubicBezTo>
                        <a:pt x="2064916" y="1591586"/>
                        <a:pt x="2065318" y="1591586"/>
                        <a:pt x="2065559" y="1591586"/>
                      </a:cubicBezTo>
                      <a:cubicBezTo>
                        <a:pt x="2027162" y="1549172"/>
                        <a:pt x="2020414" y="1515997"/>
                        <a:pt x="2035436" y="1443541"/>
                      </a:cubicBezTo>
                      <a:cubicBezTo>
                        <a:pt x="2035355" y="1444023"/>
                        <a:pt x="2035195" y="1444666"/>
                        <a:pt x="2035034" y="1445068"/>
                      </a:cubicBezTo>
                      <a:cubicBezTo>
                        <a:pt x="2024110" y="1426833"/>
                        <a:pt x="2025877" y="1422094"/>
                        <a:pt x="2030616" y="1409402"/>
                      </a:cubicBezTo>
                      <a:cubicBezTo>
                        <a:pt x="2004510" y="1407153"/>
                        <a:pt x="1988765" y="1402012"/>
                        <a:pt x="1965229" y="1391890"/>
                      </a:cubicBezTo>
                      <a:cubicBezTo>
                        <a:pt x="1966193" y="1391730"/>
                        <a:pt x="1967398" y="1391408"/>
                        <a:pt x="1968362" y="1391248"/>
                      </a:cubicBezTo>
                      <a:cubicBezTo>
                        <a:pt x="1963703" y="1389320"/>
                        <a:pt x="1957839" y="1385786"/>
                        <a:pt x="1953903" y="1382572"/>
                      </a:cubicBezTo>
                      <a:cubicBezTo>
                        <a:pt x="1957919" y="1378797"/>
                        <a:pt x="1961132" y="1371407"/>
                        <a:pt x="1961534" y="1365864"/>
                      </a:cubicBezTo>
                      <a:cubicBezTo>
                        <a:pt x="1964024" y="1365463"/>
                        <a:pt x="1967318" y="1364900"/>
                        <a:pt x="1969727" y="1364418"/>
                      </a:cubicBezTo>
                      <a:cubicBezTo>
                        <a:pt x="1967398" y="1363535"/>
                        <a:pt x="1964185" y="1362410"/>
                        <a:pt x="1961855" y="1361526"/>
                      </a:cubicBezTo>
                      <a:cubicBezTo>
                        <a:pt x="1963703" y="1333251"/>
                        <a:pt x="1963703" y="1333251"/>
                        <a:pt x="1960891" y="1325620"/>
                      </a:cubicBezTo>
                      <a:lnTo>
                        <a:pt x="1959928" y="1323290"/>
                      </a:lnTo>
                      <a:lnTo>
                        <a:pt x="1958723" y="1321282"/>
                      </a:lnTo>
                      <a:lnTo>
                        <a:pt x="1958401" y="1321121"/>
                      </a:lnTo>
                      <a:lnTo>
                        <a:pt x="1955429" y="1322567"/>
                      </a:lnTo>
                      <a:cubicBezTo>
                        <a:pt x="1950529" y="1323531"/>
                        <a:pt x="1943621" y="1323049"/>
                        <a:pt x="1938882" y="1321443"/>
                      </a:cubicBezTo>
                      <a:cubicBezTo>
                        <a:pt x="1938641" y="1321603"/>
                        <a:pt x="1908437" y="1340962"/>
                        <a:pt x="1892372" y="1344015"/>
                      </a:cubicBezTo>
                      <a:cubicBezTo>
                        <a:pt x="1888918" y="1341525"/>
                        <a:pt x="1884500" y="1337428"/>
                        <a:pt x="1882491" y="1333653"/>
                      </a:cubicBezTo>
                      <a:cubicBezTo>
                        <a:pt x="1825539" y="1335018"/>
                        <a:pt x="1784893" y="1375102"/>
                        <a:pt x="1735812" y="1395184"/>
                      </a:cubicBezTo>
                      <a:cubicBezTo>
                        <a:pt x="1735812" y="1395184"/>
                        <a:pt x="1735812" y="1395184"/>
                        <a:pt x="1735893" y="1395184"/>
                      </a:cubicBezTo>
                      <a:cubicBezTo>
                        <a:pt x="1735893" y="1395184"/>
                        <a:pt x="1735893" y="1395184"/>
                        <a:pt x="1735893" y="1395184"/>
                      </a:cubicBezTo>
                      <a:cubicBezTo>
                        <a:pt x="1735893" y="1395184"/>
                        <a:pt x="1735893" y="1395184"/>
                        <a:pt x="1735893" y="1395184"/>
                      </a:cubicBezTo>
                      <a:cubicBezTo>
                        <a:pt x="1735893" y="1395184"/>
                        <a:pt x="1735893" y="1395184"/>
                        <a:pt x="1735893" y="1395184"/>
                      </a:cubicBezTo>
                      <a:cubicBezTo>
                        <a:pt x="1735893" y="1395184"/>
                        <a:pt x="1735893" y="1395184"/>
                        <a:pt x="1735893" y="1395184"/>
                      </a:cubicBezTo>
                      <a:lnTo>
                        <a:pt x="1735893" y="1395184"/>
                      </a:lnTo>
                      <a:cubicBezTo>
                        <a:pt x="1735893" y="1395184"/>
                        <a:pt x="1735893" y="1395184"/>
                        <a:pt x="1735893" y="1395184"/>
                      </a:cubicBezTo>
                      <a:lnTo>
                        <a:pt x="1735893" y="1395184"/>
                      </a:lnTo>
                      <a:lnTo>
                        <a:pt x="1735089" y="1395505"/>
                      </a:lnTo>
                      <a:cubicBezTo>
                        <a:pt x="1698781" y="1400807"/>
                        <a:pt x="1668417" y="1424423"/>
                        <a:pt x="1631868" y="1428841"/>
                      </a:cubicBezTo>
                      <a:cubicBezTo>
                        <a:pt x="1600861" y="1432617"/>
                        <a:pt x="1571542" y="1420005"/>
                        <a:pt x="1541097" y="1418881"/>
                      </a:cubicBezTo>
                      <a:cubicBezTo>
                        <a:pt x="1530334" y="1406992"/>
                        <a:pt x="1514348" y="1404341"/>
                        <a:pt x="1501335" y="1396469"/>
                      </a:cubicBezTo>
                      <a:cubicBezTo>
                        <a:pt x="1498845" y="1395505"/>
                        <a:pt x="1495471" y="1394139"/>
                        <a:pt x="1492981" y="1393176"/>
                      </a:cubicBezTo>
                      <a:cubicBezTo>
                        <a:pt x="1492097" y="1393818"/>
                        <a:pt x="1490812" y="1394702"/>
                        <a:pt x="1489929" y="1395345"/>
                      </a:cubicBezTo>
                      <a:lnTo>
                        <a:pt x="1489768" y="1393738"/>
                      </a:lnTo>
                      <a:cubicBezTo>
                        <a:pt x="1489527" y="1391248"/>
                        <a:pt x="1489286" y="1387874"/>
                        <a:pt x="1489045" y="1385304"/>
                      </a:cubicBezTo>
                      <a:cubicBezTo>
                        <a:pt x="1472658" y="1388838"/>
                        <a:pt x="1472658" y="1388838"/>
                        <a:pt x="1456271" y="1384500"/>
                      </a:cubicBezTo>
                      <a:cubicBezTo>
                        <a:pt x="1455869" y="1381849"/>
                        <a:pt x="1455388" y="1378395"/>
                        <a:pt x="1454986" y="1375745"/>
                      </a:cubicBezTo>
                      <a:cubicBezTo>
                        <a:pt x="1457556" y="1375102"/>
                        <a:pt x="1460930" y="1374298"/>
                        <a:pt x="1463501" y="1373656"/>
                      </a:cubicBezTo>
                      <a:cubicBezTo>
                        <a:pt x="1468802" y="1371728"/>
                        <a:pt x="1468722" y="1371728"/>
                        <a:pt x="1468722" y="1371728"/>
                      </a:cubicBezTo>
                      <a:cubicBezTo>
                        <a:pt x="1468722" y="1371728"/>
                        <a:pt x="1468642" y="1371728"/>
                        <a:pt x="1468642" y="1371728"/>
                      </a:cubicBezTo>
                      <a:cubicBezTo>
                        <a:pt x="1468642" y="1371728"/>
                        <a:pt x="1468561" y="1371728"/>
                        <a:pt x="1468561" y="1371728"/>
                      </a:cubicBezTo>
                      <a:cubicBezTo>
                        <a:pt x="1468561" y="1371728"/>
                        <a:pt x="1468481" y="1371728"/>
                        <a:pt x="1468481" y="1371728"/>
                      </a:cubicBezTo>
                      <a:cubicBezTo>
                        <a:pt x="1468481" y="1371728"/>
                        <a:pt x="1468401" y="1371728"/>
                        <a:pt x="1468401" y="1371728"/>
                      </a:cubicBezTo>
                      <a:cubicBezTo>
                        <a:pt x="1468401" y="1371728"/>
                        <a:pt x="1468320" y="1371728"/>
                        <a:pt x="1468320" y="1371728"/>
                      </a:cubicBezTo>
                      <a:cubicBezTo>
                        <a:pt x="1468320" y="1371728"/>
                        <a:pt x="1468240" y="1371728"/>
                        <a:pt x="1468240" y="1371728"/>
                      </a:cubicBezTo>
                      <a:cubicBezTo>
                        <a:pt x="1468240" y="1371728"/>
                        <a:pt x="1468160" y="1371728"/>
                        <a:pt x="1468160" y="1371728"/>
                      </a:cubicBezTo>
                      <a:cubicBezTo>
                        <a:pt x="1463179" y="1371969"/>
                        <a:pt x="1456191" y="1370684"/>
                        <a:pt x="1452014" y="1368033"/>
                      </a:cubicBezTo>
                      <a:cubicBezTo>
                        <a:pt x="1447596" y="1365302"/>
                        <a:pt x="1440848" y="1363053"/>
                        <a:pt x="1435707" y="1362651"/>
                      </a:cubicBezTo>
                      <a:cubicBezTo>
                        <a:pt x="1456512" y="1337749"/>
                        <a:pt x="1459083" y="1324254"/>
                        <a:pt x="1447837" y="1300156"/>
                      </a:cubicBezTo>
                      <a:cubicBezTo>
                        <a:pt x="1447033" y="1300477"/>
                        <a:pt x="1445989" y="1300959"/>
                        <a:pt x="1445186" y="1301361"/>
                      </a:cubicBezTo>
                      <a:cubicBezTo>
                        <a:pt x="1445909" y="1298710"/>
                        <a:pt x="1446792" y="1295176"/>
                        <a:pt x="1447435" y="1292525"/>
                      </a:cubicBezTo>
                      <a:cubicBezTo>
                        <a:pt x="1445266" y="1290838"/>
                        <a:pt x="1442374" y="1288508"/>
                        <a:pt x="1440125" y="1286821"/>
                      </a:cubicBezTo>
                      <a:cubicBezTo>
                        <a:pt x="1440045" y="1287223"/>
                        <a:pt x="1439965" y="1287866"/>
                        <a:pt x="1439884" y="1288267"/>
                      </a:cubicBezTo>
                      <a:cubicBezTo>
                        <a:pt x="1437555" y="1286982"/>
                        <a:pt x="1434502" y="1285295"/>
                        <a:pt x="1432173" y="1284010"/>
                      </a:cubicBezTo>
                      <a:cubicBezTo>
                        <a:pt x="1433137" y="1271238"/>
                        <a:pt x="1441250" y="1260554"/>
                        <a:pt x="1442615" y="1247862"/>
                      </a:cubicBezTo>
                      <a:cubicBezTo>
                        <a:pt x="1508163" y="1165285"/>
                        <a:pt x="1543668" y="1115642"/>
                        <a:pt x="1594596" y="1035475"/>
                      </a:cubicBezTo>
                      <a:cubicBezTo>
                        <a:pt x="1609778" y="1041580"/>
                        <a:pt x="1609778" y="1041580"/>
                        <a:pt x="1794131" y="945588"/>
                      </a:cubicBezTo>
                      <a:cubicBezTo>
                        <a:pt x="1793729" y="945186"/>
                        <a:pt x="1793247" y="944544"/>
                        <a:pt x="1792845" y="944142"/>
                      </a:cubicBezTo>
                      <a:cubicBezTo>
                        <a:pt x="1807144" y="940768"/>
                        <a:pt x="1818791" y="931531"/>
                        <a:pt x="1832206" y="926149"/>
                      </a:cubicBezTo>
                      <a:lnTo>
                        <a:pt x="1832206" y="924382"/>
                      </a:lnTo>
                      <a:cubicBezTo>
                        <a:pt x="1834696" y="925024"/>
                        <a:pt x="1838070" y="925908"/>
                        <a:pt x="1840560" y="926550"/>
                      </a:cubicBezTo>
                      <a:cubicBezTo>
                        <a:pt x="1843854" y="924382"/>
                        <a:pt x="1848593" y="921409"/>
                        <a:pt x="1852529" y="921008"/>
                      </a:cubicBezTo>
                      <a:cubicBezTo>
                        <a:pt x="1852850" y="940849"/>
                        <a:pt x="1852850" y="940849"/>
                        <a:pt x="1865703" y="966875"/>
                      </a:cubicBezTo>
                      <a:cubicBezTo>
                        <a:pt x="1868193" y="966554"/>
                        <a:pt x="1871567" y="966072"/>
                        <a:pt x="1874057" y="965750"/>
                      </a:cubicBezTo>
                      <a:cubicBezTo>
                        <a:pt x="1874057" y="966152"/>
                        <a:pt x="1874057" y="966634"/>
                        <a:pt x="1873977" y="967036"/>
                      </a:cubicBezTo>
                      <a:cubicBezTo>
                        <a:pt x="1877350" y="966554"/>
                        <a:pt x="2202116" y="898837"/>
                        <a:pt x="2113033" y="750231"/>
                      </a:cubicBezTo>
                      <a:cubicBezTo>
                        <a:pt x="2104116" y="764689"/>
                        <a:pt x="2098734" y="773445"/>
                        <a:pt x="2051582" y="806701"/>
                      </a:cubicBezTo>
                      <a:cubicBezTo>
                        <a:pt x="2049091" y="807344"/>
                        <a:pt x="2045798" y="808147"/>
                        <a:pt x="2043308" y="808789"/>
                      </a:cubicBezTo>
                      <a:cubicBezTo>
                        <a:pt x="2039291" y="804452"/>
                        <a:pt x="2032383" y="799793"/>
                        <a:pt x="2026760" y="798026"/>
                      </a:cubicBezTo>
                      <a:cubicBezTo>
                        <a:pt x="2026600" y="795294"/>
                        <a:pt x="2026359" y="791599"/>
                        <a:pt x="2026118" y="788868"/>
                      </a:cubicBezTo>
                      <a:cubicBezTo>
                        <a:pt x="2021378" y="786458"/>
                        <a:pt x="2015916" y="781317"/>
                        <a:pt x="2013346" y="776658"/>
                      </a:cubicBezTo>
                      <a:cubicBezTo>
                        <a:pt x="2015675" y="772321"/>
                        <a:pt x="2018808" y="766457"/>
                        <a:pt x="2021138" y="762038"/>
                      </a:cubicBezTo>
                      <a:cubicBezTo>
                        <a:pt x="2023628" y="760673"/>
                        <a:pt x="2027805" y="759709"/>
                        <a:pt x="2029491" y="757380"/>
                      </a:cubicBezTo>
                      <a:lnTo>
                        <a:pt x="2098252" y="656247"/>
                      </a:lnTo>
                      <a:cubicBezTo>
                        <a:pt x="2069977" y="636486"/>
                        <a:pt x="2047083" y="639378"/>
                        <a:pt x="2046842" y="639378"/>
                      </a:cubicBezTo>
                      <a:cubicBezTo>
                        <a:pt x="2048208" y="637129"/>
                        <a:pt x="2050055" y="634076"/>
                        <a:pt x="2051421" y="631747"/>
                      </a:cubicBezTo>
                      <a:cubicBezTo>
                        <a:pt x="2049172" y="624115"/>
                        <a:pt x="2043067" y="617930"/>
                        <a:pt x="2042665" y="609576"/>
                      </a:cubicBezTo>
                      <a:cubicBezTo>
                        <a:pt x="2040738" y="609415"/>
                        <a:pt x="2038006" y="612548"/>
                        <a:pt x="2035115" y="615601"/>
                      </a:cubicBezTo>
                      <a:cubicBezTo>
                        <a:pt x="2028528" y="632630"/>
                        <a:pt x="2028528" y="632630"/>
                        <a:pt x="2030697" y="642671"/>
                      </a:cubicBezTo>
                      <a:cubicBezTo>
                        <a:pt x="2033267" y="643716"/>
                        <a:pt x="2036721" y="645081"/>
                        <a:pt x="2039372" y="646045"/>
                      </a:cubicBezTo>
                      <a:cubicBezTo>
                        <a:pt x="2041300" y="644197"/>
                        <a:pt x="2043870" y="641788"/>
                        <a:pt x="2045718" y="640020"/>
                      </a:cubicBezTo>
                      <a:cubicBezTo>
                        <a:pt x="2043228" y="663075"/>
                        <a:pt x="2039773" y="665725"/>
                        <a:pt x="2024511" y="667653"/>
                      </a:cubicBezTo>
                      <a:cubicBezTo>
                        <a:pt x="2021780" y="662914"/>
                        <a:pt x="2019852" y="655524"/>
                        <a:pt x="2019531" y="650061"/>
                      </a:cubicBezTo>
                      <a:cubicBezTo>
                        <a:pt x="2015434" y="653435"/>
                        <a:pt x="2009168" y="656970"/>
                        <a:pt x="2004188" y="658737"/>
                      </a:cubicBezTo>
                      <a:cubicBezTo>
                        <a:pt x="2005072" y="656247"/>
                        <a:pt x="2006277" y="652953"/>
                        <a:pt x="2007160" y="650543"/>
                      </a:cubicBezTo>
                      <a:cubicBezTo>
                        <a:pt x="2004911" y="651989"/>
                        <a:pt x="2001939" y="653837"/>
                        <a:pt x="1999690" y="655283"/>
                      </a:cubicBezTo>
                      <a:cubicBezTo>
                        <a:pt x="1999208" y="654961"/>
                        <a:pt x="1998646" y="654479"/>
                        <a:pt x="1998164" y="654078"/>
                      </a:cubicBezTo>
                      <a:cubicBezTo>
                        <a:pt x="1995031" y="674320"/>
                        <a:pt x="1995031" y="674320"/>
                        <a:pt x="1997280" y="700909"/>
                      </a:cubicBezTo>
                      <a:cubicBezTo>
                        <a:pt x="2002823" y="717938"/>
                        <a:pt x="2003224" y="720348"/>
                        <a:pt x="2002983" y="737860"/>
                      </a:cubicBezTo>
                      <a:cubicBezTo>
                        <a:pt x="2007964" y="740270"/>
                        <a:pt x="2015033" y="742680"/>
                        <a:pt x="2020495" y="743724"/>
                      </a:cubicBezTo>
                      <a:cubicBezTo>
                        <a:pt x="2019852" y="748704"/>
                        <a:pt x="2019852" y="748704"/>
                        <a:pt x="2011418" y="772160"/>
                      </a:cubicBezTo>
                      <a:cubicBezTo>
                        <a:pt x="2000091" y="768706"/>
                        <a:pt x="2000091" y="768706"/>
                        <a:pt x="1986998" y="778104"/>
                      </a:cubicBezTo>
                      <a:cubicBezTo>
                        <a:pt x="1987560" y="780755"/>
                        <a:pt x="1988203" y="784370"/>
                        <a:pt x="1988765" y="787101"/>
                      </a:cubicBezTo>
                      <a:cubicBezTo>
                        <a:pt x="1987319" y="789189"/>
                        <a:pt x="1985472" y="791921"/>
                        <a:pt x="1984026" y="793929"/>
                      </a:cubicBezTo>
                      <a:cubicBezTo>
                        <a:pt x="1981134" y="794009"/>
                        <a:pt x="1977359" y="794090"/>
                        <a:pt x="1974547" y="794090"/>
                      </a:cubicBezTo>
                      <a:cubicBezTo>
                        <a:pt x="1984106" y="810476"/>
                        <a:pt x="1984106" y="810476"/>
                        <a:pt x="1986195" y="812083"/>
                      </a:cubicBezTo>
                      <a:cubicBezTo>
                        <a:pt x="1991255" y="815617"/>
                        <a:pt x="1997682" y="821803"/>
                        <a:pt x="1999690" y="827667"/>
                      </a:cubicBezTo>
                      <a:cubicBezTo>
                        <a:pt x="1993746" y="832325"/>
                        <a:pt x="1993746" y="832325"/>
                        <a:pt x="1993746" y="832325"/>
                      </a:cubicBezTo>
                      <a:cubicBezTo>
                        <a:pt x="1993746" y="832325"/>
                        <a:pt x="1993665" y="832325"/>
                        <a:pt x="1993665" y="832325"/>
                      </a:cubicBezTo>
                      <a:cubicBezTo>
                        <a:pt x="1993665" y="832325"/>
                        <a:pt x="1993585" y="832325"/>
                        <a:pt x="1993585" y="832406"/>
                      </a:cubicBezTo>
                      <a:cubicBezTo>
                        <a:pt x="1993585" y="832406"/>
                        <a:pt x="1993505" y="832406"/>
                        <a:pt x="1993505" y="832486"/>
                      </a:cubicBezTo>
                      <a:cubicBezTo>
                        <a:pt x="1993505" y="832486"/>
                        <a:pt x="1993424" y="832486"/>
                        <a:pt x="1993424" y="832567"/>
                      </a:cubicBezTo>
                      <a:cubicBezTo>
                        <a:pt x="1993424" y="832647"/>
                        <a:pt x="1993344" y="832567"/>
                        <a:pt x="1993344" y="832647"/>
                      </a:cubicBezTo>
                      <a:cubicBezTo>
                        <a:pt x="1993344" y="832647"/>
                        <a:pt x="1993264" y="832647"/>
                        <a:pt x="1993264" y="832727"/>
                      </a:cubicBezTo>
                      <a:cubicBezTo>
                        <a:pt x="1993264" y="832727"/>
                        <a:pt x="1993183" y="832727"/>
                        <a:pt x="1993183" y="832808"/>
                      </a:cubicBezTo>
                      <a:cubicBezTo>
                        <a:pt x="1995352" y="835057"/>
                        <a:pt x="1998244" y="837949"/>
                        <a:pt x="2000413" y="840198"/>
                      </a:cubicBezTo>
                      <a:cubicBezTo>
                        <a:pt x="1999529" y="842608"/>
                        <a:pt x="1998405" y="845740"/>
                        <a:pt x="1997521" y="848070"/>
                      </a:cubicBezTo>
                      <a:cubicBezTo>
                        <a:pt x="1987801" y="849837"/>
                        <a:pt x="1985552" y="850239"/>
                        <a:pt x="1975350" y="838190"/>
                      </a:cubicBezTo>
                      <a:cubicBezTo>
                        <a:pt x="1979527" y="832647"/>
                        <a:pt x="1987159" y="831603"/>
                        <a:pt x="1991255" y="826060"/>
                      </a:cubicBezTo>
                      <a:cubicBezTo>
                        <a:pt x="1973021" y="823731"/>
                        <a:pt x="1954224" y="826863"/>
                        <a:pt x="1936632" y="819393"/>
                      </a:cubicBezTo>
                      <a:cubicBezTo>
                        <a:pt x="1931732" y="805576"/>
                        <a:pt x="1931732" y="805576"/>
                        <a:pt x="1822004" y="786298"/>
                      </a:cubicBezTo>
                      <a:cubicBezTo>
                        <a:pt x="1819836" y="787985"/>
                        <a:pt x="1816863" y="790234"/>
                        <a:pt x="1814614" y="791840"/>
                      </a:cubicBezTo>
                      <a:cubicBezTo>
                        <a:pt x="1841363" y="824775"/>
                        <a:pt x="1906991" y="832406"/>
                        <a:pt x="1926511" y="833932"/>
                      </a:cubicBezTo>
                      <a:cubicBezTo>
                        <a:pt x="1916309" y="845178"/>
                        <a:pt x="1908839" y="853211"/>
                        <a:pt x="1907875" y="874578"/>
                      </a:cubicBezTo>
                      <a:cubicBezTo>
                        <a:pt x="1907634" y="873213"/>
                        <a:pt x="1808991" y="799632"/>
                        <a:pt x="1717417" y="873695"/>
                      </a:cubicBezTo>
                      <a:cubicBezTo>
                        <a:pt x="1701111" y="877631"/>
                        <a:pt x="1700790" y="878273"/>
                        <a:pt x="1696612" y="888394"/>
                      </a:cubicBezTo>
                      <a:cubicBezTo>
                        <a:pt x="1698058" y="891367"/>
                        <a:pt x="1700066" y="895303"/>
                        <a:pt x="1701512" y="898195"/>
                      </a:cubicBezTo>
                      <a:cubicBezTo>
                        <a:pt x="1694524" y="913537"/>
                        <a:pt x="1676129" y="918678"/>
                        <a:pt x="1669381" y="934182"/>
                      </a:cubicBezTo>
                      <a:cubicBezTo>
                        <a:pt x="1662071" y="950970"/>
                        <a:pt x="1678940" y="970570"/>
                        <a:pt x="1663196" y="986314"/>
                      </a:cubicBezTo>
                      <a:cubicBezTo>
                        <a:pt x="1637652" y="1011939"/>
                        <a:pt x="1598371" y="1008083"/>
                        <a:pt x="1570739" y="1029209"/>
                      </a:cubicBezTo>
                      <a:cubicBezTo>
                        <a:pt x="1564714" y="1027282"/>
                        <a:pt x="1564714" y="1027282"/>
                        <a:pt x="1525915" y="1039813"/>
                      </a:cubicBezTo>
                      <a:cubicBezTo>
                        <a:pt x="1524791" y="1029932"/>
                        <a:pt x="1520373" y="1020775"/>
                        <a:pt x="1519007" y="1010975"/>
                      </a:cubicBezTo>
                      <a:cubicBezTo>
                        <a:pt x="1516276" y="1010734"/>
                        <a:pt x="1512661" y="1010413"/>
                        <a:pt x="1509930" y="1010172"/>
                      </a:cubicBezTo>
                      <a:cubicBezTo>
                        <a:pt x="1504388" y="995472"/>
                        <a:pt x="1508565" y="979888"/>
                        <a:pt x="1505512" y="965027"/>
                      </a:cubicBezTo>
                      <a:cubicBezTo>
                        <a:pt x="1504869" y="965188"/>
                        <a:pt x="1503986" y="965349"/>
                        <a:pt x="1503343" y="965429"/>
                      </a:cubicBezTo>
                      <a:lnTo>
                        <a:pt x="1504227" y="963180"/>
                      </a:lnTo>
                      <a:cubicBezTo>
                        <a:pt x="1527602" y="916349"/>
                        <a:pt x="1580699" y="915144"/>
                        <a:pt x="1617730" y="889278"/>
                      </a:cubicBezTo>
                      <a:cubicBezTo>
                        <a:pt x="1617168" y="889117"/>
                        <a:pt x="1616525" y="888796"/>
                        <a:pt x="1615963" y="888635"/>
                      </a:cubicBezTo>
                      <a:lnTo>
                        <a:pt x="1615160" y="890563"/>
                      </a:lnTo>
                      <a:cubicBezTo>
                        <a:pt x="1614437" y="888073"/>
                        <a:pt x="1613473" y="884699"/>
                        <a:pt x="1612750" y="882209"/>
                      </a:cubicBezTo>
                      <a:cubicBezTo>
                        <a:pt x="1615401" y="881647"/>
                        <a:pt x="1619016" y="880844"/>
                        <a:pt x="1621666" y="880201"/>
                      </a:cubicBezTo>
                      <a:cubicBezTo>
                        <a:pt x="1618614" y="878354"/>
                        <a:pt x="1614276" y="876104"/>
                        <a:pt x="1611786" y="873534"/>
                      </a:cubicBezTo>
                      <a:cubicBezTo>
                        <a:pt x="1606083" y="871124"/>
                        <a:pt x="1598612" y="867429"/>
                        <a:pt x="1593311" y="864136"/>
                      </a:cubicBezTo>
                      <a:cubicBezTo>
                        <a:pt x="1323087" y="953219"/>
                        <a:pt x="1001293" y="1010252"/>
                        <a:pt x="714442" y="1020775"/>
                      </a:cubicBezTo>
                      <a:cubicBezTo>
                        <a:pt x="709382" y="1199425"/>
                        <a:pt x="718298" y="1386910"/>
                        <a:pt x="742637" y="1570460"/>
                      </a:cubicBezTo>
                      <a:cubicBezTo>
                        <a:pt x="746573" y="1572307"/>
                        <a:pt x="751955" y="1574556"/>
                        <a:pt x="756132" y="1575761"/>
                      </a:cubicBezTo>
                      <a:cubicBezTo>
                        <a:pt x="757016" y="1576083"/>
                        <a:pt x="834452" y="1614078"/>
                        <a:pt x="769708" y="1644924"/>
                      </a:cubicBezTo>
                      <a:cubicBezTo>
                        <a:pt x="766414" y="1646530"/>
                        <a:pt x="761836" y="1648297"/>
                        <a:pt x="758382" y="1649663"/>
                      </a:cubicBezTo>
                      <a:cubicBezTo>
                        <a:pt x="788505" y="1644522"/>
                        <a:pt x="792682" y="1644120"/>
                        <a:pt x="819029" y="1647655"/>
                      </a:cubicBezTo>
                      <a:cubicBezTo>
                        <a:pt x="819752" y="1650386"/>
                        <a:pt x="820716" y="1654001"/>
                        <a:pt x="821439" y="1656732"/>
                      </a:cubicBezTo>
                      <a:cubicBezTo>
                        <a:pt x="828588" y="1650466"/>
                        <a:pt x="828588" y="1650466"/>
                        <a:pt x="843449" y="1644442"/>
                      </a:cubicBezTo>
                      <a:cubicBezTo>
                        <a:pt x="844654" y="1642032"/>
                        <a:pt x="846341" y="1638819"/>
                        <a:pt x="847546" y="1636409"/>
                      </a:cubicBezTo>
                      <a:cubicBezTo>
                        <a:pt x="869716" y="1631348"/>
                        <a:pt x="890762" y="1646530"/>
                        <a:pt x="913013" y="1640345"/>
                      </a:cubicBezTo>
                      <a:cubicBezTo>
                        <a:pt x="913816" y="1641068"/>
                        <a:pt x="914941" y="1641952"/>
                        <a:pt x="915744" y="1642674"/>
                      </a:cubicBezTo>
                      <a:lnTo>
                        <a:pt x="918154" y="1641871"/>
                      </a:lnTo>
                      <a:lnTo>
                        <a:pt x="919118" y="1649100"/>
                      </a:lnTo>
                      <a:cubicBezTo>
                        <a:pt x="919198" y="1651993"/>
                        <a:pt x="919279" y="1655768"/>
                        <a:pt x="919359" y="1658659"/>
                      </a:cubicBezTo>
                      <a:cubicBezTo>
                        <a:pt x="921126" y="1656651"/>
                        <a:pt x="923456" y="1654001"/>
                        <a:pt x="925223" y="1651993"/>
                      </a:cubicBezTo>
                      <a:cubicBezTo>
                        <a:pt x="974464" y="1654884"/>
                        <a:pt x="1024267" y="1638577"/>
                        <a:pt x="1072946" y="1656812"/>
                      </a:cubicBezTo>
                      <a:cubicBezTo>
                        <a:pt x="1119054" y="1674083"/>
                        <a:pt x="1115921" y="1708784"/>
                        <a:pt x="1104515" y="1719147"/>
                      </a:cubicBezTo>
                      <a:cubicBezTo>
                        <a:pt x="1098571" y="1724529"/>
                        <a:pt x="1091261" y="1727742"/>
                        <a:pt x="1084915" y="1732321"/>
                      </a:cubicBezTo>
                      <a:cubicBezTo>
                        <a:pt x="1078007" y="1748627"/>
                        <a:pt x="1078007" y="1748627"/>
                        <a:pt x="1056880" y="1753527"/>
                      </a:cubicBezTo>
                      <a:cubicBezTo>
                        <a:pt x="1055836" y="1757463"/>
                        <a:pt x="1055434" y="1763327"/>
                        <a:pt x="1056880" y="1767102"/>
                      </a:cubicBezTo>
                      <a:cubicBezTo>
                        <a:pt x="1066359" y="1829196"/>
                        <a:pt x="1066359" y="1829196"/>
                        <a:pt x="901687" y="1903097"/>
                      </a:cubicBezTo>
                      <a:cubicBezTo>
                        <a:pt x="902169" y="1903178"/>
                        <a:pt x="902811" y="1903258"/>
                        <a:pt x="903293" y="1903339"/>
                      </a:cubicBezTo>
                      <a:lnTo>
                        <a:pt x="898554" y="1906311"/>
                      </a:lnTo>
                      <a:cubicBezTo>
                        <a:pt x="895983" y="1906712"/>
                        <a:pt x="892529" y="1907275"/>
                        <a:pt x="889959" y="1907757"/>
                      </a:cubicBezTo>
                      <a:cubicBezTo>
                        <a:pt x="895180" y="1931293"/>
                        <a:pt x="899277" y="1949929"/>
                        <a:pt x="851080" y="1980052"/>
                      </a:cubicBezTo>
                      <a:cubicBezTo>
                        <a:pt x="855337" y="1977080"/>
                        <a:pt x="860318" y="1971618"/>
                        <a:pt x="862487" y="1966798"/>
                      </a:cubicBezTo>
                      <a:cubicBezTo>
                        <a:pt x="859354" y="1964870"/>
                        <a:pt x="855097" y="1962380"/>
                        <a:pt x="851964" y="1960452"/>
                      </a:cubicBezTo>
                      <a:cubicBezTo>
                        <a:pt x="852205" y="1962540"/>
                        <a:pt x="852526" y="1965352"/>
                        <a:pt x="852767" y="1967440"/>
                      </a:cubicBezTo>
                      <a:cubicBezTo>
                        <a:pt x="844975" y="1979168"/>
                        <a:pt x="844975" y="1979168"/>
                        <a:pt x="834533" y="1990976"/>
                      </a:cubicBezTo>
                      <a:cubicBezTo>
                        <a:pt x="853570" y="2064637"/>
                        <a:pt x="877669" y="2128338"/>
                        <a:pt x="903534" y="2184166"/>
                      </a:cubicBezTo>
                      <a:cubicBezTo>
                        <a:pt x="1246133" y="2171634"/>
                        <a:pt x="1638616" y="2092672"/>
                        <a:pt x="1928760" y="1966396"/>
                      </a:cubicBezTo>
                      <a:cubicBezTo>
                        <a:pt x="2120905" y="1882775"/>
                        <a:pt x="2236015" y="1792406"/>
                        <a:pt x="2271198" y="1710150"/>
                      </a:cubicBezTo>
                      <a:cubicBezTo>
                        <a:pt x="2290718" y="1659062"/>
                        <a:pt x="2314415" y="1589979"/>
                        <a:pt x="2330079" y="1537605"/>
                      </a:cubicBezTo>
                      <a:cubicBezTo>
                        <a:pt x="2356346" y="1417435"/>
                        <a:pt x="2357953" y="1410285"/>
                        <a:pt x="2364861" y="1335340"/>
                      </a:cubicBezTo>
                      <a:cubicBezTo>
                        <a:pt x="2368958" y="1247300"/>
                        <a:pt x="2373135" y="1156208"/>
                        <a:pt x="2353213" y="1030977"/>
                      </a:cubicBezTo>
                      <a:cubicBezTo>
                        <a:pt x="2330320" y="914662"/>
                        <a:pt x="2324617" y="886949"/>
                        <a:pt x="2302607" y="826622"/>
                      </a:cubicBezTo>
                      <a:moveTo>
                        <a:pt x="1704565" y="157329"/>
                      </a:moveTo>
                      <a:cubicBezTo>
                        <a:pt x="1703762" y="156928"/>
                        <a:pt x="1703762" y="156928"/>
                        <a:pt x="1701512" y="156606"/>
                      </a:cubicBezTo>
                      <a:cubicBezTo>
                        <a:pt x="1705609" y="158454"/>
                        <a:pt x="1709786" y="160382"/>
                        <a:pt x="1713883" y="162310"/>
                      </a:cubicBezTo>
                      <a:cubicBezTo>
                        <a:pt x="1712437" y="161426"/>
                        <a:pt x="1709144" y="159579"/>
                        <a:pt x="1704565" y="157329"/>
                      </a:cubicBezTo>
                      <a:moveTo>
                        <a:pt x="533544" y="989447"/>
                      </a:moveTo>
                      <a:cubicBezTo>
                        <a:pt x="531937" y="989447"/>
                        <a:pt x="530411" y="989527"/>
                        <a:pt x="528804" y="989527"/>
                      </a:cubicBezTo>
                      <a:cubicBezTo>
                        <a:pt x="528965" y="989206"/>
                        <a:pt x="528965" y="989045"/>
                        <a:pt x="529045" y="988644"/>
                      </a:cubicBezTo>
                      <a:cubicBezTo>
                        <a:pt x="531214" y="988483"/>
                        <a:pt x="532580" y="988965"/>
                        <a:pt x="533624" y="989447"/>
                      </a:cubicBezTo>
                      <a:cubicBezTo>
                        <a:pt x="533624" y="989447"/>
                        <a:pt x="533624" y="989447"/>
                        <a:pt x="533544" y="989447"/>
                      </a:cubicBezTo>
                      <a:moveTo>
                        <a:pt x="400681" y="676650"/>
                      </a:moveTo>
                      <a:cubicBezTo>
                        <a:pt x="378270" y="676730"/>
                        <a:pt x="357465" y="668215"/>
                        <a:pt x="335856" y="664199"/>
                      </a:cubicBezTo>
                      <a:cubicBezTo>
                        <a:pt x="345335" y="652070"/>
                        <a:pt x="355938" y="639699"/>
                        <a:pt x="379555" y="615199"/>
                      </a:cubicBezTo>
                      <a:cubicBezTo>
                        <a:pt x="382688" y="629739"/>
                        <a:pt x="388793" y="643555"/>
                        <a:pt x="398994" y="663958"/>
                      </a:cubicBezTo>
                      <a:cubicBezTo>
                        <a:pt x="400440" y="666850"/>
                        <a:pt x="401725" y="669742"/>
                        <a:pt x="403252" y="672634"/>
                      </a:cubicBezTo>
                      <a:cubicBezTo>
                        <a:pt x="403975" y="673999"/>
                        <a:pt x="406384" y="674561"/>
                        <a:pt x="405581" y="676570"/>
                      </a:cubicBezTo>
                      <a:cubicBezTo>
                        <a:pt x="404135" y="676570"/>
                        <a:pt x="402127" y="676650"/>
                        <a:pt x="400681" y="676650"/>
                      </a:cubicBezTo>
                      <a:moveTo>
                        <a:pt x="349753" y="518886"/>
                      </a:moveTo>
                      <a:cubicBezTo>
                        <a:pt x="339391" y="519207"/>
                        <a:pt x="324289" y="517359"/>
                        <a:pt x="339873" y="501294"/>
                      </a:cubicBezTo>
                      <a:cubicBezTo>
                        <a:pt x="342122" y="498964"/>
                        <a:pt x="344773" y="497037"/>
                        <a:pt x="347022" y="494787"/>
                      </a:cubicBezTo>
                      <a:cubicBezTo>
                        <a:pt x="347665" y="494145"/>
                        <a:pt x="347424" y="492699"/>
                        <a:pt x="348709" y="492538"/>
                      </a:cubicBezTo>
                      <a:cubicBezTo>
                        <a:pt x="349030" y="492940"/>
                        <a:pt x="349030" y="493502"/>
                        <a:pt x="348789" y="496555"/>
                      </a:cubicBezTo>
                      <a:cubicBezTo>
                        <a:pt x="353448" y="491012"/>
                        <a:pt x="357866" y="486594"/>
                        <a:pt x="358188" y="491414"/>
                      </a:cubicBezTo>
                      <a:cubicBezTo>
                        <a:pt x="358188" y="491896"/>
                        <a:pt x="357143" y="503704"/>
                        <a:pt x="354493" y="508282"/>
                      </a:cubicBezTo>
                      <a:cubicBezTo>
                        <a:pt x="352645" y="511496"/>
                        <a:pt x="351360" y="515030"/>
                        <a:pt x="350878" y="518886"/>
                      </a:cubicBezTo>
                      <a:cubicBezTo>
                        <a:pt x="350556" y="518805"/>
                        <a:pt x="350075" y="518886"/>
                        <a:pt x="349753" y="518886"/>
                      </a:cubicBezTo>
                      <a:moveTo>
                        <a:pt x="295933" y="368914"/>
                      </a:moveTo>
                      <a:cubicBezTo>
                        <a:pt x="295853" y="368994"/>
                        <a:pt x="295532" y="369074"/>
                        <a:pt x="295050" y="369074"/>
                      </a:cubicBezTo>
                      <a:cubicBezTo>
                        <a:pt x="295371" y="368994"/>
                        <a:pt x="295693" y="368833"/>
                        <a:pt x="296014" y="368753"/>
                      </a:cubicBezTo>
                      <a:cubicBezTo>
                        <a:pt x="295933" y="368753"/>
                        <a:pt x="296014" y="368833"/>
                        <a:pt x="295933" y="368914"/>
                      </a:cubicBezTo>
                      <a:moveTo>
                        <a:pt x="440524" y="403776"/>
                      </a:moveTo>
                      <a:cubicBezTo>
                        <a:pt x="437873" y="406346"/>
                        <a:pt x="436347" y="407712"/>
                        <a:pt x="436186" y="407792"/>
                      </a:cubicBezTo>
                      <a:cubicBezTo>
                        <a:pt x="436266" y="407551"/>
                        <a:pt x="438676" y="404981"/>
                        <a:pt x="442130" y="401527"/>
                      </a:cubicBezTo>
                      <a:cubicBezTo>
                        <a:pt x="441729" y="402250"/>
                        <a:pt x="441166" y="403213"/>
                        <a:pt x="440524" y="403776"/>
                      </a:cubicBezTo>
                      <a:moveTo>
                        <a:pt x="572101" y="443136"/>
                      </a:moveTo>
                      <a:cubicBezTo>
                        <a:pt x="561899" y="447876"/>
                        <a:pt x="556758" y="447394"/>
                        <a:pt x="554268" y="447153"/>
                      </a:cubicBezTo>
                      <a:cubicBezTo>
                        <a:pt x="540612" y="444020"/>
                        <a:pt x="549047" y="424500"/>
                        <a:pt x="549208" y="424340"/>
                      </a:cubicBezTo>
                      <a:cubicBezTo>
                        <a:pt x="549449" y="424099"/>
                        <a:pt x="571699" y="407471"/>
                        <a:pt x="575154" y="439361"/>
                      </a:cubicBezTo>
                      <a:cubicBezTo>
                        <a:pt x="575234" y="440004"/>
                        <a:pt x="575314" y="440887"/>
                        <a:pt x="575314" y="441610"/>
                      </a:cubicBezTo>
                      <a:cubicBezTo>
                        <a:pt x="574431" y="442012"/>
                        <a:pt x="573145" y="442655"/>
                        <a:pt x="572101" y="443136"/>
                      </a:cubicBezTo>
                      <a:moveTo>
                        <a:pt x="643513" y="625240"/>
                      </a:moveTo>
                      <a:cubicBezTo>
                        <a:pt x="642790" y="626204"/>
                        <a:pt x="641344" y="627088"/>
                        <a:pt x="640380" y="627810"/>
                      </a:cubicBezTo>
                      <a:cubicBezTo>
                        <a:pt x="639496" y="628051"/>
                        <a:pt x="638372" y="628373"/>
                        <a:pt x="637488" y="628614"/>
                      </a:cubicBezTo>
                      <a:cubicBezTo>
                        <a:pt x="639898" y="631666"/>
                        <a:pt x="639898" y="631666"/>
                        <a:pt x="640942" y="634478"/>
                      </a:cubicBezTo>
                      <a:cubicBezTo>
                        <a:pt x="640541" y="634960"/>
                        <a:pt x="639898" y="635522"/>
                        <a:pt x="639496" y="636004"/>
                      </a:cubicBezTo>
                      <a:cubicBezTo>
                        <a:pt x="637086" y="636004"/>
                        <a:pt x="636524" y="636004"/>
                        <a:pt x="631865" y="634638"/>
                      </a:cubicBezTo>
                      <a:cubicBezTo>
                        <a:pt x="631463" y="634960"/>
                        <a:pt x="630901" y="635361"/>
                        <a:pt x="630500" y="635683"/>
                      </a:cubicBezTo>
                      <a:cubicBezTo>
                        <a:pt x="630660" y="639217"/>
                        <a:pt x="630901" y="640342"/>
                        <a:pt x="634918" y="643555"/>
                      </a:cubicBezTo>
                      <a:cubicBezTo>
                        <a:pt x="631945" y="644117"/>
                        <a:pt x="630901" y="644197"/>
                        <a:pt x="627367" y="643956"/>
                      </a:cubicBezTo>
                      <a:cubicBezTo>
                        <a:pt x="626322" y="649579"/>
                        <a:pt x="626001" y="651106"/>
                        <a:pt x="624796" y="651587"/>
                      </a:cubicBezTo>
                      <a:cubicBezTo>
                        <a:pt x="620780" y="653114"/>
                        <a:pt x="618531" y="648696"/>
                        <a:pt x="614916" y="648615"/>
                      </a:cubicBezTo>
                      <a:cubicBezTo>
                        <a:pt x="614193" y="649579"/>
                        <a:pt x="613631" y="651266"/>
                        <a:pt x="613631" y="652552"/>
                      </a:cubicBezTo>
                      <a:cubicBezTo>
                        <a:pt x="614273" y="652793"/>
                        <a:pt x="615077" y="653114"/>
                        <a:pt x="615639" y="653355"/>
                      </a:cubicBezTo>
                      <a:cubicBezTo>
                        <a:pt x="614354" y="660022"/>
                        <a:pt x="612426" y="664038"/>
                        <a:pt x="607606" y="669742"/>
                      </a:cubicBezTo>
                      <a:cubicBezTo>
                        <a:pt x="606803" y="665806"/>
                        <a:pt x="605999" y="665163"/>
                        <a:pt x="602626" y="665806"/>
                      </a:cubicBezTo>
                      <a:cubicBezTo>
                        <a:pt x="602063" y="665324"/>
                        <a:pt x="601340" y="664761"/>
                        <a:pt x="600778" y="664279"/>
                      </a:cubicBezTo>
                      <a:cubicBezTo>
                        <a:pt x="600537" y="661709"/>
                        <a:pt x="600698" y="661066"/>
                        <a:pt x="602867" y="658014"/>
                      </a:cubicBezTo>
                      <a:cubicBezTo>
                        <a:pt x="599814" y="660584"/>
                        <a:pt x="599091" y="661468"/>
                        <a:pt x="597244" y="664761"/>
                      </a:cubicBezTo>
                      <a:cubicBezTo>
                        <a:pt x="590336" y="654399"/>
                        <a:pt x="591380" y="648214"/>
                        <a:pt x="601501" y="639538"/>
                      </a:cubicBezTo>
                      <a:cubicBezTo>
                        <a:pt x="595878" y="642752"/>
                        <a:pt x="595316" y="642752"/>
                        <a:pt x="592585" y="642912"/>
                      </a:cubicBezTo>
                      <a:cubicBezTo>
                        <a:pt x="591380" y="640743"/>
                        <a:pt x="591380" y="640743"/>
                        <a:pt x="592344" y="637851"/>
                      </a:cubicBezTo>
                      <a:cubicBezTo>
                        <a:pt x="586319" y="637209"/>
                        <a:pt x="581981" y="636727"/>
                        <a:pt x="580134" y="626686"/>
                      </a:cubicBezTo>
                      <a:cubicBezTo>
                        <a:pt x="579973" y="627168"/>
                        <a:pt x="579813" y="627810"/>
                        <a:pt x="579652" y="628373"/>
                      </a:cubicBezTo>
                      <a:cubicBezTo>
                        <a:pt x="578608" y="628533"/>
                        <a:pt x="577162" y="628292"/>
                        <a:pt x="576278" y="627730"/>
                      </a:cubicBezTo>
                      <a:cubicBezTo>
                        <a:pt x="576037" y="631988"/>
                        <a:pt x="576037" y="631988"/>
                        <a:pt x="574591" y="633675"/>
                      </a:cubicBezTo>
                      <a:cubicBezTo>
                        <a:pt x="572101" y="632871"/>
                        <a:pt x="572101" y="632871"/>
                        <a:pt x="569932" y="630301"/>
                      </a:cubicBezTo>
                      <a:cubicBezTo>
                        <a:pt x="570575" y="640020"/>
                        <a:pt x="570575" y="640020"/>
                        <a:pt x="569852" y="641707"/>
                      </a:cubicBezTo>
                      <a:cubicBezTo>
                        <a:pt x="567362" y="642430"/>
                        <a:pt x="565514" y="642993"/>
                        <a:pt x="556517" y="635763"/>
                      </a:cubicBezTo>
                      <a:cubicBezTo>
                        <a:pt x="559972" y="646447"/>
                        <a:pt x="561498" y="648856"/>
                        <a:pt x="568968" y="655524"/>
                      </a:cubicBezTo>
                      <a:cubicBezTo>
                        <a:pt x="568004" y="656166"/>
                        <a:pt x="566719" y="656970"/>
                        <a:pt x="565675" y="657612"/>
                      </a:cubicBezTo>
                      <a:cubicBezTo>
                        <a:pt x="568486" y="661870"/>
                        <a:pt x="569450" y="664842"/>
                        <a:pt x="569450" y="669581"/>
                      </a:cubicBezTo>
                      <a:cubicBezTo>
                        <a:pt x="569852" y="668537"/>
                        <a:pt x="570575" y="667252"/>
                        <a:pt x="571217" y="666368"/>
                      </a:cubicBezTo>
                      <a:cubicBezTo>
                        <a:pt x="573226" y="669903"/>
                        <a:pt x="573226" y="669903"/>
                        <a:pt x="584311" y="674401"/>
                      </a:cubicBezTo>
                      <a:cubicBezTo>
                        <a:pt x="584311" y="675043"/>
                        <a:pt x="584311" y="675847"/>
                        <a:pt x="584311" y="676489"/>
                      </a:cubicBezTo>
                      <a:cubicBezTo>
                        <a:pt x="583427" y="677293"/>
                        <a:pt x="581981" y="678176"/>
                        <a:pt x="580937" y="678738"/>
                      </a:cubicBezTo>
                      <a:cubicBezTo>
                        <a:pt x="582383" y="679140"/>
                        <a:pt x="584231" y="679944"/>
                        <a:pt x="585516" y="680666"/>
                      </a:cubicBezTo>
                      <a:cubicBezTo>
                        <a:pt x="582865" y="682434"/>
                        <a:pt x="582865" y="682434"/>
                        <a:pt x="578768" y="683237"/>
                      </a:cubicBezTo>
                      <a:cubicBezTo>
                        <a:pt x="582704" y="687896"/>
                        <a:pt x="584391" y="690145"/>
                        <a:pt x="585917" y="692876"/>
                      </a:cubicBezTo>
                      <a:cubicBezTo>
                        <a:pt x="588086" y="693439"/>
                        <a:pt x="589854" y="694242"/>
                        <a:pt x="589452" y="698017"/>
                      </a:cubicBezTo>
                      <a:cubicBezTo>
                        <a:pt x="588809" y="698178"/>
                        <a:pt x="588006" y="698338"/>
                        <a:pt x="587363" y="698499"/>
                      </a:cubicBezTo>
                      <a:cubicBezTo>
                        <a:pt x="586319" y="704202"/>
                        <a:pt x="585837" y="705247"/>
                        <a:pt x="585034" y="706853"/>
                      </a:cubicBezTo>
                      <a:cubicBezTo>
                        <a:pt x="584472" y="706693"/>
                        <a:pt x="583668" y="706532"/>
                        <a:pt x="583106" y="706371"/>
                      </a:cubicBezTo>
                      <a:cubicBezTo>
                        <a:pt x="581660" y="703239"/>
                        <a:pt x="581419" y="702516"/>
                        <a:pt x="580054" y="696330"/>
                      </a:cubicBezTo>
                      <a:cubicBezTo>
                        <a:pt x="581901" y="709906"/>
                        <a:pt x="581098" y="713360"/>
                        <a:pt x="575635" y="714886"/>
                      </a:cubicBezTo>
                      <a:cubicBezTo>
                        <a:pt x="573145" y="723401"/>
                        <a:pt x="570655" y="722598"/>
                        <a:pt x="562542" y="710709"/>
                      </a:cubicBezTo>
                      <a:cubicBezTo>
                        <a:pt x="562221" y="711271"/>
                        <a:pt x="561899" y="711994"/>
                        <a:pt x="561578" y="712476"/>
                      </a:cubicBezTo>
                      <a:cubicBezTo>
                        <a:pt x="561016" y="712235"/>
                        <a:pt x="560213" y="711914"/>
                        <a:pt x="559650" y="711593"/>
                      </a:cubicBezTo>
                      <a:cubicBezTo>
                        <a:pt x="559329" y="710468"/>
                        <a:pt x="558927" y="708942"/>
                        <a:pt x="558606" y="707737"/>
                      </a:cubicBezTo>
                      <a:cubicBezTo>
                        <a:pt x="554188" y="708781"/>
                        <a:pt x="552501" y="709102"/>
                        <a:pt x="546476" y="695125"/>
                      </a:cubicBezTo>
                      <a:cubicBezTo>
                        <a:pt x="546717" y="698338"/>
                        <a:pt x="546717" y="699142"/>
                        <a:pt x="546396" y="702355"/>
                      </a:cubicBezTo>
                      <a:cubicBezTo>
                        <a:pt x="544709" y="698981"/>
                        <a:pt x="544549" y="698579"/>
                        <a:pt x="543424" y="696652"/>
                      </a:cubicBezTo>
                      <a:cubicBezTo>
                        <a:pt x="543585" y="702355"/>
                        <a:pt x="550172" y="718581"/>
                        <a:pt x="560213" y="730871"/>
                      </a:cubicBezTo>
                      <a:cubicBezTo>
                        <a:pt x="558526" y="732076"/>
                        <a:pt x="558124" y="732317"/>
                        <a:pt x="557240" y="735932"/>
                      </a:cubicBezTo>
                      <a:cubicBezTo>
                        <a:pt x="535231" y="732237"/>
                        <a:pt x="498039" y="706612"/>
                        <a:pt x="496512" y="700266"/>
                      </a:cubicBezTo>
                      <a:cubicBezTo>
                        <a:pt x="498199" y="698017"/>
                        <a:pt x="499083" y="697535"/>
                        <a:pt x="503501" y="695125"/>
                      </a:cubicBezTo>
                      <a:cubicBezTo>
                        <a:pt x="495548" y="692314"/>
                        <a:pt x="495950" y="690868"/>
                        <a:pt x="496994" y="687093"/>
                      </a:cubicBezTo>
                      <a:cubicBezTo>
                        <a:pt x="489685" y="684120"/>
                        <a:pt x="487516" y="678578"/>
                        <a:pt x="490327" y="669581"/>
                      </a:cubicBezTo>
                      <a:cubicBezTo>
                        <a:pt x="479965" y="671589"/>
                        <a:pt x="476671" y="668778"/>
                        <a:pt x="473940" y="662512"/>
                      </a:cubicBezTo>
                      <a:cubicBezTo>
                        <a:pt x="450966" y="661066"/>
                        <a:pt x="446147" y="660263"/>
                        <a:pt x="443817" y="659942"/>
                      </a:cubicBezTo>
                      <a:cubicBezTo>
                        <a:pt x="447432" y="659862"/>
                        <a:pt x="447432" y="659862"/>
                        <a:pt x="468558" y="660584"/>
                      </a:cubicBezTo>
                      <a:cubicBezTo>
                        <a:pt x="470647" y="651748"/>
                        <a:pt x="474021" y="645242"/>
                        <a:pt x="495629" y="647973"/>
                      </a:cubicBezTo>
                      <a:cubicBezTo>
                        <a:pt x="513703" y="622670"/>
                        <a:pt x="520611" y="606283"/>
                        <a:pt x="530170" y="576722"/>
                      </a:cubicBezTo>
                      <a:cubicBezTo>
                        <a:pt x="519968" y="562102"/>
                        <a:pt x="519968" y="562102"/>
                        <a:pt x="523503" y="558246"/>
                      </a:cubicBezTo>
                      <a:cubicBezTo>
                        <a:pt x="508562" y="549812"/>
                        <a:pt x="506312" y="548527"/>
                        <a:pt x="507598" y="509327"/>
                      </a:cubicBezTo>
                      <a:cubicBezTo>
                        <a:pt x="504465" y="517841"/>
                        <a:pt x="497958" y="535514"/>
                        <a:pt x="476671" y="518805"/>
                      </a:cubicBezTo>
                      <a:cubicBezTo>
                        <a:pt x="479563" y="523464"/>
                        <a:pt x="479081" y="525151"/>
                        <a:pt x="476993" y="529810"/>
                      </a:cubicBezTo>
                      <a:cubicBezTo>
                        <a:pt x="458517" y="522822"/>
                        <a:pt x="448235" y="513263"/>
                        <a:pt x="444701" y="499687"/>
                      </a:cubicBezTo>
                      <a:cubicBezTo>
                        <a:pt x="439480" y="499607"/>
                        <a:pt x="439078" y="499607"/>
                        <a:pt x="436989" y="502017"/>
                      </a:cubicBezTo>
                      <a:cubicBezTo>
                        <a:pt x="421566" y="499768"/>
                        <a:pt x="430563" y="483863"/>
                        <a:pt x="434499" y="477115"/>
                      </a:cubicBezTo>
                      <a:cubicBezTo>
                        <a:pt x="437712" y="480168"/>
                        <a:pt x="438676" y="480810"/>
                        <a:pt x="443175" y="482417"/>
                      </a:cubicBezTo>
                      <a:cubicBezTo>
                        <a:pt x="446307" y="483140"/>
                        <a:pt x="446307" y="483140"/>
                        <a:pt x="448958" y="483381"/>
                      </a:cubicBezTo>
                      <a:cubicBezTo>
                        <a:pt x="422771" y="454222"/>
                        <a:pt x="499645" y="407953"/>
                        <a:pt x="514667" y="407390"/>
                      </a:cubicBezTo>
                      <a:cubicBezTo>
                        <a:pt x="517960" y="407230"/>
                        <a:pt x="522378" y="407872"/>
                        <a:pt x="525671" y="408113"/>
                      </a:cubicBezTo>
                      <a:cubicBezTo>
                        <a:pt x="500368" y="432614"/>
                        <a:pt x="477796" y="459684"/>
                        <a:pt x="453698" y="485309"/>
                      </a:cubicBezTo>
                      <a:cubicBezTo>
                        <a:pt x="459963" y="482979"/>
                        <a:pt x="463016" y="482979"/>
                        <a:pt x="466791" y="483863"/>
                      </a:cubicBezTo>
                      <a:cubicBezTo>
                        <a:pt x="485989" y="457435"/>
                        <a:pt x="485989" y="457435"/>
                        <a:pt x="491934" y="460568"/>
                      </a:cubicBezTo>
                      <a:cubicBezTo>
                        <a:pt x="491291" y="454784"/>
                        <a:pt x="492416" y="453659"/>
                        <a:pt x="496432" y="450527"/>
                      </a:cubicBezTo>
                      <a:cubicBezTo>
                        <a:pt x="493781" y="438156"/>
                        <a:pt x="497075" y="434782"/>
                        <a:pt x="507598" y="438879"/>
                      </a:cubicBezTo>
                      <a:cubicBezTo>
                        <a:pt x="506875" y="410282"/>
                        <a:pt x="541898" y="422492"/>
                        <a:pt x="542219" y="422733"/>
                      </a:cubicBezTo>
                      <a:cubicBezTo>
                        <a:pt x="549288" y="428838"/>
                        <a:pt x="531294" y="447715"/>
                        <a:pt x="527599" y="451410"/>
                      </a:cubicBezTo>
                      <a:cubicBezTo>
                        <a:pt x="517639" y="461532"/>
                        <a:pt x="517478" y="461692"/>
                        <a:pt x="519085" y="464905"/>
                      </a:cubicBezTo>
                      <a:cubicBezTo>
                        <a:pt x="521575" y="465628"/>
                        <a:pt x="522539" y="465789"/>
                        <a:pt x="528804" y="464022"/>
                      </a:cubicBezTo>
                      <a:cubicBezTo>
                        <a:pt x="532098" y="455748"/>
                        <a:pt x="534508" y="457033"/>
                        <a:pt x="536837" y="458238"/>
                      </a:cubicBezTo>
                      <a:cubicBezTo>
                        <a:pt x="536676" y="463781"/>
                        <a:pt x="534427" y="468922"/>
                        <a:pt x="533865" y="474464"/>
                      </a:cubicBezTo>
                      <a:cubicBezTo>
                        <a:pt x="534588" y="469083"/>
                        <a:pt x="536516" y="465789"/>
                        <a:pt x="541657" y="460809"/>
                      </a:cubicBezTo>
                      <a:cubicBezTo>
                        <a:pt x="543906" y="464263"/>
                        <a:pt x="544549" y="464986"/>
                        <a:pt x="548083" y="467395"/>
                      </a:cubicBezTo>
                      <a:cubicBezTo>
                        <a:pt x="558686" y="456551"/>
                        <a:pt x="560293" y="456069"/>
                        <a:pt x="563104" y="455266"/>
                      </a:cubicBezTo>
                      <a:cubicBezTo>
                        <a:pt x="564390" y="457997"/>
                        <a:pt x="564952" y="459283"/>
                        <a:pt x="553626" y="482578"/>
                      </a:cubicBezTo>
                      <a:cubicBezTo>
                        <a:pt x="567522" y="476071"/>
                        <a:pt x="568647" y="475750"/>
                        <a:pt x="571217" y="475187"/>
                      </a:cubicBezTo>
                      <a:cubicBezTo>
                        <a:pt x="568808" y="477918"/>
                        <a:pt x="568808" y="477918"/>
                        <a:pt x="559811" y="483702"/>
                      </a:cubicBezTo>
                      <a:cubicBezTo>
                        <a:pt x="560534" y="484505"/>
                        <a:pt x="561899" y="485228"/>
                        <a:pt x="562944" y="485309"/>
                      </a:cubicBezTo>
                      <a:cubicBezTo>
                        <a:pt x="562462" y="486112"/>
                        <a:pt x="562462" y="486112"/>
                        <a:pt x="553626" y="497920"/>
                      </a:cubicBezTo>
                      <a:cubicBezTo>
                        <a:pt x="565755" y="487156"/>
                        <a:pt x="567201" y="486112"/>
                        <a:pt x="570013" y="484184"/>
                      </a:cubicBezTo>
                      <a:cubicBezTo>
                        <a:pt x="569772" y="486433"/>
                        <a:pt x="569772" y="486433"/>
                        <a:pt x="563827" y="493582"/>
                      </a:cubicBezTo>
                      <a:cubicBezTo>
                        <a:pt x="566960" y="492056"/>
                        <a:pt x="567844" y="491574"/>
                        <a:pt x="571057" y="489004"/>
                      </a:cubicBezTo>
                      <a:cubicBezTo>
                        <a:pt x="570896" y="493181"/>
                        <a:pt x="570976" y="494145"/>
                        <a:pt x="571137" y="498161"/>
                      </a:cubicBezTo>
                      <a:cubicBezTo>
                        <a:pt x="572021" y="492940"/>
                        <a:pt x="574029" y="490369"/>
                        <a:pt x="579732" y="487236"/>
                      </a:cubicBezTo>
                      <a:cubicBezTo>
                        <a:pt x="593388" y="496233"/>
                        <a:pt x="590898" y="502097"/>
                        <a:pt x="569450" y="511415"/>
                      </a:cubicBezTo>
                      <a:cubicBezTo>
                        <a:pt x="585436" y="506515"/>
                        <a:pt x="586319" y="507238"/>
                        <a:pt x="588327" y="508684"/>
                      </a:cubicBezTo>
                      <a:cubicBezTo>
                        <a:pt x="585676" y="512540"/>
                        <a:pt x="584873" y="513745"/>
                        <a:pt x="570816" y="523224"/>
                      </a:cubicBezTo>
                      <a:cubicBezTo>
                        <a:pt x="573627" y="521778"/>
                        <a:pt x="573627" y="521778"/>
                        <a:pt x="575876" y="521215"/>
                      </a:cubicBezTo>
                      <a:cubicBezTo>
                        <a:pt x="576198" y="521697"/>
                        <a:pt x="576680" y="522260"/>
                        <a:pt x="577081" y="522742"/>
                      </a:cubicBezTo>
                      <a:cubicBezTo>
                        <a:pt x="575635" y="526035"/>
                        <a:pt x="575395" y="526517"/>
                        <a:pt x="571217" y="532060"/>
                      </a:cubicBezTo>
                      <a:cubicBezTo>
                        <a:pt x="599814" y="514387"/>
                        <a:pt x="599814" y="514387"/>
                        <a:pt x="606562" y="521697"/>
                      </a:cubicBezTo>
                      <a:cubicBezTo>
                        <a:pt x="606562" y="522340"/>
                        <a:pt x="606562" y="523143"/>
                        <a:pt x="606562" y="523705"/>
                      </a:cubicBezTo>
                      <a:cubicBezTo>
                        <a:pt x="595236" y="528605"/>
                        <a:pt x="593227" y="529489"/>
                        <a:pt x="590577" y="531658"/>
                      </a:cubicBezTo>
                      <a:cubicBezTo>
                        <a:pt x="594272" y="534951"/>
                        <a:pt x="594272" y="534951"/>
                        <a:pt x="594593" y="535674"/>
                      </a:cubicBezTo>
                      <a:cubicBezTo>
                        <a:pt x="594272" y="536478"/>
                        <a:pt x="593790" y="537522"/>
                        <a:pt x="593388" y="538325"/>
                      </a:cubicBezTo>
                      <a:cubicBezTo>
                        <a:pt x="604393" y="536719"/>
                        <a:pt x="605919" y="537040"/>
                        <a:pt x="608329" y="537522"/>
                      </a:cubicBezTo>
                      <a:cubicBezTo>
                        <a:pt x="608249" y="538084"/>
                        <a:pt x="608249" y="538887"/>
                        <a:pt x="608168" y="539450"/>
                      </a:cubicBezTo>
                      <a:cubicBezTo>
                        <a:pt x="604072" y="542583"/>
                        <a:pt x="599413" y="544912"/>
                        <a:pt x="585436" y="550776"/>
                      </a:cubicBezTo>
                      <a:cubicBezTo>
                        <a:pt x="600537" y="554069"/>
                        <a:pt x="602626" y="554712"/>
                        <a:pt x="605839" y="557122"/>
                      </a:cubicBezTo>
                      <a:cubicBezTo>
                        <a:pt x="602385" y="560014"/>
                        <a:pt x="602385" y="560014"/>
                        <a:pt x="591139" y="561379"/>
                      </a:cubicBezTo>
                      <a:cubicBezTo>
                        <a:pt x="594432" y="562986"/>
                        <a:pt x="595396" y="564351"/>
                        <a:pt x="591460" y="571179"/>
                      </a:cubicBezTo>
                      <a:cubicBezTo>
                        <a:pt x="585917" y="570376"/>
                        <a:pt x="585917" y="570376"/>
                        <a:pt x="579893" y="570215"/>
                      </a:cubicBezTo>
                      <a:cubicBezTo>
                        <a:pt x="579973" y="570778"/>
                        <a:pt x="580054" y="571501"/>
                        <a:pt x="580134" y="572063"/>
                      </a:cubicBezTo>
                      <a:cubicBezTo>
                        <a:pt x="585034" y="574794"/>
                        <a:pt x="586560" y="575437"/>
                        <a:pt x="600617" y="580819"/>
                      </a:cubicBezTo>
                      <a:cubicBezTo>
                        <a:pt x="598931" y="582024"/>
                        <a:pt x="594995" y="584915"/>
                        <a:pt x="594754" y="590619"/>
                      </a:cubicBezTo>
                      <a:cubicBezTo>
                        <a:pt x="597886" y="589494"/>
                        <a:pt x="599975" y="586683"/>
                        <a:pt x="603188" y="585638"/>
                      </a:cubicBezTo>
                      <a:cubicBezTo>
                        <a:pt x="602626" y="589494"/>
                        <a:pt x="599654" y="591904"/>
                        <a:pt x="597886" y="595117"/>
                      </a:cubicBezTo>
                      <a:cubicBezTo>
                        <a:pt x="598368" y="595197"/>
                        <a:pt x="599011" y="595358"/>
                        <a:pt x="599573" y="595438"/>
                      </a:cubicBezTo>
                      <a:cubicBezTo>
                        <a:pt x="601742" y="593992"/>
                        <a:pt x="602144" y="593671"/>
                        <a:pt x="605357" y="591020"/>
                      </a:cubicBezTo>
                      <a:cubicBezTo>
                        <a:pt x="604875" y="591904"/>
                        <a:pt x="604473" y="593430"/>
                        <a:pt x="604554" y="594474"/>
                      </a:cubicBezTo>
                      <a:cubicBezTo>
                        <a:pt x="605758" y="594394"/>
                        <a:pt x="607285" y="594314"/>
                        <a:pt x="608490" y="594314"/>
                      </a:cubicBezTo>
                      <a:cubicBezTo>
                        <a:pt x="609293" y="596965"/>
                        <a:pt x="609293" y="596965"/>
                        <a:pt x="607767" y="601463"/>
                      </a:cubicBezTo>
                      <a:cubicBezTo>
                        <a:pt x="613390" y="591342"/>
                        <a:pt x="617004" y="591824"/>
                        <a:pt x="621342" y="603391"/>
                      </a:cubicBezTo>
                      <a:lnTo>
                        <a:pt x="623109" y="602668"/>
                      </a:lnTo>
                      <a:cubicBezTo>
                        <a:pt x="623511" y="603391"/>
                        <a:pt x="623993" y="604274"/>
                        <a:pt x="624395" y="604997"/>
                      </a:cubicBezTo>
                      <a:cubicBezTo>
                        <a:pt x="620940" y="606363"/>
                        <a:pt x="620940" y="606363"/>
                        <a:pt x="620459" y="609496"/>
                      </a:cubicBezTo>
                      <a:cubicBezTo>
                        <a:pt x="618772" y="610299"/>
                        <a:pt x="618772" y="610299"/>
                        <a:pt x="612827" y="610058"/>
                      </a:cubicBezTo>
                      <a:cubicBezTo>
                        <a:pt x="618290" y="612548"/>
                        <a:pt x="618290" y="612548"/>
                        <a:pt x="622065" y="612629"/>
                      </a:cubicBezTo>
                      <a:cubicBezTo>
                        <a:pt x="625278" y="608612"/>
                        <a:pt x="627608" y="610379"/>
                        <a:pt x="630018" y="612388"/>
                      </a:cubicBezTo>
                      <a:cubicBezTo>
                        <a:pt x="629937" y="614637"/>
                        <a:pt x="629937" y="617448"/>
                        <a:pt x="620137" y="623794"/>
                      </a:cubicBezTo>
                      <a:cubicBezTo>
                        <a:pt x="637729" y="621706"/>
                        <a:pt x="639898" y="622268"/>
                        <a:pt x="643432" y="623152"/>
                      </a:cubicBezTo>
                      <a:cubicBezTo>
                        <a:pt x="643513" y="623634"/>
                        <a:pt x="643513" y="624517"/>
                        <a:pt x="643513" y="625240"/>
                      </a:cubicBezTo>
                      <a:moveTo>
                        <a:pt x="474503" y="411005"/>
                      </a:moveTo>
                      <a:cubicBezTo>
                        <a:pt x="473539" y="411568"/>
                        <a:pt x="472414" y="411487"/>
                        <a:pt x="471450" y="412050"/>
                      </a:cubicBezTo>
                      <a:cubicBezTo>
                        <a:pt x="470807" y="412451"/>
                        <a:pt x="470245" y="413335"/>
                        <a:pt x="469763" y="413897"/>
                      </a:cubicBezTo>
                      <a:cubicBezTo>
                        <a:pt x="464863" y="418878"/>
                        <a:pt x="461168" y="421207"/>
                        <a:pt x="458919" y="422251"/>
                      </a:cubicBezTo>
                      <a:cubicBezTo>
                        <a:pt x="453778" y="424741"/>
                        <a:pt x="450725" y="423697"/>
                        <a:pt x="449039" y="423215"/>
                      </a:cubicBezTo>
                      <a:cubicBezTo>
                        <a:pt x="447111" y="422332"/>
                        <a:pt x="445986" y="421528"/>
                        <a:pt x="444540" y="419681"/>
                      </a:cubicBezTo>
                      <a:cubicBezTo>
                        <a:pt x="448717" y="414138"/>
                        <a:pt x="452493" y="408194"/>
                        <a:pt x="456830" y="402812"/>
                      </a:cubicBezTo>
                      <a:cubicBezTo>
                        <a:pt x="458919" y="400161"/>
                        <a:pt x="463096" y="395261"/>
                        <a:pt x="466871" y="391968"/>
                      </a:cubicBezTo>
                      <a:cubicBezTo>
                        <a:pt x="472655" y="386987"/>
                        <a:pt x="475788" y="386987"/>
                        <a:pt x="476511" y="391968"/>
                      </a:cubicBezTo>
                      <a:cubicBezTo>
                        <a:pt x="477153" y="396305"/>
                        <a:pt x="475948" y="404338"/>
                        <a:pt x="474985" y="410764"/>
                      </a:cubicBezTo>
                      <a:cubicBezTo>
                        <a:pt x="474824" y="410845"/>
                        <a:pt x="474663" y="410925"/>
                        <a:pt x="474503" y="411005"/>
                      </a:cubicBezTo>
                      <a:moveTo>
                        <a:pt x="460044" y="374135"/>
                      </a:moveTo>
                      <a:cubicBezTo>
                        <a:pt x="457152" y="375420"/>
                        <a:pt x="454260" y="376705"/>
                        <a:pt x="451288" y="377910"/>
                      </a:cubicBezTo>
                      <a:cubicBezTo>
                        <a:pt x="454983" y="376304"/>
                        <a:pt x="458758" y="374697"/>
                        <a:pt x="462453" y="373090"/>
                      </a:cubicBezTo>
                      <a:cubicBezTo>
                        <a:pt x="461730" y="373331"/>
                        <a:pt x="460766" y="373813"/>
                        <a:pt x="460044" y="374135"/>
                      </a:cubicBezTo>
                      <a:moveTo>
                        <a:pt x="426788" y="420805"/>
                      </a:moveTo>
                      <a:cubicBezTo>
                        <a:pt x="425181" y="422251"/>
                        <a:pt x="422932" y="424018"/>
                        <a:pt x="421325" y="425223"/>
                      </a:cubicBezTo>
                      <a:cubicBezTo>
                        <a:pt x="419639" y="425464"/>
                        <a:pt x="418112" y="427633"/>
                        <a:pt x="416988" y="428919"/>
                      </a:cubicBezTo>
                      <a:cubicBezTo>
                        <a:pt x="411927" y="434863"/>
                        <a:pt x="400279" y="447313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lnTo>
                        <a:pt x="400761" y="434140"/>
                      </a:lnTo>
                      <a:lnTo>
                        <a:pt x="400761" y="434140"/>
                      </a:ln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lnTo>
                        <a:pt x="400761" y="434140"/>
                      </a:lnTo>
                      <a:cubicBezTo>
                        <a:pt x="400761" y="434140"/>
                        <a:pt x="400761" y="434140"/>
                        <a:pt x="400761" y="434140"/>
                      </a:cubicBezTo>
                      <a:lnTo>
                        <a:pt x="400761" y="434140"/>
                      </a:lnTo>
                      <a:lnTo>
                        <a:pt x="400761" y="434140"/>
                      </a:lnTo>
                      <a:cubicBezTo>
                        <a:pt x="395380" y="431168"/>
                        <a:pt x="391925" y="422412"/>
                        <a:pt x="405742" y="397912"/>
                      </a:cubicBezTo>
                      <a:cubicBezTo>
                        <a:pt x="407188" y="397751"/>
                        <a:pt x="408634" y="397590"/>
                        <a:pt x="410080" y="398072"/>
                      </a:cubicBezTo>
                      <a:cubicBezTo>
                        <a:pt x="411365" y="398474"/>
                        <a:pt x="411927" y="399920"/>
                        <a:pt x="413132" y="400402"/>
                      </a:cubicBezTo>
                      <a:cubicBezTo>
                        <a:pt x="414739" y="401045"/>
                        <a:pt x="419960" y="399358"/>
                        <a:pt x="420763" y="398474"/>
                      </a:cubicBezTo>
                      <a:cubicBezTo>
                        <a:pt x="422932" y="395823"/>
                        <a:pt x="425824" y="394217"/>
                        <a:pt x="429519" y="393735"/>
                      </a:cubicBezTo>
                      <a:cubicBezTo>
                        <a:pt x="429840" y="391887"/>
                        <a:pt x="430965" y="390281"/>
                        <a:pt x="431206" y="388433"/>
                      </a:cubicBezTo>
                      <a:cubicBezTo>
                        <a:pt x="431447" y="386264"/>
                        <a:pt x="429599" y="384256"/>
                        <a:pt x="430884" y="382087"/>
                      </a:cubicBezTo>
                      <a:cubicBezTo>
                        <a:pt x="431447" y="382328"/>
                        <a:pt x="431688" y="382328"/>
                        <a:pt x="433214" y="385541"/>
                      </a:cubicBezTo>
                      <a:cubicBezTo>
                        <a:pt x="438194" y="382087"/>
                        <a:pt x="453296" y="371645"/>
                        <a:pt x="452011" y="381043"/>
                      </a:cubicBezTo>
                      <a:cubicBezTo>
                        <a:pt x="450966" y="388674"/>
                        <a:pt x="448316" y="390281"/>
                        <a:pt x="443898" y="393012"/>
                      </a:cubicBezTo>
                      <a:cubicBezTo>
                        <a:pt x="431607" y="400563"/>
                        <a:pt x="428394" y="410122"/>
                        <a:pt x="426306" y="416387"/>
                      </a:cubicBezTo>
                      <a:cubicBezTo>
                        <a:pt x="429198" y="415905"/>
                        <a:pt x="429439" y="416227"/>
                        <a:pt x="430001" y="416869"/>
                      </a:cubicBezTo>
                      <a:cubicBezTo>
                        <a:pt x="429599" y="417672"/>
                        <a:pt x="429519" y="418315"/>
                        <a:pt x="426788" y="420805"/>
                      </a:cubicBezTo>
                      <a:moveTo>
                        <a:pt x="338989" y="481694"/>
                      </a:moveTo>
                      <a:cubicBezTo>
                        <a:pt x="338668" y="481774"/>
                        <a:pt x="338186" y="481774"/>
                        <a:pt x="337865" y="481774"/>
                      </a:cubicBezTo>
                      <a:cubicBezTo>
                        <a:pt x="337704" y="481373"/>
                        <a:pt x="337463" y="480891"/>
                        <a:pt x="337302" y="480569"/>
                      </a:cubicBezTo>
                      <a:cubicBezTo>
                        <a:pt x="337945" y="478963"/>
                        <a:pt x="338025" y="478722"/>
                        <a:pt x="339552" y="476633"/>
                      </a:cubicBezTo>
                      <a:cubicBezTo>
                        <a:pt x="332081" y="473822"/>
                        <a:pt x="327502" y="476151"/>
                        <a:pt x="318425" y="487397"/>
                      </a:cubicBezTo>
                      <a:cubicBezTo>
                        <a:pt x="301797" y="485791"/>
                        <a:pt x="266373" y="475830"/>
                        <a:pt x="296737" y="418717"/>
                      </a:cubicBezTo>
                      <a:cubicBezTo>
                        <a:pt x="302601" y="423055"/>
                        <a:pt x="305091" y="431248"/>
                        <a:pt x="313204" y="433015"/>
                      </a:cubicBezTo>
                      <a:cubicBezTo>
                        <a:pt x="305814" y="411969"/>
                        <a:pt x="306456" y="399358"/>
                        <a:pt x="330956" y="393012"/>
                      </a:cubicBezTo>
                      <a:cubicBezTo>
                        <a:pt x="332724" y="392530"/>
                        <a:pt x="333286" y="392369"/>
                        <a:pt x="335455" y="380882"/>
                      </a:cubicBezTo>
                      <a:cubicBezTo>
                        <a:pt x="335535" y="380159"/>
                        <a:pt x="335535" y="380159"/>
                        <a:pt x="335535" y="380159"/>
                      </a:cubicBez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cubicBezTo>
                        <a:pt x="343086" y="373653"/>
                        <a:pt x="349914" y="366263"/>
                        <a:pt x="357706" y="360077"/>
                      </a:cubicBezTo>
                      <a:cubicBezTo>
                        <a:pt x="341158" y="367949"/>
                        <a:pt x="333929" y="368512"/>
                        <a:pt x="331760" y="362086"/>
                      </a:cubicBezTo>
                      <a:cubicBezTo>
                        <a:pt x="331760" y="356141"/>
                        <a:pt x="337222" y="346582"/>
                        <a:pt x="341640" y="343128"/>
                      </a:cubicBezTo>
                      <a:lnTo>
                        <a:pt x="412489" y="293485"/>
                      </a:lnTo>
                      <a:cubicBezTo>
                        <a:pt x="412891" y="293244"/>
                        <a:pt x="416747" y="293485"/>
                        <a:pt x="417791" y="294289"/>
                      </a:cubicBezTo>
                      <a:cubicBezTo>
                        <a:pt x="419880" y="295735"/>
                        <a:pt x="418112" y="298466"/>
                        <a:pt x="415542" y="302563"/>
                      </a:cubicBezTo>
                      <a:cubicBezTo>
                        <a:pt x="412168" y="307944"/>
                        <a:pt x="411847" y="308748"/>
                        <a:pt x="410722" y="312122"/>
                      </a:cubicBezTo>
                      <a:cubicBezTo>
                        <a:pt x="408955" y="312925"/>
                        <a:pt x="408393" y="313246"/>
                        <a:pt x="406465" y="314692"/>
                      </a:cubicBezTo>
                      <a:cubicBezTo>
                        <a:pt x="407188" y="314451"/>
                        <a:pt x="408152" y="314049"/>
                        <a:pt x="408875" y="313808"/>
                      </a:cubicBezTo>
                      <a:cubicBezTo>
                        <a:pt x="408875" y="314130"/>
                        <a:pt x="408955" y="314531"/>
                        <a:pt x="408955" y="314853"/>
                      </a:cubicBezTo>
                      <a:cubicBezTo>
                        <a:pt x="394898" y="326902"/>
                        <a:pt x="384616" y="342887"/>
                        <a:pt x="369112" y="353490"/>
                      </a:cubicBezTo>
                      <a:cubicBezTo>
                        <a:pt x="375779" y="350759"/>
                        <a:pt x="380599" y="349554"/>
                        <a:pt x="389435" y="348430"/>
                      </a:cubicBezTo>
                      <a:cubicBezTo>
                        <a:pt x="382447" y="354776"/>
                        <a:pt x="375860" y="361523"/>
                        <a:pt x="368630" y="367548"/>
                      </a:cubicBezTo>
                      <a:cubicBezTo>
                        <a:pt x="373530" y="366102"/>
                        <a:pt x="374093" y="366102"/>
                        <a:pt x="376181" y="366102"/>
                      </a:cubicBezTo>
                      <a:cubicBezTo>
                        <a:pt x="376422" y="366504"/>
                        <a:pt x="376743" y="366985"/>
                        <a:pt x="376984" y="367307"/>
                      </a:cubicBezTo>
                      <a:cubicBezTo>
                        <a:pt x="373771" y="373813"/>
                        <a:pt x="368229" y="378633"/>
                        <a:pt x="364052" y="384417"/>
                      </a:cubicBezTo>
                      <a:cubicBezTo>
                        <a:pt x="366381" y="383051"/>
                        <a:pt x="367104" y="382730"/>
                        <a:pt x="369514" y="381686"/>
                      </a:cubicBezTo>
                      <a:cubicBezTo>
                        <a:pt x="372245" y="383372"/>
                        <a:pt x="377065" y="379999"/>
                        <a:pt x="386704" y="369636"/>
                      </a:cubicBezTo>
                      <a:cubicBezTo>
                        <a:pt x="377547" y="384176"/>
                        <a:pt x="372807" y="393333"/>
                        <a:pt x="365738" y="407310"/>
                      </a:cubicBezTo>
                      <a:cubicBezTo>
                        <a:pt x="384294" y="383372"/>
                        <a:pt x="403573" y="368512"/>
                        <a:pt x="403734" y="368351"/>
                      </a:cubicBezTo>
                      <a:cubicBezTo>
                        <a:pt x="374896" y="409078"/>
                        <a:pt x="358589" y="437674"/>
                        <a:pt x="339230" y="481694"/>
                      </a:cubicBezTo>
                      <a:cubicBezTo>
                        <a:pt x="339150" y="481614"/>
                        <a:pt x="339070" y="481694"/>
                        <a:pt x="338989" y="481694"/>
                      </a:cubicBezTo>
                      <a:moveTo>
                        <a:pt x="488721" y="365620"/>
                      </a:moveTo>
                      <a:cubicBezTo>
                        <a:pt x="488640" y="365620"/>
                        <a:pt x="486471" y="365379"/>
                        <a:pt x="486070" y="365299"/>
                      </a:cubicBezTo>
                      <a:cubicBezTo>
                        <a:pt x="486953" y="365459"/>
                        <a:pt x="487837" y="365540"/>
                        <a:pt x="488721" y="365620"/>
                      </a:cubicBezTo>
                      <a:lnTo>
                        <a:pt x="488721" y="365620"/>
                      </a:lnTo>
                      <a:moveTo>
                        <a:pt x="479804" y="361523"/>
                      </a:moveTo>
                      <a:cubicBezTo>
                        <a:pt x="479242" y="362005"/>
                        <a:pt x="478680" y="362327"/>
                        <a:pt x="478278" y="362568"/>
                      </a:cubicBezTo>
                      <a:lnTo>
                        <a:pt x="475065" y="363692"/>
                      </a:lnTo>
                      <a:cubicBezTo>
                        <a:pt x="476671" y="361041"/>
                        <a:pt x="479483" y="359997"/>
                        <a:pt x="481089" y="359595"/>
                      </a:cubicBezTo>
                      <a:cubicBezTo>
                        <a:pt x="480929" y="359917"/>
                        <a:pt x="480768" y="360720"/>
                        <a:pt x="479804" y="361523"/>
                      </a:cubicBezTo>
                      <a:moveTo>
                        <a:pt x="474663" y="329231"/>
                      </a:moveTo>
                      <a:cubicBezTo>
                        <a:pt x="474663" y="329151"/>
                        <a:pt x="475466" y="327062"/>
                        <a:pt x="477234" y="323287"/>
                      </a:cubicBezTo>
                      <a:cubicBezTo>
                        <a:pt x="476270" y="325215"/>
                        <a:pt x="475466" y="327223"/>
                        <a:pt x="474663" y="329231"/>
                      </a:cubicBezTo>
                      <a:cubicBezTo>
                        <a:pt x="474663" y="329231"/>
                        <a:pt x="474663" y="329231"/>
                        <a:pt x="474663" y="329231"/>
                      </a:cubicBezTo>
                      <a:moveTo>
                        <a:pt x="506794" y="360559"/>
                      </a:moveTo>
                      <a:cubicBezTo>
                        <a:pt x="503662" y="363049"/>
                        <a:pt x="502939" y="360961"/>
                        <a:pt x="502135" y="358310"/>
                      </a:cubicBezTo>
                      <a:cubicBezTo>
                        <a:pt x="500930" y="354454"/>
                        <a:pt x="499726" y="352607"/>
                        <a:pt x="496512" y="352848"/>
                      </a:cubicBezTo>
                      <a:lnTo>
                        <a:pt x="495147" y="353571"/>
                      </a:lnTo>
                      <a:cubicBezTo>
                        <a:pt x="496994" y="351322"/>
                        <a:pt x="515952" y="335336"/>
                        <a:pt x="524065" y="339031"/>
                      </a:cubicBezTo>
                      <a:cubicBezTo>
                        <a:pt x="522780" y="340799"/>
                        <a:pt x="511212" y="357025"/>
                        <a:pt x="506794" y="360559"/>
                      </a:cubicBezTo>
                      <a:moveTo>
                        <a:pt x="515871" y="335979"/>
                      </a:moveTo>
                      <a:cubicBezTo>
                        <a:pt x="514988" y="336541"/>
                        <a:pt x="514345" y="336300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0489" y="337264"/>
                        <a:pt x="508963" y="337666"/>
                        <a:pt x="508481" y="337585"/>
                      </a:cubicBezTo>
                      <a:cubicBezTo>
                        <a:pt x="508481" y="337585"/>
                        <a:pt x="508481" y="337505"/>
                        <a:pt x="508401" y="337505"/>
                      </a:cubicBezTo>
                      <a:cubicBezTo>
                        <a:pt x="508803" y="336862"/>
                        <a:pt x="511614" y="335256"/>
                        <a:pt x="518603" y="331641"/>
                      </a:cubicBezTo>
                      <a:cubicBezTo>
                        <a:pt x="518121" y="332766"/>
                        <a:pt x="517237" y="335176"/>
                        <a:pt x="515871" y="335979"/>
                      </a:cubicBezTo>
                      <a:moveTo>
                        <a:pt x="532981" y="328509"/>
                      </a:moveTo>
                      <a:cubicBezTo>
                        <a:pt x="532981" y="328509"/>
                        <a:pt x="533062" y="328509"/>
                        <a:pt x="532981" y="328509"/>
                      </a:cubicBezTo>
                      <a:lnTo>
                        <a:pt x="532981" y="328509"/>
                      </a:lnTo>
                      <a:cubicBezTo>
                        <a:pt x="532740" y="328428"/>
                        <a:pt x="532339" y="328428"/>
                        <a:pt x="532017" y="328348"/>
                      </a:cubicBezTo>
                      <a:cubicBezTo>
                        <a:pt x="532017" y="328348"/>
                        <a:pt x="532098" y="328348"/>
                        <a:pt x="532098" y="328348"/>
                      </a:cubicBezTo>
                      <a:cubicBezTo>
                        <a:pt x="532419" y="328428"/>
                        <a:pt x="532660" y="328509"/>
                        <a:pt x="532981" y="328509"/>
                      </a:cubicBezTo>
                      <a:moveTo>
                        <a:pt x="534026" y="328669"/>
                      </a:moveTo>
                      <a:cubicBezTo>
                        <a:pt x="534026" y="328669"/>
                        <a:pt x="534026" y="328750"/>
                        <a:pt x="534026" y="328669"/>
                      </a:cubicBezTo>
                      <a:cubicBezTo>
                        <a:pt x="533704" y="328589"/>
                        <a:pt x="533383" y="328589"/>
                        <a:pt x="533062" y="328509"/>
                      </a:cubicBezTo>
                      <a:cubicBezTo>
                        <a:pt x="533062" y="328509"/>
                        <a:pt x="533142" y="328509"/>
                        <a:pt x="533142" y="328509"/>
                      </a:cubicBezTo>
                      <a:cubicBezTo>
                        <a:pt x="533383" y="328589"/>
                        <a:pt x="533704" y="328669"/>
                        <a:pt x="534026" y="328669"/>
                      </a:cubicBezTo>
                      <a:moveTo>
                        <a:pt x="468880" y="267379"/>
                      </a:moveTo>
                      <a:cubicBezTo>
                        <a:pt x="465586" y="269467"/>
                        <a:pt x="465104" y="269467"/>
                        <a:pt x="465024" y="269307"/>
                      </a:cubicBezTo>
                      <a:cubicBezTo>
                        <a:pt x="465024" y="269066"/>
                        <a:pt x="465265" y="268745"/>
                        <a:pt x="465265" y="268745"/>
                      </a:cubicBezTo>
                      <a:cubicBezTo>
                        <a:pt x="467353" y="267539"/>
                        <a:pt x="469603" y="266575"/>
                        <a:pt x="471691" y="265531"/>
                      </a:cubicBezTo>
                      <a:cubicBezTo>
                        <a:pt x="470807" y="266174"/>
                        <a:pt x="469844" y="266816"/>
                        <a:pt x="468880" y="267379"/>
                      </a:cubicBezTo>
                      <a:moveTo>
                        <a:pt x="479644" y="270833"/>
                      </a:moveTo>
                      <a:cubicBezTo>
                        <a:pt x="473298" y="273484"/>
                        <a:pt x="467032" y="276135"/>
                        <a:pt x="460766" y="278866"/>
                      </a:cubicBezTo>
                      <a:cubicBezTo>
                        <a:pt x="467434" y="275974"/>
                        <a:pt x="474181" y="273162"/>
                        <a:pt x="480848" y="270351"/>
                      </a:cubicBezTo>
                      <a:cubicBezTo>
                        <a:pt x="480447" y="270512"/>
                        <a:pt x="479965" y="270672"/>
                        <a:pt x="479644" y="270833"/>
                      </a:cubicBezTo>
                      <a:moveTo>
                        <a:pt x="622949" y="347707"/>
                      </a:moveTo>
                      <a:cubicBezTo>
                        <a:pt x="620699" y="350358"/>
                        <a:pt x="618370" y="352446"/>
                        <a:pt x="618370" y="352527"/>
                      </a:cubicBezTo>
                      <a:cubicBezTo>
                        <a:pt x="618370" y="352527"/>
                        <a:pt x="617085" y="352607"/>
                        <a:pt x="616281" y="352446"/>
                      </a:cubicBezTo>
                      <a:cubicBezTo>
                        <a:pt x="614675" y="352045"/>
                        <a:pt x="613872" y="351081"/>
                        <a:pt x="621342" y="346341"/>
                      </a:cubicBezTo>
                      <a:cubicBezTo>
                        <a:pt x="622949" y="345297"/>
                        <a:pt x="624555" y="344413"/>
                        <a:pt x="626242" y="343449"/>
                      </a:cubicBezTo>
                      <a:cubicBezTo>
                        <a:pt x="625760" y="344172"/>
                        <a:pt x="624877" y="345538"/>
                        <a:pt x="622949" y="347707"/>
                      </a:cubicBezTo>
                      <a:moveTo>
                        <a:pt x="507517" y="310836"/>
                      </a:moveTo>
                      <a:cubicBezTo>
                        <a:pt x="501894" y="315013"/>
                        <a:pt x="498440" y="314130"/>
                        <a:pt x="497075" y="313728"/>
                      </a:cubicBezTo>
                      <a:cubicBezTo>
                        <a:pt x="503019" y="309069"/>
                        <a:pt x="504063" y="308025"/>
                        <a:pt x="505188" y="305695"/>
                      </a:cubicBezTo>
                      <a:cubicBezTo>
                        <a:pt x="506634" y="302723"/>
                        <a:pt x="511453" y="299510"/>
                        <a:pt x="511453" y="299510"/>
                      </a:cubicBezTo>
                      <a:cubicBezTo>
                        <a:pt x="516273" y="296618"/>
                        <a:pt x="515389" y="302803"/>
                        <a:pt x="515389" y="302884"/>
                      </a:cubicBezTo>
                      <a:cubicBezTo>
                        <a:pt x="515389" y="302964"/>
                        <a:pt x="511614" y="307864"/>
                        <a:pt x="507517" y="310836"/>
                      </a:cubicBezTo>
                      <a:moveTo>
                        <a:pt x="515229" y="328107"/>
                      </a:moveTo>
                      <a:cubicBezTo>
                        <a:pt x="513863" y="329231"/>
                        <a:pt x="496191" y="343449"/>
                        <a:pt x="496191" y="343449"/>
                      </a:cubicBezTo>
                      <a:cubicBezTo>
                        <a:pt x="496030" y="343048"/>
                        <a:pt x="495950" y="342887"/>
                        <a:pt x="496593" y="341602"/>
                      </a:cubicBezTo>
                      <a:cubicBezTo>
                        <a:pt x="487435" y="342807"/>
                        <a:pt x="486632" y="341843"/>
                        <a:pt x="485748" y="340718"/>
                      </a:cubicBezTo>
                      <a:cubicBezTo>
                        <a:pt x="486471" y="337425"/>
                        <a:pt x="491853" y="333649"/>
                        <a:pt x="508883" y="324572"/>
                      </a:cubicBezTo>
                      <a:cubicBezTo>
                        <a:pt x="496271" y="321600"/>
                        <a:pt x="495709" y="320074"/>
                        <a:pt x="495468" y="319431"/>
                      </a:cubicBezTo>
                      <a:cubicBezTo>
                        <a:pt x="496352" y="318307"/>
                        <a:pt x="498762" y="318066"/>
                        <a:pt x="506071" y="317905"/>
                      </a:cubicBezTo>
                      <a:cubicBezTo>
                        <a:pt x="503180" y="315174"/>
                        <a:pt x="524226" y="301277"/>
                        <a:pt x="524627" y="301277"/>
                      </a:cubicBezTo>
                      <a:cubicBezTo>
                        <a:pt x="526314" y="301358"/>
                        <a:pt x="526314" y="301358"/>
                        <a:pt x="523583" y="310595"/>
                      </a:cubicBezTo>
                      <a:cubicBezTo>
                        <a:pt x="532419" y="293967"/>
                        <a:pt x="535712" y="297421"/>
                        <a:pt x="537640" y="302322"/>
                      </a:cubicBezTo>
                      <a:cubicBezTo>
                        <a:pt x="539488" y="300554"/>
                        <a:pt x="540693" y="299430"/>
                        <a:pt x="542781" y="297582"/>
                      </a:cubicBezTo>
                      <a:cubicBezTo>
                        <a:pt x="534588" y="311881"/>
                        <a:pt x="516032" y="327464"/>
                        <a:pt x="515229" y="328107"/>
                      </a:cubicBezTo>
                      <a:moveTo>
                        <a:pt x="518442" y="295253"/>
                      </a:moveTo>
                      <a:lnTo>
                        <a:pt x="518442" y="295253"/>
                      </a:lnTo>
                      <a:cubicBezTo>
                        <a:pt x="518603" y="295012"/>
                        <a:pt x="520370" y="293325"/>
                        <a:pt x="525832" y="288505"/>
                      </a:cubicBezTo>
                      <a:cubicBezTo>
                        <a:pt x="526555" y="288023"/>
                        <a:pt x="527519" y="287461"/>
                        <a:pt x="528242" y="286979"/>
                      </a:cubicBezTo>
                      <a:cubicBezTo>
                        <a:pt x="526314" y="288666"/>
                        <a:pt x="524306" y="290272"/>
                        <a:pt x="522378" y="291959"/>
                      </a:cubicBezTo>
                      <a:cubicBezTo>
                        <a:pt x="521414" y="292843"/>
                        <a:pt x="520370" y="293646"/>
                        <a:pt x="519406" y="294449"/>
                      </a:cubicBezTo>
                      <a:cubicBezTo>
                        <a:pt x="519085" y="294771"/>
                        <a:pt x="518763" y="295012"/>
                        <a:pt x="518442" y="295253"/>
                      </a:cubicBezTo>
                      <a:moveTo>
                        <a:pt x="542380" y="291879"/>
                      </a:moveTo>
                      <a:cubicBezTo>
                        <a:pt x="539568" y="293084"/>
                        <a:pt x="535953" y="294369"/>
                        <a:pt x="534267" y="293566"/>
                      </a:cubicBezTo>
                      <a:cubicBezTo>
                        <a:pt x="533945" y="293325"/>
                        <a:pt x="533785" y="293164"/>
                        <a:pt x="533865" y="292762"/>
                      </a:cubicBezTo>
                      <a:cubicBezTo>
                        <a:pt x="537399" y="291076"/>
                        <a:pt x="542219" y="289148"/>
                        <a:pt x="543183" y="291558"/>
                      </a:cubicBezTo>
                      <a:cubicBezTo>
                        <a:pt x="542942" y="291638"/>
                        <a:pt x="542621" y="291799"/>
                        <a:pt x="542380" y="291879"/>
                      </a:cubicBezTo>
                      <a:moveTo>
                        <a:pt x="483098" y="313326"/>
                      </a:moveTo>
                      <a:cubicBezTo>
                        <a:pt x="476430" y="316459"/>
                        <a:pt x="462212" y="320315"/>
                        <a:pt x="454581" y="322404"/>
                      </a:cubicBezTo>
                      <a:cubicBezTo>
                        <a:pt x="456268" y="321841"/>
                        <a:pt x="456589" y="321359"/>
                        <a:pt x="456911" y="320154"/>
                      </a:cubicBezTo>
                      <a:cubicBezTo>
                        <a:pt x="432009" y="325697"/>
                        <a:pt x="432009" y="325697"/>
                        <a:pt x="431286" y="325617"/>
                      </a:cubicBezTo>
                      <a:cubicBezTo>
                        <a:pt x="427350" y="324974"/>
                        <a:pt x="430804" y="318146"/>
                        <a:pt x="432009" y="315897"/>
                      </a:cubicBezTo>
                      <a:cubicBezTo>
                        <a:pt x="439239" y="315495"/>
                        <a:pt x="446629" y="313889"/>
                        <a:pt x="457714" y="310194"/>
                      </a:cubicBezTo>
                      <a:cubicBezTo>
                        <a:pt x="451850" y="310435"/>
                        <a:pt x="446548" y="310354"/>
                        <a:pt x="451047" y="305615"/>
                      </a:cubicBezTo>
                      <a:cubicBezTo>
                        <a:pt x="453135" y="303446"/>
                        <a:pt x="456429" y="301197"/>
                        <a:pt x="459963" y="298868"/>
                      </a:cubicBezTo>
                      <a:cubicBezTo>
                        <a:pt x="458919" y="299108"/>
                        <a:pt x="458919" y="299108"/>
                        <a:pt x="458276" y="299028"/>
                      </a:cubicBezTo>
                      <a:cubicBezTo>
                        <a:pt x="458276" y="298386"/>
                        <a:pt x="458276" y="298225"/>
                        <a:pt x="459803" y="296939"/>
                      </a:cubicBezTo>
                      <a:cubicBezTo>
                        <a:pt x="457312" y="298466"/>
                        <a:pt x="455625" y="301277"/>
                        <a:pt x="452412" y="301759"/>
                      </a:cubicBezTo>
                      <a:cubicBezTo>
                        <a:pt x="452332" y="301759"/>
                        <a:pt x="443255" y="301840"/>
                        <a:pt x="443978" y="299028"/>
                      </a:cubicBezTo>
                      <a:cubicBezTo>
                        <a:pt x="444862" y="295735"/>
                        <a:pt x="458999" y="290433"/>
                        <a:pt x="468317" y="286898"/>
                      </a:cubicBezTo>
                      <a:cubicBezTo>
                        <a:pt x="464783" y="284971"/>
                        <a:pt x="464703" y="284408"/>
                        <a:pt x="464462" y="283284"/>
                      </a:cubicBezTo>
                      <a:cubicBezTo>
                        <a:pt x="465586" y="282079"/>
                        <a:pt x="467514" y="281918"/>
                        <a:pt x="475868" y="282240"/>
                      </a:cubicBezTo>
                      <a:cubicBezTo>
                        <a:pt x="477555" y="273002"/>
                        <a:pt x="480929" y="272680"/>
                        <a:pt x="486953" y="275412"/>
                      </a:cubicBezTo>
                      <a:cubicBezTo>
                        <a:pt x="491050" y="271556"/>
                        <a:pt x="494906" y="268021"/>
                        <a:pt x="496753" y="267138"/>
                      </a:cubicBezTo>
                      <a:cubicBezTo>
                        <a:pt x="496593" y="268343"/>
                        <a:pt x="496512" y="268423"/>
                        <a:pt x="491934" y="274207"/>
                      </a:cubicBezTo>
                      <a:cubicBezTo>
                        <a:pt x="491532" y="274769"/>
                        <a:pt x="490889" y="275412"/>
                        <a:pt x="490488" y="275974"/>
                      </a:cubicBezTo>
                      <a:cubicBezTo>
                        <a:pt x="489926" y="277018"/>
                        <a:pt x="489604" y="278625"/>
                        <a:pt x="489042" y="279589"/>
                      </a:cubicBezTo>
                      <a:cubicBezTo>
                        <a:pt x="483740" y="288987"/>
                        <a:pt x="475065" y="296458"/>
                        <a:pt x="472655" y="307543"/>
                      </a:cubicBezTo>
                      <a:cubicBezTo>
                        <a:pt x="485507" y="297261"/>
                        <a:pt x="485507" y="297261"/>
                        <a:pt x="523744" y="271395"/>
                      </a:cubicBezTo>
                      <a:cubicBezTo>
                        <a:pt x="511052" y="281597"/>
                        <a:pt x="498039" y="291397"/>
                        <a:pt x="485588" y="301840"/>
                      </a:cubicBezTo>
                      <a:cubicBezTo>
                        <a:pt x="488640" y="300795"/>
                        <a:pt x="489122" y="300795"/>
                        <a:pt x="490006" y="300795"/>
                      </a:cubicBezTo>
                      <a:cubicBezTo>
                        <a:pt x="490086" y="300956"/>
                        <a:pt x="490247" y="301117"/>
                        <a:pt x="490327" y="301197"/>
                      </a:cubicBezTo>
                      <a:cubicBezTo>
                        <a:pt x="489926" y="302482"/>
                        <a:pt x="488399" y="304008"/>
                        <a:pt x="483740" y="307944"/>
                      </a:cubicBezTo>
                      <a:cubicBezTo>
                        <a:pt x="487114" y="308587"/>
                        <a:pt x="487194" y="308908"/>
                        <a:pt x="487596" y="310354"/>
                      </a:cubicBezTo>
                      <a:cubicBezTo>
                        <a:pt x="486471" y="311479"/>
                        <a:pt x="484624" y="312684"/>
                        <a:pt x="483098" y="313326"/>
                      </a:cubicBezTo>
                      <a:moveTo>
                        <a:pt x="515068" y="259185"/>
                      </a:moveTo>
                      <a:cubicBezTo>
                        <a:pt x="513622" y="259828"/>
                        <a:pt x="512176" y="260471"/>
                        <a:pt x="510811" y="261033"/>
                      </a:cubicBezTo>
                      <a:cubicBezTo>
                        <a:pt x="512337" y="260390"/>
                        <a:pt x="513863" y="259667"/>
                        <a:pt x="515389" y="259025"/>
                      </a:cubicBezTo>
                      <a:cubicBezTo>
                        <a:pt x="515229" y="259105"/>
                        <a:pt x="515149" y="259185"/>
                        <a:pt x="515068" y="259185"/>
                      </a:cubicBezTo>
                      <a:moveTo>
                        <a:pt x="590336" y="376545"/>
                      </a:moveTo>
                      <a:cubicBezTo>
                        <a:pt x="579893" y="387228"/>
                        <a:pt x="564149" y="398876"/>
                        <a:pt x="563586" y="386907"/>
                      </a:cubicBezTo>
                      <a:cubicBezTo>
                        <a:pt x="563426" y="383694"/>
                        <a:pt x="563908" y="380400"/>
                        <a:pt x="563908" y="377187"/>
                      </a:cubicBezTo>
                      <a:cubicBezTo>
                        <a:pt x="560775" y="381525"/>
                        <a:pt x="552340" y="392932"/>
                        <a:pt x="546396" y="383774"/>
                      </a:cubicBezTo>
                      <a:cubicBezTo>
                        <a:pt x="544067" y="386104"/>
                        <a:pt x="543826" y="386104"/>
                        <a:pt x="543103" y="386104"/>
                      </a:cubicBezTo>
                      <a:cubicBezTo>
                        <a:pt x="543022" y="385059"/>
                        <a:pt x="543022" y="385059"/>
                        <a:pt x="543585" y="383372"/>
                      </a:cubicBezTo>
                      <a:cubicBezTo>
                        <a:pt x="537721" y="386746"/>
                        <a:pt x="535873" y="384979"/>
                        <a:pt x="534668" y="382569"/>
                      </a:cubicBezTo>
                      <a:cubicBezTo>
                        <a:pt x="534267" y="383212"/>
                        <a:pt x="533704" y="384095"/>
                        <a:pt x="533222" y="384738"/>
                      </a:cubicBezTo>
                      <a:cubicBezTo>
                        <a:pt x="530170" y="381846"/>
                        <a:pt x="529206" y="377428"/>
                        <a:pt x="525912" y="374777"/>
                      </a:cubicBezTo>
                      <a:cubicBezTo>
                        <a:pt x="527117" y="373412"/>
                        <a:pt x="527198" y="373331"/>
                        <a:pt x="527599" y="372448"/>
                      </a:cubicBezTo>
                      <a:cubicBezTo>
                        <a:pt x="527519" y="372287"/>
                        <a:pt x="527439" y="372127"/>
                        <a:pt x="527358" y="371966"/>
                      </a:cubicBezTo>
                      <a:cubicBezTo>
                        <a:pt x="523422" y="372689"/>
                        <a:pt x="522057" y="378071"/>
                        <a:pt x="517317" y="377428"/>
                      </a:cubicBezTo>
                      <a:cubicBezTo>
                        <a:pt x="515229" y="377187"/>
                        <a:pt x="512899" y="374617"/>
                        <a:pt x="515550" y="370440"/>
                      </a:cubicBezTo>
                      <a:cubicBezTo>
                        <a:pt x="529768" y="348269"/>
                        <a:pt x="529768" y="348269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0332" y="302081"/>
                        <a:pt x="555875" y="294530"/>
                        <a:pt x="566478" y="293084"/>
                      </a:cubicBezTo>
                      <a:cubicBezTo>
                        <a:pt x="572422" y="292281"/>
                        <a:pt x="572021" y="296136"/>
                        <a:pt x="565193" y="304651"/>
                      </a:cubicBezTo>
                      <a:cubicBezTo>
                        <a:pt x="563104" y="307221"/>
                        <a:pt x="560132" y="310435"/>
                        <a:pt x="557963" y="312844"/>
                      </a:cubicBezTo>
                      <a:cubicBezTo>
                        <a:pt x="570495" y="313969"/>
                        <a:pt x="572181" y="314853"/>
                        <a:pt x="573467" y="316299"/>
                      </a:cubicBezTo>
                      <a:cubicBezTo>
                        <a:pt x="573306" y="318628"/>
                        <a:pt x="569691" y="320235"/>
                        <a:pt x="559650" y="323608"/>
                      </a:cubicBezTo>
                      <a:cubicBezTo>
                        <a:pt x="561257" y="332123"/>
                        <a:pt x="558124" y="337987"/>
                        <a:pt x="547280" y="346903"/>
                      </a:cubicBezTo>
                      <a:cubicBezTo>
                        <a:pt x="552742" y="347466"/>
                        <a:pt x="552742" y="347466"/>
                        <a:pt x="553385" y="351000"/>
                      </a:cubicBezTo>
                      <a:cubicBezTo>
                        <a:pt x="554750" y="350599"/>
                        <a:pt x="556517" y="350117"/>
                        <a:pt x="557883" y="349795"/>
                      </a:cubicBezTo>
                      <a:cubicBezTo>
                        <a:pt x="557080" y="351482"/>
                        <a:pt x="556919" y="351804"/>
                        <a:pt x="556196" y="352928"/>
                      </a:cubicBezTo>
                      <a:cubicBezTo>
                        <a:pt x="558204" y="351081"/>
                        <a:pt x="559570" y="350197"/>
                        <a:pt x="561739" y="349233"/>
                      </a:cubicBezTo>
                      <a:cubicBezTo>
                        <a:pt x="560213" y="353731"/>
                        <a:pt x="560373" y="355981"/>
                        <a:pt x="562622" y="358230"/>
                      </a:cubicBezTo>
                      <a:cubicBezTo>
                        <a:pt x="576117" y="356061"/>
                        <a:pt x="611944" y="350358"/>
                        <a:pt x="594432" y="372127"/>
                      </a:cubicBezTo>
                      <a:cubicBezTo>
                        <a:pt x="593308" y="373412"/>
                        <a:pt x="591621" y="375259"/>
                        <a:pt x="590336" y="376545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cubicBezTo>
                        <a:pt x="552421" y="267861"/>
                        <a:pt x="552421" y="267861"/>
                        <a:pt x="552421" y="267861"/>
                      </a:cubicBez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cubicBezTo>
                        <a:pt x="552421" y="267861"/>
                        <a:pt x="552421" y="267861"/>
                        <a:pt x="552421" y="267861"/>
                      </a:cubicBez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cubicBezTo>
                        <a:pt x="552421" y="267861"/>
                        <a:pt x="552421" y="267861"/>
                        <a:pt x="552421" y="267861"/>
                      </a:cubicBez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14988" y="252277"/>
                      </a:moveTo>
                      <a:cubicBezTo>
                        <a:pt x="505589" y="257739"/>
                        <a:pt x="495388" y="262639"/>
                        <a:pt x="487837" y="266174"/>
                      </a:cubicBezTo>
                      <a:cubicBezTo>
                        <a:pt x="487917" y="266094"/>
                        <a:pt x="496111" y="259346"/>
                        <a:pt x="504385" y="253562"/>
                      </a:cubicBezTo>
                      <a:cubicBezTo>
                        <a:pt x="492335" y="259346"/>
                        <a:pt x="490247" y="259828"/>
                        <a:pt x="488640" y="258864"/>
                      </a:cubicBezTo>
                      <a:cubicBezTo>
                        <a:pt x="482776" y="261997"/>
                        <a:pt x="479403" y="264085"/>
                        <a:pt x="474262" y="268021"/>
                      </a:cubicBezTo>
                      <a:cubicBezTo>
                        <a:pt x="470888" y="264969"/>
                        <a:pt x="477635" y="257820"/>
                        <a:pt x="480126" y="255089"/>
                      </a:cubicBezTo>
                      <a:cubicBezTo>
                        <a:pt x="479563" y="255089"/>
                        <a:pt x="479403" y="255008"/>
                        <a:pt x="478680" y="255169"/>
                      </a:cubicBezTo>
                      <a:cubicBezTo>
                        <a:pt x="509526" y="241353"/>
                        <a:pt x="526073" y="238140"/>
                        <a:pt x="534508" y="237898"/>
                      </a:cubicBezTo>
                      <a:cubicBezTo>
                        <a:pt x="521655" y="248422"/>
                        <a:pt x="521655" y="248422"/>
                        <a:pt x="514988" y="252277"/>
                      </a:cubicBezTo>
                      <a:moveTo>
                        <a:pt x="608249" y="288827"/>
                      </a:moveTo>
                      <a:cubicBezTo>
                        <a:pt x="608088" y="284971"/>
                        <a:pt x="608249" y="282240"/>
                        <a:pt x="608249" y="282240"/>
                      </a:cubicBezTo>
                      <a:cubicBezTo>
                        <a:pt x="608329" y="284569"/>
                        <a:pt x="608249" y="286979"/>
                        <a:pt x="608249" y="289308"/>
                      </a:cubicBezTo>
                      <a:cubicBezTo>
                        <a:pt x="608329" y="289148"/>
                        <a:pt x="608329" y="288987"/>
                        <a:pt x="608249" y="288827"/>
                      </a:cubicBezTo>
                      <a:moveTo>
                        <a:pt x="556517" y="262720"/>
                      </a:moveTo>
                      <a:cubicBezTo>
                        <a:pt x="560293" y="258061"/>
                        <a:pt x="563024" y="254848"/>
                        <a:pt x="563024" y="254848"/>
                      </a:cubicBezTo>
                      <a:cubicBezTo>
                        <a:pt x="560855" y="257579"/>
                        <a:pt x="558526" y="260149"/>
                        <a:pt x="556357" y="262880"/>
                      </a:cubicBezTo>
                      <a:cubicBezTo>
                        <a:pt x="556357" y="262800"/>
                        <a:pt x="556437" y="262720"/>
                        <a:pt x="556517" y="262720"/>
                      </a:cubicBezTo>
                      <a:moveTo>
                        <a:pt x="605277" y="272199"/>
                      </a:moveTo>
                      <a:cubicBezTo>
                        <a:pt x="599332" y="273564"/>
                        <a:pt x="593468" y="274849"/>
                        <a:pt x="587524" y="276135"/>
                      </a:cubicBezTo>
                      <a:cubicBezTo>
                        <a:pt x="593468" y="274849"/>
                        <a:pt x="599413" y="273484"/>
                        <a:pt x="605357" y="272199"/>
                      </a:cubicBezTo>
                      <a:cubicBezTo>
                        <a:pt x="605357" y="272199"/>
                        <a:pt x="605277" y="272199"/>
                        <a:pt x="605277" y="272199"/>
                      </a:cubicBez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cubicBezTo>
                        <a:pt x="605437" y="272199"/>
                        <a:pt x="605437" y="272199"/>
                        <a:pt x="605437" y="272199"/>
                      </a:cubicBezTo>
                      <a:cubicBezTo>
                        <a:pt x="605437" y="272199"/>
                        <a:pt x="605437" y="272199"/>
                        <a:pt x="605437" y="272199"/>
                      </a:cubicBez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cubicBezTo>
                        <a:pt x="605437" y="272199"/>
                        <a:pt x="605437" y="272199"/>
                        <a:pt x="605437" y="272199"/>
                      </a:cubicBezTo>
                      <a:cubicBezTo>
                        <a:pt x="605437" y="272199"/>
                        <a:pt x="605437" y="272199"/>
                        <a:pt x="605437" y="272199"/>
                      </a:cubicBez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cubicBezTo>
                        <a:pt x="605437" y="272199"/>
                        <a:pt x="605437" y="272199"/>
                        <a:pt x="605437" y="272199"/>
                      </a:cubicBezTo>
                      <a:cubicBezTo>
                        <a:pt x="605437" y="272199"/>
                        <a:pt x="605437" y="272199"/>
                        <a:pt x="605437" y="272199"/>
                      </a:cubicBez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cubicBezTo>
                        <a:pt x="605518" y="272199"/>
                        <a:pt x="605518" y="272199"/>
                        <a:pt x="605518" y="272199"/>
                      </a:cubicBezTo>
                      <a:cubicBezTo>
                        <a:pt x="605518" y="272199"/>
                        <a:pt x="605518" y="272199"/>
                        <a:pt x="605518" y="272199"/>
                      </a:cubicBez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cubicBezTo>
                        <a:pt x="605518" y="272199"/>
                        <a:pt x="605518" y="272199"/>
                        <a:pt x="605518" y="272199"/>
                      </a:cubicBezTo>
                      <a:cubicBezTo>
                        <a:pt x="605518" y="272199"/>
                        <a:pt x="605518" y="272199"/>
                        <a:pt x="605518" y="272199"/>
                      </a:cubicBez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cubicBezTo>
                        <a:pt x="605518" y="272199"/>
                        <a:pt x="605518" y="272199"/>
                        <a:pt x="605518" y="272199"/>
                      </a:cubicBezTo>
                      <a:cubicBezTo>
                        <a:pt x="605518" y="272199"/>
                        <a:pt x="605518" y="272199"/>
                        <a:pt x="605518" y="272199"/>
                      </a:cubicBez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cubicBezTo>
                        <a:pt x="605518" y="272199"/>
                        <a:pt x="605518" y="272199"/>
                        <a:pt x="605518" y="272199"/>
                      </a:cubicBezTo>
                      <a:cubicBezTo>
                        <a:pt x="605518" y="272199"/>
                        <a:pt x="605518" y="272199"/>
                        <a:pt x="605518" y="272199"/>
                      </a:cubicBez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581981" y="259507"/>
                      </a:moveTo>
                      <a:cubicBezTo>
                        <a:pt x="581499" y="256695"/>
                        <a:pt x="581580" y="254767"/>
                        <a:pt x="582062" y="255089"/>
                      </a:cubicBezTo>
                      <a:cubicBezTo>
                        <a:pt x="582463" y="255330"/>
                        <a:pt x="583106" y="256936"/>
                        <a:pt x="583749" y="258382"/>
                      </a:cubicBezTo>
                      <a:lnTo>
                        <a:pt x="581981" y="259828"/>
                      </a:lnTo>
                      <a:cubicBezTo>
                        <a:pt x="581981" y="259748"/>
                        <a:pt x="581981" y="259587"/>
                        <a:pt x="581981" y="259507"/>
                      </a:cubicBezTo>
                      <a:moveTo>
                        <a:pt x="568245" y="237738"/>
                      </a:moveTo>
                      <a:cubicBezTo>
                        <a:pt x="565916" y="238461"/>
                        <a:pt x="563506" y="239907"/>
                        <a:pt x="560775" y="241513"/>
                      </a:cubicBezTo>
                      <a:cubicBezTo>
                        <a:pt x="554429" y="245369"/>
                        <a:pt x="549208" y="248181"/>
                        <a:pt x="540131" y="249305"/>
                      </a:cubicBezTo>
                      <a:cubicBezTo>
                        <a:pt x="550894" y="241112"/>
                        <a:pt x="558606" y="236051"/>
                        <a:pt x="562944" y="234284"/>
                      </a:cubicBezTo>
                      <a:cubicBezTo>
                        <a:pt x="568004" y="232195"/>
                        <a:pt x="568326" y="233641"/>
                        <a:pt x="568245" y="236051"/>
                      </a:cubicBezTo>
                      <a:cubicBezTo>
                        <a:pt x="568165" y="237416"/>
                        <a:pt x="568406" y="237577"/>
                        <a:pt x="568888" y="237577"/>
                      </a:cubicBezTo>
                      <a:cubicBezTo>
                        <a:pt x="568647" y="237657"/>
                        <a:pt x="568406" y="237738"/>
                        <a:pt x="568245" y="237738"/>
                      </a:cubicBezTo>
                      <a:moveTo>
                        <a:pt x="560614" y="232276"/>
                      </a:moveTo>
                      <a:cubicBezTo>
                        <a:pt x="557240" y="234123"/>
                        <a:pt x="556598" y="233239"/>
                        <a:pt x="556276" y="232838"/>
                      </a:cubicBezTo>
                      <a:cubicBezTo>
                        <a:pt x="556196" y="232677"/>
                        <a:pt x="556196" y="232516"/>
                        <a:pt x="556116" y="232356"/>
                      </a:cubicBezTo>
                      <a:cubicBezTo>
                        <a:pt x="561016" y="228259"/>
                        <a:pt x="565032" y="226010"/>
                        <a:pt x="565032" y="226010"/>
                      </a:cubicBezTo>
                      <a:cubicBezTo>
                        <a:pt x="565193" y="225930"/>
                        <a:pt x="565514" y="225930"/>
                        <a:pt x="565755" y="225849"/>
                      </a:cubicBezTo>
                      <a:cubicBezTo>
                        <a:pt x="566639" y="225689"/>
                        <a:pt x="568245" y="225287"/>
                        <a:pt x="571137" y="224403"/>
                      </a:cubicBezTo>
                      <a:cubicBezTo>
                        <a:pt x="567603" y="227375"/>
                        <a:pt x="563506" y="230669"/>
                        <a:pt x="560614" y="232276"/>
                      </a:cubicBezTo>
                      <a:moveTo>
                        <a:pt x="609695" y="254607"/>
                      </a:moveTo>
                      <a:cubicBezTo>
                        <a:pt x="608570" y="254848"/>
                        <a:pt x="608088" y="254687"/>
                        <a:pt x="607847" y="254607"/>
                      </a:cubicBezTo>
                      <a:cubicBezTo>
                        <a:pt x="607686" y="254526"/>
                        <a:pt x="607606" y="254446"/>
                        <a:pt x="607526" y="254366"/>
                      </a:cubicBezTo>
                      <a:cubicBezTo>
                        <a:pt x="608329" y="254446"/>
                        <a:pt x="609213" y="254526"/>
                        <a:pt x="610096" y="254526"/>
                      </a:cubicBezTo>
                      <a:cubicBezTo>
                        <a:pt x="609936" y="254526"/>
                        <a:pt x="609775" y="254607"/>
                        <a:pt x="609695" y="254607"/>
                      </a:cubicBezTo>
                      <a:moveTo>
                        <a:pt x="622467" y="251795"/>
                      </a:moveTo>
                      <a:cubicBezTo>
                        <a:pt x="618129" y="254607"/>
                        <a:pt x="612426" y="254526"/>
                        <a:pt x="610016" y="254526"/>
                      </a:cubicBezTo>
                      <a:cubicBezTo>
                        <a:pt x="611060" y="254205"/>
                        <a:pt x="611542" y="253964"/>
                        <a:pt x="612426" y="253482"/>
                      </a:cubicBezTo>
                      <a:cubicBezTo>
                        <a:pt x="613550" y="248582"/>
                        <a:pt x="618691" y="243602"/>
                        <a:pt x="628572" y="237898"/>
                      </a:cubicBezTo>
                      <a:cubicBezTo>
                        <a:pt x="628411" y="242959"/>
                        <a:pt x="627527" y="248502"/>
                        <a:pt x="622467" y="251795"/>
                      </a:cubicBezTo>
                      <a:moveTo>
                        <a:pt x="590737" y="226411"/>
                      </a:moveTo>
                      <a:cubicBezTo>
                        <a:pt x="589532" y="224966"/>
                        <a:pt x="589131" y="222957"/>
                        <a:pt x="587444" y="221833"/>
                      </a:cubicBezTo>
                      <a:cubicBezTo>
                        <a:pt x="586078" y="220949"/>
                        <a:pt x="583749" y="220949"/>
                        <a:pt x="582785" y="220949"/>
                      </a:cubicBezTo>
                      <a:cubicBezTo>
                        <a:pt x="585917" y="220628"/>
                        <a:pt x="588327" y="219825"/>
                        <a:pt x="596119" y="216852"/>
                      </a:cubicBezTo>
                      <a:cubicBezTo>
                        <a:pt x="605196" y="213318"/>
                        <a:pt x="608972" y="212354"/>
                        <a:pt x="603991" y="218218"/>
                      </a:cubicBezTo>
                      <a:cubicBezTo>
                        <a:pt x="603750" y="218540"/>
                        <a:pt x="603349" y="218941"/>
                        <a:pt x="603108" y="219262"/>
                      </a:cubicBezTo>
                      <a:cubicBezTo>
                        <a:pt x="599493" y="221431"/>
                        <a:pt x="594673" y="224403"/>
                        <a:pt x="591058" y="226652"/>
                      </a:cubicBezTo>
                      <a:cubicBezTo>
                        <a:pt x="590817" y="226572"/>
                        <a:pt x="590737" y="226492"/>
                        <a:pt x="590737" y="226411"/>
                      </a:cubicBezTo>
                      <a:moveTo>
                        <a:pt x="587604" y="259828"/>
                      </a:moveTo>
                      <a:cubicBezTo>
                        <a:pt x="602947" y="243039"/>
                        <a:pt x="604875" y="240549"/>
                        <a:pt x="606240" y="237336"/>
                      </a:cubicBezTo>
                      <a:cubicBezTo>
                        <a:pt x="606240" y="237336"/>
                        <a:pt x="606160" y="237336"/>
                        <a:pt x="606160" y="237256"/>
                      </a:cubicBezTo>
                      <a:cubicBezTo>
                        <a:pt x="606160" y="237256"/>
                        <a:pt x="606080" y="237256"/>
                        <a:pt x="606080" y="237175"/>
                      </a:cubicBezTo>
                      <a:cubicBezTo>
                        <a:pt x="606080" y="237175"/>
                        <a:pt x="605999" y="237175"/>
                        <a:pt x="605999" y="237095"/>
                      </a:cubicBezTo>
                      <a:cubicBezTo>
                        <a:pt x="605999" y="237095"/>
                        <a:pt x="605919" y="237095"/>
                        <a:pt x="605919" y="237015"/>
                      </a:cubicBezTo>
                      <a:cubicBezTo>
                        <a:pt x="605919" y="237015"/>
                        <a:pt x="605839" y="237015"/>
                        <a:pt x="605839" y="236934"/>
                      </a:cubicBezTo>
                      <a:cubicBezTo>
                        <a:pt x="605839" y="236934"/>
                        <a:pt x="605758" y="236934"/>
                        <a:pt x="605758" y="236854"/>
                      </a:cubicBezTo>
                      <a:cubicBezTo>
                        <a:pt x="605758" y="236854"/>
                        <a:pt x="605678" y="236854"/>
                        <a:pt x="605678" y="236774"/>
                      </a:cubicBezTo>
                      <a:cubicBezTo>
                        <a:pt x="605678" y="236774"/>
                        <a:pt x="605598" y="236774"/>
                        <a:pt x="605598" y="236693"/>
                      </a:cubicBezTo>
                      <a:cubicBezTo>
                        <a:pt x="603991" y="235328"/>
                        <a:pt x="599895" y="231794"/>
                        <a:pt x="615157" y="227134"/>
                      </a:cubicBezTo>
                      <a:cubicBezTo>
                        <a:pt x="615318" y="227054"/>
                        <a:pt x="629857" y="221110"/>
                        <a:pt x="632990" y="212354"/>
                      </a:cubicBezTo>
                      <a:cubicBezTo>
                        <a:pt x="644637" y="207133"/>
                        <a:pt x="649136" y="205446"/>
                        <a:pt x="650822" y="205848"/>
                      </a:cubicBezTo>
                      <a:cubicBezTo>
                        <a:pt x="650903" y="206651"/>
                        <a:pt x="650983" y="207695"/>
                        <a:pt x="635962" y="218379"/>
                      </a:cubicBezTo>
                      <a:cubicBezTo>
                        <a:pt x="634275" y="219584"/>
                        <a:pt x="631704" y="220949"/>
                        <a:pt x="630500" y="222716"/>
                      </a:cubicBezTo>
                      <a:cubicBezTo>
                        <a:pt x="622788" y="234043"/>
                        <a:pt x="622788" y="234043"/>
                        <a:pt x="620780" y="235971"/>
                      </a:cubicBezTo>
                      <a:cubicBezTo>
                        <a:pt x="619977" y="236774"/>
                        <a:pt x="618772" y="237818"/>
                        <a:pt x="617968" y="238622"/>
                      </a:cubicBezTo>
                      <a:cubicBezTo>
                        <a:pt x="610739" y="245208"/>
                        <a:pt x="600296" y="253161"/>
                        <a:pt x="592585" y="258944"/>
                      </a:cubicBezTo>
                      <a:cubicBezTo>
                        <a:pt x="591139" y="259346"/>
                        <a:pt x="589131" y="259587"/>
                        <a:pt x="587604" y="259828"/>
                      </a:cubicBezTo>
                      <a:moveTo>
                        <a:pt x="705204" y="227536"/>
                      </a:moveTo>
                      <a:cubicBezTo>
                        <a:pt x="690344" y="238702"/>
                        <a:pt x="678054" y="244325"/>
                        <a:pt x="668173" y="248903"/>
                      </a:cubicBezTo>
                      <a:cubicBezTo>
                        <a:pt x="669298" y="247457"/>
                        <a:pt x="669941" y="246574"/>
                        <a:pt x="672109" y="244485"/>
                      </a:cubicBezTo>
                      <a:cubicBezTo>
                        <a:pt x="657409" y="255571"/>
                        <a:pt x="653152" y="258382"/>
                        <a:pt x="650341" y="258543"/>
                      </a:cubicBezTo>
                      <a:cubicBezTo>
                        <a:pt x="649778" y="257498"/>
                        <a:pt x="649377" y="256615"/>
                        <a:pt x="656044" y="248261"/>
                      </a:cubicBezTo>
                      <a:cubicBezTo>
                        <a:pt x="650019" y="253723"/>
                        <a:pt x="646003" y="257498"/>
                        <a:pt x="639416" y="263844"/>
                      </a:cubicBezTo>
                      <a:cubicBezTo>
                        <a:pt x="633954" y="259667"/>
                        <a:pt x="635400" y="256534"/>
                        <a:pt x="646726" y="248020"/>
                      </a:cubicBezTo>
                      <a:cubicBezTo>
                        <a:pt x="641504" y="240710"/>
                        <a:pt x="670503" y="223841"/>
                        <a:pt x="686488" y="220869"/>
                      </a:cubicBezTo>
                      <a:cubicBezTo>
                        <a:pt x="678777" y="221271"/>
                        <a:pt x="672109" y="221190"/>
                        <a:pt x="675001" y="217415"/>
                      </a:cubicBezTo>
                      <a:cubicBezTo>
                        <a:pt x="677572" y="214121"/>
                        <a:pt x="688416" y="208739"/>
                        <a:pt x="695646" y="205125"/>
                      </a:cubicBezTo>
                      <a:cubicBezTo>
                        <a:pt x="691950" y="205928"/>
                        <a:pt x="691950" y="205928"/>
                        <a:pt x="690424" y="204723"/>
                      </a:cubicBezTo>
                      <a:cubicBezTo>
                        <a:pt x="691629" y="202072"/>
                        <a:pt x="695324" y="198859"/>
                        <a:pt x="711309" y="189220"/>
                      </a:cubicBezTo>
                      <a:cubicBezTo>
                        <a:pt x="709141" y="192433"/>
                        <a:pt x="709542" y="193477"/>
                        <a:pt x="711068" y="194280"/>
                      </a:cubicBezTo>
                      <a:cubicBezTo>
                        <a:pt x="714282" y="192995"/>
                        <a:pt x="717173" y="191067"/>
                        <a:pt x="720386" y="189862"/>
                      </a:cubicBezTo>
                      <a:cubicBezTo>
                        <a:pt x="717173" y="190907"/>
                        <a:pt x="716531" y="190987"/>
                        <a:pt x="715487" y="191067"/>
                      </a:cubicBezTo>
                      <a:cubicBezTo>
                        <a:pt x="716129" y="184802"/>
                        <a:pt x="744646" y="172190"/>
                        <a:pt x="744967" y="172030"/>
                      </a:cubicBezTo>
                      <a:cubicBezTo>
                        <a:pt x="745128" y="172190"/>
                        <a:pt x="745449" y="172431"/>
                        <a:pt x="745610" y="172672"/>
                      </a:cubicBezTo>
                      <a:cubicBezTo>
                        <a:pt x="744646" y="174279"/>
                        <a:pt x="744565" y="174520"/>
                        <a:pt x="741673" y="177894"/>
                      </a:cubicBezTo>
                      <a:cubicBezTo>
                        <a:pt x="766334" y="162711"/>
                        <a:pt x="771314" y="160061"/>
                        <a:pt x="788585" y="151225"/>
                      </a:cubicBezTo>
                      <a:cubicBezTo>
                        <a:pt x="789549" y="151144"/>
                        <a:pt x="790754" y="151064"/>
                        <a:pt x="791718" y="150984"/>
                      </a:cubicBezTo>
                      <a:cubicBezTo>
                        <a:pt x="768985" y="166246"/>
                        <a:pt x="758301" y="175725"/>
                        <a:pt x="732275" y="198538"/>
                      </a:cubicBezTo>
                      <a:cubicBezTo>
                        <a:pt x="741834" y="191951"/>
                        <a:pt x="742959" y="191549"/>
                        <a:pt x="744083" y="191148"/>
                      </a:cubicBezTo>
                      <a:cubicBezTo>
                        <a:pt x="734524" y="203839"/>
                        <a:pt x="720628" y="211872"/>
                        <a:pt x="709301" y="222716"/>
                      </a:cubicBezTo>
                      <a:cubicBezTo>
                        <a:pt x="712354" y="220789"/>
                        <a:pt x="714924" y="219262"/>
                        <a:pt x="716611" y="218218"/>
                      </a:cubicBezTo>
                      <a:cubicBezTo>
                        <a:pt x="713077" y="221190"/>
                        <a:pt x="708659" y="224885"/>
                        <a:pt x="705204" y="227536"/>
                      </a:cubicBezTo>
                      <a:moveTo>
                        <a:pt x="903615" y="123190"/>
                      </a:moveTo>
                      <a:cubicBezTo>
                        <a:pt x="874295" y="149136"/>
                        <a:pt x="864254" y="155723"/>
                        <a:pt x="844895" y="166647"/>
                      </a:cubicBezTo>
                      <a:cubicBezTo>
                        <a:pt x="851482" y="163515"/>
                        <a:pt x="858551" y="161587"/>
                        <a:pt x="865057" y="158294"/>
                      </a:cubicBezTo>
                      <a:cubicBezTo>
                        <a:pt x="846100" y="174198"/>
                        <a:pt x="822805" y="183516"/>
                        <a:pt x="803606" y="198939"/>
                      </a:cubicBezTo>
                      <a:cubicBezTo>
                        <a:pt x="795413" y="205526"/>
                        <a:pt x="788987" y="214121"/>
                        <a:pt x="780472" y="220307"/>
                      </a:cubicBezTo>
                      <a:cubicBezTo>
                        <a:pt x="779990" y="220708"/>
                        <a:pt x="779267" y="221110"/>
                        <a:pt x="778785" y="221431"/>
                      </a:cubicBezTo>
                      <a:cubicBezTo>
                        <a:pt x="770993" y="226331"/>
                        <a:pt x="769226" y="221592"/>
                        <a:pt x="768342" y="219343"/>
                      </a:cubicBezTo>
                      <a:cubicBezTo>
                        <a:pt x="761113" y="231151"/>
                        <a:pt x="758141" y="236051"/>
                        <a:pt x="746493" y="228902"/>
                      </a:cubicBezTo>
                      <a:cubicBezTo>
                        <a:pt x="741754" y="236131"/>
                        <a:pt x="741673" y="239585"/>
                        <a:pt x="746172" y="240630"/>
                      </a:cubicBezTo>
                      <a:cubicBezTo>
                        <a:pt x="742316" y="243441"/>
                        <a:pt x="734283" y="247618"/>
                        <a:pt x="723841" y="244084"/>
                      </a:cubicBezTo>
                      <a:cubicBezTo>
                        <a:pt x="730669" y="249144"/>
                        <a:pt x="734123" y="251715"/>
                        <a:pt x="727214" y="257739"/>
                      </a:cubicBezTo>
                      <a:cubicBezTo>
                        <a:pt x="725688" y="259025"/>
                        <a:pt x="723278" y="260230"/>
                        <a:pt x="721591" y="261274"/>
                      </a:cubicBezTo>
                      <a:cubicBezTo>
                        <a:pt x="702473" y="273082"/>
                        <a:pt x="690103" y="295654"/>
                        <a:pt x="664318" y="296618"/>
                      </a:cubicBezTo>
                      <a:cubicBezTo>
                        <a:pt x="659177" y="296779"/>
                        <a:pt x="655883" y="295735"/>
                        <a:pt x="653875" y="295092"/>
                      </a:cubicBezTo>
                      <a:cubicBezTo>
                        <a:pt x="643272" y="301759"/>
                        <a:pt x="643272" y="301759"/>
                        <a:pt x="643031" y="301759"/>
                      </a:cubicBezTo>
                      <a:cubicBezTo>
                        <a:pt x="643513" y="319351"/>
                        <a:pt x="644236" y="341200"/>
                        <a:pt x="624073" y="322082"/>
                      </a:cubicBezTo>
                      <a:cubicBezTo>
                        <a:pt x="623511" y="321520"/>
                        <a:pt x="622788" y="320797"/>
                        <a:pt x="622226" y="320235"/>
                      </a:cubicBezTo>
                      <a:cubicBezTo>
                        <a:pt x="614273" y="328589"/>
                        <a:pt x="613229" y="328589"/>
                        <a:pt x="610337" y="328589"/>
                      </a:cubicBezTo>
                      <a:cubicBezTo>
                        <a:pt x="609534" y="325536"/>
                        <a:pt x="609454" y="325135"/>
                        <a:pt x="611221" y="319672"/>
                      </a:cubicBezTo>
                      <a:cubicBezTo>
                        <a:pt x="601260" y="328026"/>
                        <a:pt x="599413" y="328669"/>
                        <a:pt x="595798" y="329954"/>
                      </a:cubicBezTo>
                      <a:cubicBezTo>
                        <a:pt x="595155" y="329633"/>
                        <a:pt x="594352" y="329231"/>
                        <a:pt x="593790" y="328910"/>
                      </a:cubicBezTo>
                      <a:cubicBezTo>
                        <a:pt x="593709" y="326902"/>
                        <a:pt x="593629" y="325376"/>
                        <a:pt x="596360" y="319512"/>
                      </a:cubicBezTo>
                      <a:cubicBezTo>
                        <a:pt x="592745" y="322082"/>
                        <a:pt x="591781" y="322885"/>
                        <a:pt x="588488" y="325777"/>
                      </a:cubicBezTo>
                      <a:cubicBezTo>
                        <a:pt x="587363" y="323448"/>
                        <a:pt x="586881" y="322484"/>
                        <a:pt x="591058" y="317905"/>
                      </a:cubicBezTo>
                      <a:cubicBezTo>
                        <a:pt x="588890" y="319994"/>
                        <a:pt x="586640" y="322163"/>
                        <a:pt x="584472" y="324331"/>
                      </a:cubicBezTo>
                      <a:cubicBezTo>
                        <a:pt x="583668" y="323528"/>
                        <a:pt x="582383" y="322645"/>
                        <a:pt x="581258" y="322404"/>
                      </a:cubicBezTo>
                      <a:cubicBezTo>
                        <a:pt x="583829" y="318548"/>
                        <a:pt x="584150" y="318066"/>
                        <a:pt x="592424" y="310435"/>
                      </a:cubicBezTo>
                      <a:cubicBezTo>
                        <a:pt x="587363" y="314531"/>
                        <a:pt x="584391" y="317182"/>
                        <a:pt x="580295" y="321600"/>
                      </a:cubicBezTo>
                      <a:cubicBezTo>
                        <a:pt x="587524" y="307061"/>
                        <a:pt x="596521" y="301277"/>
                        <a:pt x="614755" y="299510"/>
                      </a:cubicBezTo>
                      <a:cubicBezTo>
                        <a:pt x="629134" y="280151"/>
                        <a:pt x="629134" y="280151"/>
                        <a:pt x="639496" y="275894"/>
                      </a:cubicBezTo>
                      <a:cubicBezTo>
                        <a:pt x="631062" y="289469"/>
                        <a:pt x="631062" y="291397"/>
                        <a:pt x="631222" y="294289"/>
                      </a:cubicBezTo>
                      <a:cubicBezTo>
                        <a:pt x="634918" y="294208"/>
                        <a:pt x="634918" y="294208"/>
                        <a:pt x="647770" y="285854"/>
                      </a:cubicBezTo>
                      <a:cubicBezTo>
                        <a:pt x="641665" y="288586"/>
                        <a:pt x="641665" y="288586"/>
                        <a:pt x="639175" y="288184"/>
                      </a:cubicBezTo>
                      <a:cubicBezTo>
                        <a:pt x="646404" y="280231"/>
                        <a:pt x="658373" y="278062"/>
                        <a:pt x="663755" y="267941"/>
                      </a:cubicBezTo>
                      <a:cubicBezTo>
                        <a:pt x="663434" y="267539"/>
                        <a:pt x="663032" y="266977"/>
                        <a:pt x="662711" y="266575"/>
                      </a:cubicBezTo>
                      <a:cubicBezTo>
                        <a:pt x="662550" y="266575"/>
                        <a:pt x="662390" y="266575"/>
                        <a:pt x="662229" y="266656"/>
                      </a:cubicBezTo>
                      <a:cubicBezTo>
                        <a:pt x="663996" y="265210"/>
                        <a:pt x="666326" y="263202"/>
                        <a:pt x="668173" y="261756"/>
                      </a:cubicBezTo>
                      <a:cubicBezTo>
                        <a:pt x="660382" y="267459"/>
                        <a:pt x="656044" y="269628"/>
                        <a:pt x="650341" y="270512"/>
                      </a:cubicBezTo>
                      <a:cubicBezTo>
                        <a:pt x="655000" y="267218"/>
                        <a:pt x="657731" y="265210"/>
                        <a:pt x="661827" y="261997"/>
                      </a:cubicBezTo>
                      <a:cubicBezTo>
                        <a:pt x="663193" y="250189"/>
                        <a:pt x="672832" y="248823"/>
                        <a:pt x="704803" y="244405"/>
                      </a:cubicBezTo>
                      <a:cubicBezTo>
                        <a:pt x="698537" y="243200"/>
                        <a:pt x="698457" y="243200"/>
                        <a:pt x="695083" y="241995"/>
                      </a:cubicBezTo>
                      <a:cubicBezTo>
                        <a:pt x="714523" y="227375"/>
                        <a:pt x="728660" y="207133"/>
                        <a:pt x="748341" y="192834"/>
                      </a:cubicBezTo>
                      <a:cubicBezTo>
                        <a:pt x="744887" y="202072"/>
                        <a:pt x="742557" y="211551"/>
                        <a:pt x="739665" y="220949"/>
                      </a:cubicBezTo>
                      <a:cubicBezTo>
                        <a:pt x="769547" y="188336"/>
                        <a:pt x="770110" y="187774"/>
                        <a:pt x="804169" y="178376"/>
                      </a:cubicBezTo>
                      <a:cubicBezTo>
                        <a:pt x="803847" y="177733"/>
                        <a:pt x="803365" y="176849"/>
                        <a:pt x="803044" y="176206"/>
                      </a:cubicBezTo>
                      <a:cubicBezTo>
                        <a:pt x="804972" y="172752"/>
                        <a:pt x="805293" y="172271"/>
                        <a:pt x="813567" y="167210"/>
                      </a:cubicBezTo>
                      <a:cubicBezTo>
                        <a:pt x="795815" y="176528"/>
                        <a:pt x="786014" y="180946"/>
                        <a:pt x="771475" y="186087"/>
                      </a:cubicBezTo>
                      <a:cubicBezTo>
                        <a:pt x="775331" y="183838"/>
                        <a:pt x="779187" y="181669"/>
                        <a:pt x="783123" y="179420"/>
                      </a:cubicBezTo>
                      <a:cubicBezTo>
                        <a:pt x="764085" y="185525"/>
                        <a:pt x="764085" y="185525"/>
                        <a:pt x="762639" y="185203"/>
                      </a:cubicBezTo>
                      <a:cubicBezTo>
                        <a:pt x="762639" y="181026"/>
                        <a:pt x="762639" y="181026"/>
                        <a:pt x="799831" y="165041"/>
                      </a:cubicBezTo>
                      <a:cubicBezTo>
                        <a:pt x="768262" y="176528"/>
                        <a:pt x="768262" y="176528"/>
                        <a:pt x="767057" y="176447"/>
                      </a:cubicBezTo>
                      <a:cubicBezTo>
                        <a:pt x="767700" y="173877"/>
                        <a:pt x="767700" y="173877"/>
                        <a:pt x="803606" y="159016"/>
                      </a:cubicBezTo>
                      <a:cubicBezTo>
                        <a:pt x="789870" y="163997"/>
                        <a:pt x="785693" y="165121"/>
                        <a:pt x="781677" y="165844"/>
                      </a:cubicBezTo>
                      <a:cubicBezTo>
                        <a:pt x="781837" y="165202"/>
                        <a:pt x="781998" y="164318"/>
                        <a:pt x="782078" y="163675"/>
                      </a:cubicBezTo>
                      <a:cubicBezTo>
                        <a:pt x="787219" y="160221"/>
                        <a:pt x="803124" y="151466"/>
                        <a:pt x="803205" y="151385"/>
                      </a:cubicBezTo>
                      <a:cubicBezTo>
                        <a:pt x="802642" y="151466"/>
                        <a:pt x="801919" y="151546"/>
                        <a:pt x="801357" y="151626"/>
                      </a:cubicBezTo>
                      <a:cubicBezTo>
                        <a:pt x="803205" y="149136"/>
                        <a:pt x="803205" y="149136"/>
                        <a:pt x="814933" y="143834"/>
                      </a:cubicBezTo>
                      <a:cubicBezTo>
                        <a:pt x="812683" y="143352"/>
                        <a:pt x="812683" y="143352"/>
                        <a:pt x="808346" y="145200"/>
                      </a:cubicBezTo>
                      <a:cubicBezTo>
                        <a:pt x="826178" y="136444"/>
                        <a:pt x="826178" y="136444"/>
                        <a:pt x="870038" y="119977"/>
                      </a:cubicBezTo>
                      <a:cubicBezTo>
                        <a:pt x="863290" y="126483"/>
                        <a:pt x="856301" y="132669"/>
                        <a:pt x="849474" y="139095"/>
                      </a:cubicBezTo>
                      <a:cubicBezTo>
                        <a:pt x="862888" y="128171"/>
                        <a:pt x="870279" y="122146"/>
                        <a:pt x="901205" y="106883"/>
                      </a:cubicBezTo>
                      <a:cubicBezTo>
                        <a:pt x="900401" y="108008"/>
                        <a:pt x="899197" y="109293"/>
                        <a:pt x="898152" y="110177"/>
                      </a:cubicBezTo>
                      <a:cubicBezTo>
                        <a:pt x="902570" y="107446"/>
                        <a:pt x="908675" y="103751"/>
                        <a:pt x="914539" y="100698"/>
                      </a:cubicBezTo>
                      <a:cubicBezTo>
                        <a:pt x="907390" y="106080"/>
                        <a:pt x="899679" y="110739"/>
                        <a:pt x="892449" y="116041"/>
                      </a:cubicBezTo>
                      <a:cubicBezTo>
                        <a:pt x="921688" y="97887"/>
                        <a:pt x="921688" y="97887"/>
                        <a:pt x="922572" y="97646"/>
                      </a:cubicBezTo>
                      <a:cubicBezTo>
                        <a:pt x="920965" y="99413"/>
                        <a:pt x="920965" y="99413"/>
                        <a:pt x="907149" y="109454"/>
                      </a:cubicBezTo>
                      <a:cubicBezTo>
                        <a:pt x="911487" y="106401"/>
                        <a:pt x="917431" y="102224"/>
                        <a:pt x="924500" y="97967"/>
                      </a:cubicBezTo>
                      <a:cubicBezTo>
                        <a:pt x="922251" y="100216"/>
                        <a:pt x="922251" y="100216"/>
                        <a:pt x="919038" y="102787"/>
                      </a:cubicBezTo>
                      <a:cubicBezTo>
                        <a:pt x="921608" y="101341"/>
                        <a:pt x="924259" y="99815"/>
                        <a:pt x="926910" y="98449"/>
                      </a:cubicBezTo>
                      <a:cubicBezTo>
                        <a:pt x="923456" y="101743"/>
                        <a:pt x="923456" y="101743"/>
                        <a:pt x="908354" y="112587"/>
                      </a:cubicBezTo>
                      <a:cubicBezTo>
                        <a:pt x="916949" y="108329"/>
                        <a:pt x="918074" y="107687"/>
                        <a:pt x="920082" y="106562"/>
                      </a:cubicBezTo>
                      <a:cubicBezTo>
                        <a:pt x="917833" y="110016"/>
                        <a:pt x="916869" y="111543"/>
                        <a:pt x="903615" y="123190"/>
                      </a:cubicBezTo>
                      <a:moveTo>
                        <a:pt x="5066" y="803006"/>
                      </a:moveTo>
                      <a:cubicBezTo>
                        <a:pt x="7476" y="798266"/>
                        <a:pt x="13741" y="781157"/>
                        <a:pt x="15027" y="774489"/>
                      </a:cubicBezTo>
                      <a:cubicBezTo>
                        <a:pt x="15428" y="774248"/>
                        <a:pt x="15990" y="773847"/>
                        <a:pt x="16392" y="773606"/>
                      </a:cubicBezTo>
                      <a:cubicBezTo>
                        <a:pt x="16151" y="771919"/>
                        <a:pt x="16071" y="771357"/>
                        <a:pt x="18481" y="767180"/>
                      </a:cubicBezTo>
                      <a:cubicBezTo>
                        <a:pt x="18079" y="766858"/>
                        <a:pt x="17597" y="766376"/>
                        <a:pt x="17276" y="766055"/>
                      </a:cubicBezTo>
                      <a:cubicBezTo>
                        <a:pt x="20168" y="763083"/>
                        <a:pt x="20248" y="758906"/>
                        <a:pt x="21854" y="755291"/>
                      </a:cubicBezTo>
                      <a:cubicBezTo>
                        <a:pt x="21533" y="755612"/>
                        <a:pt x="21051" y="756014"/>
                        <a:pt x="20649" y="756335"/>
                      </a:cubicBezTo>
                      <a:cubicBezTo>
                        <a:pt x="20409" y="753203"/>
                        <a:pt x="20409" y="752721"/>
                        <a:pt x="26915" y="739547"/>
                      </a:cubicBezTo>
                      <a:cubicBezTo>
                        <a:pt x="26353" y="740511"/>
                        <a:pt x="25550" y="741796"/>
                        <a:pt x="24987" y="742680"/>
                      </a:cubicBezTo>
                      <a:cubicBezTo>
                        <a:pt x="24746" y="741635"/>
                        <a:pt x="24987" y="740190"/>
                        <a:pt x="25309" y="739145"/>
                      </a:cubicBezTo>
                      <a:cubicBezTo>
                        <a:pt x="24987" y="738824"/>
                        <a:pt x="24505" y="738422"/>
                        <a:pt x="24104" y="738101"/>
                      </a:cubicBezTo>
                      <a:cubicBezTo>
                        <a:pt x="29566" y="731996"/>
                        <a:pt x="26433" y="722437"/>
                        <a:pt x="32859" y="716734"/>
                      </a:cubicBezTo>
                      <a:cubicBezTo>
                        <a:pt x="32940" y="713922"/>
                        <a:pt x="33020" y="712798"/>
                        <a:pt x="36876" y="706050"/>
                      </a:cubicBezTo>
                      <a:cubicBezTo>
                        <a:pt x="36876" y="705809"/>
                        <a:pt x="36956" y="705568"/>
                        <a:pt x="36956" y="705327"/>
                      </a:cubicBezTo>
                      <a:cubicBezTo>
                        <a:pt x="37197" y="704845"/>
                        <a:pt x="37518" y="704283"/>
                        <a:pt x="37840" y="703801"/>
                      </a:cubicBezTo>
                      <a:cubicBezTo>
                        <a:pt x="37277" y="704604"/>
                        <a:pt x="36474" y="705729"/>
                        <a:pt x="35912" y="706612"/>
                      </a:cubicBezTo>
                      <a:cubicBezTo>
                        <a:pt x="38081" y="701632"/>
                        <a:pt x="38081" y="701632"/>
                        <a:pt x="50451" y="675927"/>
                      </a:cubicBezTo>
                      <a:cubicBezTo>
                        <a:pt x="50451" y="676409"/>
                        <a:pt x="50371" y="677132"/>
                        <a:pt x="50291" y="677614"/>
                      </a:cubicBezTo>
                      <a:cubicBezTo>
                        <a:pt x="53022" y="672232"/>
                        <a:pt x="53022" y="672232"/>
                        <a:pt x="53263" y="671268"/>
                      </a:cubicBezTo>
                      <a:cubicBezTo>
                        <a:pt x="51576" y="672634"/>
                        <a:pt x="51576" y="672634"/>
                        <a:pt x="49327" y="676088"/>
                      </a:cubicBezTo>
                      <a:cubicBezTo>
                        <a:pt x="55432" y="661548"/>
                        <a:pt x="65392" y="645563"/>
                        <a:pt x="74148" y="631425"/>
                      </a:cubicBezTo>
                      <a:cubicBezTo>
                        <a:pt x="68364" y="640261"/>
                        <a:pt x="68364" y="640261"/>
                        <a:pt x="66517" y="642832"/>
                      </a:cubicBezTo>
                      <a:cubicBezTo>
                        <a:pt x="67240" y="640904"/>
                        <a:pt x="67802" y="639297"/>
                        <a:pt x="77763" y="622589"/>
                      </a:cubicBezTo>
                      <a:cubicBezTo>
                        <a:pt x="77361" y="622911"/>
                        <a:pt x="76799" y="623232"/>
                        <a:pt x="76397" y="623553"/>
                      </a:cubicBezTo>
                      <a:cubicBezTo>
                        <a:pt x="77200" y="620179"/>
                        <a:pt x="108448" y="566119"/>
                        <a:pt x="123469" y="544189"/>
                      </a:cubicBezTo>
                      <a:cubicBezTo>
                        <a:pt x="122746" y="545153"/>
                        <a:pt x="121782" y="546438"/>
                        <a:pt x="121140" y="547482"/>
                      </a:cubicBezTo>
                      <a:lnTo>
                        <a:pt x="121300" y="547081"/>
                      </a:lnTo>
                      <a:cubicBezTo>
                        <a:pt x="117927" y="552061"/>
                        <a:pt x="114633" y="557042"/>
                        <a:pt x="111259" y="562022"/>
                      </a:cubicBezTo>
                      <a:cubicBezTo>
                        <a:pt x="113750" y="557845"/>
                        <a:pt x="117043" y="554150"/>
                        <a:pt x="119051" y="549732"/>
                      </a:cubicBezTo>
                      <a:cubicBezTo>
                        <a:pt x="119614" y="548928"/>
                        <a:pt x="120337" y="547804"/>
                        <a:pt x="120818" y="547001"/>
                      </a:cubicBezTo>
                      <a:cubicBezTo>
                        <a:pt x="120497" y="547482"/>
                        <a:pt x="120015" y="548125"/>
                        <a:pt x="119694" y="548607"/>
                      </a:cubicBezTo>
                      <a:cubicBezTo>
                        <a:pt x="120899" y="546278"/>
                        <a:pt x="120899" y="546278"/>
                        <a:pt x="123871" y="541779"/>
                      </a:cubicBezTo>
                      <a:cubicBezTo>
                        <a:pt x="121059" y="545876"/>
                        <a:pt x="118489" y="550133"/>
                        <a:pt x="115677" y="554150"/>
                      </a:cubicBezTo>
                      <a:cubicBezTo>
                        <a:pt x="119292" y="547643"/>
                        <a:pt x="130458" y="531417"/>
                        <a:pt x="130538" y="531256"/>
                      </a:cubicBezTo>
                      <a:cubicBezTo>
                        <a:pt x="132787" y="528043"/>
                        <a:pt x="136482" y="522581"/>
                        <a:pt x="141945" y="514869"/>
                      </a:cubicBezTo>
                      <a:cubicBezTo>
                        <a:pt x="140820" y="516476"/>
                        <a:pt x="139615" y="518163"/>
                        <a:pt x="138491" y="519769"/>
                      </a:cubicBezTo>
                      <a:cubicBezTo>
                        <a:pt x="140419" y="517038"/>
                        <a:pt x="142346" y="514307"/>
                        <a:pt x="144274" y="511576"/>
                      </a:cubicBezTo>
                      <a:cubicBezTo>
                        <a:pt x="121541" y="545715"/>
                        <a:pt x="91499" y="591583"/>
                        <a:pt x="70694" y="626927"/>
                      </a:cubicBezTo>
                      <a:cubicBezTo>
                        <a:pt x="52459" y="662432"/>
                        <a:pt x="28120" y="709825"/>
                        <a:pt x="11813" y="746294"/>
                      </a:cubicBezTo>
                      <a:cubicBezTo>
                        <a:pt x="3218" y="766135"/>
                        <a:pt x="-637" y="785494"/>
                        <a:pt x="86" y="804211"/>
                      </a:cubicBezTo>
                      <a:cubicBezTo>
                        <a:pt x="246" y="803729"/>
                        <a:pt x="407" y="803086"/>
                        <a:pt x="567" y="802604"/>
                      </a:cubicBezTo>
                      <a:cubicBezTo>
                        <a:pt x="487" y="802524"/>
                        <a:pt x="407" y="802363"/>
                        <a:pt x="327" y="802283"/>
                      </a:cubicBezTo>
                      <a:cubicBezTo>
                        <a:pt x="3620" y="793045"/>
                        <a:pt x="5708" y="787342"/>
                        <a:pt x="9404" y="777944"/>
                      </a:cubicBezTo>
                      <a:cubicBezTo>
                        <a:pt x="8118" y="784771"/>
                        <a:pt x="9725" y="792081"/>
                        <a:pt x="5708" y="798427"/>
                      </a:cubicBezTo>
                      <a:cubicBezTo>
                        <a:pt x="5789" y="798186"/>
                        <a:pt x="5949" y="797785"/>
                        <a:pt x="6030" y="797544"/>
                      </a:cubicBezTo>
                      <a:cubicBezTo>
                        <a:pt x="3540" y="800516"/>
                        <a:pt x="3540" y="800516"/>
                        <a:pt x="3620" y="802524"/>
                      </a:cubicBezTo>
                      <a:cubicBezTo>
                        <a:pt x="3540" y="802363"/>
                        <a:pt x="3459" y="802122"/>
                        <a:pt x="3459" y="801962"/>
                      </a:cubicBezTo>
                      <a:cubicBezTo>
                        <a:pt x="5387" y="799230"/>
                        <a:pt x="5387" y="799230"/>
                        <a:pt x="6592" y="797785"/>
                      </a:cubicBezTo>
                      <a:cubicBezTo>
                        <a:pt x="4825" y="802042"/>
                        <a:pt x="2495" y="806299"/>
                        <a:pt x="2495" y="806299"/>
                      </a:cubicBezTo>
                      <a:cubicBezTo>
                        <a:pt x="3379" y="805657"/>
                        <a:pt x="4423" y="804131"/>
                        <a:pt x="5066" y="803006"/>
                      </a:cubicBezTo>
                      <a:moveTo>
                        <a:pt x="919118" y="126242"/>
                      </a:moveTo>
                      <a:cubicBezTo>
                        <a:pt x="930524" y="109454"/>
                        <a:pt x="942333" y="94111"/>
                        <a:pt x="954623" y="80295"/>
                      </a:cubicBezTo>
                      <a:cubicBezTo>
                        <a:pt x="841601" y="54831"/>
                        <a:pt x="739424" y="63908"/>
                        <a:pt x="651626" y="102144"/>
                      </a:cubicBezTo>
                      <a:cubicBezTo>
                        <a:pt x="545593" y="151466"/>
                        <a:pt x="490568" y="183838"/>
                        <a:pt x="395460" y="253000"/>
                      </a:cubicBezTo>
                      <a:lnTo>
                        <a:pt x="394898" y="253321"/>
                      </a:lnTo>
                      <a:cubicBezTo>
                        <a:pt x="346861" y="289308"/>
                        <a:pt x="310955" y="324813"/>
                        <a:pt x="278502" y="368271"/>
                      </a:cubicBezTo>
                      <a:cubicBezTo>
                        <a:pt x="280109" y="366504"/>
                        <a:pt x="282358" y="364094"/>
                        <a:pt x="284366" y="362889"/>
                      </a:cubicBezTo>
                      <a:cubicBezTo>
                        <a:pt x="285732" y="362327"/>
                        <a:pt x="287579" y="361604"/>
                        <a:pt x="288945" y="361041"/>
                      </a:cubicBezTo>
                      <a:cubicBezTo>
                        <a:pt x="286696" y="363933"/>
                        <a:pt x="283242" y="367387"/>
                        <a:pt x="280591" y="369797"/>
                      </a:cubicBezTo>
                      <a:cubicBezTo>
                        <a:pt x="284286" y="368914"/>
                        <a:pt x="289266" y="367949"/>
                        <a:pt x="293042" y="367467"/>
                      </a:cubicBezTo>
                      <a:cubicBezTo>
                        <a:pt x="288061" y="372127"/>
                        <a:pt x="288061" y="372127"/>
                        <a:pt x="275611" y="379517"/>
                      </a:cubicBezTo>
                      <a:cubicBezTo>
                        <a:pt x="281394" y="379758"/>
                        <a:pt x="281394" y="379758"/>
                        <a:pt x="295451" y="375420"/>
                      </a:cubicBezTo>
                      <a:cubicBezTo>
                        <a:pt x="288302" y="383694"/>
                        <a:pt x="287901" y="384336"/>
                        <a:pt x="283804" y="390281"/>
                      </a:cubicBezTo>
                      <a:cubicBezTo>
                        <a:pt x="285009" y="391084"/>
                        <a:pt x="286696" y="392209"/>
                        <a:pt x="287901" y="393012"/>
                      </a:cubicBezTo>
                      <a:cubicBezTo>
                        <a:pt x="273281" y="419038"/>
                        <a:pt x="285089" y="456712"/>
                        <a:pt x="251753" y="474384"/>
                      </a:cubicBezTo>
                      <a:cubicBezTo>
                        <a:pt x="257537" y="486192"/>
                        <a:pt x="256251" y="499848"/>
                        <a:pt x="261553" y="511817"/>
                      </a:cubicBezTo>
                      <a:cubicBezTo>
                        <a:pt x="251191" y="527882"/>
                        <a:pt x="251191" y="527882"/>
                        <a:pt x="248219" y="535835"/>
                      </a:cubicBezTo>
                      <a:cubicBezTo>
                        <a:pt x="249825" y="532622"/>
                        <a:pt x="252315" y="528525"/>
                        <a:pt x="254565" y="525714"/>
                      </a:cubicBezTo>
                      <a:cubicBezTo>
                        <a:pt x="255127" y="526356"/>
                        <a:pt x="255850" y="527240"/>
                        <a:pt x="256412" y="527963"/>
                      </a:cubicBezTo>
                      <a:cubicBezTo>
                        <a:pt x="273522" y="495671"/>
                        <a:pt x="278663" y="495912"/>
                        <a:pt x="291033" y="496555"/>
                      </a:cubicBezTo>
                      <a:cubicBezTo>
                        <a:pt x="289266" y="497037"/>
                        <a:pt x="286937" y="497759"/>
                        <a:pt x="285170" y="498241"/>
                      </a:cubicBezTo>
                      <a:cubicBezTo>
                        <a:pt x="288061" y="518404"/>
                        <a:pt x="320674" y="528204"/>
                        <a:pt x="320996" y="528284"/>
                      </a:cubicBezTo>
                      <a:cubicBezTo>
                        <a:pt x="321719" y="526758"/>
                        <a:pt x="322683" y="524750"/>
                        <a:pt x="323406" y="523224"/>
                      </a:cubicBezTo>
                      <a:cubicBezTo>
                        <a:pt x="326458" y="523384"/>
                        <a:pt x="330555" y="523545"/>
                        <a:pt x="333607" y="523625"/>
                      </a:cubicBezTo>
                      <a:cubicBezTo>
                        <a:pt x="334170" y="524991"/>
                        <a:pt x="334973" y="526838"/>
                        <a:pt x="335615" y="528204"/>
                      </a:cubicBezTo>
                      <a:cubicBezTo>
                        <a:pt x="334732" y="529489"/>
                        <a:pt x="333527" y="531096"/>
                        <a:pt x="332643" y="532381"/>
                      </a:cubicBezTo>
                      <a:cubicBezTo>
                        <a:pt x="334170" y="532301"/>
                        <a:pt x="336178" y="532220"/>
                        <a:pt x="337704" y="532220"/>
                      </a:cubicBezTo>
                      <a:cubicBezTo>
                        <a:pt x="324289" y="544028"/>
                        <a:pt x="323486" y="547563"/>
                        <a:pt x="322120" y="553347"/>
                      </a:cubicBezTo>
                      <a:cubicBezTo>
                        <a:pt x="322843" y="555355"/>
                        <a:pt x="322843" y="555435"/>
                        <a:pt x="322843" y="555435"/>
                      </a:cubicBezTo>
                      <a:cubicBezTo>
                        <a:pt x="322843" y="555435"/>
                        <a:pt x="322843" y="555515"/>
                        <a:pt x="322763" y="555515"/>
                      </a:cubicBezTo>
                      <a:cubicBezTo>
                        <a:pt x="322763" y="555515"/>
                        <a:pt x="322763" y="555596"/>
                        <a:pt x="322683" y="555596"/>
                      </a:cubicBezTo>
                      <a:cubicBezTo>
                        <a:pt x="322683" y="555596"/>
                        <a:pt x="322683" y="555676"/>
                        <a:pt x="322602" y="555676"/>
                      </a:cubicBezTo>
                      <a:cubicBezTo>
                        <a:pt x="322602" y="555676"/>
                        <a:pt x="322602" y="555756"/>
                        <a:pt x="322522" y="555756"/>
                      </a:cubicBezTo>
                      <a:cubicBezTo>
                        <a:pt x="322522" y="555756"/>
                        <a:pt x="322522" y="555837"/>
                        <a:pt x="322442" y="555837"/>
                      </a:cubicBezTo>
                      <a:cubicBezTo>
                        <a:pt x="322442" y="555837"/>
                        <a:pt x="322442" y="555917"/>
                        <a:pt x="322361" y="555917"/>
                      </a:cubicBezTo>
                      <a:cubicBezTo>
                        <a:pt x="322361" y="555917"/>
                        <a:pt x="322361" y="555997"/>
                        <a:pt x="322281" y="555997"/>
                      </a:cubicBezTo>
                      <a:cubicBezTo>
                        <a:pt x="333929" y="544350"/>
                        <a:pt x="343166" y="538084"/>
                        <a:pt x="360357" y="530212"/>
                      </a:cubicBezTo>
                      <a:cubicBezTo>
                        <a:pt x="359071" y="521938"/>
                        <a:pt x="372084" y="462978"/>
                        <a:pt x="423253" y="440084"/>
                      </a:cubicBezTo>
                      <a:cubicBezTo>
                        <a:pt x="400601" y="496635"/>
                        <a:pt x="396022" y="499045"/>
                        <a:pt x="383652" y="505310"/>
                      </a:cubicBezTo>
                      <a:cubicBezTo>
                        <a:pt x="387507" y="508604"/>
                        <a:pt x="392247" y="510933"/>
                        <a:pt x="395460" y="515030"/>
                      </a:cubicBezTo>
                      <a:cubicBezTo>
                        <a:pt x="387588" y="523625"/>
                        <a:pt x="387588" y="523625"/>
                        <a:pt x="377225" y="546278"/>
                      </a:cubicBezTo>
                      <a:cubicBezTo>
                        <a:pt x="385820" y="540976"/>
                        <a:pt x="386383" y="541297"/>
                        <a:pt x="392407" y="545314"/>
                      </a:cubicBezTo>
                      <a:cubicBezTo>
                        <a:pt x="393291" y="554712"/>
                        <a:pt x="393130" y="558166"/>
                        <a:pt x="382045" y="581220"/>
                      </a:cubicBezTo>
                      <a:cubicBezTo>
                        <a:pt x="414899" y="544751"/>
                        <a:pt x="414899" y="544751"/>
                        <a:pt x="457152" y="532622"/>
                      </a:cubicBezTo>
                      <a:cubicBezTo>
                        <a:pt x="459401" y="535273"/>
                        <a:pt x="461168" y="539691"/>
                        <a:pt x="461811" y="543145"/>
                      </a:cubicBezTo>
                      <a:cubicBezTo>
                        <a:pt x="451930" y="555114"/>
                        <a:pt x="447352" y="570537"/>
                        <a:pt x="436106" y="581622"/>
                      </a:cubicBezTo>
                      <a:cubicBezTo>
                        <a:pt x="423816" y="593751"/>
                        <a:pt x="403814" y="594394"/>
                        <a:pt x="393853" y="610058"/>
                      </a:cubicBezTo>
                      <a:cubicBezTo>
                        <a:pt x="388311" y="607889"/>
                        <a:pt x="388311" y="607889"/>
                        <a:pt x="378350" y="599374"/>
                      </a:cubicBezTo>
                      <a:cubicBezTo>
                        <a:pt x="364614" y="619938"/>
                        <a:pt x="364614" y="619938"/>
                        <a:pt x="363007" y="621143"/>
                      </a:cubicBezTo>
                      <a:cubicBezTo>
                        <a:pt x="355457" y="616886"/>
                        <a:pt x="353047" y="605881"/>
                        <a:pt x="342443" y="605720"/>
                      </a:cubicBezTo>
                      <a:cubicBezTo>
                        <a:pt x="340275" y="603632"/>
                        <a:pt x="337061" y="601142"/>
                        <a:pt x="334571" y="599455"/>
                      </a:cubicBezTo>
                      <a:cubicBezTo>
                        <a:pt x="370719" y="669019"/>
                        <a:pt x="300030" y="650543"/>
                        <a:pt x="299147" y="649981"/>
                      </a:cubicBezTo>
                      <a:cubicBezTo>
                        <a:pt x="293604" y="646688"/>
                        <a:pt x="291355" y="640422"/>
                        <a:pt x="288945" y="633755"/>
                      </a:cubicBezTo>
                      <a:cubicBezTo>
                        <a:pt x="290311" y="670545"/>
                        <a:pt x="290311" y="670545"/>
                        <a:pt x="273201" y="680024"/>
                      </a:cubicBezTo>
                      <a:cubicBezTo>
                        <a:pt x="272638" y="678497"/>
                        <a:pt x="271835" y="676489"/>
                        <a:pt x="271273" y="675043"/>
                      </a:cubicBezTo>
                      <a:cubicBezTo>
                        <a:pt x="256251" y="696652"/>
                        <a:pt x="235928" y="713842"/>
                        <a:pt x="220425" y="735048"/>
                      </a:cubicBezTo>
                      <a:cubicBezTo>
                        <a:pt x="221951" y="742117"/>
                        <a:pt x="222273" y="743724"/>
                        <a:pt x="217935" y="752158"/>
                      </a:cubicBezTo>
                      <a:cubicBezTo>
                        <a:pt x="220907" y="751194"/>
                        <a:pt x="225165" y="750632"/>
                        <a:pt x="228297" y="750632"/>
                      </a:cubicBezTo>
                      <a:cubicBezTo>
                        <a:pt x="230868" y="760191"/>
                        <a:pt x="231109" y="761155"/>
                        <a:pt x="218337" y="783647"/>
                      </a:cubicBezTo>
                      <a:cubicBezTo>
                        <a:pt x="219943" y="783406"/>
                        <a:pt x="222112" y="783165"/>
                        <a:pt x="223799" y="782924"/>
                      </a:cubicBezTo>
                      <a:cubicBezTo>
                        <a:pt x="223397" y="783245"/>
                        <a:pt x="222915" y="783727"/>
                        <a:pt x="222514" y="784049"/>
                      </a:cubicBezTo>
                      <a:cubicBezTo>
                        <a:pt x="262919" y="796740"/>
                        <a:pt x="273602" y="830157"/>
                        <a:pt x="277056" y="841162"/>
                      </a:cubicBezTo>
                      <a:cubicBezTo>
                        <a:pt x="314168" y="847749"/>
                        <a:pt x="313686" y="869517"/>
                        <a:pt x="300833" y="902371"/>
                      </a:cubicBezTo>
                      <a:cubicBezTo>
                        <a:pt x="315533" y="911529"/>
                        <a:pt x="314248" y="914662"/>
                        <a:pt x="307340" y="923980"/>
                      </a:cubicBezTo>
                      <a:cubicBezTo>
                        <a:pt x="319630" y="921168"/>
                        <a:pt x="321076" y="924863"/>
                        <a:pt x="324691" y="933941"/>
                      </a:cubicBezTo>
                      <a:cubicBezTo>
                        <a:pt x="324450" y="930647"/>
                        <a:pt x="324450" y="926149"/>
                        <a:pt x="324691" y="922855"/>
                      </a:cubicBezTo>
                      <a:cubicBezTo>
                        <a:pt x="326217" y="923096"/>
                        <a:pt x="328225" y="923337"/>
                        <a:pt x="329752" y="923578"/>
                      </a:cubicBezTo>
                      <a:cubicBezTo>
                        <a:pt x="330394" y="923016"/>
                        <a:pt x="407911" y="751275"/>
                        <a:pt x="408393" y="746053"/>
                      </a:cubicBezTo>
                      <a:cubicBezTo>
                        <a:pt x="406866" y="745973"/>
                        <a:pt x="404939" y="745893"/>
                        <a:pt x="403412" y="745893"/>
                      </a:cubicBezTo>
                      <a:cubicBezTo>
                        <a:pt x="405983" y="741876"/>
                        <a:pt x="405983" y="741876"/>
                        <a:pt x="415462" y="730711"/>
                      </a:cubicBezTo>
                      <a:cubicBezTo>
                        <a:pt x="412329" y="704684"/>
                        <a:pt x="426466" y="710147"/>
                        <a:pt x="439962" y="717376"/>
                      </a:cubicBezTo>
                      <a:cubicBezTo>
                        <a:pt x="440122" y="718099"/>
                        <a:pt x="440283" y="719143"/>
                        <a:pt x="440443" y="719947"/>
                      </a:cubicBezTo>
                      <a:lnTo>
                        <a:pt x="440524" y="720268"/>
                      </a:lnTo>
                      <a:cubicBezTo>
                        <a:pt x="448396" y="717537"/>
                        <a:pt x="449681" y="719063"/>
                        <a:pt x="453537" y="723481"/>
                      </a:cubicBezTo>
                      <a:cubicBezTo>
                        <a:pt x="463096" y="719384"/>
                        <a:pt x="463096" y="719384"/>
                        <a:pt x="470647" y="720830"/>
                      </a:cubicBezTo>
                      <a:cubicBezTo>
                        <a:pt x="472575" y="723803"/>
                        <a:pt x="473458" y="728702"/>
                        <a:pt x="473458" y="732237"/>
                      </a:cubicBezTo>
                      <a:cubicBezTo>
                        <a:pt x="475145" y="732398"/>
                        <a:pt x="477475" y="732639"/>
                        <a:pt x="479162" y="732880"/>
                      </a:cubicBezTo>
                      <a:cubicBezTo>
                        <a:pt x="478840" y="734486"/>
                        <a:pt x="478358" y="736575"/>
                        <a:pt x="477957" y="738181"/>
                      </a:cubicBezTo>
                      <a:cubicBezTo>
                        <a:pt x="479483" y="738181"/>
                        <a:pt x="481571" y="738181"/>
                        <a:pt x="483178" y="738181"/>
                      </a:cubicBezTo>
                      <a:cubicBezTo>
                        <a:pt x="483419" y="739627"/>
                        <a:pt x="483821" y="741555"/>
                        <a:pt x="484062" y="743001"/>
                      </a:cubicBezTo>
                      <a:cubicBezTo>
                        <a:pt x="501573" y="750552"/>
                        <a:pt x="501734" y="751114"/>
                        <a:pt x="504626" y="760914"/>
                      </a:cubicBezTo>
                      <a:cubicBezTo>
                        <a:pt x="500368" y="767180"/>
                        <a:pt x="497878" y="768384"/>
                        <a:pt x="487194" y="773686"/>
                      </a:cubicBezTo>
                      <a:cubicBezTo>
                        <a:pt x="495067" y="779952"/>
                        <a:pt x="495067" y="779952"/>
                        <a:pt x="498360" y="788386"/>
                      </a:cubicBezTo>
                      <a:cubicBezTo>
                        <a:pt x="496111" y="792885"/>
                        <a:pt x="490488" y="797303"/>
                        <a:pt x="486070" y="799712"/>
                      </a:cubicBezTo>
                      <a:cubicBezTo>
                        <a:pt x="496271" y="799391"/>
                        <a:pt x="496271" y="799391"/>
                        <a:pt x="505188" y="801399"/>
                      </a:cubicBezTo>
                      <a:cubicBezTo>
                        <a:pt x="505750" y="803247"/>
                        <a:pt x="506553" y="805737"/>
                        <a:pt x="507196" y="807665"/>
                      </a:cubicBezTo>
                      <a:cubicBezTo>
                        <a:pt x="504144" y="811280"/>
                        <a:pt x="499726" y="815939"/>
                        <a:pt x="496111" y="818911"/>
                      </a:cubicBezTo>
                      <a:cubicBezTo>
                        <a:pt x="506553" y="812163"/>
                        <a:pt x="506553" y="812163"/>
                        <a:pt x="512257" y="809753"/>
                      </a:cubicBezTo>
                      <a:cubicBezTo>
                        <a:pt x="511694" y="811360"/>
                        <a:pt x="510891" y="813529"/>
                        <a:pt x="510329" y="815135"/>
                      </a:cubicBezTo>
                      <a:cubicBezTo>
                        <a:pt x="511694" y="814011"/>
                        <a:pt x="513462" y="812565"/>
                        <a:pt x="514827" y="811521"/>
                      </a:cubicBezTo>
                      <a:cubicBezTo>
                        <a:pt x="514988" y="812967"/>
                        <a:pt x="515229" y="814975"/>
                        <a:pt x="515309" y="816421"/>
                      </a:cubicBezTo>
                      <a:cubicBezTo>
                        <a:pt x="530893" y="806621"/>
                        <a:pt x="530893" y="806621"/>
                        <a:pt x="534427" y="806139"/>
                      </a:cubicBezTo>
                      <a:cubicBezTo>
                        <a:pt x="535793" y="807263"/>
                        <a:pt x="537560" y="808709"/>
                        <a:pt x="538926" y="809834"/>
                      </a:cubicBezTo>
                      <a:cubicBezTo>
                        <a:pt x="544227" y="800275"/>
                        <a:pt x="544227" y="800275"/>
                        <a:pt x="548886" y="795214"/>
                      </a:cubicBezTo>
                      <a:lnTo>
                        <a:pt x="551939" y="793286"/>
                      </a:lnTo>
                      <a:cubicBezTo>
                        <a:pt x="553385" y="792804"/>
                        <a:pt x="555313" y="792081"/>
                        <a:pt x="556758" y="791599"/>
                      </a:cubicBezTo>
                      <a:cubicBezTo>
                        <a:pt x="555794" y="790394"/>
                        <a:pt x="554429" y="788788"/>
                        <a:pt x="553465" y="787583"/>
                      </a:cubicBezTo>
                      <a:cubicBezTo>
                        <a:pt x="555072" y="786378"/>
                        <a:pt x="557321" y="784450"/>
                        <a:pt x="559329" y="784049"/>
                      </a:cubicBezTo>
                      <a:cubicBezTo>
                        <a:pt x="560855" y="781076"/>
                        <a:pt x="562863" y="777221"/>
                        <a:pt x="564550" y="774329"/>
                      </a:cubicBezTo>
                      <a:cubicBezTo>
                        <a:pt x="564390" y="775775"/>
                        <a:pt x="564229" y="777703"/>
                        <a:pt x="564149" y="779148"/>
                      </a:cubicBezTo>
                      <a:cubicBezTo>
                        <a:pt x="565835" y="778988"/>
                        <a:pt x="568085" y="778747"/>
                        <a:pt x="569772" y="778586"/>
                      </a:cubicBezTo>
                      <a:cubicBezTo>
                        <a:pt x="570093" y="780112"/>
                        <a:pt x="570495" y="782120"/>
                        <a:pt x="570816" y="783647"/>
                      </a:cubicBezTo>
                      <a:cubicBezTo>
                        <a:pt x="571458" y="783567"/>
                        <a:pt x="572262" y="783567"/>
                        <a:pt x="572904" y="783486"/>
                      </a:cubicBezTo>
                      <a:cubicBezTo>
                        <a:pt x="573868" y="786298"/>
                        <a:pt x="574270" y="790314"/>
                        <a:pt x="573949" y="793206"/>
                      </a:cubicBezTo>
                      <a:cubicBezTo>
                        <a:pt x="575154" y="794170"/>
                        <a:pt x="576680" y="795455"/>
                        <a:pt x="577885" y="796419"/>
                      </a:cubicBezTo>
                      <a:cubicBezTo>
                        <a:pt x="576439" y="797142"/>
                        <a:pt x="574511" y="798106"/>
                        <a:pt x="572985" y="798829"/>
                      </a:cubicBezTo>
                      <a:cubicBezTo>
                        <a:pt x="574591" y="799070"/>
                        <a:pt x="576680" y="799471"/>
                        <a:pt x="578206" y="799712"/>
                      </a:cubicBezTo>
                      <a:cubicBezTo>
                        <a:pt x="579732" y="802444"/>
                        <a:pt x="580937" y="806701"/>
                        <a:pt x="580937" y="809914"/>
                      </a:cubicBezTo>
                      <a:cubicBezTo>
                        <a:pt x="582383" y="810798"/>
                        <a:pt x="584391" y="812003"/>
                        <a:pt x="585837" y="812967"/>
                      </a:cubicBezTo>
                      <a:cubicBezTo>
                        <a:pt x="583990" y="815376"/>
                        <a:pt x="580857" y="818108"/>
                        <a:pt x="578286" y="819714"/>
                      </a:cubicBezTo>
                      <a:cubicBezTo>
                        <a:pt x="582142" y="820517"/>
                        <a:pt x="587363" y="821642"/>
                        <a:pt x="591219" y="822686"/>
                      </a:cubicBezTo>
                      <a:cubicBezTo>
                        <a:pt x="590416" y="824694"/>
                        <a:pt x="589291" y="827345"/>
                        <a:pt x="588488" y="829353"/>
                      </a:cubicBezTo>
                      <a:cubicBezTo>
                        <a:pt x="591781" y="833611"/>
                        <a:pt x="593388" y="838912"/>
                        <a:pt x="597003" y="842929"/>
                      </a:cubicBezTo>
                      <a:cubicBezTo>
                        <a:pt x="595958" y="843973"/>
                        <a:pt x="594513" y="845419"/>
                        <a:pt x="593468" y="846544"/>
                      </a:cubicBezTo>
                      <a:cubicBezTo>
                        <a:pt x="590095" y="845981"/>
                        <a:pt x="585516" y="845580"/>
                        <a:pt x="582062" y="845499"/>
                      </a:cubicBezTo>
                      <a:cubicBezTo>
                        <a:pt x="583909" y="846222"/>
                        <a:pt x="586319" y="847186"/>
                        <a:pt x="588167" y="847990"/>
                      </a:cubicBezTo>
                      <a:cubicBezTo>
                        <a:pt x="588408" y="849435"/>
                        <a:pt x="588649" y="851363"/>
                        <a:pt x="588809" y="852809"/>
                      </a:cubicBezTo>
                      <a:cubicBezTo>
                        <a:pt x="590336" y="853211"/>
                        <a:pt x="592424" y="853693"/>
                        <a:pt x="594031" y="854014"/>
                      </a:cubicBezTo>
                      <a:cubicBezTo>
                        <a:pt x="594191" y="855460"/>
                        <a:pt x="594352" y="857388"/>
                        <a:pt x="594513" y="858914"/>
                      </a:cubicBezTo>
                      <a:cubicBezTo>
                        <a:pt x="602947" y="865099"/>
                        <a:pt x="602947" y="865099"/>
                        <a:pt x="608249" y="865501"/>
                      </a:cubicBezTo>
                      <a:lnTo>
                        <a:pt x="610177" y="865903"/>
                      </a:lnTo>
                      <a:cubicBezTo>
                        <a:pt x="610337" y="872409"/>
                        <a:pt x="610418" y="873614"/>
                        <a:pt x="603991" y="879639"/>
                      </a:cubicBezTo>
                      <a:cubicBezTo>
                        <a:pt x="611944" y="875542"/>
                        <a:pt x="612827" y="875703"/>
                        <a:pt x="619655" y="876586"/>
                      </a:cubicBezTo>
                      <a:cubicBezTo>
                        <a:pt x="618932" y="878113"/>
                        <a:pt x="617888" y="880121"/>
                        <a:pt x="617165" y="881727"/>
                      </a:cubicBezTo>
                      <a:cubicBezTo>
                        <a:pt x="623752" y="883254"/>
                        <a:pt x="632508" y="885181"/>
                        <a:pt x="639175" y="886145"/>
                      </a:cubicBezTo>
                      <a:cubicBezTo>
                        <a:pt x="639898" y="887511"/>
                        <a:pt x="640942" y="889278"/>
                        <a:pt x="641665" y="890644"/>
                      </a:cubicBezTo>
                      <a:cubicBezTo>
                        <a:pt x="633954" y="895865"/>
                        <a:pt x="630098" y="897632"/>
                        <a:pt x="603590" y="906067"/>
                      </a:cubicBezTo>
                      <a:cubicBezTo>
                        <a:pt x="604795" y="906950"/>
                        <a:pt x="606401" y="908236"/>
                        <a:pt x="607686" y="909119"/>
                      </a:cubicBezTo>
                      <a:cubicBezTo>
                        <a:pt x="606642" y="909842"/>
                        <a:pt x="605277" y="910726"/>
                        <a:pt x="604232" y="911449"/>
                      </a:cubicBezTo>
                      <a:lnTo>
                        <a:pt x="605036" y="911770"/>
                      </a:lnTo>
                      <a:lnTo>
                        <a:pt x="603590" y="913216"/>
                      </a:lnTo>
                      <a:cubicBezTo>
                        <a:pt x="617165" y="906308"/>
                        <a:pt x="626885" y="902452"/>
                        <a:pt x="642147" y="897873"/>
                      </a:cubicBezTo>
                      <a:cubicBezTo>
                        <a:pt x="644637" y="899881"/>
                        <a:pt x="646726" y="904059"/>
                        <a:pt x="647288" y="907191"/>
                      </a:cubicBezTo>
                      <a:cubicBezTo>
                        <a:pt x="654839" y="910886"/>
                        <a:pt x="663514" y="907593"/>
                        <a:pt x="671065" y="911127"/>
                      </a:cubicBezTo>
                      <a:cubicBezTo>
                        <a:pt x="670423" y="916108"/>
                        <a:pt x="667290" y="922373"/>
                        <a:pt x="664237" y="926229"/>
                      </a:cubicBezTo>
                      <a:cubicBezTo>
                        <a:pt x="666165" y="926470"/>
                        <a:pt x="668816" y="926791"/>
                        <a:pt x="670744" y="927032"/>
                      </a:cubicBezTo>
                      <a:cubicBezTo>
                        <a:pt x="596521" y="964385"/>
                        <a:pt x="522298" y="975068"/>
                        <a:pt x="472896" y="979968"/>
                      </a:cubicBezTo>
                      <a:cubicBezTo>
                        <a:pt x="473137" y="980209"/>
                        <a:pt x="473458" y="980611"/>
                        <a:pt x="473699" y="980852"/>
                      </a:cubicBezTo>
                      <a:cubicBezTo>
                        <a:pt x="463899" y="989045"/>
                        <a:pt x="454662" y="996837"/>
                        <a:pt x="433937" y="990572"/>
                      </a:cubicBezTo>
                      <a:cubicBezTo>
                        <a:pt x="431929" y="1003022"/>
                        <a:pt x="431929" y="1003022"/>
                        <a:pt x="429840" y="1007280"/>
                      </a:cubicBezTo>
                      <a:cubicBezTo>
                        <a:pt x="523342" y="990411"/>
                        <a:pt x="523342" y="990411"/>
                        <a:pt x="528724" y="990170"/>
                      </a:cubicBezTo>
                      <a:cubicBezTo>
                        <a:pt x="523744" y="999408"/>
                        <a:pt x="519004" y="1003585"/>
                        <a:pt x="496673" y="1001657"/>
                      </a:cubicBezTo>
                      <a:cubicBezTo>
                        <a:pt x="502698" y="1004870"/>
                        <a:pt x="506071" y="1006637"/>
                        <a:pt x="519326" y="1005673"/>
                      </a:cubicBezTo>
                      <a:cubicBezTo>
                        <a:pt x="519004" y="1005914"/>
                        <a:pt x="518683" y="1006236"/>
                        <a:pt x="518362" y="1006557"/>
                      </a:cubicBezTo>
                      <a:cubicBezTo>
                        <a:pt x="519808" y="1006878"/>
                        <a:pt x="521816" y="1007280"/>
                        <a:pt x="523262" y="1007601"/>
                      </a:cubicBezTo>
                      <a:cubicBezTo>
                        <a:pt x="521575" y="1010332"/>
                        <a:pt x="518683" y="1013546"/>
                        <a:pt x="516193" y="1015634"/>
                      </a:cubicBezTo>
                      <a:cubicBezTo>
                        <a:pt x="517317" y="1016598"/>
                        <a:pt x="518844" y="1017803"/>
                        <a:pt x="519968" y="1018767"/>
                      </a:cubicBezTo>
                      <a:cubicBezTo>
                        <a:pt x="582142" y="1023988"/>
                        <a:pt x="647529" y="1024069"/>
                        <a:pt x="714924" y="1021578"/>
                      </a:cubicBezTo>
                      <a:cubicBezTo>
                        <a:pt x="715005" y="1019409"/>
                        <a:pt x="715085" y="1017241"/>
                        <a:pt x="715085" y="1014991"/>
                      </a:cubicBezTo>
                      <a:cubicBezTo>
                        <a:pt x="705124" y="1021418"/>
                        <a:pt x="698537" y="1024952"/>
                        <a:pt x="688416" y="1016839"/>
                      </a:cubicBezTo>
                      <a:cubicBezTo>
                        <a:pt x="688416" y="1015393"/>
                        <a:pt x="688496" y="1013385"/>
                        <a:pt x="688496" y="1011939"/>
                      </a:cubicBezTo>
                      <a:cubicBezTo>
                        <a:pt x="676206" y="1018687"/>
                        <a:pt x="676206" y="1018687"/>
                        <a:pt x="668896" y="1022060"/>
                      </a:cubicBezTo>
                      <a:cubicBezTo>
                        <a:pt x="673154" y="1017401"/>
                        <a:pt x="673154" y="1017401"/>
                        <a:pt x="683436" y="1010172"/>
                      </a:cubicBezTo>
                      <a:cubicBezTo>
                        <a:pt x="673154" y="1012501"/>
                        <a:pt x="672591" y="1012582"/>
                        <a:pt x="660944" y="1013305"/>
                      </a:cubicBezTo>
                      <a:cubicBezTo>
                        <a:pt x="662390" y="1012582"/>
                        <a:pt x="664398" y="1011537"/>
                        <a:pt x="665844" y="1010734"/>
                      </a:cubicBezTo>
                      <a:cubicBezTo>
                        <a:pt x="653554" y="1008485"/>
                        <a:pt x="641344" y="1012501"/>
                        <a:pt x="629134" y="1011296"/>
                      </a:cubicBezTo>
                      <a:cubicBezTo>
                        <a:pt x="625037" y="1010413"/>
                        <a:pt x="625037" y="1010091"/>
                        <a:pt x="625037" y="1009770"/>
                      </a:cubicBezTo>
                      <a:cubicBezTo>
                        <a:pt x="621262" y="1010091"/>
                        <a:pt x="616281" y="1010172"/>
                        <a:pt x="612506" y="1010011"/>
                      </a:cubicBezTo>
                      <a:cubicBezTo>
                        <a:pt x="612747" y="1008244"/>
                        <a:pt x="612988" y="1005914"/>
                        <a:pt x="613229" y="1004147"/>
                      </a:cubicBezTo>
                      <a:cubicBezTo>
                        <a:pt x="617004" y="1001737"/>
                        <a:pt x="622145" y="998685"/>
                        <a:pt x="626081" y="996516"/>
                      </a:cubicBezTo>
                      <a:cubicBezTo>
                        <a:pt x="623029" y="996436"/>
                        <a:pt x="619013" y="996355"/>
                        <a:pt x="615960" y="996355"/>
                      </a:cubicBezTo>
                      <a:cubicBezTo>
                        <a:pt x="635962" y="980531"/>
                        <a:pt x="642629" y="949926"/>
                        <a:pt x="672591" y="945106"/>
                      </a:cubicBezTo>
                      <a:cubicBezTo>
                        <a:pt x="665763" y="956031"/>
                        <a:pt x="658936" y="966875"/>
                        <a:pt x="652027" y="977719"/>
                      </a:cubicBezTo>
                      <a:cubicBezTo>
                        <a:pt x="654357" y="975390"/>
                        <a:pt x="657731" y="972418"/>
                        <a:pt x="660382" y="970409"/>
                      </a:cubicBezTo>
                      <a:cubicBezTo>
                        <a:pt x="663514" y="971132"/>
                        <a:pt x="667932" y="971373"/>
                        <a:pt x="671226" y="971213"/>
                      </a:cubicBezTo>
                      <a:cubicBezTo>
                        <a:pt x="668896" y="973542"/>
                        <a:pt x="666165" y="977077"/>
                        <a:pt x="664559" y="979968"/>
                      </a:cubicBezTo>
                      <a:cubicBezTo>
                        <a:pt x="667772" y="979888"/>
                        <a:pt x="672109" y="979727"/>
                        <a:pt x="675323" y="979486"/>
                      </a:cubicBezTo>
                      <a:cubicBezTo>
                        <a:pt x="675644" y="981013"/>
                        <a:pt x="676126" y="983021"/>
                        <a:pt x="676527" y="984547"/>
                      </a:cubicBezTo>
                      <a:cubicBezTo>
                        <a:pt x="684400" y="981896"/>
                        <a:pt x="684400" y="981896"/>
                        <a:pt x="699501" y="981334"/>
                      </a:cubicBezTo>
                      <a:cubicBezTo>
                        <a:pt x="699823" y="982940"/>
                        <a:pt x="700224" y="985029"/>
                        <a:pt x="700465" y="986636"/>
                      </a:cubicBezTo>
                      <a:cubicBezTo>
                        <a:pt x="698698" y="987921"/>
                        <a:pt x="696368" y="989608"/>
                        <a:pt x="694601" y="990893"/>
                      </a:cubicBezTo>
                      <a:cubicBezTo>
                        <a:pt x="696127" y="990973"/>
                        <a:pt x="698216" y="991134"/>
                        <a:pt x="699742" y="991214"/>
                      </a:cubicBezTo>
                      <a:cubicBezTo>
                        <a:pt x="699341" y="992660"/>
                        <a:pt x="698859" y="994588"/>
                        <a:pt x="698537" y="996114"/>
                      </a:cubicBezTo>
                      <a:cubicBezTo>
                        <a:pt x="701670" y="995472"/>
                        <a:pt x="705847" y="994669"/>
                        <a:pt x="708980" y="993946"/>
                      </a:cubicBezTo>
                      <a:cubicBezTo>
                        <a:pt x="707373" y="996596"/>
                        <a:pt x="705044" y="1000050"/>
                        <a:pt x="703036" y="1002460"/>
                      </a:cubicBezTo>
                      <a:cubicBezTo>
                        <a:pt x="704642" y="1002781"/>
                        <a:pt x="706731" y="1003264"/>
                        <a:pt x="708337" y="1003665"/>
                      </a:cubicBezTo>
                      <a:cubicBezTo>
                        <a:pt x="709221" y="1005513"/>
                        <a:pt x="710345" y="1007923"/>
                        <a:pt x="711229" y="1009690"/>
                      </a:cubicBezTo>
                      <a:cubicBezTo>
                        <a:pt x="719262" y="884137"/>
                        <a:pt x="730026" y="764368"/>
                        <a:pt x="746895" y="653355"/>
                      </a:cubicBezTo>
                      <a:cubicBezTo>
                        <a:pt x="745931" y="650222"/>
                        <a:pt x="744083" y="646125"/>
                        <a:pt x="742075" y="643475"/>
                      </a:cubicBezTo>
                      <a:cubicBezTo>
                        <a:pt x="743360" y="642511"/>
                        <a:pt x="745128" y="641225"/>
                        <a:pt x="746493" y="640261"/>
                      </a:cubicBezTo>
                      <a:cubicBezTo>
                        <a:pt x="749385" y="637129"/>
                        <a:pt x="749626" y="635683"/>
                        <a:pt x="749867" y="634237"/>
                      </a:cubicBezTo>
                      <a:cubicBezTo>
                        <a:pt x="748421" y="634879"/>
                        <a:pt x="746493" y="635683"/>
                        <a:pt x="745047" y="636325"/>
                      </a:cubicBezTo>
                      <a:cubicBezTo>
                        <a:pt x="746091" y="634478"/>
                        <a:pt x="747457" y="631988"/>
                        <a:pt x="748421" y="630060"/>
                      </a:cubicBezTo>
                      <a:cubicBezTo>
                        <a:pt x="751554" y="623553"/>
                        <a:pt x="752277" y="619215"/>
                        <a:pt x="753000" y="614878"/>
                      </a:cubicBezTo>
                      <a:cubicBezTo>
                        <a:pt x="752518" y="611825"/>
                        <a:pt x="753080" y="607488"/>
                        <a:pt x="754687" y="604837"/>
                      </a:cubicBezTo>
                      <a:cubicBezTo>
                        <a:pt x="754928" y="603391"/>
                        <a:pt x="755169" y="602025"/>
                        <a:pt x="755409" y="600579"/>
                      </a:cubicBezTo>
                      <a:cubicBezTo>
                        <a:pt x="752357" y="601704"/>
                        <a:pt x="748341" y="603471"/>
                        <a:pt x="745368" y="604997"/>
                      </a:cubicBezTo>
                      <a:cubicBezTo>
                        <a:pt x="748180" y="603552"/>
                        <a:pt x="752036" y="601624"/>
                        <a:pt x="754847" y="600097"/>
                      </a:cubicBezTo>
                      <a:cubicBezTo>
                        <a:pt x="756454" y="594876"/>
                        <a:pt x="757257" y="590056"/>
                        <a:pt x="758141" y="585317"/>
                      </a:cubicBezTo>
                      <a:cubicBezTo>
                        <a:pt x="756534" y="585558"/>
                        <a:pt x="754365" y="585879"/>
                        <a:pt x="752759" y="586120"/>
                      </a:cubicBezTo>
                      <a:cubicBezTo>
                        <a:pt x="754044" y="585156"/>
                        <a:pt x="755811" y="583951"/>
                        <a:pt x="757096" y="583068"/>
                      </a:cubicBezTo>
                      <a:cubicBezTo>
                        <a:pt x="760631" y="571340"/>
                        <a:pt x="762719" y="560656"/>
                        <a:pt x="764808" y="550053"/>
                      </a:cubicBezTo>
                      <a:cubicBezTo>
                        <a:pt x="753321" y="556961"/>
                        <a:pt x="752357" y="557523"/>
                        <a:pt x="743601" y="549892"/>
                      </a:cubicBezTo>
                      <a:cubicBezTo>
                        <a:pt x="744405" y="547563"/>
                        <a:pt x="745529" y="544430"/>
                        <a:pt x="746332" y="542101"/>
                      </a:cubicBezTo>
                      <a:cubicBezTo>
                        <a:pt x="761273" y="543547"/>
                        <a:pt x="761273" y="543547"/>
                        <a:pt x="764728" y="544269"/>
                      </a:cubicBezTo>
                      <a:cubicBezTo>
                        <a:pt x="767057" y="538727"/>
                        <a:pt x="768342" y="532702"/>
                        <a:pt x="769547" y="526758"/>
                      </a:cubicBezTo>
                      <a:cubicBezTo>
                        <a:pt x="763924" y="524750"/>
                        <a:pt x="761755" y="524027"/>
                        <a:pt x="753321" y="522019"/>
                      </a:cubicBezTo>
                      <a:cubicBezTo>
                        <a:pt x="761836" y="524027"/>
                        <a:pt x="763603" y="524107"/>
                        <a:pt x="770110" y="524268"/>
                      </a:cubicBezTo>
                      <a:cubicBezTo>
                        <a:pt x="772037" y="515030"/>
                        <a:pt x="774046" y="505873"/>
                        <a:pt x="776134" y="496796"/>
                      </a:cubicBezTo>
                      <a:cubicBezTo>
                        <a:pt x="774608" y="495189"/>
                        <a:pt x="772841" y="492458"/>
                        <a:pt x="772841" y="490209"/>
                      </a:cubicBezTo>
                      <a:cubicBezTo>
                        <a:pt x="772600" y="486674"/>
                        <a:pt x="772519" y="482015"/>
                        <a:pt x="772760" y="478481"/>
                      </a:cubicBezTo>
                      <a:cubicBezTo>
                        <a:pt x="767860" y="491896"/>
                        <a:pt x="764728" y="496314"/>
                        <a:pt x="752839" y="499527"/>
                      </a:cubicBezTo>
                      <a:cubicBezTo>
                        <a:pt x="752036" y="498241"/>
                        <a:pt x="750991" y="496474"/>
                        <a:pt x="750188" y="495109"/>
                      </a:cubicBezTo>
                      <a:cubicBezTo>
                        <a:pt x="753562" y="485871"/>
                        <a:pt x="753803" y="485309"/>
                        <a:pt x="761354" y="473019"/>
                      </a:cubicBezTo>
                      <a:cubicBezTo>
                        <a:pt x="760069" y="473982"/>
                        <a:pt x="758382" y="475187"/>
                        <a:pt x="757177" y="476151"/>
                      </a:cubicBezTo>
                      <a:cubicBezTo>
                        <a:pt x="757739" y="468520"/>
                        <a:pt x="757739" y="468520"/>
                        <a:pt x="764888" y="454463"/>
                      </a:cubicBezTo>
                      <a:cubicBezTo>
                        <a:pt x="763523" y="453820"/>
                        <a:pt x="761675" y="452937"/>
                        <a:pt x="760229" y="452294"/>
                      </a:cubicBezTo>
                      <a:cubicBezTo>
                        <a:pt x="761514" y="448840"/>
                        <a:pt x="763523" y="444261"/>
                        <a:pt x="765290" y="440968"/>
                      </a:cubicBezTo>
                      <a:cubicBezTo>
                        <a:pt x="763924" y="440486"/>
                        <a:pt x="762077" y="439763"/>
                        <a:pt x="760711" y="439281"/>
                      </a:cubicBezTo>
                      <a:cubicBezTo>
                        <a:pt x="764647" y="424500"/>
                        <a:pt x="764647" y="424500"/>
                        <a:pt x="764326" y="422091"/>
                      </a:cubicBezTo>
                      <a:cubicBezTo>
                        <a:pt x="762719" y="421528"/>
                        <a:pt x="760550" y="420805"/>
                        <a:pt x="758944" y="420243"/>
                      </a:cubicBezTo>
                      <a:cubicBezTo>
                        <a:pt x="759426" y="384417"/>
                        <a:pt x="760149" y="335417"/>
                        <a:pt x="706329" y="358873"/>
                      </a:cubicBezTo>
                      <a:cubicBezTo>
                        <a:pt x="696368" y="345779"/>
                        <a:pt x="696529" y="340076"/>
                        <a:pt x="707454" y="323126"/>
                      </a:cubicBezTo>
                      <a:cubicBezTo>
                        <a:pt x="704883" y="324894"/>
                        <a:pt x="701349" y="327062"/>
                        <a:pt x="698457" y="328348"/>
                      </a:cubicBezTo>
                      <a:cubicBezTo>
                        <a:pt x="707855" y="311399"/>
                        <a:pt x="722636" y="310997"/>
                        <a:pt x="733239" y="313728"/>
                      </a:cubicBezTo>
                      <a:cubicBezTo>
                        <a:pt x="725608" y="280071"/>
                        <a:pt x="725608" y="280071"/>
                        <a:pt x="820314" y="212515"/>
                      </a:cubicBezTo>
                      <a:cubicBezTo>
                        <a:pt x="819592" y="211149"/>
                        <a:pt x="818708" y="209382"/>
                        <a:pt x="817985" y="208017"/>
                      </a:cubicBezTo>
                      <a:cubicBezTo>
                        <a:pt x="820957" y="199903"/>
                        <a:pt x="820957" y="199903"/>
                        <a:pt x="888915" y="145441"/>
                      </a:cubicBezTo>
                      <a:cubicBezTo>
                        <a:pt x="890360" y="150180"/>
                        <a:pt x="890360" y="150180"/>
                        <a:pt x="884256" y="164077"/>
                      </a:cubicBezTo>
                      <a:cubicBezTo>
                        <a:pt x="895020" y="147288"/>
                        <a:pt x="900883" y="139416"/>
                        <a:pt x="909238" y="130339"/>
                      </a:cubicBezTo>
                      <a:cubicBezTo>
                        <a:pt x="907792" y="135079"/>
                        <a:pt x="907792" y="135079"/>
                        <a:pt x="900562" y="152510"/>
                      </a:cubicBezTo>
                      <a:cubicBezTo>
                        <a:pt x="907149" y="143834"/>
                        <a:pt x="914941" y="111864"/>
                        <a:pt x="919118" y="126242"/>
                      </a:cubicBezTo>
                      <a:moveTo>
                        <a:pt x="1559252" y="97887"/>
                      </a:moveTo>
                      <a:cubicBezTo>
                        <a:pt x="1559252" y="97887"/>
                        <a:pt x="1564634" y="100297"/>
                        <a:pt x="1573871" y="104715"/>
                      </a:cubicBezTo>
                      <a:lnTo>
                        <a:pt x="1574674" y="105197"/>
                      </a:lnTo>
                      <a:cubicBezTo>
                        <a:pt x="1569534" y="102706"/>
                        <a:pt x="1564312" y="100377"/>
                        <a:pt x="1559252" y="97887"/>
                      </a:cubicBezTo>
                      <a:moveTo>
                        <a:pt x="1226854" y="9526"/>
                      </a:moveTo>
                      <a:cubicBezTo>
                        <a:pt x="1228622" y="9526"/>
                        <a:pt x="1234325" y="9767"/>
                        <a:pt x="1234807" y="12578"/>
                      </a:cubicBezTo>
                      <a:cubicBezTo>
                        <a:pt x="1232236" y="12659"/>
                        <a:pt x="1227015" y="12819"/>
                        <a:pt x="1224927" y="12257"/>
                      </a:cubicBezTo>
                      <a:cubicBezTo>
                        <a:pt x="1223641" y="11855"/>
                        <a:pt x="1221794" y="12418"/>
                        <a:pt x="1220508" y="12498"/>
                      </a:cubicBezTo>
                      <a:cubicBezTo>
                        <a:pt x="1215287" y="12819"/>
                        <a:pt x="1208861" y="13141"/>
                        <a:pt x="1205808" y="13221"/>
                      </a:cubicBezTo>
                      <a:cubicBezTo>
                        <a:pt x="1205407" y="13221"/>
                        <a:pt x="1204845" y="13221"/>
                        <a:pt x="1204443" y="13221"/>
                      </a:cubicBezTo>
                      <a:cubicBezTo>
                        <a:pt x="1204041" y="13221"/>
                        <a:pt x="1203559" y="13221"/>
                        <a:pt x="1203158" y="13221"/>
                      </a:cubicBezTo>
                      <a:cubicBezTo>
                        <a:pt x="1198981" y="13221"/>
                        <a:pt x="1198820" y="12739"/>
                        <a:pt x="1198659" y="12498"/>
                      </a:cubicBezTo>
                      <a:cubicBezTo>
                        <a:pt x="1193840" y="12578"/>
                        <a:pt x="1192153" y="12578"/>
                        <a:pt x="1191349" y="12498"/>
                      </a:cubicBezTo>
                      <a:cubicBezTo>
                        <a:pt x="1191671" y="12337"/>
                        <a:pt x="1191671" y="12337"/>
                        <a:pt x="1194322" y="12096"/>
                      </a:cubicBezTo>
                      <a:cubicBezTo>
                        <a:pt x="1201631" y="11454"/>
                        <a:pt x="1209022" y="12096"/>
                        <a:pt x="1216331" y="11052"/>
                      </a:cubicBezTo>
                      <a:cubicBezTo>
                        <a:pt x="1219786" y="10651"/>
                        <a:pt x="1223240" y="9526"/>
                        <a:pt x="1226854" y="9526"/>
                      </a:cubicBezTo>
                      <a:moveTo>
                        <a:pt x="1187574" y="15872"/>
                      </a:moveTo>
                      <a:cubicBezTo>
                        <a:pt x="1190626" y="15631"/>
                        <a:pt x="1191751" y="15791"/>
                        <a:pt x="1192153" y="15872"/>
                      </a:cubicBezTo>
                      <a:cubicBezTo>
                        <a:pt x="1187413" y="16354"/>
                        <a:pt x="1187413" y="16354"/>
                        <a:pt x="1186771" y="16273"/>
                      </a:cubicBezTo>
                      <a:cubicBezTo>
                        <a:pt x="1187413" y="16113"/>
                        <a:pt x="1187413" y="16113"/>
                        <a:pt x="1187413" y="16032"/>
                      </a:cubicBezTo>
                      <a:cubicBezTo>
                        <a:pt x="1187413" y="16032"/>
                        <a:pt x="1187333" y="15952"/>
                        <a:pt x="1187333" y="15952"/>
                      </a:cubicBezTo>
                      <a:cubicBezTo>
                        <a:pt x="1187413" y="15872"/>
                        <a:pt x="1187494" y="15872"/>
                        <a:pt x="1187574" y="15872"/>
                      </a:cubicBezTo>
                      <a:moveTo>
                        <a:pt x="1203399" y="22700"/>
                      </a:moveTo>
                      <a:cubicBezTo>
                        <a:pt x="1203881" y="23985"/>
                        <a:pt x="1203881" y="25029"/>
                        <a:pt x="1203881" y="25029"/>
                      </a:cubicBezTo>
                      <a:cubicBezTo>
                        <a:pt x="1203800" y="24387"/>
                        <a:pt x="1203720" y="23664"/>
                        <a:pt x="1203318" y="22539"/>
                      </a:cubicBezTo>
                      <a:cubicBezTo>
                        <a:pt x="1203399" y="22539"/>
                        <a:pt x="1203399" y="22619"/>
                        <a:pt x="1203399" y="22700"/>
                      </a:cubicBezTo>
                      <a:moveTo>
                        <a:pt x="1188297" y="16434"/>
                      </a:moveTo>
                      <a:cubicBezTo>
                        <a:pt x="1210146" y="14426"/>
                        <a:pt x="1231433" y="15791"/>
                        <a:pt x="1235369" y="17238"/>
                      </a:cubicBezTo>
                      <a:cubicBezTo>
                        <a:pt x="1235289" y="17398"/>
                        <a:pt x="1235209" y="17559"/>
                        <a:pt x="1235209" y="17720"/>
                      </a:cubicBezTo>
                      <a:cubicBezTo>
                        <a:pt x="1233602" y="18201"/>
                        <a:pt x="1232076" y="18442"/>
                        <a:pt x="1225649" y="19085"/>
                      </a:cubicBezTo>
                      <a:cubicBezTo>
                        <a:pt x="1211753" y="20451"/>
                        <a:pt x="1197856" y="21415"/>
                        <a:pt x="1184040" y="22700"/>
                      </a:cubicBezTo>
                      <a:lnTo>
                        <a:pt x="1186690" y="22057"/>
                      </a:lnTo>
                      <a:cubicBezTo>
                        <a:pt x="1180345" y="21977"/>
                        <a:pt x="1176489" y="21656"/>
                        <a:pt x="1171990" y="21013"/>
                      </a:cubicBezTo>
                      <a:cubicBezTo>
                        <a:pt x="1178336" y="19728"/>
                        <a:pt x="1183558" y="19165"/>
                        <a:pt x="1192795" y="18603"/>
                      </a:cubicBezTo>
                      <a:cubicBezTo>
                        <a:pt x="1182674" y="19165"/>
                        <a:pt x="1181630" y="19165"/>
                        <a:pt x="1180104" y="18041"/>
                      </a:cubicBezTo>
                      <a:cubicBezTo>
                        <a:pt x="1180585" y="17559"/>
                        <a:pt x="1181228" y="17077"/>
                        <a:pt x="1188297" y="16434"/>
                      </a:cubicBezTo>
                      <a:moveTo>
                        <a:pt x="1146205" y="24467"/>
                      </a:moveTo>
                      <a:cubicBezTo>
                        <a:pt x="1154559" y="23423"/>
                        <a:pt x="1175043" y="21174"/>
                        <a:pt x="1184040" y="23342"/>
                      </a:cubicBezTo>
                      <a:cubicBezTo>
                        <a:pt x="1188377" y="24869"/>
                        <a:pt x="1183959" y="26636"/>
                        <a:pt x="1183959" y="26716"/>
                      </a:cubicBezTo>
                      <a:cubicBezTo>
                        <a:pt x="1182754" y="27118"/>
                        <a:pt x="1180987" y="26877"/>
                        <a:pt x="1179702" y="27037"/>
                      </a:cubicBezTo>
                      <a:cubicBezTo>
                        <a:pt x="1161467" y="28242"/>
                        <a:pt x="1152149" y="28965"/>
                        <a:pt x="1149017" y="29206"/>
                      </a:cubicBezTo>
                      <a:cubicBezTo>
                        <a:pt x="1146928" y="29367"/>
                        <a:pt x="1144759" y="29688"/>
                        <a:pt x="1142671" y="29929"/>
                      </a:cubicBezTo>
                      <a:cubicBezTo>
                        <a:pt x="1126203" y="31857"/>
                        <a:pt x="1117849" y="32339"/>
                        <a:pt x="1113351" y="32580"/>
                      </a:cubicBezTo>
                      <a:cubicBezTo>
                        <a:pt x="1141546" y="25029"/>
                        <a:pt x="1141546" y="25029"/>
                        <a:pt x="1146205" y="24467"/>
                      </a:cubicBezTo>
                      <a:moveTo>
                        <a:pt x="651545" y="102144"/>
                      </a:moveTo>
                      <a:cubicBezTo>
                        <a:pt x="739344" y="63908"/>
                        <a:pt x="841521" y="54831"/>
                        <a:pt x="954543" y="80295"/>
                      </a:cubicBezTo>
                      <a:cubicBezTo>
                        <a:pt x="1181469" y="32259"/>
                        <a:pt x="1403496" y="48565"/>
                        <a:pt x="1601183" y="116683"/>
                      </a:cubicBezTo>
                      <a:cubicBezTo>
                        <a:pt x="1590178" y="111864"/>
                        <a:pt x="1587527" y="110820"/>
                        <a:pt x="1577566" y="107044"/>
                      </a:cubicBezTo>
                      <a:cubicBezTo>
                        <a:pt x="1634439" y="113149"/>
                        <a:pt x="1701512" y="147288"/>
                        <a:pt x="1746978" y="172431"/>
                      </a:cubicBezTo>
                      <a:cubicBezTo>
                        <a:pt x="1709224" y="146565"/>
                        <a:pt x="1709224" y="146565"/>
                        <a:pt x="1567927" y="92826"/>
                      </a:cubicBezTo>
                      <a:cubicBezTo>
                        <a:pt x="1584073" y="97485"/>
                        <a:pt x="1600460" y="101180"/>
                        <a:pt x="1616606" y="105598"/>
                      </a:cubicBezTo>
                      <a:cubicBezTo>
                        <a:pt x="1616124" y="105036"/>
                        <a:pt x="1468079" y="48405"/>
                        <a:pt x="1458520" y="48646"/>
                      </a:cubicBezTo>
                      <a:lnTo>
                        <a:pt x="1456994" y="47441"/>
                      </a:lnTo>
                      <a:cubicBezTo>
                        <a:pt x="1443419" y="43585"/>
                        <a:pt x="1376827" y="26796"/>
                        <a:pt x="1376345" y="26716"/>
                      </a:cubicBezTo>
                      <a:cubicBezTo>
                        <a:pt x="1376746" y="26877"/>
                        <a:pt x="1377228" y="27198"/>
                        <a:pt x="1377630" y="27359"/>
                      </a:cubicBezTo>
                      <a:lnTo>
                        <a:pt x="1375461" y="27118"/>
                      </a:lnTo>
                      <a:cubicBezTo>
                        <a:pt x="1363492" y="24306"/>
                        <a:pt x="1363492" y="24306"/>
                        <a:pt x="1357709" y="22539"/>
                      </a:cubicBezTo>
                      <a:cubicBezTo>
                        <a:pt x="1360520" y="22860"/>
                        <a:pt x="1364215" y="23262"/>
                        <a:pt x="1366946" y="23664"/>
                      </a:cubicBezTo>
                      <a:cubicBezTo>
                        <a:pt x="1348150" y="20129"/>
                        <a:pt x="1329273" y="16836"/>
                        <a:pt x="1310476" y="13301"/>
                      </a:cubicBezTo>
                      <a:cubicBezTo>
                        <a:pt x="1304130" y="12659"/>
                        <a:pt x="1304130" y="12659"/>
                        <a:pt x="1258584" y="8964"/>
                      </a:cubicBezTo>
                      <a:cubicBezTo>
                        <a:pt x="1263243" y="8883"/>
                        <a:pt x="1269428" y="8964"/>
                        <a:pt x="1274087" y="9124"/>
                      </a:cubicBezTo>
                      <a:cubicBezTo>
                        <a:pt x="1270392" y="8562"/>
                        <a:pt x="1265572" y="7759"/>
                        <a:pt x="1261877" y="7197"/>
                      </a:cubicBezTo>
                      <a:cubicBezTo>
                        <a:pt x="1271999" y="7518"/>
                        <a:pt x="1271999" y="7518"/>
                        <a:pt x="1280433" y="8401"/>
                      </a:cubicBezTo>
                      <a:cubicBezTo>
                        <a:pt x="1243402" y="4224"/>
                        <a:pt x="1232236" y="2939"/>
                        <a:pt x="1196169" y="1252"/>
                      </a:cubicBezTo>
                      <a:cubicBezTo>
                        <a:pt x="1144759" y="-194"/>
                        <a:pt x="1144759" y="-194"/>
                        <a:pt x="1118733" y="288"/>
                      </a:cubicBezTo>
                      <a:cubicBezTo>
                        <a:pt x="1073589" y="1734"/>
                        <a:pt x="1073589" y="1734"/>
                        <a:pt x="1051016" y="3421"/>
                      </a:cubicBezTo>
                      <a:cubicBezTo>
                        <a:pt x="1009407" y="7036"/>
                        <a:pt x="1009407" y="7036"/>
                        <a:pt x="988762" y="9606"/>
                      </a:cubicBezTo>
                      <a:cubicBezTo>
                        <a:pt x="948679" y="15149"/>
                        <a:pt x="948679" y="15149"/>
                        <a:pt x="928757" y="18603"/>
                      </a:cubicBezTo>
                      <a:cubicBezTo>
                        <a:pt x="888433" y="26234"/>
                        <a:pt x="888433" y="26234"/>
                        <a:pt x="868351" y="30813"/>
                      </a:cubicBezTo>
                      <a:cubicBezTo>
                        <a:pt x="826821" y="40854"/>
                        <a:pt x="826018" y="41015"/>
                        <a:pt x="804651" y="47119"/>
                      </a:cubicBezTo>
                      <a:cubicBezTo>
                        <a:pt x="759747" y="60615"/>
                        <a:pt x="757980" y="61177"/>
                        <a:pt x="734042" y="69611"/>
                      </a:cubicBezTo>
                      <a:cubicBezTo>
                        <a:pt x="683195" y="88649"/>
                        <a:pt x="680142" y="89774"/>
                        <a:pt x="651545" y="102144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3" name="Freeform: Shape 422">
                  <a:extLst>
                    <a:ext uri="{FF2B5EF4-FFF2-40B4-BE49-F238E27FC236}">
                      <a16:creationId xmlns:a16="http://schemas.microsoft.com/office/drawing/2014/main" id="{941AB5FB-029A-DC50-37F9-038A7EB478F3}"/>
                    </a:ext>
                  </a:extLst>
                </p:cNvPr>
                <p:cNvSpPr/>
                <p:nvPr/>
              </p:nvSpPr>
              <p:spPr>
                <a:xfrm>
                  <a:off x="-5378635" y="1958360"/>
                  <a:ext cx="2358991" cy="2404309"/>
                </a:xfrm>
                <a:custGeom>
                  <a:avLst/>
                  <a:gdLst>
                    <a:gd name="connsiteX0" fmla="*/ 2350156 w 2358991"/>
                    <a:gd name="connsiteY0" fmla="*/ 1677823 h 2404309"/>
                    <a:gd name="connsiteX1" fmla="*/ 2358992 w 2358991"/>
                    <a:gd name="connsiteY1" fmla="*/ 1657660 h 2404309"/>
                    <a:gd name="connsiteX2" fmla="*/ 2016553 w 2358991"/>
                    <a:gd name="connsiteY2" fmla="*/ 1913907 h 2404309"/>
                    <a:gd name="connsiteX3" fmla="*/ 991328 w 2358991"/>
                    <a:gd name="connsiteY3" fmla="*/ 2131676 h 2404309"/>
                    <a:gd name="connsiteX4" fmla="*/ 1272717 w 2358991"/>
                    <a:gd name="connsiteY4" fmla="*/ 2404229 h 2404309"/>
                    <a:gd name="connsiteX5" fmla="*/ 1289746 w 2358991"/>
                    <a:gd name="connsiteY5" fmla="*/ 2403506 h 2404309"/>
                    <a:gd name="connsiteX6" fmla="*/ 1289023 w 2358991"/>
                    <a:gd name="connsiteY6" fmla="*/ 2403506 h 2404309"/>
                    <a:gd name="connsiteX7" fmla="*/ 1381481 w 2358991"/>
                    <a:gd name="connsiteY7" fmla="*/ 2395473 h 2404309"/>
                    <a:gd name="connsiteX8" fmla="*/ 1426625 w 2358991"/>
                    <a:gd name="connsiteY8" fmla="*/ 2388967 h 2404309"/>
                    <a:gd name="connsiteX9" fmla="*/ 1413451 w 2358991"/>
                    <a:gd name="connsiteY9" fmla="*/ 2390895 h 2404309"/>
                    <a:gd name="connsiteX10" fmla="*/ 1400679 w 2358991"/>
                    <a:gd name="connsiteY10" fmla="*/ 2391778 h 2404309"/>
                    <a:gd name="connsiteX11" fmla="*/ 1591137 w 2358991"/>
                    <a:gd name="connsiteY11" fmla="*/ 2323660 h 2404309"/>
                    <a:gd name="connsiteX12" fmla="*/ 1582541 w 2358991"/>
                    <a:gd name="connsiteY12" fmla="*/ 2325186 h 2404309"/>
                    <a:gd name="connsiteX13" fmla="*/ 1675722 w 2358991"/>
                    <a:gd name="connsiteY13" fmla="*/ 2279560 h 2404309"/>
                    <a:gd name="connsiteX14" fmla="*/ 1994463 w 2358991"/>
                    <a:gd name="connsiteY14" fmla="*/ 2132158 h 2404309"/>
                    <a:gd name="connsiteX15" fmla="*/ 2093829 w 2358991"/>
                    <a:gd name="connsiteY15" fmla="*/ 2048456 h 2404309"/>
                    <a:gd name="connsiteX16" fmla="*/ 2088447 w 2358991"/>
                    <a:gd name="connsiteY16" fmla="*/ 2053919 h 2404309"/>
                    <a:gd name="connsiteX17" fmla="*/ 2119052 w 2358991"/>
                    <a:gd name="connsiteY17" fmla="*/ 2022832 h 2404309"/>
                    <a:gd name="connsiteX18" fmla="*/ 2250710 w 2358991"/>
                    <a:gd name="connsiteY18" fmla="*/ 1857998 h 2404309"/>
                    <a:gd name="connsiteX19" fmla="*/ 2350156 w 2358991"/>
                    <a:gd name="connsiteY19" fmla="*/ 1677823 h 2404309"/>
                    <a:gd name="connsiteX20" fmla="*/ 991247 w 2358991"/>
                    <a:gd name="connsiteY20" fmla="*/ 2131756 h 2404309"/>
                    <a:gd name="connsiteX21" fmla="*/ 919434 w 2358991"/>
                    <a:gd name="connsiteY21" fmla="*/ 1941218 h 2404309"/>
                    <a:gd name="connsiteX22" fmla="*/ 819586 w 2358991"/>
                    <a:gd name="connsiteY22" fmla="*/ 1937363 h 2404309"/>
                    <a:gd name="connsiteX23" fmla="*/ 827539 w 2358991"/>
                    <a:gd name="connsiteY23" fmla="*/ 1944994 h 2404309"/>
                    <a:gd name="connsiteX24" fmla="*/ 777735 w 2358991"/>
                    <a:gd name="connsiteY24" fmla="*/ 2011345 h 2404309"/>
                    <a:gd name="connsiteX25" fmla="*/ 739901 w 2358991"/>
                    <a:gd name="connsiteY25" fmla="*/ 2025483 h 2404309"/>
                    <a:gd name="connsiteX26" fmla="*/ 760144 w 2358991"/>
                    <a:gd name="connsiteY26" fmla="*/ 2041789 h 2404309"/>
                    <a:gd name="connsiteX27" fmla="*/ 759822 w 2358991"/>
                    <a:gd name="connsiteY27" fmla="*/ 2041789 h 2404309"/>
                    <a:gd name="connsiteX28" fmla="*/ 759501 w 2358991"/>
                    <a:gd name="connsiteY28" fmla="*/ 2041789 h 2404309"/>
                    <a:gd name="connsiteX29" fmla="*/ 759180 w 2358991"/>
                    <a:gd name="connsiteY29" fmla="*/ 2041789 h 2404309"/>
                    <a:gd name="connsiteX30" fmla="*/ 758858 w 2358991"/>
                    <a:gd name="connsiteY30" fmla="*/ 2041789 h 2404309"/>
                    <a:gd name="connsiteX31" fmla="*/ 758537 w 2358991"/>
                    <a:gd name="connsiteY31" fmla="*/ 2041789 h 2404309"/>
                    <a:gd name="connsiteX32" fmla="*/ 758216 w 2358991"/>
                    <a:gd name="connsiteY32" fmla="*/ 2041789 h 2404309"/>
                    <a:gd name="connsiteX33" fmla="*/ 757894 w 2358991"/>
                    <a:gd name="connsiteY33" fmla="*/ 2041789 h 2404309"/>
                    <a:gd name="connsiteX34" fmla="*/ 757573 w 2358991"/>
                    <a:gd name="connsiteY34" fmla="*/ 2041789 h 2404309"/>
                    <a:gd name="connsiteX35" fmla="*/ 767293 w 2358991"/>
                    <a:gd name="connsiteY35" fmla="*/ 2044841 h 2404309"/>
                    <a:gd name="connsiteX36" fmla="*/ 746890 w 2358991"/>
                    <a:gd name="connsiteY36" fmla="*/ 2046689 h 2404309"/>
                    <a:gd name="connsiteX37" fmla="*/ 759662 w 2358991"/>
                    <a:gd name="connsiteY37" fmla="*/ 2049581 h 2404309"/>
                    <a:gd name="connsiteX38" fmla="*/ 757332 w 2358991"/>
                    <a:gd name="connsiteY38" fmla="*/ 2101714 h 2404309"/>
                    <a:gd name="connsiteX39" fmla="*/ 763999 w 2358991"/>
                    <a:gd name="connsiteY39" fmla="*/ 2102999 h 2404309"/>
                    <a:gd name="connsiteX40" fmla="*/ 732752 w 2358991"/>
                    <a:gd name="connsiteY40" fmla="*/ 2120752 h 2404309"/>
                    <a:gd name="connsiteX41" fmla="*/ 733796 w 2358991"/>
                    <a:gd name="connsiteY41" fmla="*/ 2121956 h 2404309"/>
                    <a:gd name="connsiteX42" fmla="*/ 729860 w 2358991"/>
                    <a:gd name="connsiteY42" fmla="*/ 2123161 h 2404309"/>
                    <a:gd name="connsiteX43" fmla="*/ 737250 w 2358991"/>
                    <a:gd name="connsiteY43" fmla="*/ 2127178 h 2404309"/>
                    <a:gd name="connsiteX44" fmla="*/ 991247 w 2358991"/>
                    <a:gd name="connsiteY44" fmla="*/ 2131756 h 2404309"/>
                    <a:gd name="connsiteX45" fmla="*/ 376096 w 2358991"/>
                    <a:gd name="connsiteY45" fmla="*/ 1458768 h 2404309"/>
                    <a:gd name="connsiteX46" fmla="*/ 372882 w 2358991"/>
                    <a:gd name="connsiteY46" fmla="*/ 1458367 h 2404309"/>
                    <a:gd name="connsiteX47" fmla="*/ 376176 w 2358991"/>
                    <a:gd name="connsiteY47" fmla="*/ 1458688 h 2404309"/>
                    <a:gd name="connsiteX48" fmla="*/ 376096 w 2358991"/>
                    <a:gd name="connsiteY48" fmla="*/ 1458768 h 2404309"/>
                    <a:gd name="connsiteX49" fmla="*/ 376738 w 2358991"/>
                    <a:gd name="connsiteY49" fmla="*/ 1458768 h 2404309"/>
                    <a:gd name="connsiteX50" fmla="*/ 376738 w 2358991"/>
                    <a:gd name="connsiteY50" fmla="*/ 1458768 h 2404309"/>
                    <a:gd name="connsiteX51" fmla="*/ 376738 w 2358991"/>
                    <a:gd name="connsiteY51" fmla="*/ 1458768 h 2404309"/>
                    <a:gd name="connsiteX52" fmla="*/ 376738 w 2358991"/>
                    <a:gd name="connsiteY52" fmla="*/ 1458768 h 2404309"/>
                    <a:gd name="connsiteX53" fmla="*/ 376738 w 2358991"/>
                    <a:gd name="connsiteY53" fmla="*/ 1458768 h 2404309"/>
                    <a:gd name="connsiteX54" fmla="*/ 376738 w 2358991"/>
                    <a:gd name="connsiteY54" fmla="*/ 1458768 h 2404309"/>
                    <a:gd name="connsiteX55" fmla="*/ 376658 w 2358991"/>
                    <a:gd name="connsiteY55" fmla="*/ 1458768 h 2404309"/>
                    <a:gd name="connsiteX56" fmla="*/ 376658 w 2358991"/>
                    <a:gd name="connsiteY56" fmla="*/ 1458768 h 2404309"/>
                    <a:gd name="connsiteX57" fmla="*/ 376658 w 2358991"/>
                    <a:gd name="connsiteY57" fmla="*/ 1458768 h 2404309"/>
                    <a:gd name="connsiteX58" fmla="*/ 376658 w 2358991"/>
                    <a:gd name="connsiteY58" fmla="*/ 1458768 h 2404309"/>
                    <a:gd name="connsiteX59" fmla="*/ 376658 w 2358991"/>
                    <a:gd name="connsiteY59" fmla="*/ 1458768 h 2404309"/>
                    <a:gd name="connsiteX60" fmla="*/ 376658 w 2358991"/>
                    <a:gd name="connsiteY60" fmla="*/ 1458768 h 2404309"/>
                    <a:gd name="connsiteX61" fmla="*/ 376658 w 2358991"/>
                    <a:gd name="connsiteY61" fmla="*/ 1458768 h 2404309"/>
                    <a:gd name="connsiteX62" fmla="*/ 376658 w 2358991"/>
                    <a:gd name="connsiteY62" fmla="*/ 1458768 h 2404309"/>
                    <a:gd name="connsiteX63" fmla="*/ 376658 w 2358991"/>
                    <a:gd name="connsiteY63" fmla="*/ 1458768 h 2404309"/>
                    <a:gd name="connsiteX64" fmla="*/ 376658 w 2358991"/>
                    <a:gd name="connsiteY64" fmla="*/ 1458768 h 2404309"/>
                    <a:gd name="connsiteX65" fmla="*/ 376658 w 2358991"/>
                    <a:gd name="connsiteY65" fmla="*/ 1458768 h 2404309"/>
                    <a:gd name="connsiteX66" fmla="*/ 376658 w 2358991"/>
                    <a:gd name="connsiteY66" fmla="*/ 1458768 h 2404309"/>
                    <a:gd name="connsiteX67" fmla="*/ 376658 w 2358991"/>
                    <a:gd name="connsiteY67" fmla="*/ 1458768 h 2404309"/>
                    <a:gd name="connsiteX68" fmla="*/ 376658 w 2358991"/>
                    <a:gd name="connsiteY68" fmla="*/ 1458768 h 2404309"/>
                    <a:gd name="connsiteX69" fmla="*/ 376658 w 2358991"/>
                    <a:gd name="connsiteY69" fmla="*/ 1458768 h 2404309"/>
                    <a:gd name="connsiteX70" fmla="*/ 376658 w 2358991"/>
                    <a:gd name="connsiteY70" fmla="*/ 1458768 h 2404309"/>
                    <a:gd name="connsiteX71" fmla="*/ 376658 w 2358991"/>
                    <a:gd name="connsiteY71" fmla="*/ 1458768 h 2404309"/>
                    <a:gd name="connsiteX72" fmla="*/ 376658 w 2358991"/>
                    <a:gd name="connsiteY72" fmla="*/ 1458768 h 2404309"/>
                    <a:gd name="connsiteX73" fmla="*/ 376658 w 2358991"/>
                    <a:gd name="connsiteY73" fmla="*/ 1458768 h 2404309"/>
                    <a:gd name="connsiteX74" fmla="*/ 376658 w 2358991"/>
                    <a:gd name="connsiteY74" fmla="*/ 1458768 h 2404309"/>
                    <a:gd name="connsiteX75" fmla="*/ 376658 w 2358991"/>
                    <a:gd name="connsiteY75" fmla="*/ 1458768 h 2404309"/>
                    <a:gd name="connsiteX76" fmla="*/ 376658 w 2358991"/>
                    <a:gd name="connsiteY76" fmla="*/ 1458768 h 2404309"/>
                    <a:gd name="connsiteX77" fmla="*/ 376658 w 2358991"/>
                    <a:gd name="connsiteY77" fmla="*/ 1458768 h 2404309"/>
                    <a:gd name="connsiteX78" fmla="*/ 376658 w 2358991"/>
                    <a:gd name="connsiteY78" fmla="*/ 1458768 h 2404309"/>
                    <a:gd name="connsiteX79" fmla="*/ 376658 w 2358991"/>
                    <a:gd name="connsiteY79" fmla="*/ 1458768 h 2404309"/>
                    <a:gd name="connsiteX80" fmla="*/ 376658 w 2358991"/>
                    <a:gd name="connsiteY80" fmla="*/ 1458768 h 2404309"/>
                    <a:gd name="connsiteX81" fmla="*/ 377060 w 2358991"/>
                    <a:gd name="connsiteY81" fmla="*/ 1458528 h 2404309"/>
                    <a:gd name="connsiteX82" fmla="*/ 376738 w 2358991"/>
                    <a:gd name="connsiteY82" fmla="*/ 1458768 h 2404309"/>
                    <a:gd name="connsiteX83" fmla="*/ 376738 w 2358991"/>
                    <a:gd name="connsiteY83" fmla="*/ 1458768 h 2404309"/>
                    <a:gd name="connsiteX84" fmla="*/ 372481 w 2358991"/>
                    <a:gd name="connsiteY84" fmla="*/ 1458286 h 2404309"/>
                    <a:gd name="connsiteX85" fmla="*/ 350873 w 2358991"/>
                    <a:gd name="connsiteY85" fmla="*/ 1453065 h 2404309"/>
                    <a:gd name="connsiteX86" fmla="*/ 350953 w 2358991"/>
                    <a:gd name="connsiteY86" fmla="*/ 1452904 h 2404309"/>
                    <a:gd name="connsiteX87" fmla="*/ 349989 w 2358991"/>
                    <a:gd name="connsiteY87" fmla="*/ 1452182 h 2404309"/>
                    <a:gd name="connsiteX88" fmla="*/ 372882 w 2358991"/>
                    <a:gd name="connsiteY88" fmla="*/ 1458367 h 2404309"/>
                    <a:gd name="connsiteX89" fmla="*/ 372481 w 2358991"/>
                    <a:gd name="connsiteY89" fmla="*/ 1458286 h 2404309"/>
                    <a:gd name="connsiteX90" fmla="*/ 351515 w 2358991"/>
                    <a:gd name="connsiteY90" fmla="*/ 1446719 h 2404309"/>
                    <a:gd name="connsiteX91" fmla="*/ 349427 w 2358991"/>
                    <a:gd name="connsiteY91" fmla="*/ 1447121 h 2404309"/>
                    <a:gd name="connsiteX92" fmla="*/ 349668 w 2358991"/>
                    <a:gd name="connsiteY92" fmla="*/ 1446719 h 2404309"/>
                    <a:gd name="connsiteX93" fmla="*/ 348302 w 2358991"/>
                    <a:gd name="connsiteY93" fmla="*/ 1445836 h 2404309"/>
                    <a:gd name="connsiteX94" fmla="*/ 345812 w 2358991"/>
                    <a:gd name="connsiteY94" fmla="*/ 1446960 h 2404309"/>
                    <a:gd name="connsiteX95" fmla="*/ 348463 w 2358991"/>
                    <a:gd name="connsiteY95" fmla="*/ 1444631 h 2404309"/>
                    <a:gd name="connsiteX96" fmla="*/ 351837 w 2358991"/>
                    <a:gd name="connsiteY96" fmla="*/ 1446559 h 2404309"/>
                    <a:gd name="connsiteX97" fmla="*/ 351515 w 2358991"/>
                    <a:gd name="connsiteY97" fmla="*/ 1446719 h 2404309"/>
                    <a:gd name="connsiteX98" fmla="*/ 291189 w 2358991"/>
                    <a:gd name="connsiteY98" fmla="*/ 1392819 h 2404309"/>
                    <a:gd name="connsiteX99" fmla="*/ 290305 w 2358991"/>
                    <a:gd name="connsiteY99" fmla="*/ 1394104 h 2404309"/>
                    <a:gd name="connsiteX100" fmla="*/ 290305 w 2358991"/>
                    <a:gd name="connsiteY100" fmla="*/ 1394104 h 2404309"/>
                    <a:gd name="connsiteX101" fmla="*/ 291269 w 2358991"/>
                    <a:gd name="connsiteY101" fmla="*/ 1392739 h 2404309"/>
                    <a:gd name="connsiteX102" fmla="*/ 291189 w 2358991"/>
                    <a:gd name="connsiteY102" fmla="*/ 1392819 h 2404309"/>
                    <a:gd name="connsiteX103" fmla="*/ 526952 w 2358991"/>
                    <a:gd name="connsiteY103" fmla="*/ 1358840 h 2404309"/>
                    <a:gd name="connsiteX104" fmla="*/ 524863 w 2358991"/>
                    <a:gd name="connsiteY104" fmla="*/ 1361411 h 2404309"/>
                    <a:gd name="connsiteX105" fmla="*/ 462930 w 2358991"/>
                    <a:gd name="connsiteY105" fmla="*/ 1359162 h 2404309"/>
                    <a:gd name="connsiteX106" fmla="*/ 444937 w 2358991"/>
                    <a:gd name="connsiteY106" fmla="*/ 1350004 h 2404309"/>
                    <a:gd name="connsiteX107" fmla="*/ 455379 w 2358991"/>
                    <a:gd name="connsiteY107" fmla="*/ 1344462 h 2404309"/>
                    <a:gd name="connsiteX108" fmla="*/ 515143 w 2358991"/>
                    <a:gd name="connsiteY108" fmla="*/ 1347755 h 2404309"/>
                    <a:gd name="connsiteX109" fmla="*/ 508556 w 2358991"/>
                    <a:gd name="connsiteY109" fmla="*/ 1349201 h 2404309"/>
                    <a:gd name="connsiteX110" fmla="*/ 526952 w 2358991"/>
                    <a:gd name="connsiteY110" fmla="*/ 1358840 h 2404309"/>
                    <a:gd name="connsiteX111" fmla="*/ 130131 w 2358991"/>
                    <a:gd name="connsiteY111" fmla="*/ 1233368 h 2404309"/>
                    <a:gd name="connsiteX112" fmla="*/ 129971 w 2358991"/>
                    <a:gd name="connsiteY112" fmla="*/ 1234412 h 2404309"/>
                    <a:gd name="connsiteX113" fmla="*/ 130051 w 2358991"/>
                    <a:gd name="connsiteY113" fmla="*/ 1231521 h 2404309"/>
                    <a:gd name="connsiteX114" fmla="*/ 130131 w 2358991"/>
                    <a:gd name="connsiteY114" fmla="*/ 1233368 h 2404309"/>
                    <a:gd name="connsiteX115" fmla="*/ 429514 w 2358991"/>
                    <a:gd name="connsiteY115" fmla="*/ 1326227 h 2404309"/>
                    <a:gd name="connsiteX116" fmla="*/ 417866 w 2358991"/>
                    <a:gd name="connsiteY116" fmla="*/ 1329521 h 2404309"/>
                    <a:gd name="connsiteX117" fmla="*/ 417465 w 2358991"/>
                    <a:gd name="connsiteY117" fmla="*/ 1328236 h 2404309"/>
                    <a:gd name="connsiteX118" fmla="*/ 377220 w 2358991"/>
                    <a:gd name="connsiteY118" fmla="*/ 1324139 h 2404309"/>
                    <a:gd name="connsiteX119" fmla="*/ 334566 w 2358991"/>
                    <a:gd name="connsiteY119" fmla="*/ 1289035 h 2404309"/>
                    <a:gd name="connsiteX120" fmla="*/ 325489 w 2358991"/>
                    <a:gd name="connsiteY120" fmla="*/ 1284858 h 2404309"/>
                    <a:gd name="connsiteX121" fmla="*/ 312556 w 2358991"/>
                    <a:gd name="connsiteY121" fmla="*/ 1280762 h 2404309"/>
                    <a:gd name="connsiteX122" fmla="*/ 278176 w 2358991"/>
                    <a:gd name="connsiteY122" fmla="*/ 1280521 h 2404309"/>
                    <a:gd name="connsiteX123" fmla="*/ 305728 w 2358991"/>
                    <a:gd name="connsiteY123" fmla="*/ 1272086 h 2404309"/>
                    <a:gd name="connsiteX124" fmla="*/ 345812 w 2358991"/>
                    <a:gd name="connsiteY124" fmla="*/ 1281163 h 2404309"/>
                    <a:gd name="connsiteX125" fmla="*/ 345410 w 2358991"/>
                    <a:gd name="connsiteY125" fmla="*/ 1281806 h 2404309"/>
                    <a:gd name="connsiteX126" fmla="*/ 380755 w 2358991"/>
                    <a:gd name="connsiteY126" fmla="*/ 1300924 h 2404309"/>
                    <a:gd name="connsiteX127" fmla="*/ 379389 w 2358991"/>
                    <a:gd name="connsiteY127" fmla="*/ 1299478 h 2404309"/>
                    <a:gd name="connsiteX128" fmla="*/ 386056 w 2358991"/>
                    <a:gd name="connsiteY128" fmla="*/ 1303655 h 2404309"/>
                    <a:gd name="connsiteX129" fmla="*/ 382763 w 2358991"/>
                    <a:gd name="connsiteY129" fmla="*/ 1303414 h 2404309"/>
                    <a:gd name="connsiteX130" fmla="*/ 386538 w 2358991"/>
                    <a:gd name="connsiteY130" fmla="*/ 1304619 h 2404309"/>
                    <a:gd name="connsiteX131" fmla="*/ 390876 w 2358991"/>
                    <a:gd name="connsiteY131" fmla="*/ 1307350 h 2404309"/>
                    <a:gd name="connsiteX132" fmla="*/ 390314 w 2358991"/>
                    <a:gd name="connsiteY132" fmla="*/ 1308073 h 2404309"/>
                    <a:gd name="connsiteX133" fmla="*/ 402042 w 2358991"/>
                    <a:gd name="connsiteY133" fmla="*/ 1311688 h 2404309"/>
                    <a:gd name="connsiteX134" fmla="*/ 410315 w 2358991"/>
                    <a:gd name="connsiteY134" fmla="*/ 1317150 h 2404309"/>
                    <a:gd name="connsiteX135" fmla="*/ 429674 w 2358991"/>
                    <a:gd name="connsiteY135" fmla="*/ 1324460 h 2404309"/>
                    <a:gd name="connsiteX136" fmla="*/ 429514 w 2358991"/>
                    <a:gd name="connsiteY136" fmla="*/ 1326227 h 2404309"/>
                    <a:gd name="connsiteX137" fmla="*/ 830109 w 2358991"/>
                    <a:gd name="connsiteY137" fmla="*/ 1517810 h 2404309"/>
                    <a:gd name="connsiteX138" fmla="*/ 801914 w 2358991"/>
                    <a:gd name="connsiteY138" fmla="*/ 968125 h 2404309"/>
                    <a:gd name="connsiteX139" fmla="*/ 606798 w 2358991"/>
                    <a:gd name="connsiteY139" fmla="*/ 967643 h 2404309"/>
                    <a:gd name="connsiteX140" fmla="*/ 617401 w 2358991"/>
                    <a:gd name="connsiteY140" fmla="*/ 982665 h 2404309"/>
                    <a:gd name="connsiteX141" fmla="*/ 637643 w 2358991"/>
                    <a:gd name="connsiteY141" fmla="*/ 989412 h 2404309"/>
                    <a:gd name="connsiteX142" fmla="*/ 653147 w 2358991"/>
                    <a:gd name="connsiteY142" fmla="*/ 988287 h 2404309"/>
                    <a:gd name="connsiteX143" fmla="*/ 657966 w 2358991"/>
                    <a:gd name="connsiteY143" fmla="*/ 994473 h 2404309"/>
                    <a:gd name="connsiteX144" fmla="*/ 614107 w 2358991"/>
                    <a:gd name="connsiteY144" fmla="*/ 1007164 h 2404309"/>
                    <a:gd name="connsiteX145" fmla="*/ 613224 w 2358991"/>
                    <a:gd name="connsiteY145" fmla="*/ 1005638 h 2404309"/>
                    <a:gd name="connsiteX146" fmla="*/ 581976 w 2358991"/>
                    <a:gd name="connsiteY146" fmla="*/ 1017527 h 2404309"/>
                    <a:gd name="connsiteX147" fmla="*/ 581334 w 2358991"/>
                    <a:gd name="connsiteY147" fmla="*/ 1009092 h 2404309"/>
                    <a:gd name="connsiteX148" fmla="*/ 588563 w 2358991"/>
                    <a:gd name="connsiteY148" fmla="*/ 1002827 h 2404309"/>
                    <a:gd name="connsiteX149" fmla="*/ 611858 w 2358991"/>
                    <a:gd name="connsiteY149" fmla="*/ 993991 h 2404309"/>
                    <a:gd name="connsiteX150" fmla="*/ 620293 w 2358991"/>
                    <a:gd name="connsiteY150" fmla="*/ 994232 h 2404309"/>
                    <a:gd name="connsiteX151" fmla="*/ 605030 w 2358991"/>
                    <a:gd name="connsiteY151" fmla="*/ 992625 h 2404309"/>
                    <a:gd name="connsiteX152" fmla="*/ 610573 w 2358991"/>
                    <a:gd name="connsiteY152" fmla="*/ 987404 h 2404309"/>
                    <a:gd name="connsiteX153" fmla="*/ 585189 w 2358991"/>
                    <a:gd name="connsiteY153" fmla="*/ 992706 h 2404309"/>
                    <a:gd name="connsiteX154" fmla="*/ 585350 w 2358991"/>
                    <a:gd name="connsiteY154" fmla="*/ 991018 h 2404309"/>
                    <a:gd name="connsiteX155" fmla="*/ 582699 w 2358991"/>
                    <a:gd name="connsiteY155" fmla="*/ 992223 h 2404309"/>
                    <a:gd name="connsiteX156" fmla="*/ 567758 w 2358991"/>
                    <a:gd name="connsiteY156" fmla="*/ 994071 h 2404309"/>
                    <a:gd name="connsiteX157" fmla="*/ 553299 w 2358991"/>
                    <a:gd name="connsiteY157" fmla="*/ 1004353 h 2404309"/>
                    <a:gd name="connsiteX158" fmla="*/ 551612 w 2358991"/>
                    <a:gd name="connsiteY158" fmla="*/ 1005558 h 2404309"/>
                    <a:gd name="connsiteX159" fmla="*/ 541652 w 2358991"/>
                    <a:gd name="connsiteY159" fmla="*/ 1003791 h 2404309"/>
                    <a:gd name="connsiteX160" fmla="*/ 528076 w 2358991"/>
                    <a:gd name="connsiteY160" fmla="*/ 1011422 h 2404309"/>
                    <a:gd name="connsiteX161" fmla="*/ 527755 w 2358991"/>
                    <a:gd name="connsiteY161" fmla="*/ 1009976 h 2404309"/>
                    <a:gd name="connsiteX162" fmla="*/ 526470 w 2358991"/>
                    <a:gd name="connsiteY162" fmla="*/ 1011502 h 2404309"/>
                    <a:gd name="connsiteX163" fmla="*/ 526309 w 2358991"/>
                    <a:gd name="connsiteY163" fmla="*/ 1009735 h 2404309"/>
                    <a:gd name="connsiteX164" fmla="*/ 524943 w 2358991"/>
                    <a:gd name="connsiteY164" fmla="*/ 1011823 h 2404309"/>
                    <a:gd name="connsiteX165" fmla="*/ 523979 w 2358991"/>
                    <a:gd name="connsiteY165" fmla="*/ 1010860 h 2404309"/>
                    <a:gd name="connsiteX166" fmla="*/ 523578 w 2358991"/>
                    <a:gd name="connsiteY166" fmla="*/ 1012948 h 2404309"/>
                    <a:gd name="connsiteX167" fmla="*/ 521007 w 2358991"/>
                    <a:gd name="connsiteY167" fmla="*/ 1012546 h 2404309"/>
                    <a:gd name="connsiteX168" fmla="*/ 521329 w 2358991"/>
                    <a:gd name="connsiteY168" fmla="*/ 1011422 h 2404309"/>
                    <a:gd name="connsiteX169" fmla="*/ 503897 w 2358991"/>
                    <a:gd name="connsiteY169" fmla="*/ 1031263 h 2404309"/>
                    <a:gd name="connsiteX170" fmla="*/ 506709 w 2358991"/>
                    <a:gd name="connsiteY170" fmla="*/ 1039456 h 2404309"/>
                    <a:gd name="connsiteX171" fmla="*/ 513617 w 2358991"/>
                    <a:gd name="connsiteY171" fmla="*/ 1041384 h 2404309"/>
                    <a:gd name="connsiteX172" fmla="*/ 514581 w 2358991"/>
                    <a:gd name="connsiteY172" fmla="*/ 1038814 h 2404309"/>
                    <a:gd name="connsiteX173" fmla="*/ 514581 w 2358991"/>
                    <a:gd name="connsiteY173" fmla="*/ 1038894 h 2404309"/>
                    <a:gd name="connsiteX174" fmla="*/ 510163 w 2358991"/>
                    <a:gd name="connsiteY174" fmla="*/ 1045240 h 2404309"/>
                    <a:gd name="connsiteX175" fmla="*/ 496989 w 2358991"/>
                    <a:gd name="connsiteY175" fmla="*/ 1042991 h 2404309"/>
                    <a:gd name="connsiteX176" fmla="*/ 495302 w 2358991"/>
                    <a:gd name="connsiteY176" fmla="*/ 1041063 h 2404309"/>
                    <a:gd name="connsiteX177" fmla="*/ 454094 w 2358991"/>
                    <a:gd name="connsiteY177" fmla="*/ 1052469 h 2404309"/>
                    <a:gd name="connsiteX178" fmla="*/ 455379 w 2358991"/>
                    <a:gd name="connsiteY178" fmla="*/ 1045079 h 2404309"/>
                    <a:gd name="connsiteX179" fmla="*/ 450801 w 2358991"/>
                    <a:gd name="connsiteY179" fmla="*/ 1066688 h 2404309"/>
                    <a:gd name="connsiteX180" fmla="*/ 451363 w 2358991"/>
                    <a:gd name="connsiteY180" fmla="*/ 1063635 h 2404309"/>
                    <a:gd name="connsiteX181" fmla="*/ 440438 w 2358991"/>
                    <a:gd name="connsiteY181" fmla="*/ 1074801 h 2404309"/>
                    <a:gd name="connsiteX182" fmla="*/ 432405 w 2358991"/>
                    <a:gd name="connsiteY182" fmla="*/ 1073275 h 2404309"/>
                    <a:gd name="connsiteX183" fmla="*/ 431763 w 2358991"/>
                    <a:gd name="connsiteY183" fmla="*/ 1065483 h 2404309"/>
                    <a:gd name="connsiteX184" fmla="*/ 433128 w 2358991"/>
                    <a:gd name="connsiteY184" fmla="*/ 1084520 h 2404309"/>
                    <a:gd name="connsiteX185" fmla="*/ 422043 w 2358991"/>
                    <a:gd name="connsiteY185" fmla="*/ 1096971 h 2404309"/>
                    <a:gd name="connsiteX186" fmla="*/ 420919 w 2358991"/>
                    <a:gd name="connsiteY186" fmla="*/ 1089501 h 2404309"/>
                    <a:gd name="connsiteX187" fmla="*/ 419794 w 2358991"/>
                    <a:gd name="connsiteY187" fmla="*/ 1084681 h 2404309"/>
                    <a:gd name="connsiteX188" fmla="*/ 419633 w 2358991"/>
                    <a:gd name="connsiteY188" fmla="*/ 1084038 h 2404309"/>
                    <a:gd name="connsiteX189" fmla="*/ 416179 w 2358991"/>
                    <a:gd name="connsiteY189" fmla="*/ 1077050 h 2404309"/>
                    <a:gd name="connsiteX190" fmla="*/ 415135 w 2358991"/>
                    <a:gd name="connsiteY190" fmla="*/ 1077853 h 2404309"/>
                    <a:gd name="connsiteX191" fmla="*/ 419071 w 2358991"/>
                    <a:gd name="connsiteY191" fmla="*/ 1072230 h 2404309"/>
                    <a:gd name="connsiteX192" fmla="*/ 417545 w 2358991"/>
                    <a:gd name="connsiteY192" fmla="*/ 1072953 h 2404309"/>
                    <a:gd name="connsiteX193" fmla="*/ 421401 w 2358991"/>
                    <a:gd name="connsiteY193" fmla="*/ 1068294 h 2404309"/>
                    <a:gd name="connsiteX194" fmla="*/ 423569 w 2358991"/>
                    <a:gd name="connsiteY194" fmla="*/ 1067170 h 2404309"/>
                    <a:gd name="connsiteX195" fmla="*/ 422124 w 2358991"/>
                    <a:gd name="connsiteY195" fmla="*/ 1067089 h 2404309"/>
                    <a:gd name="connsiteX196" fmla="*/ 422445 w 2358991"/>
                    <a:gd name="connsiteY196" fmla="*/ 1065884 h 2404309"/>
                    <a:gd name="connsiteX197" fmla="*/ 417946 w 2358991"/>
                    <a:gd name="connsiteY197" fmla="*/ 1067411 h 2404309"/>
                    <a:gd name="connsiteX198" fmla="*/ 417304 w 2358991"/>
                    <a:gd name="connsiteY198" fmla="*/ 1069097 h 2404309"/>
                    <a:gd name="connsiteX199" fmla="*/ 416581 w 2358991"/>
                    <a:gd name="connsiteY199" fmla="*/ 1067732 h 2404309"/>
                    <a:gd name="connsiteX200" fmla="*/ 414894 w 2358991"/>
                    <a:gd name="connsiteY200" fmla="*/ 1070142 h 2404309"/>
                    <a:gd name="connsiteX201" fmla="*/ 412805 w 2358991"/>
                    <a:gd name="connsiteY201" fmla="*/ 1069178 h 2404309"/>
                    <a:gd name="connsiteX202" fmla="*/ 412966 w 2358991"/>
                    <a:gd name="connsiteY202" fmla="*/ 1084761 h 2404309"/>
                    <a:gd name="connsiteX203" fmla="*/ 405817 w 2358991"/>
                    <a:gd name="connsiteY203" fmla="*/ 1087091 h 2404309"/>
                    <a:gd name="connsiteX204" fmla="*/ 412404 w 2358991"/>
                    <a:gd name="connsiteY204" fmla="*/ 1094802 h 2404309"/>
                    <a:gd name="connsiteX205" fmla="*/ 411761 w 2358991"/>
                    <a:gd name="connsiteY205" fmla="*/ 1096811 h 2404309"/>
                    <a:gd name="connsiteX206" fmla="*/ 422043 w 2358991"/>
                    <a:gd name="connsiteY206" fmla="*/ 1120909 h 2404309"/>
                    <a:gd name="connsiteX207" fmla="*/ 418348 w 2358991"/>
                    <a:gd name="connsiteY207" fmla="*/ 1113037 h 2404309"/>
                    <a:gd name="connsiteX208" fmla="*/ 413368 w 2358991"/>
                    <a:gd name="connsiteY208" fmla="*/ 1115045 h 2404309"/>
                    <a:gd name="connsiteX209" fmla="*/ 411601 w 2358991"/>
                    <a:gd name="connsiteY209" fmla="*/ 1114081 h 2404309"/>
                    <a:gd name="connsiteX210" fmla="*/ 412163 w 2358991"/>
                    <a:gd name="connsiteY210" fmla="*/ 1115206 h 2404309"/>
                    <a:gd name="connsiteX211" fmla="*/ 405094 w 2358991"/>
                    <a:gd name="connsiteY211" fmla="*/ 1113198 h 2404309"/>
                    <a:gd name="connsiteX212" fmla="*/ 416099 w 2358991"/>
                    <a:gd name="connsiteY212" fmla="*/ 1123078 h 2404309"/>
                    <a:gd name="connsiteX213" fmla="*/ 400355 w 2358991"/>
                    <a:gd name="connsiteY213" fmla="*/ 1121792 h 2404309"/>
                    <a:gd name="connsiteX214" fmla="*/ 405335 w 2358991"/>
                    <a:gd name="connsiteY214" fmla="*/ 1127416 h 2404309"/>
                    <a:gd name="connsiteX215" fmla="*/ 398186 w 2358991"/>
                    <a:gd name="connsiteY215" fmla="*/ 1126693 h 2404309"/>
                    <a:gd name="connsiteX216" fmla="*/ 404210 w 2358991"/>
                    <a:gd name="connsiteY216" fmla="*/ 1130950 h 2404309"/>
                    <a:gd name="connsiteX217" fmla="*/ 392643 w 2358991"/>
                    <a:gd name="connsiteY217" fmla="*/ 1134725 h 2404309"/>
                    <a:gd name="connsiteX218" fmla="*/ 363966 w 2358991"/>
                    <a:gd name="connsiteY218" fmla="*/ 1145650 h 2404309"/>
                    <a:gd name="connsiteX219" fmla="*/ 341153 w 2358991"/>
                    <a:gd name="connsiteY219" fmla="*/ 1156093 h 2404309"/>
                    <a:gd name="connsiteX220" fmla="*/ 339948 w 2358991"/>
                    <a:gd name="connsiteY220" fmla="*/ 1154406 h 2404309"/>
                    <a:gd name="connsiteX221" fmla="*/ 333361 w 2358991"/>
                    <a:gd name="connsiteY221" fmla="*/ 1165652 h 2404309"/>
                    <a:gd name="connsiteX222" fmla="*/ 338020 w 2358991"/>
                    <a:gd name="connsiteY222" fmla="*/ 1206940 h 2404309"/>
                    <a:gd name="connsiteX223" fmla="*/ 342840 w 2358991"/>
                    <a:gd name="connsiteY223" fmla="*/ 1243007 h 2404309"/>
                    <a:gd name="connsiteX224" fmla="*/ 342358 w 2358991"/>
                    <a:gd name="connsiteY224" fmla="*/ 1242365 h 2404309"/>
                    <a:gd name="connsiteX225" fmla="*/ 335369 w 2358991"/>
                    <a:gd name="connsiteY225" fmla="*/ 1247827 h 2404309"/>
                    <a:gd name="connsiteX226" fmla="*/ 309664 w 2358991"/>
                    <a:gd name="connsiteY226" fmla="*/ 1219471 h 2404309"/>
                    <a:gd name="connsiteX227" fmla="*/ 307977 w 2358991"/>
                    <a:gd name="connsiteY227" fmla="*/ 1208065 h 2404309"/>
                    <a:gd name="connsiteX228" fmla="*/ 273115 w 2358991"/>
                    <a:gd name="connsiteY228" fmla="*/ 1174729 h 2404309"/>
                    <a:gd name="connsiteX229" fmla="*/ 270464 w 2358991"/>
                    <a:gd name="connsiteY229" fmla="*/ 1168061 h 2404309"/>
                    <a:gd name="connsiteX230" fmla="*/ 252953 w 2358991"/>
                    <a:gd name="connsiteY230" fmla="*/ 1160350 h 2404309"/>
                    <a:gd name="connsiteX231" fmla="*/ 251828 w 2358991"/>
                    <a:gd name="connsiteY231" fmla="*/ 1159386 h 2404309"/>
                    <a:gd name="connsiteX232" fmla="*/ 248213 w 2358991"/>
                    <a:gd name="connsiteY232" fmla="*/ 1160350 h 2404309"/>
                    <a:gd name="connsiteX233" fmla="*/ 243876 w 2358991"/>
                    <a:gd name="connsiteY233" fmla="*/ 1160511 h 2404309"/>
                    <a:gd name="connsiteX234" fmla="*/ 238654 w 2358991"/>
                    <a:gd name="connsiteY234" fmla="*/ 1154727 h 2404309"/>
                    <a:gd name="connsiteX235" fmla="*/ 215841 w 2358991"/>
                    <a:gd name="connsiteY235" fmla="*/ 1153281 h 2404309"/>
                    <a:gd name="connsiteX236" fmla="*/ 224356 w 2358991"/>
                    <a:gd name="connsiteY236" fmla="*/ 1160832 h 2404309"/>
                    <a:gd name="connsiteX237" fmla="*/ 221786 w 2358991"/>
                    <a:gd name="connsiteY237" fmla="*/ 1161555 h 2404309"/>
                    <a:gd name="connsiteX238" fmla="*/ 225561 w 2358991"/>
                    <a:gd name="connsiteY238" fmla="*/ 1171997 h 2404309"/>
                    <a:gd name="connsiteX239" fmla="*/ 224677 w 2358991"/>
                    <a:gd name="connsiteY239" fmla="*/ 1170873 h 2404309"/>
                    <a:gd name="connsiteX240" fmla="*/ 222830 w 2358991"/>
                    <a:gd name="connsiteY240" fmla="*/ 1171676 h 2404309"/>
                    <a:gd name="connsiteX241" fmla="*/ 218733 w 2358991"/>
                    <a:gd name="connsiteY241" fmla="*/ 1164688 h 2404309"/>
                    <a:gd name="connsiteX242" fmla="*/ 203069 w 2358991"/>
                    <a:gd name="connsiteY242" fmla="*/ 1160430 h 2404309"/>
                    <a:gd name="connsiteX243" fmla="*/ 199294 w 2358991"/>
                    <a:gd name="connsiteY243" fmla="*/ 1153763 h 2404309"/>
                    <a:gd name="connsiteX244" fmla="*/ 169492 w 2358991"/>
                    <a:gd name="connsiteY244" fmla="*/ 1143562 h 2404309"/>
                    <a:gd name="connsiteX245" fmla="*/ 165235 w 2358991"/>
                    <a:gd name="connsiteY245" fmla="*/ 1142356 h 2404309"/>
                    <a:gd name="connsiteX246" fmla="*/ 149410 w 2358991"/>
                    <a:gd name="connsiteY246" fmla="*/ 1149666 h 2404309"/>
                    <a:gd name="connsiteX247" fmla="*/ 151740 w 2358991"/>
                    <a:gd name="connsiteY247" fmla="*/ 1148863 h 2404309"/>
                    <a:gd name="connsiteX248" fmla="*/ 145956 w 2358991"/>
                    <a:gd name="connsiteY248" fmla="*/ 1145088 h 2404309"/>
                    <a:gd name="connsiteX249" fmla="*/ 142422 w 2358991"/>
                    <a:gd name="connsiteY249" fmla="*/ 1149907 h 2404309"/>
                    <a:gd name="connsiteX250" fmla="*/ 141217 w 2358991"/>
                    <a:gd name="connsiteY250" fmla="*/ 1151112 h 2404309"/>
                    <a:gd name="connsiteX251" fmla="*/ 130051 w 2358991"/>
                    <a:gd name="connsiteY251" fmla="*/ 1231601 h 2404309"/>
                    <a:gd name="connsiteX252" fmla="*/ 127962 w 2358991"/>
                    <a:gd name="connsiteY252" fmla="*/ 1224693 h 2404309"/>
                    <a:gd name="connsiteX253" fmla="*/ 144108 w 2358991"/>
                    <a:gd name="connsiteY253" fmla="*/ 1271845 h 2404309"/>
                    <a:gd name="connsiteX254" fmla="*/ 142662 w 2358991"/>
                    <a:gd name="connsiteY254" fmla="*/ 1270560 h 2404309"/>
                    <a:gd name="connsiteX255" fmla="*/ 144751 w 2358991"/>
                    <a:gd name="connsiteY255" fmla="*/ 1272568 h 2404309"/>
                    <a:gd name="connsiteX256" fmla="*/ 185959 w 2358991"/>
                    <a:gd name="connsiteY256" fmla="*/ 1292570 h 2404309"/>
                    <a:gd name="connsiteX257" fmla="*/ 189895 w 2358991"/>
                    <a:gd name="connsiteY257" fmla="*/ 1290160 h 2404309"/>
                    <a:gd name="connsiteX258" fmla="*/ 242269 w 2358991"/>
                    <a:gd name="connsiteY258" fmla="*/ 1279476 h 2404309"/>
                    <a:gd name="connsiteX259" fmla="*/ 237289 w 2358991"/>
                    <a:gd name="connsiteY259" fmla="*/ 1304539 h 2404309"/>
                    <a:gd name="connsiteX260" fmla="*/ 229658 w 2358991"/>
                    <a:gd name="connsiteY260" fmla="*/ 1304539 h 2404309"/>
                    <a:gd name="connsiteX261" fmla="*/ 223472 w 2358991"/>
                    <a:gd name="connsiteY261" fmla="*/ 1336670 h 2404309"/>
                    <a:gd name="connsiteX262" fmla="*/ 258013 w 2358991"/>
                    <a:gd name="connsiteY262" fmla="*/ 1346229 h 2404309"/>
                    <a:gd name="connsiteX263" fmla="*/ 257291 w 2358991"/>
                    <a:gd name="connsiteY263" fmla="*/ 1345104 h 2404309"/>
                    <a:gd name="connsiteX264" fmla="*/ 277212 w 2358991"/>
                    <a:gd name="connsiteY264" fmla="*/ 1352093 h 2404309"/>
                    <a:gd name="connsiteX265" fmla="*/ 290466 w 2358991"/>
                    <a:gd name="connsiteY265" fmla="*/ 1362776 h 2404309"/>
                    <a:gd name="connsiteX266" fmla="*/ 289181 w 2358991"/>
                    <a:gd name="connsiteY266" fmla="*/ 1361009 h 2404309"/>
                    <a:gd name="connsiteX267" fmla="*/ 295045 w 2358991"/>
                    <a:gd name="connsiteY267" fmla="*/ 1365347 h 2404309"/>
                    <a:gd name="connsiteX268" fmla="*/ 294643 w 2358991"/>
                    <a:gd name="connsiteY268" fmla="*/ 1368962 h 2404309"/>
                    <a:gd name="connsiteX269" fmla="*/ 289181 w 2358991"/>
                    <a:gd name="connsiteY269" fmla="*/ 1399808 h 2404309"/>
                    <a:gd name="connsiteX270" fmla="*/ 320187 w 2358991"/>
                    <a:gd name="connsiteY270" fmla="*/ 1442542 h 2404309"/>
                    <a:gd name="connsiteX271" fmla="*/ 318340 w 2358991"/>
                    <a:gd name="connsiteY271" fmla="*/ 1440052 h 2404309"/>
                    <a:gd name="connsiteX272" fmla="*/ 350873 w 2358991"/>
                    <a:gd name="connsiteY272" fmla="*/ 1452985 h 2404309"/>
                    <a:gd name="connsiteX273" fmla="*/ 340028 w 2358991"/>
                    <a:gd name="connsiteY273" fmla="*/ 1463909 h 2404309"/>
                    <a:gd name="connsiteX274" fmla="*/ 283317 w 2358991"/>
                    <a:gd name="connsiteY274" fmla="*/ 1427762 h 2404309"/>
                    <a:gd name="connsiteX275" fmla="*/ 225400 w 2358991"/>
                    <a:gd name="connsiteY275" fmla="*/ 1368078 h 2404309"/>
                    <a:gd name="connsiteX276" fmla="*/ 225641 w 2358991"/>
                    <a:gd name="connsiteY276" fmla="*/ 1369203 h 2404309"/>
                    <a:gd name="connsiteX277" fmla="*/ 155595 w 2358991"/>
                    <a:gd name="connsiteY277" fmla="*/ 1306949 h 2404309"/>
                    <a:gd name="connsiteX278" fmla="*/ 153507 w 2358991"/>
                    <a:gd name="connsiteY278" fmla="*/ 1306306 h 2404309"/>
                    <a:gd name="connsiteX279" fmla="*/ 70367 w 2358991"/>
                    <a:gd name="connsiteY279" fmla="*/ 1215134 h 2404309"/>
                    <a:gd name="connsiteX280" fmla="*/ 40244 w 2358991"/>
                    <a:gd name="connsiteY280" fmla="*/ 1014474 h 2404309"/>
                    <a:gd name="connsiteX281" fmla="*/ 42654 w 2358991"/>
                    <a:gd name="connsiteY281" fmla="*/ 1149907 h 2404309"/>
                    <a:gd name="connsiteX282" fmla="*/ 43538 w 2358991"/>
                    <a:gd name="connsiteY282" fmla="*/ 881612 h 2404309"/>
                    <a:gd name="connsiteX283" fmla="*/ 43377 w 2358991"/>
                    <a:gd name="connsiteY283" fmla="*/ 881371 h 2404309"/>
                    <a:gd name="connsiteX284" fmla="*/ 44020 w 2358991"/>
                    <a:gd name="connsiteY284" fmla="*/ 880166 h 2404309"/>
                    <a:gd name="connsiteX285" fmla="*/ 54221 w 2358991"/>
                    <a:gd name="connsiteY285" fmla="*/ 837190 h 2404309"/>
                    <a:gd name="connsiteX286" fmla="*/ 54221 w 2358991"/>
                    <a:gd name="connsiteY286" fmla="*/ 837110 h 2404309"/>
                    <a:gd name="connsiteX287" fmla="*/ 54382 w 2358991"/>
                    <a:gd name="connsiteY287" fmla="*/ 836628 h 2404309"/>
                    <a:gd name="connsiteX288" fmla="*/ 54221 w 2358991"/>
                    <a:gd name="connsiteY288" fmla="*/ 837431 h 2404309"/>
                    <a:gd name="connsiteX289" fmla="*/ 54543 w 2358991"/>
                    <a:gd name="connsiteY289" fmla="*/ 836548 h 2404309"/>
                    <a:gd name="connsiteX290" fmla="*/ 54543 w 2358991"/>
                    <a:gd name="connsiteY290" fmla="*/ 836227 h 2404309"/>
                    <a:gd name="connsiteX291" fmla="*/ 67154 w 2358991"/>
                    <a:gd name="connsiteY291" fmla="*/ 799436 h 2404309"/>
                    <a:gd name="connsiteX292" fmla="*/ 85630 w 2358991"/>
                    <a:gd name="connsiteY292" fmla="*/ 753730 h 2404309"/>
                    <a:gd name="connsiteX293" fmla="*/ 98643 w 2358991"/>
                    <a:gd name="connsiteY293" fmla="*/ 693484 h 2404309"/>
                    <a:gd name="connsiteX294" fmla="*/ 72376 w 2358991"/>
                    <a:gd name="connsiteY294" fmla="*/ 760236 h 2404309"/>
                    <a:gd name="connsiteX295" fmla="*/ 19359 w 2358991"/>
                    <a:gd name="connsiteY295" fmla="*/ 957682 h 2404309"/>
                    <a:gd name="connsiteX296" fmla="*/ 0 w 2358991"/>
                    <a:gd name="connsiteY296" fmla="*/ 1163242 h 2404309"/>
                    <a:gd name="connsiteX297" fmla="*/ 16066 w 2358991"/>
                    <a:gd name="connsiteY297" fmla="*/ 1373701 h 2404309"/>
                    <a:gd name="connsiteX298" fmla="*/ 59282 w 2358991"/>
                    <a:gd name="connsiteY298" fmla="*/ 1553475 h 2404309"/>
                    <a:gd name="connsiteX299" fmla="*/ 138967 w 2358991"/>
                    <a:gd name="connsiteY299" fmla="*/ 1744335 h 2404309"/>
                    <a:gd name="connsiteX300" fmla="*/ 248213 w 2358991"/>
                    <a:gd name="connsiteY300" fmla="*/ 1917040 h 2404309"/>
                    <a:gd name="connsiteX301" fmla="*/ 309504 w 2358991"/>
                    <a:gd name="connsiteY301" fmla="*/ 1991664 h 2404309"/>
                    <a:gd name="connsiteX302" fmla="*/ 538278 w 2358991"/>
                    <a:gd name="connsiteY302" fmla="*/ 2099063 h 2404309"/>
                    <a:gd name="connsiteX303" fmla="*/ 654432 w 2358991"/>
                    <a:gd name="connsiteY303" fmla="*/ 2119145 h 2404309"/>
                    <a:gd name="connsiteX304" fmla="*/ 654994 w 2358991"/>
                    <a:gd name="connsiteY304" fmla="*/ 2114486 h 2404309"/>
                    <a:gd name="connsiteX305" fmla="*/ 632663 w 2358991"/>
                    <a:gd name="connsiteY305" fmla="*/ 2093038 h 2404309"/>
                    <a:gd name="connsiteX306" fmla="*/ 648568 w 2358991"/>
                    <a:gd name="connsiteY306" fmla="*/ 2095368 h 2404309"/>
                    <a:gd name="connsiteX307" fmla="*/ 615312 w 2358991"/>
                    <a:gd name="connsiteY307" fmla="*/ 2074402 h 2404309"/>
                    <a:gd name="connsiteX308" fmla="*/ 608324 w 2358991"/>
                    <a:gd name="connsiteY308" fmla="*/ 2076170 h 2404309"/>
                    <a:gd name="connsiteX309" fmla="*/ 619650 w 2358991"/>
                    <a:gd name="connsiteY309" fmla="*/ 2066369 h 2404309"/>
                    <a:gd name="connsiteX310" fmla="*/ 626237 w 2358991"/>
                    <a:gd name="connsiteY310" fmla="*/ 2070065 h 2404309"/>
                    <a:gd name="connsiteX311" fmla="*/ 634029 w 2358991"/>
                    <a:gd name="connsiteY311" fmla="*/ 2066289 h 2404309"/>
                    <a:gd name="connsiteX312" fmla="*/ 624148 w 2358991"/>
                    <a:gd name="connsiteY312" fmla="*/ 2029901 h 2404309"/>
                    <a:gd name="connsiteX313" fmla="*/ 618686 w 2358991"/>
                    <a:gd name="connsiteY313" fmla="*/ 2024037 h 2404309"/>
                    <a:gd name="connsiteX314" fmla="*/ 603504 w 2358991"/>
                    <a:gd name="connsiteY314" fmla="*/ 2022269 h 2404309"/>
                    <a:gd name="connsiteX315" fmla="*/ 571855 w 2358991"/>
                    <a:gd name="connsiteY315" fmla="*/ 1822012 h 2404309"/>
                    <a:gd name="connsiteX316" fmla="*/ 445097 w 2358991"/>
                    <a:gd name="connsiteY316" fmla="*/ 1715657 h 2404309"/>
                    <a:gd name="connsiteX317" fmla="*/ 362922 w 2358991"/>
                    <a:gd name="connsiteY317" fmla="*/ 1579983 h 2404309"/>
                    <a:gd name="connsiteX318" fmla="*/ 347659 w 2358991"/>
                    <a:gd name="connsiteY318" fmla="*/ 1569460 h 2404309"/>
                    <a:gd name="connsiteX319" fmla="*/ 349828 w 2358991"/>
                    <a:gd name="connsiteY319" fmla="*/ 1559901 h 2404309"/>
                    <a:gd name="connsiteX320" fmla="*/ 354728 w 2358991"/>
                    <a:gd name="connsiteY320" fmla="*/ 1557090 h 2404309"/>
                    <a:gd name="connsiteX321" fmla="*/ 397864 w 2358991"/>
                    <a:gd name="connsiteY321" fmla="*/ 1513874 h 2404309"/>
                    <a:gd name="connsiteX322" fmla="*/ 393286 w 2358991"/>
                    <a:gd name="connsiteY322" fmla="*/ 1512749 h 2404309"/>
                    <a:gd name="connsiteX323" fmla="*/ 390394 w 2358991"/>
                    <a:gd name="connsiteY323" fmla="*/ 1509295 h 2404309"/>
                    <a:gd name="connsiteX324" fmla="*/ 392804 w 2358991"/>
                    <a:gd name="connsiteY324" fmla="*/ 1502306 h 2404309"/>
                    <a:gd name="connsiteX325" fmla="*/ 374891 w 2358991"/>
                    <a:gd name="connsiteY325" fmla="*/ 1465516 h 2404309"/>
                    <a:gd name="connsiteX326" fmla="*/ 412966 w 2358991"/>
                    <a:gd name="connsiteY326" fmla="*/ 1444952 h 2404309"/>
                    <a:gd name="connsiteX327" fmla="*/ 479076 w 2358991"/>
                    <a:gd name="connsiteY327" fmla="*/ 1439249 h 2404309"/>
                    <a:gd name="connsiteX328" fmla="*/ 477791 w 2358991"/>
                    <a:gd name="connsiteY328" fmla="*/ 1442863 h 2404309"/>
                    <a:gd name="connsiteX329" fmla="*/ 481245 w 2358991"/>
                    <a:gd name="connsiteY329" fmla="*/ 1459733 h 2404309"/>
                    <a:gd name="connsiteX330" fmla="*/ 482209 w 2358991"/>
                    <a:gd name="connsiteY330" fmla="*/ 1443587 h 2404309"/>
                    <a:gd name="connsiteX331" fmla="*/ 652022 w 2358991"/>
                    <a:gd name="connsiteY331" fmla="*/ 1456359 h 2404309"/>
                    <a:gd name="connsiteX332" fmla="*/ 634270 w 2358991"/>
                    <a:gd name="connsiteY332" fmla="*/ 1458367 h 2404309"/>
                    <a:gd name="connsiteX333" fmla="*/ 647925 w 2358991"/>
                    <a:gd name="connsiteY333" fmla="*/ 1466962 h 2404309"/>
                    <a:gd name="connsiteX334" fmla="*/ 647604 w 2358991"/>
                    <a:gd name="connsiteY334" fmla="*/ 1465114 h 2404309"/>
                    <a:gd name="connsiteX335" fmla="*/ 654352 w 2358991"/>
                    <a:gd name="connsiteY335" fmla="*/ 1467926 h 2404309"/>
                    <a:gd name="connsiteX336" fmla="*/ 655075 w 2358991"/>
                    <a:gd name="connsiteY336" fmla="*/ 1467203 h 2404309"/>
                    <a:gd name="connsiteX337" fmla="*/ 669935 w 2358991"/>
                    <a:gd name="connsiteY337" fmla="*/ 1472746 h 2404309"/>
                    <a:gd name="connsiteX338" fmla="*/ 664312 w 2358991"/>
                    <a:gd name="connsiteY338" fmla="*/ 1479895 h 2404309"/>
                    <a:gd name="connsiteX339" fmla="*/ 694516 w 2358991"/>
                    <a:gd name="connsiteY339" fmla="*/ 1485036 h 2404309"/>
                    <a:gd name="connsiteX340" fmla="*/ 694435 w 2358991"/>
                    <a:gd name="connsiteY340" fmla="*/ 1484554 h 2404309"/>
                    <a:gd name="connsiteX341" fmla="*/ 717248 w 2358991"/>
                    <a:gd name="connsiteY341" fmla="*/ 1507769 h 2404309"/>
                    <a:gd name="connsiteX342" fmla="*/ 746729 w 2358991"/>
                    <a:gd name="connsiteY342" fmla="*/ 1517649 h 2404309"/>
                    <a:gd name="connsiteX343" fmla="*/ 806573 w 2358991"/>
                    <a:gd name="connsiteY343" fmla="*/ 1517810 h 2404309"/>
                    <a:gd name="connsiteX344" fmla="*/ 830109 w 2358991"/>
                    <a:gd name="connsiteY344" fmla="*/ 1517810 h 2404309"/>
                    <a:gd name="connsiteX345" fmla="*/ 2131181 w 2358991"/>
                    <a:gd name="connsiteY345" fmla="*/ 548251 h 2404309"/>
                    <a:gd name="connsiteX346" fmla="*/ 2127245 w 2358991"/>
                    <a:gd name="connsiteY346" fmla="*/ 552106 h 2404309"/>
                    <a:gd name="connsiteX347" fmla="*/ 2127326 w 2358991"/>
                    <a:gd name="connsiteY347" fmla="*/ 549295 h 2404309"/>
                    <a:gd name="connsiteX348" fmla="*/ 2126924 w 2358991"/>
                    <a:gd name="connsiteY348" fmla="*/ 550098 h 2404309"/>
                    <a:gd name="connsiteX349" fmla="*/ 2122506 w 2358991"/>
                    <a:gd name="connsiteY349" fmla="*/ 563192 h 2404309"/>
                    <a:gd name="connsiteX350" fmla="*/ 2130780 w 2358991"/>
                    <a:gd name="connsiteY350" fmla="*/ 553874 h 2404309"/>
                    <a:gd name="connsiteX351" fmla="*/ 2131181 w 2358991"/>
                    <a:gd name="connsiteY351" fmla="*/ 548251 h 2404309"/>
                    <a:gd name="connsiteX352" fmla="*/ 858867 w 2358991"/>
                    <a:gd name="connsiteY352" fmla="*/ 568815 h 2404309"/>
                    <a:gd name="connsiteX353" fmla="*/ 859509 w 2358991"/>
                    <a:gd name="connsiteY353" fmla="*/ 568252 h 2404309"/>
                    <a:gd name="connsiteX354" fmla="*/ 858626 w 2358991"/>
                    <a:gd name="connsiteY354" fmla="*/ 568815 h 2404309"/>
                    <a:gd name="connsiteX355" fmla="*/ 836857 w 2358991"/>
                    <a:gd name="connsiteY355" fmla="*/ 581105 h 2404309"/>
                    <a:gd name="connsiteX356" fmla="*/ 836134 w 2358991"/>
                    <a:gd name="connsiteY356" fmla="*/ 585443 h 2404309"/>
                    <a:gd name="connsiteX357" fmla="*/ 858867 w 2358991"/>
                    <a:gd name="connsiteY357" fmla="*/ 568815 h 2404309"/>
                    <a:gd name="connsiteX358" fmla="*/ 844488 w 2358991"/>
                    <a:gd name="connsiteY358" fmla="*/ 569297 h 2404309"/>
                    <a:gd name="connsiteX359" fmla="*/ 844970 w 2358991"/>
                    <a:gd name="connsiteY359" fmla="*/ 568895 h 2404309"/>
                    <a:gd name="connsiteX360" fmla="*/ 840070 w 2358991"/>
                    <a:gd name="connsiteY360" fmla="*/ 561826 h 2404309"/>
                    <a:gd name="connsiteX361" fmla="*/ 837901 w 2358991"/>
                    <a:gd name="connsiteY361" fmla="*/ 574839 h 2404309"/>
                    <a:gd name="connsiteX362" fmla="*/ 844488 w 2358991"/>
                    <a:gd name="connsiteY362" fmla="*/ 569297 h 2404309"/>
                    <a:gd name="connsiteX363" fmla="*/ 866418 w 2358991"/>
                    <a:gd name="connsiteY363" fmla="*/ 545359 h 2404309"/>
                    <a:gd name="connsiteX364" fmla="*/ 867060 w 2358991"/>
                    <a:gd name="connsiteY364" fmla="*/ 545279 h 2404309"/>
                    <a:gd name="connsiteX365" fmla="*/ 856216 w 2358991"/>
                    <a:gd name="connsiteY365" fmla="*/ 544957 h 2404309"/>
                    <a:gd name="connsiteX366" fmla="*/ 842480 w 2358991"/>
                    <a:gd name="connsiteY366" fmla="*/ 547528 h 2404309"/>
                    <a:gd name="connsiteX367" fmla="*/ 841757 w 2358991"/>
                    <a:gd name="connsiteY367" fmla="*/ 551785 h 2404309"/>
                    <a:gd name="connsiteX368" fmla="*/ 866418 w 2358991"/>
                    <a:gd name="connsiteY368" fmla="*/ 545359 h 2404309"/>
                    <a:gd name="connsiteX369" fmla="*/ 861357 w 2358991"/>
                    <a:gd name="connsiteY369" fmla="*/ 533792 h 2404309"/>
                    <a:gd name="connsiteX370" fmla="*/ 853485 w 2358991"/>
                    <a:gd name="connsiteY370" fmla="*/ 531382 h 2404309"/>
                    <a:gd name="connsiteX371" fmla="*/ 845131 w 2358991"/>
                    <a:gd name="connsiteY371" fmla="*/ 532265 h 2404309"/>
                    <a:gd name="connsiteX372" fmla="*/ 842560 w 2358991"/>
                    <a:gd name="connsiteY372" fmla="*/ 546724 h 2404309"/>
                    <a:gd name="connsiteX373" fmla="*/ 861357 w 2358991"/>
                    <a:gd name="connsiteY373" fmla="*/ 533792 h 2404309"/>
                    <a:gd name="connsiteX374" fmla="*/ 877101 w 2358991"/>
                    <a:gd name="connsiteY374" fmla="*/ 509693 h 2404309"/>
                    <a:gd name="connsiteX375" fmla="*/ 870514 w 2358991"/>
                    <a:gd name="connsiteY375" fmla="*/ 508006 h 2404309"/>
                    <a:gd name="connsiteX376" fmla="*/ 869309 w 2358991"/>
                    <a:gd name="connsiteY376" fmla="*/ 493146 h 2404309"/>
                    <a:gd name="connsiteX377" fmla="*/ 856698 w 2358991"/>
                    <a:gd name="connsiteY377" fmla="*/ 473706 h 2404309"/>
                    <a:gd name="connsiteX378" fmla="*/ 853003 w 2358991"/>
                    <a:gd name="connsiteY378" fmla="*/ 491780 h 2404309"/>
                    <a:gd name="connsiteX379" fmla="*/ 851959 w 2358991"/>
                    <a:gd name="connsiteY379" fmla="*/ 497082 h 2404309"/>
                    <a:gd name="connsiteX380" fmla="*/ 845854 w 2358991"/>
                    <a:gd name="connsiteY380" fmla="*/ 529213 h 2404309"/>
                    <a:gd name="connsiteX381" fmla="*/ 865936 w 2358991"/>
                    <a:gd name="connsiteY381" fmla="*/ 520296 h 2404309"/>
                    <a:gd name="connsiteX382" fmla="*/ 867462 w 2358991"/>
                    <a:gd name="connsiteY382" fmla="*/ 519814 h 2404309"/>
                    <a:gd name="connsiteX383" fmla="*/ 877101 w 2358991"/>
                    <a:gd name="connsiteY383" fmla="*/ 509693 h 2404309"/>
                    <a:gd name="connsiteX384" fmla="*/ 875173 w 2358991"/>
                    <a:gd name="connsiteY384" fmla="*/ 463424 h 2404309"/>
                    <a:gd name="connsiteX385" fmla="*/ 871960 w 2358991"/>
                    <a:gd name="connsiteY385" fmla="*/ 458765 h 2404309"/>
                    <a:gd name="connsiteX386" fmla="*/ 875575 w 2358991"/>
                    <a:gd name="connsiteY386" fmla="*/ 439647 h 2404309"/>
                    <a:gd name="connsiteX387" fmla="*/ 874691 w 2358991"/>
                    <a:gd name="connsiteY387" fmla="*/ 439968 h 2404309"/>
                    <a:gd name="connsiteX388" fmla="*/ 863124 w 2358991"/>
                    <a:gd name="connsiteY388" fmla="*/ 443664 h 2404309"/>
                    <a:gd name="connsiteX389" fmla="*/ 857100 w 2358991"/>
                    <a:gd name="connsiteY389" fmla="*/ 471136 h 2404309"/>
                    <a:gd name="connsiteX390" fmla="*/ 857100 w 2358991"/>
                    <a:gd name="connsiteY390" fmla="*/ 471136 h 2404309"/>
                    <a:gd name="connsiteX391" fmla="*/ 857100 w 2358991"/>
                    <a:gd name="connsiteY391" fmla="*/ 471136 h 2404309"/>
                    <a:gd name="connsiteX392" fmla="*/ 857100 w 2358991"/>
                    <a:gd name="connsiteY392" fmla="*/ 471136 h 2404309"/>
                    <a:gd name="connsiteX393" fmla="*/ 857100 w 2358991"/>
                    <a:gd name="connsiteY393" fmla="*/ 471136 h 2404309"/>
                    <a:gd name="connsiteX394" fmla="*/ 857100 w 2358991"/>
                    <a:gd name="connsiteY394" fmla="*/ 471136 h 2404309"/>
                    <a:gd name="connsiteX395" fmla="*/ 857100 w 2358991"/>
                    <a:gd name="connsiteY395" fmla="*/ 471136 h 2404309"/>
                    <a:gd name="connsiteX396" fmla="*/ 857100 w 2358991"/>
                    <a:gd name="connsiteY396" fmla="*/ 471136 h 2404309"/>
                    <a:gd name="connsiteX397" fmla="*/ 857100 w 2358991"/>
                    <a:gd name="connsiteY397" fmla="*/ 471136 h 2404309"/>
                    <a:gd name="connsiteX398" fmla="*/ 875173 w 2358991"/>
                    <a:gd name="connsiteY398" fmla="*/ 463424 h 2404309"/>
                    <a:gd name="connsiteX399" fmla="*/ 1502695 w 2358991"/>
                    <a:gd name="connsiteY399" fmla="*/ 731238 h 2404309"/>
                    <a:gd name="connsiteX400" fmla="*/ 1502454 w 2358991"/>
                    <a:gd name="connsiteY400" fmla="*/ 731318 h 2404309"/>
                    <a:gd name="connsiteX401" fmla="*/ 1502213 w 2358991"/>
                    <a:gd name="connsiteY401" fmla="*/ 731398 h 2404309"/>
                    <a:gd name="connsiteX402" fmla="*/ 1501973 w 2358991"/>
                    <a:gd name="connsiteY402" fmla="*/ 731479 h 2404309"/>
                    <a:gd name="connsiteX403" fmla="*/ 1501732 w 2358991"/>
                    <a:gd name="connsiteY403" fmla="*/ 731559 h 2404309"/>
                    <a:gd name="connsiteX404" fmla="*/ 1501491 w 2358991"/>
                    <a:gd name="connsiteY404" fmla="*/ 731640 h 2404309"/>
                    <a:gd name="connsiteX405" fmla="*/ 1501250 w 2358991"/>
                    <a:gd name="connsiteY405" fmla="*/ 731720 h 2404309"/>
                    <a:gd name="connsiteX406" fmla="*/ 1501009 w 2358991"/>
                    <a:gd name="connsiteY406" fmla="*/ 731800 h 2404309"/>
                    <a:gd name="connsiteX407" fmla="*/ 1502615 w 2358991"/>
                    <a:gd name="connsiteY407" fmla="*/ 730756 h 2404309"/>
                    <a:gd name="connsiteX408" fmla="*/ 1502936 w 2358991"/>
                    <a:gd name="connsiteY408" fmla="*/ 731238 h 2404309"/>
                    <a:gd name="connsiteX409" fmla="*/ 1502695 w 2358991"/>
                    <a:gd name="connsiteY409" fmla="*/ 731238 h 2404309"/>
                    <a:gd name="connsiteX410" fmla="*/ 1569287 w 2358991"/>
                    <a:gd name="connsiteY410" fmla="*/ 705533 h 2404309"/>
                    <a:gd name="connsiteX411" fmla="*/ 1565673 w 2358991"/>
                    <a:gd name="connsiteY411" fmla="*/ 704649 h 2404309"/>
                    <a:gd name="connsiteX412" fmla="*/ 1568805 w 2358991"/>
                    <a:gd name="connsiteY412" fmla="*/ 707139 h 2404309"/>
                    <a:gd name="connsiteX413" fmla="*/ 1560853 w 2358991"/>
                    <a:gd name="connsiteY413" fmla="*/ 715172 h 2404309"/>
                    <a:gd name="connsiteX414" fmla="*/ 1569850 w 2358991"/>
                    <a:gd name="connsiteY414" fmla="*/ 745697 h 2404309"/>
                    <a:gd name="connsiteX415" fmla="*/ 1572581 w 2358991"/>
                    <a:gd name="connsiteY415" fmla="*/ 746661 h 2404309"/>
                    <a:gd name="connsiteX416" fmla="*/ 1564468 w 2358991"/>
                    <a:gd name="connsiteY416" fmla="*/ 750838 h 2404309"/>
                    <a:gd name="connsiteX417" fmla="*/ 1562540 w 2358991"/>
                    <a:gd name="connsiteY417" fmla="*/ 749713 h 2404309"/>
                    <a:gd name="connsiteX418" fmla="*/ 1542538 w 2358991"/>
                    <a:gd name="connsiteY418" fmla="*/ 762486 h 2404309"/>
                    <a:gd name="connsiteX419" fmla="*/ 1522536 w 2358991"/>
                    <a:gd name="connsiteY419" fmla="*/ 775740 h 2404309"/>
                    <a:gd name="connsiteX420" fmla="*/ 1526232 w 2358991"/>
                    <a:gd name="connsiteY420" fmla="*/ 771080 h 2404309"/>
                    <a:gd name="connsiteX421" fmla="*/ 1517235 w 2358991"/>
                    <a:gd name="connsiteY421" fmla="*/ 775097 h 2404309"/>
                    <a:gd name="connsiteX422" fmla="*/ 1523741 w 2358991"/>
                    <a:gd name="connsiteY422" fmla="*/ 768189 h 2404309"/>
                    <a:gd name="connsiteX423" fmla="*/ 1512495 w 2358991"/>
                    <a:gd name="connsiteY423" fmla="*/ 772848 h 2404309"/>
                    <a:gd name="connsiteX424" fmla="*/ 1517395 w 2358991"/>
                    <a:gd name="connsiteY424" fmla="*/ 765458 h 2404309"/>
                    <a:gd name="connsiteX425" fmla="*/ 1509684 w 2358991"/>
                    <a:gd name="connsiteY425" fmla="*/ 767466 h 2404309"/>
                    <a:gd name="connsiteX426" fmla="*/ 1518681 w 2358991"/>
                    <a:gd name="connsiteY426" fmla="*/ 762726 h 2404309"/>
                    <a:gd name="connsiteX427" fmla="*/ 1515548 w 2358991"/>
                    <a:gd name="connsiteY427" fmla="*/ 760798 h 2404309"/>
                    <a:gd name="connsiteX428" fmla="*/ 1531373 w 2358991"/>
                    <a:gd name="connsiteY428" fmla="*/ 750998 h 2404309"/>
                    <a:gd name="connsiteX429" fmla="*/ 1527677 w 2358991"/>
                    <a:gd name="connsiteY429" fmla="*/ 750677 h 2404309"/>
                    <a:gd name="connsiteX430" fmla="*/ 1514343 w 2358991"/>
                    <a:gd name="connsiteY430" fmla="*/ 757987 h 2404309"/>
                    <a:gd name="connsiteX431" fmla="*/ 1519002 w 2358991"/>
                    <a:gd name="connsiteY431" fmla="*/ 749553 h 2404309"/>
                    <a:gd name="connsiteX432" fmla="*/ 1525509 w 2358991"/>
                    <a:gd name="connsiteY432" fmla="*/ 742805 h 2404309"/>
                    <a:gd name="connsiteX433" fmla="*/ 1509845 w 2358991"/>
                    <a:gd name="connsiteY433" fmla="*/ 744733 h 2404309"/>
                    <a:gd name="connsiteX434" fmla="*/ 1510809 w 2358991"/>
                    <a:gd name="connsiteY434" fmla="*/ 743528 h 2404309"/>
                    <a:gd name="connsiteX435" fmla="*/ 1505587 w 2358991"/>
                    <a:gd name="connsiteY435" fmla="*/ 742966 h 2404309"/>
                    <a:gd name="connsiteX436" fmla="*/ 1510648 w 2358991"/>
                    <a:gd name="connsiteY436" fmla="*/ 739512 h 2404309"/>
                    <a:gd name="connsiteX437" fmla="*/ 1507274 w 2358991"/>
                    <a:gd name="connsiteY437" fmla="*/ 738708 h 2404309"/>
                    <a:gd name="connsiteX438" fmla="*/ 1511451 w 2358991"/>
                    <a:gd name="connsiteY438" fmla="*/ 735415 h 2404309"/>
                    <a:gd name="connsiteX439" fmla="*/ 1510969 w 2358991"/>
                    <a:gd name="connsiteY439" fmla="*/ 734130 h 2404309"/>
                    <a:gd name="connsiteX440" fmla="*/ 1505828 w 2358991"/>
                    <a:gd name="connsiteY440" fmla="*/ 735897 h 2404309"/>
                    <a:gd name="connsiteX441" fmla="*/ 1505186 w 2358991"/>
                    <a:gd name="connsiteY441" fmla="*/ 731640 h 2404309"/>
                    <a:gd name="connsiteX442" fmla="*/ 1504061 w 2358991"/>
                    <a:gd name="connsiteY442" fmla="*/ 732363 h 2404309"/>
                    <a:gd name="connsiteX443" fmla="*/ 1502936 w 2358991"/>
                    <a:gd name="connsiteY443" fmla="*/ 731077 h 2404309"/>
                    <a:gd name="connsiteX444" fmla="*/ 1527758 w 2358991"/>
                    <a:gd name="connsiteY444" fmla="*/ 714449 h 2404309"/>
                    <a:gd name="connsiteX445" fmla="*/ 1517797 w 2358991"/>
                    <a:gd name="connsiteY445" fmla="*/ 716618 h 2404309"/>
                    <a:gd name="connsiteX446" fmla="*/ 1529525 w 2358991"/>
                    <a:gd name="connsiteY446" fmla="*/ 703203 h 2404309"/>
                    <a:gd name="connsiteX447" fmla="*/ 1528722 w 2358991"/>
                    <a:gd name="connsiteY447" fmla="*/ 702159 h 2404309"/>
                    <a:gd name="connsiteX448" fmla="*/ 1532176 w 2358991"/>
                    <a:gd name="connsiteY448" fmla="*/ 704890 h 2404309"/>
                    <a:gd name="connsiteX449" fmla="*/ 1532417 w 2358991"/>
                    <a:gd name="connsiteY449" fmla="*/ 706497 h 2404309"/>
                    <a:gd name="connsiteX450" fmla="*/ 1535309 w 2358991"/>
                    <a:gd name="connsiteY450" fmla="*/ 699107 h 2404309"/>
                    <a:gd name="connsiteX451" fmla="*/ 1533943 w 2358991"/>
                    <a:gd name="connsiteY451" fmla="*/ 698303 h 2404309"/>
                    <a:gd name="connsiteX452" fmla="*/ 1540932 w 2358991"/>
                    <a:gd name="connsiteY452" fmla="*/ 698625 h 2404309"/>
                    <a:gd name="connsiteX453" fmla="*/ 1540932 w 2358991"/>
                    <a:gd name="connsiteY453" fmla="*/ 698625 h 2404309"/>
                    <a:gd name="connsiteX454" fmla="*/ 1540932 w 2358991"/>
                    <a:gd name="connsiteY454" fmla="*/ 698625 h 2404309"/>
                    <a:gd name="connsiteX455" fmla="*/ 1540932 w 2358991"/>
                    <a:gd name="connsiteY455" fmla="*/ 698625 h 2404309"/>
                    <a:gd name="connsiteX456" fmla="*/ 1540932 w 2358991"/>
                    <a:gd name="connsiteY456" fmla="*/ 698625 h 2404309"/>
                    <a:gd name="connsiteX457" fmla="*/ 1540932 w 2358991"/>
                    <a:gd name="connsiteY457" fmla="*/ 698625 h 2404309"/>
                    <a:gd name="connsiteX458" fmla="*/ 1540932 w 2358991"/>
                    <a:gd name="connsiteY458" fmla="*/ 698625 h 2404309"/>
                    <a:gd name="connsiteX459" fmla="*/ 1540932 w 2358991"/>
                    <a:gd name="connsiteY459" fmla="*/ 698625 h 2404309"/>
                    <a:gd name="connsiteX460" fmla="*/ 1540932 w 2358991"/>
                    <a:gd name="connsiteY460" fmla="*/ 698625 h 2404309"/>
                    <a:gd name="connsiteX461" fmla="*/ 1561897 w 2358991"/>
                    <a:gd name="connsiteY461" fmla="*/ 703926 h 2404309"/>
                    <a:gd name="connsiteX462" fmla="*/ 1569287 w 2358991"/>
                    <a:gd name="connsiteY462" fmla="*/ 705533 h 2404309"/>
                    <a:gd name="connsiteX463" fmla="*/ 1689619 w 2358991"/>
                    <a:gd name="connsiteY463" fmla="*/ 707862 h 2404309"/>
                    <a:gd name="connsiteX464" fmla="*/ 1683594 w 2358991"/>
                    <a:gd name="connsiteY464" fmla="*/ 718787 h 2404309"/>
                    <a:gd name="connsiteX465" fmla="*/ 1686084 w 2358991"/>
                    <a:gd name="connsiteY465" fmla="*/ 719912 h 2404309"/>
                    <a:gd name="connsiteX466" fmla="*/ 1680783 w 2358991"/>
                    <a:gd name="connsiteY466" fmla="*/ 724812 h 2404309"/>
                    <a:gd name="connsiteX467" fmla="*/ 1693555 w 2358991"/>
                    <a:gd name="connsiteY467" fmla="*/ 727864 h 2404309"/>
                    <a:gd name="connsiteX468" fmla="*/ 1693555 w 2358991"/>
                    <a:gd name="connsiteY468" fmla="*/ 729390 h 2404309"/>
                    <a:gd name="connsiteX469" fmla="*/ 1657648 w 2358991"/>
                    <a:gd name="connsiteY469" fmla="*/ 743769 h 2404309"/>
                    <a:gd name="connsiteX470" fmla="*/ 1659415 w 2358991"/>
                    <a:gd name="connsiteY470" fmla="*/ 744492 h 2404309"/>
                    <a:gd name="connsiteX471" fmla="*/ 1649615 w 2358991"/>
                    <a:gd name="connsiteY471" fmla="*/ 749794 h 2404309"/>
                    <a:gd name="connsiteX472" fmla="*/ 1651383 w 2358991"/>
                    <a:gd name="connsiteY472" fmla="*/ 750918 h 2404309"/>
                    <a:gd name="connsiteX473" fmla="*/ 1598607 w 2358991"/>
                    <a:gd name="connsiteY473" fmla="*/ 778872 h 2404309"/>
                    <a:gd name="connsiteX474" fmla="*/ 1627846 w 2358991"/>
                    <a:gd name="connsiteY474" fmla="*/ 742805 h 2404309"/>
                    <a:gd name="connsiteX475" fmla="*/ 1609692 w 2358991"/>
                    <a:gd name="connsiteY475" fmla="*/ 747464 h 2404309"/>
                    <a:gd name="connsiteX476" fmla="*/ 1611219 w 2358991"/>
                    <a:gd name="connsiteY476" fmla="*/ 745215 h 2404309"/>
                    <a:gd name="connsiteX477" fmla="*/ 1591699 w 2358991"/>
                    <a:gd name="connsiteY477" fmla="*/ 747464 h 2404309"/>
                    <a:gd name="connsiteX478" fmla="*/ 1606399 w 2358991"/>
                    <a:gd name="connsiteY478" fmla="*/ 730274 h 2404309"/>
                    <a:gd name="connsiteX479" fmla="*/ 1601820 w 2358991"/>
                    <a:gd name="connsiteY479" fmla="*/ 724651 h 2404309"/>
                    <a:gd name="connsiteX480" fmla="*/ 1593868 w 2358991"/>
                    <a:gd name="connsiteY480" fmla="*/ 729310 h 2404309"/>
                    <a:gd name="connsiteX481" fmla="*/ 1614271 w 2358991"/>
                    <a:gd name="connsiteY481" fmla="*/ 713967 h 2404309"/>
                    <a:gd name="connsiteX482" fmla="*/ 1612343 w 2358991"/>
                    <a:gd name="connsiteY482" fmla="*/ 712923 h 2404309"/>
                    <a:gd name="connsiteX483" fmla="*/ 1612343 w 2358991"/>
                    <a:gd name="connsiteY483" fmla="*/ 711799 h 2404309"/>
                    <a:gd name="connsiteX484" fmla="*/ 1613468 w 2358991"/>
                    <a:gd name="connsiteY484" fmla="*/ 710915 h 2404309"/>
                    <a:gd name="connsiteX485" fmla="*/ 1619010 w 2358991"/>
                    <a:gd name="connsiteY485" fmla="*/ 711316 h 2404309"/>
                    <a:gd name="connsiteX486" fmla="*/ 1613146 w 2358991"/>
                    <a:gd name="connsiteY486" fmla="*/ 705131 h 2404309"/>
                    <a:gd name="connsiteX487" fmla="*/ 1601499 w 2358991"/>
                    <a:gd name="connsiteY487" fmla="*/ 684969 h 2404309"/>
                    <a:gd name="connsiteX488" fmla="*/ 1575955 w 2358991"/>
                    <a:gd name="connsiteY488" fmla="*/ 698625 h 2404309"/>
                    <a:gd name="connsiteX489" fmla="*/ 1570492 w 2358991"/>
                    <a:gd name="connsiteY489" fmla="*/ 695492 h 2404309"/>
                    <a:gd name="connsiteX490" fmla="*/ 1571135 w 2358991"/>
                    <a:gd name="connsiteY490" fmla="*/ 691395 h 2404309"/>
                    <a:gd name="connsiteX491" fmla="*/ 1570653 w 2358991"/>
                    <a:gd name="connsiteY491" fmla="*/ 675410 h 2404309"/>
                    <a:gd name="connsiteX492" fmla="*/ 1565592 w 2358991"/>
                    <a:gd name="connsiteY492" fmla="*/ 672598 h 2404309"/>
                    <a:gd name="connsiteX493" fmla="*/ 1561576 w 2358991"/>
                    <a:gd name="connsiteY493" fmla="*/ 679426 h 2404309"/>
                    <a:gd name="connsiteX494" fmla="*/ 1561094 w 2358991"/>
                    <a:gd name="connsiteY494" fmla="*/ 678703 h 2404309"/>
                    <a:gd name="connsiteX495" fmla="*/ 1558604 w 2358991"/>
                    <a:gd name="connsiteY495" fmla="*/ 689949 h 2404309"/>
                    <a:gd name="connsiteX496" fmla="*/ 1558041 w 2358991"/>
                    <a:gd name="connsiteY496" fmla="*/ 689387 h 2404309"/>
                    <a:gd name="connsiteX497" fmla="*/ 1558122 w 2358991"/>
                    <a:gd name="connsiteY497" fmla="*/ 682158 h 2404309"/>
                    <a:gd name="connsiteX498" fmla="*/ 1554427 w 2358991"/>
                    <a:gd name="connsiteY498" fmla="*/ 674125 h 2404309"/>
                    <a:gd name="connsiteX499" fmla="*/ 1554909 w 2358991"/>
                    <a:gd name="connsiteY499" fmla="*/ 663843 h 2404309"/>
                    <a:gd name="connsiteX500" fmla="*/ 1544868 w 2358991"/>
                    <a:gd name="connsiteY500" fmla="*/ 669867 h 2404309"/>
                    <a:gd name="connsiteX501" fmla="*/ 1545430 w 2358991"/>
                    <a:gd name="connsiteY501" fmla="*/ 666172 h 2404309"/>
                    <a:gd name="connsiteX502" fmla="*/ 1543341 w 2358991"/>
                    <a:gd name="connsiteY502" fmla="*/ 655649 h 2404309"/>
                    <a:gd name="connsiteX503" fmla="*/ 1540128 w 2358991"/>
                    <a:gd name="connsiteY503" fmla="*/ 654123 h 2404309"/>
                    <a:gd name="connsiteX504" fmla="*/ 1542538 w 2358991"/>
                    <a:gd name="connsiteY504" fmla="*/ 651472 h 2404309"/>
                    <a:gd name="connsiteX505" fmla="*/ 1545591 w 2358991"/>
                    <a:gd name="connsiteY505" fmla="*/ 643439 h 2404309"/>
                    <a:gd name="connsiteX506" fmla="*/ 1544386 w 2358991"/>
                    <a:gd name="connsiteY506" fmla="*/ 635728 h 2404309"/>
                    <a:gd name="connsiteX507" fmla="*/ 1550330 w 2358991"/>
                    <a:gd name="connsiteY507" fmla="*/ 628498 h 2404309"/>
                    <a:gd name="connsiteX508" fmla="*/ 1568484 w 2358991"/>
                    <a:gd name="connsiteY508" fmla="*/ 627454 h 2404309"/>
                    <a:gd name="connsiteX509" fmla="*/ 1561978 w 2358991"/>
                    <a:gd name="connsiteY509" fmla="*/ 638780 h 2404309"/>
                    <a:gd name="connsiteX510" fmla="*/ 1564789 w 2358991"/>
                    <a:gd name="connsiteY510" fmla="*/ 638539 h 2404309"/>
                    <a:gd name="connsiteX511" fmla="*/ 1563022 w 2358991"/>
                    <a:gd name="connsiteY511" fmla="*/ 644162 h 2404309"/>
                    <a:gd name="connsiteX512" fmla="*/ 1594189 w 2358991"/>
                    <a:gd name="connsiteY512" fmla="*/ 647857 h 2404309"/>
                    <a:gd name="connsiteX513" fmla="*/ 1585674 w 2358991"/>
                    <a:gd name="connsiteY513" fmla="*/ 661835 h 2404309"/>
                    <a:gd name="connsiteX514" fmla="*/ 1594350 w 2358991"/>
                    <a:gd name="connsiteY514" fmla="*/ 662236 h 2404309"/>
                    <a:gd name="connsiteX515" fmla="*/ 1581015 w 2358991"/>
                    <a:gd name="connsiteY515" fmla="*/ 668823 h 2404309"/>
                    <a:gd name="connsiteX516" fmla="*/ 1651624 w 2358991"/>
                    <a:gd name="connsiteY516" fmla="*/ 684085 h 2404309"/>
                    <a:gd name="connsiteX517" fmla="*/ 1658853 w 2358991"/>
                    <a:gd name="connsiteY517" fmla="*/ 691556 h 2404309"/>
                    <a:gd name="connsiteX518" fmla="*/ 1646563 w 2358991"/>
                    <a:gd name="connsiteY518" fmla="*/ 693644 h 2404309"/>
                    <a:gd name="connsiteX519" fmla="*/ 1663833 w 2358991"/>
                    <a:gd name="connsiteY519" fmla="*/ 703444 h 2404309"/>
                    <a:gd name="connsiteX520" fmla="*/ 1689619 w 2358991"/>
                    <a:gd name="connsiteY520" fmla="*/ 707862 h 2404309"/>
                    <a:gd name="connsiteX521" fmla="*/ 1665520 w 2358991"/>
                    <a:gd name="connsiteY521" fmla="*/ 432498 h 2404309"/>
                    <a:gd name="connsiteX522" fmla="*/ 1664556 w 2358991"/>
                    <a:gd name="connsiteY522" fmla="*/ 433542 h 2404309"/>
                    <a:gd name="connsiteX523" fmla="*/ 1660620 w 2358991"/>
                    <a:gd name="connsiteY523" fmla="*/ 434747 h 2404309"/>
                    <a:gd name="connsiteX524" fmla="*/ 1661825 w 2358991"/>
                    <a:gd name="connsiteY524" fmla="*/ 431213 h 2404309"/>
                    <a:gd name="connsiteX525" fmla="*/ 1665520 w 2358991"/>
                    <a:gd name="connsiteY525" fmla="*/ 432498 h 2404309"/>
                    <a:gd name="connsiteX526" fmla="*/ 1784807 w 2358991"/>
                    <a:gd name="connsiteY526" fmla="*/ 362372 h 2404309"/>
                    <a:gd name="connsiteX527" fmla="*/ 1782076 w 2358991"/>
                    <a:gd name="connsiteY527" fmla="*/ 362613 h 2404309"/>
                    <a:gd name="connsiteX528" fmla="*/ 1784968 w 2358991"/>
                    <a:gd name="connsiteY528" fmla="*/ 360765 h 2404309"/>
                    <a:gd name="connsiteX529" fmla="*/ 1784807 w 2358991"/>
                    <a:gd name="connsiteY529" fmla="*/ 362372 h 2404309"/>
                    <a:gd name="connsiteX530" fmla="*/ 1850435 w 2358991"/>
                    <a:gd name="connsiteY530" fmla="*/ 305901 h 2404309"/>
                    <a:gd name="connsiteX531" fmla="*/ 1852122 w 2358991"/>
                    <a:gd name="connsiteY531" fmla="*/ 307909 h 2404309"/>
                    <a:gd name="connsiteX532" fmla="*/ 1847142 w 2358991"/>
                    <a:gd name="connsiteY532" fmla="*/ 305660 h 2404309"/>
                    <a:gd name="connsiteX533" fmla="*/ 1847463 w 2358991"/>
                    <a:gd name="connsiteY533" fmla="*/ 305740 h 2404309"/>
                    <a:gd name="connsiteX534" fmla="*/ 1848347 w 2358991"/>
                    <a:gd name="connsiteY534" fmla="*/ 304536 h 2404309"/>
                    <a:gd name="connsiteX535" fmla="*/ 1850435 w 2358991"/>
                    <a:gd name="connsiteY535" fmla="*/ 305901 h 2404309"/>
                    <a:gd name="connsiteX536" fmla="*/ 1660138 w 2358991"/>
                    <a:gd name="connsiteY536" fmla="*/ 414264 h 2404309"/>
                    <a:gd name="connsiteX537" fmla="*/ 1657889 w 2358991"/>
                    <a:gd name="connsiteY537" fmla="*/ 413942 h 2404309"/>
                    <a:gd name="connsiteX538" fmla="*/ 1660138 w 2358991"/>
                    <a:gd name="connsiteY538" fmla="*/ 414264 h 2404309"/>
                    <a:gd name="connsiteX539" fmla="*/ 1660138 w 2358991"/>
                    <a:gd name="connsiteY539" fmla="*/ 414264 h 2404309"/>
                    <a:gd name="connsiteX540" fmla="*/ 1658130 w 2358991"/>
                    <a:gd name="connsiteY540" fmla="*/ 400849 h 2404309"/>
                    <a:gd name="connsiteX541" fmla="*/ 1657006 w 2358991"/>
                    <a:gd name="connsiteY541" fmla="*/ 404464 h 2404309"/>
                    <a:gd name="connsiteX542" fmla="*/ 1655961 w 2358991"/>
                    <a:gd name="connsiteY542" fmla="*/ 400126 h 2404309"/>
                    <a:gd name="connsiteX543" fmla="*/ 1658130 w 2358991"/>
                    <a:gd name="connsiteY543" fmla="*/ 400849 h 2404309"/>
                    <a:gd name="connsiteX544" fmla="*/ 1359631 w 2358991"/>
                    <a:gd name="connsiteY544" fmla="*/ 528570 h 2404309"/>
                    <a:gd name="connsiteX545" fmla="*/ 1355936 w 2358991"/>
                    <a:gd name="connsiteY545" fmla="*/ 543913 h 2404309"/>
                    <a:gd name="connsiteX546" fmla="*/ 1353125 w 2358991"/>
                    <a:gd name="connsiteY546" fmla="*/ 554436 h 2404309"/>
                    <a:gd name="connsiteX547" fmla="*/ 1351358 w 2358991"/>
                    <a:gd name="connsiteY547" fmla="*/ 555882 h 2404309"/>
                    <a:gd name="connsiteX548" fmla="*/ 1330312 w 2358991"/>
                    <a:gd name="connsiteY548" fmla="*/ 570823 h 2404309"/>
                    <a:gd name="connsiteX549" fmla="*/ 1314246 w 2358991"/>
                    <a:gd name="connsiteY549" fmla="*/ 584157 h 2404309"/>
                    <a:gd name="connsiteX550" fmla="*/ 1285328 w 2358991"/>
                    <a:gd name="connsiteY550" fmla="*/ 586728 h 2404309"/>
                    <a:gd name="connsiteX551" fmla="*/ 1281472 w 2358991"/>
                    <a:gd name="connsiteY551" fmla="*/ 583997 h 2404309"/>
                    <a:gd name="connsiteX552" fmla="*/ 1271190 w 2358991"/>
                    <a:gd name="connsiteY552" fmla="*/ 583193 h 2404309"/>
                    <a:gd name="connsiteX553" fmla="*/ 1250144 w 2358991"/>
                    <a:gd name="connsiteY553" fmla="*/ 590101 h 2404309"/>
                    <a:gd name="connsiteX554" fmla="*/ 1247976 w 2358991"/>
                    <a:gd name="connsiteY554" fmla="*/ 584639 h 2404309"/>
                    <a:gd name="connsiteX555" fmla="*/ 1263077 w 2358991"/>
                    <a:gd name="connsiteY555" fmla="*/ 574438 h 2404309"/>
                    <a:gd name="connsiteX556" fmla="*/ 1255366 w 2358991"/>
                    <a:gd name="connsiteY556" fmla="*/ 577651 h 2404309"/>
                    <a:gd name="connsiteX557" fmla="*/ 1256972 w 2358991"/>
                    <a:gd name="connsiteY557" fmla="*/ 575482 h 2404309"/>
                    <a:gd name="connsiteX558" fmla="*/ 1259703 w 2358991"/>
                    <a:gd name="connsiteY558" fmla="*/ 569377 h 2404309"/>
                    <a:gd name="connsiteX559" fmla="*/ 1230062 w 2358991"/>
                    <a:gd name="connsiteY559" fmla="*/ 572188 h 2404309"/>
                    <a:gd name="connsiteX560" fmla="*/ 1253438 w 2358991"/>
                    <a:gd name="connsiteY560" fmla="*/ 557328 h 2404309"/>
                    <a:gd name="connsiteX561" fmla="*/ 1223395 w 2358991"/>
                    <a:gd name="connsiteY561" fmla="*/ 555400 h 2404309"/>
                    <a:gd name="connsiteX562" fmla="*/ 1219620 w 2358991"/>
                    <a:gd name="connsiteY562" fmla="*/ 551062 h 2404309"/>
                    <a:gd name="connsiteX563" fmla="*/ 1224680 w 2358991"/>
                    <a:gd name="connsiteY563" fmla="*/ 548893 h 2404309"/>
                    <a:gd name="connsiteX564" fmla="*/ 1222351 w 2358991"/>
                    <a:gd name="connsiteY564" fmla="*/ 548331 h 2404309"/>
                    <a:gd name="connsiteX565" fmla="*/ 1225484 w 2358991"/>
                    <a:gd name="connsiteY565" fmla="*/ 546323 h 2404309"/>
                    <a:gd name="connsiteX566" fmla="*/ 1221387 w 2358991"/>
                    <a:gd name="connsiteY566" fmla="*/ 543431 h 2404309"/>
                    <a:gd name="connsiteX567" fmla="*/ 1225323 w 2358991"/>
                    <a:gd name="connsiteY567" fmla="*/ 542788 h 2404309"/>
                    <a:gd name="connsiteX568" fmla="*/ 1225002 w 2358991"/>
                    <a:gd name="connsiteY568" fmla="*/ 539575 h 2404309"/>
                    <a:gd name="connsiteX569" fmla="*/ 1232954 w 2358991"/>
                    <a:gd name="connsiteY569" fmla="*/ 542467 h 2404309"/>
                    <a:gd name="connsiteX570" fmla="*/ 1235043 w 2358991"/>
                    <a:gd name="connsiteY570" fmla="*/ 540941 h 2404309"/>
                    <a:gd name="connsiteX571" fmla="*/ 1236810 w 2358991"/>
                    <a:gd name="connsiteY571" fmla="*/ 534515 h 2404309"/>
                    <a:gd name="connsiteX572" fmla="*/ 1233436 w 2358991"/>
                    <a:gd name="connsiteY572" fmla="*/ 531061 h 2404309"/>
                    <a:gd name="connsiteX573" fmla="*/ 1255205 w 2358991"/>
                    <a:gd name="connsiteY573" fmla="*/ 542788 h 2404309"/>
                    <a:gd name="connsiteX574" fmla="*/ 1251430 w 2358991"/>
                    <a:gd name="connsiteY574" fmla="*/ 544797 h 2404309"/>
                    <a:gd name="connsiteX575" fmla="*/ 1256008 w 2358991"/>
                    <a:gd name="connsiteY575" fmla="*/ 547046 h 2404309"/>
                    <a:gd name="connsiteX576" fmla="*/ 1261712 w 2358991"/>
                    <a:gd name="connsiteY576" fmla="*/ 553713 h 2404309"/>
                    <a:gd name="connsiteX577" fmla="*/ 1303803 w 2358991"/>
                    <a:gd name="connsiteY577" fmla="*/ 527044 h 2404309"/>
                    <a:gd name="connsiteX578" fmla="*/ 1338184 w 2358991"/>
                    <a:gd name="connsiteY578" fmla="*/ 508087 h 2404309"/>
                    <a:gd name="connsiteX579" fmla="*/ 1347421 w 2358991"/>
                    <a:gd name="connsiteY579" fmla="*/ 525759 h 2404309"/>
                    <a:gd name="connsiteX580" fmla="*/ 1359631 w 2358991"/>
                    <a:gd name="connsiteY580" fmla="*/ 528570 h 2404309"/>
                    <a:gd name="connsiteX581" fmla="*/ 1841438 w 2358991"/>
                    <a:gd name="connsiteY581" fmla="*/ 247021 h 2404309"/>
                    <a:gd name="connsiteX582" fmla="*/ 1838788 w 2358991"/>
                    <a:gd name="connsiteY582" fmla="*/ 246298 h 2404309"/>
                    <a:gd name="connsiteX583" fmla="*/ 1841599 w 2358991"/>
                    <a:gd name="connsiteY583" fmla="*/ 247021 h 2404309"/>
                    <a:gd name="connsiteX584" fmla="*/ 1841438 w 2358991"/>
                    <a:gd name="connsiteY584" fmla="*/ 247021 h 2404309"/>
                    <a:gd name="connsiteX585" fmla="*/ 1627686 w 2358991"/>
                    <a:gd name="connsiteY585" fmla="*/ 361890 h 2404309"/>
                    <a:gd name="connsiteX586" fmla="*/ 1628489 w 2358991"/>
                    <a:gd name="connsiteY586" fmla="*/ 366629 h 2404309"/>
                    <a:gd name="connsiteX587" fmla="*/ 1626642 w 2358991"/>
                    <a:gd name="connsiteY587" fmla="*/ 363737 h 2404309"/>
                    <a:gd name="connsiteX588" fmla="*/ 1626240 w 2358991"/>
                    <a:gd name="connsiteY588" fmla="*/ 363014 h 2404309"/>
                    <a:gd name="connsiteX589" fmla="*/ 1625838 w 2358991"/>
                    <a:gd name="connsiteY589" fmla="*/ 360524 h 2404309"/>
                    <a:gd name="connsiteX590" fmla="*/ 1627686 w 2358991"/>
                    <a:gd name="connsiteY590" fmla="*/ 361890 h 2404309"/>
                    <a:gd name="connsiteX591" fmla="*/ 1631943 w 2358991"/>
                    <a:gd name="connsiteY591" fmla="*/ 353616 h 2404309"/>
                    <a:gd name="connsiteX592" fmla="*/ 1630096 w 2358991"/>
                    <a:gd name="connsiteY592" fmla="*/ 358998 h 2404309"/>
                    <a:gd name="connsiteX593" fmla="*/ 1628891 w 2358991"/>
                    <a:gd name="connsiteY593" fmla="*/ 358596 h 2404309"/>
                    <a:gd name="connsiteX594" fmla="*/ 1628730 w 2358991"/>
                    <a:gd name="connsiteY594" fmla="*/ 361247 h 2404309"/>
                    <a:gd name="connsiteX595" fmla="*/ 1626401 w 2358991"/>
                    <a:gd name="connsiteY595" fmla="*/ 356668 h 2404309"/>
                    <a:gd name="connsiteX596" fmla="*/ 1629614 w 2358991"/>
                    <a:gd name="connsiteY596" fmla="*/ 352893 h 2404309"/>
                    <a:gd name="connsiteX597" fmla="*/ 1631943 w 2358991"/>
                    <a:gd name="connsiteY597" fmla="*/ 353616 h 2404309"/>
                    <a:gd name="connsiteX598" fmla="*/ 1641984 w 2358991"/>
                    <a:gd name="connsiteY598" fmla="*/ 331767 h 2404309"/>
                    <a:gd name="connsiteX599" fmla="*/ 1639333 w 2358991"/>
                    <a:gd name="connsiteY599" fmla="*/ 346547 h 2404309"/>
                    <a:gd name="connsiteX600" fmla="*/ 1634192 w 2358991"/>
                    <a:gd name="connsiteY600" fmla="*/ 352732 h 2404309"/>
                    <a:gd name="connsiteX601" fmla="*/ 1629774 w 2358991"/>
                    <a:gd name="connsiteY601" fmla="*/ 339880 h 2404309"/>
                    <a:gd name="connsiteX602" fmla="*/ 1625437 w 2358991"/>
                    <a:gd name="connsiteY602" fmla="*/ 338273 h 2404309"/>
                    <a:gd name="connsiteX603" fmla="*/ 1626320 w 2358991"/>
                    <a:gd name="connsiteY603" fmla="*/ 338113 h 2404309"/>
                    <a:gd name="connsiteX604" fmla="*/ 1624312 w 2358991"/>
                    <a:gd name="connsiteY604" fmla="*/ 335301 h 2404309"/>
                    <a:gd name="connsiteX605" fmla="*/ 1626079 w 2358991"/>
                    <a:gd name="connsiteY605" fmla="*/ 334980 h 2404309"/>
                    <a:gd name="connsiteX606" fmla="*/ 1628569 w 2358991"/>
                    <a:gd name="connsiteY606" fmla="*/ 337229 h 2404309"/>
                    <a:gd name="connsiteX607" fmla="*/ 1628650 w 2358991"/>
                    <a:gd name="connsiteY607" fmla="*/ 337309 h 2404309"/>
                    <a:gd name="connsiteX608" fmla="*/ 1628730 w 2358991"/>
                    <a:gd name="connsiteY608" fmla="*/ 337390 h 2404309"/>
                    <a:gd name="connsiteX609" fmla="*/ 1628810 w 2358991"/>
                    <a:gd name="connsiteY609" fmla="*/ 337470 h 2404309"/>
                    <a:gd name="connsiteX610" fmla="*/ 1628891 w 2358991"/>
                    <a:gd name="connsiteY610" fmla="*/ 337550 h 2404309"/>
                    <a:gd name="connsiteX611" fmla="*/ 1628971 w 2358991"/>
                    <a:gd name="connsiteY611" fmla="*/ 337631 h 2404309"/>
                    <a:gd name="connsiteX612" fmla="*/ 1629051 w 2358991"/>
                    <a:gd name="connsiteY612" fmla="*/ 337711 h 2404309"/>
                    <a:gd name="connsiteX613" fmla="*/ 1629132 w 2358991"/>
                    <a:gd name="connsiteY613" fmla="*/ 337791 h 2404309"/>
                    <a:gd name="connsiteX614" fmla="*/ 1629212 w 2358991"/>
                    <a:gd name="connsiteY614" fmla="*/ 337872 h 2404309"/>
                    <a:gd name="connsiteX615" fmla="*/ 1628650 w 2358991"/>
                    <a:gd name="connsiteY615" fmla="*/ 326465 h 2404309"/>
                    <a:gd name="connsiteX616" fmla="*/ 1639896 w 2358991"/>
                    <a:gd name="connsiteY616" fmla="*/ 338836 h 2404309"/>
                    <a:gd name="connsiteX617" fmla="*/ 1641984 w 2358991"/>
                    <a:gd name="connsiteY617" fmla="*/ 331767 h 2404309"/>
                    <a:gd name="connsiteX618" fmla="*/ 1641984 w 2358991"/>
                    <a:gd name="connsiteY618" fmla="*/ 331767 h 2404309"/>
                    <a:gd name="connsiteX619" fmla="*/ 1796937 w 2358991"/>
                    <a:gd name="connsiteY619" fmla="*/ 176734 h 2404309"/>
                    <a:gd name="connsiteX620" fmla="*/ 1798222 w 2358991"/>
                    <a:gd name="connsiteY620" fmla="*/ 177537 h 2404309"/>
                    <a:gd name="connsiteX621" fmla="*/ 1795732 w 2358991"/>
                    <a:gd name="connsiteY621" fmla="*/ 176573 h 2404309"/>
                    <a:gd name="connsiteX622" fmla="*/ 1800552 w 2358991"/>
                    <a:gd name="connsiteY622" fmla="*/ 186293 h 2404309"/>
                    <a:gd name="connsiteX623" fmla="*/ 1783040 w 2358991"/>
                    <a:gd name="connsiteY623" fmla="*/ 175529 h 2404309"/>
                    <a:gd name="connsiteX624" fmla="*/ 1796937 w 2358991"/>
                    <a:gd name="connsiteY624" fmla="*/ 176734 h 2404309"/>
                    <a:gd name="connsiteX625" fmla="*/ 1639655 w 2358991"/>
                    <a:gd name="connsiteY625" fmla="*/ 311685 h 2404309"/>
                    <a:gd name="connsiteX626" fmla="*/ 1639735 w 2358991"/>
                    <a:gd name="connsiteY626" fmla="*/ 318031 h 2404309"/>
                    <a:gd name="connsiteX627" fmla="*/ 1640619 w 2358991"/>
                    <a:gd name="connsiteY627" fmla="*/ 323573 h 2404309"/>
                    <a:gd name="connsiteX628" fmla="*/ 1637165 w 2358991"/>
                    <a:gd name="connsiteY628" fmla="*/ 323573 h 2404309"/>
                    <a:gd name="connsiteX629" fmla="*/ 1634594 w 2358991"/>
                    <a:gd name="connsiteY629" fmla="*/ 314898 h 2404309"/>
                    <a:gd name="connsiteX630" fmla="*/ 1630738 w 2358991"/>
                    <a:gd name="connsiteY630" fmla="*/ 309918 h 2404309"/>
                    <a:gd name="connsiteX631" fmla="*/ 1632907 w 2358991"/>
                    <a:gd name="connsiteY631" fmla="*/ 310560 h 2404309"/>
                    <a:gd name="connsiteX632" fmla="*/ 1639655 w 2358991"/>
                    <a:gd name="connsiteY632" fmla="*/ 311685 h 2404309"/>
                    <a:gd name="connsiteX633" fmla="*/ 1642145 w 2358991"/>
                    <a:gd name="connsiteY633" fmla="*/ 286944 h 2404309"/>
                    <a:gd name="connsiteX634" fmla="*/ 1642145 w 2358991"/>
                    <a:gd name="connsiteY634" fmla="*/ 286944 h 2404309"/>
                    <a:gd name="connsiteX635" fmla="*/ 1642145 w 2358991"/>
                    <a:gd name="connsiteY635" fmla="*/ 286944 h 2404309"/>
                    <a:gd name="connsiteX636" fmla="*/ 1642145 w 2358991"/>
                    <a:gd name="connsiteY636" fmla="*/ 286944 h 2404309"/>
                    <a:gd name="connsiteX637" fmla="*/ 1642145 w 2358991"/>
                    <a:gd name="connsiteY637" fmla="*/ 286944 h 2404309"/>
                    <a:gd name="connsiteX638" fmla="*/ 1642145 w 2358991"/>
                    <a:gd name="connsiteY638" fmla="*/ 286944 h 2404309"/>
                    <a:gd name="connsiteX639" fmla="*/ 1642145 w 2358991"/>
                    <a:gd name="connsiteY639" fmla="*/ 286944 h 2404309"/>
                    <a:gd name="connsiteX640" fmla="*/ 1642145 w 2358991"/>
                    <a:gd name="connsiteY640" fmla="*/ 286944 h 2404309"/>
                    <a:gd name="connsiteX641" fmla="*/ 1642145 w 2358991"/>
                    <a:gd name="connsiteY641" fmla="*/ 286944 h 2404309"/>
                    <a:gd name="connsiteX642" fmla="*/ 1642145 w 2358991"/>
                    <a:gd name="connsiteY642" fmla="*/ 286944 h 2404309"/>
                    <a:gd name="connsiteX643" fmla="*/ 1642145 w 2358991"/>
                    <a:gd name="connsiteY643" fmla="*/ 286944 h 2404309"/>
                    <a:gd name="connsiteX644" fmla="*/ 1642145 w 2358991"/>
                    <a:gd name="connsiteY644" fmla="*/ 286944 h 2404309"/>
                    <a:gd name="connsiteX645" fmla="*/ 1642145 w 2358991"/>
                    <a:gd name="connsiteY645" fmla="*/ 286944 h 2404309"/>
                    <a:gd name="connsiteX646" fmla="*/ 1642145 w 2358991"/>
                    <a:gd name="connsiteY646" fmla="*/ 286944 h 2404309"/>
                    <a:gd name="connsiteX647" fmla="*/ 1642145 w 2358991"/>
                    <a:gd name="connsiteY647" fmla="*/ 286944 h 2404309"/>
                    <a:gd name="connsiteX648" fmla="*/ 1642145 w 2358991"/>
                    <a:gd name="connsiteY648" fmla="*/ 286944 h 2404309"/>
                    <a:gd name="connsiteX649" fmla="*/ 1642145 w 2358991"/>
                    <a:gd name="connsiteY649" fmla="*/ 286944 h 2404309"/>
                    <a:gd name="connsiteX650" fmla="*/ 1642145 w 2358991"/>
                    <a:gd name="connsiteY650" fmla="*/ 286944 h 2404309"/>
                    <a:gd name="connsiteX651" fmla="*/ 1642145 w 2358991"/>
                    <a:gd name="connsiteY651" fmla="*/ 286944 h 2404309"/>
                    <a:gd name="connsiteX652" fmla="*/ 1642145 w 2358991"/>
                    <a:gd name="connsiteY652" fmla="*/ 286944 h 2404309"/>
                    <a:gd name="connsiteX653" fmla="*/ 1642145 w 2358991"/>
                    <a:gd name="connsiteY653" fmla="*/ 286944 h 2404309"/>
                    <a:gd name="connsiteX654" fmla="*/ 1642145 w 2358991"/>
                    <a:gd name="connsiteY654" fmla="*/ 286944 h 2404309"/>
                    <a:gd name="connsiteX655" fmla="*/ 1642145 w 2358991"/>
                    <a:gd name="connsiteY655" fmla="*/ 286944 h 2404309"/>
                    <a:gd name="connsiteX656" fmla="*/ 1642145 w 2358991"/>
                    <a:gd name="connsiteY656" fmla="*/ 286944 h 2404309"/>
                    <a:gd name="connsiteX657" fmla="*/ 1642145 w 2358991"/>
                    <a:gd name="connsiteY657" fmla="*/ 286944 h 2404309"/>
                    <a:gd name="connsiteX658" fmla="*/ 1642145 w 2358991"/>
                    <a:gd name="connsiteY658" fmla="*/ 286944 h 2404309"/>
                    <a:gd name="connsiteX659" fmla="*/ 1642145 w 2358991"/>
                    <a:gd name="connsiteY659" fmla="*/ 286944 h 2404309"/>
                    <a:gd name="connsiteX660" fmla="*/ 1642145 w 2358991"/>
                    <a:gd name="connsiteY660" fmla="*/ 286944 h 2404309"/>
                    <a:gd name="connsiteX661" fmla="*/ 1642145 w 2358991"/>
                    <a:gd name="connsiteY661" fmla="*/ 286944 h 2404309"/>
                    <a:gd name="connsiteX662" fmla="*/ 1642145 w 2358991"/>
                    <a:gd name="connsiteY662" fmla="*/ 286944 h 2404309"/>
                    <a:gd name="connsiteX663" fmla="*/ 1642145 w 2358991"/>
                    <a:gd name="connsiteY663" fmla="*/ 286944 h 2404309"/>
                    <a:gd name="connsiteX664" fmla="*/ 1642145 w 2358991"/>
                    <a:gd name="connsiteY664" fmla="*/ 286944 h 2404309"/>
                    <a:gd name="connsiteX665" fmla="*/ 1642145 w 2358991"/>
                    <a:gd name="connsiteY665" fmla="*/ 286944 h 2404309"/>
                    <a:gd name="connsiteX666" fmla="*/ 1642145 w 2358991"/>
                    <a:gd name="connsiteY666" fmla="*/ 286944 h 2404309"/>
                    <a:gd name="connsiteX667" fmla="*/ 1642145 w 2358991"/>
                    <a:gd name="connsiteY667" fmla="*/ 286944 h 2404309"/>
                    <a:gd name="connsiteX668" fmla="*/ 1642145 w 2358991"/>
                    <a:gd name="connsiteY668" fmla="*/ 286944 h 2404309"/>
                    <a:gd name="connsiteX669" fmla="*/ 1642145 w 2358991"/>
                    <a:gd name="connsiteY669" fmla="*/ 286944 h 2404309"/>
                    <a:gd name="connsiteX670" fmla="*/ 1642145 w 2358991"/>
                    <a:gd name="connsiteY670" fmla="*/ 286944 h 2404309"/>
                    <a:gd name="connsiteX671" fmla="*/ 1642145 w 2358991"/>
                    <a:gd name="connsiteY671" fmla="*/ 286944 h 2404309"/>
                    <a:gd name="connsiteX672" fmla="*/ 1642145 w 2358991"/>
                    <a:gd name="connsiteY672" fmla="*/ 286944 h 2404309"/>
                    <a:gd name="connsiteX673" fmla="*/ 1642145 w 2358991"/>
                    <a:gd name="connsiteY673" fmla="*/ 286944 h 2404309"/>
                    <a:gd name="connsiteX674" fmla="*/ 1642145 w 2358991"/>
                    <a:gd name="connsiteY674" fmla="*/ 286944 h 2404309"/>
                    <a:gd name="connsiteX675" fmla="*/ 1642145 w 2358991"/>
                    <a:gd name="connsiteY675" fmla="*/ 286944 h 2404309"/>
                    <a:gd name="connsiteX676" fmla="*/ 1642145 w 2358991"/>
                    <a:gd name="connsiteY676" fmla="*/ 286944 h 2404309"/>
                    <a:gd name="connsiteX677" fmla="*/ 1642145 w 2358991"/>
                    <a:gd name="connsiteY677" fmla="*/ 286944 h 2404309"/>
                    <a:gd name="connsiteX678" fmla="*/ 1642145 w 2358991"/>
                    <a:gd name="connsiteY678" fmla="*/ 286944 h 2404309"/>
                    <a:gd name="connsiteX679" fmla="*/ 1642145 w 2358991"/>
                    <a:gd name="connsiteY679" fmla="*/ 286944 h 2404309"/>
                    <a:gd name="connsiteX680" fmla="*/ 1642145 w 2358991"/>
                    <a:gd name="connsiteY680" fmla="*/ 286944 h 2404309"/>
                    <a:gd name="connsiteX681" fmla="*/ 1642145 w 2358991"/>
                    <a:gd name="connsiteY681" fmla="*/ 286944 h 2404309"/>
                    <a:gd name="connsiteX682" fmla="*/ 1642145 w 2358991"/>
                    <a:gd name="connsiteY682" fmla="*/ 286944 h 2404309"/>
                    <a:gd name="connsiteX683" fmla="*/ 1642145 w 2358991"/>
                    <a:gd name="connsiteY683" fmla="*/ 286944 h 2404309"/>
                    <a:gd name="connsiteX684" fmla="*/ 1642145 w 2358991"/>
                    <a:gd name="connsiteY684" fmla="*/ 286944 h 2404309"/>
                    <a:gd name="connsiteX685" fmla="*/ 1642145 w 2358991"/>
                    <a:gd name="connsiteY685" fmla="*/ 286944 h 2404309"/>
                    <a:gd name="connsiteX686" fmla="*/ 1642145 w 2358991"/>
                    <a:gd name="connsiteY686" fmla="*/ 286944 h 2404309"/>
                    <a:gd name="connsiteX687" fmla="*/ 1642145 w 2358991"/>
                    <a:gd name="connsiteY687" fmla="*/ 286944 h 2404309"/>
                    <a:gd name="connsiteX688" fmla="*/ 1642145 w 2358991"/>
                    <a:gd name="connsiteY688" fmla="*/ 286944 h 2404309"/>
                    <a:gd name="connsiteX689" fmla="*/ 1642145 w 2358991"/>
                    <a:gd name="connsiteY689" fmla="*/ 286944 h 2404309"/>
                    <a:gd name="connsiteX690" fmla="*/ 1642145 w 2358991"/>
                    <a:gd name="connsiteY690" fmla="*/ 286944 h 2404309"/>
                    <a:gd name="connsiteX691" fmla="*/ 1642145 w 2358991"/>
                    <a:gd name="connsiteY691" fmla="*/ 286944 h 2404309"/>
                    <a:gd name="connsiteX692" fmla="*/ 1642145 w 2358991"/>
                    <a:gd name="connsiteY692" fmla="*/ 286944 h 2404309"/>
                    <a:gd name="connsiteX693" fmla="*/ 1642145 w 2358991"/>
                    <a:gd name="connsiteY693" fmla="*/ 286944 h 2404309"/>
                    <a:gd name="connsiteX694" fmla="*/ 1642145 w 2358991"/>
                    <a:gd name="connsiteY694" fmla="*/ 286944 h 2404309"/>
                    <a:gd name="connsiteX695" fmla="*/ 1642145 w 2358991"/>
                    <a:gd name="connsiteY695" fmla="*/ 286944 h 2404309"/>
                    <a:gd name="connsiteX696" fmla="*/ 1642145 w 2358991"/>
                    <a:gd name="connsiteY696" fmla="*/ 286944 h 2404309"/>
                    <a:gd name="connsiteX697" fmla="*/ 1642145 w 2358991"/>
                    <a:gd name="connsiteY697" fmla="*/ 286944 h 2404309"/>
                    <a:gd name="connsiteX698" fmla="*/ 1642145 w 2358991"/>
                    <a:gd name="connsiteY698" fmla="*/ 286944 h 2404309"/>
                    <a:gd name="connsiteX699" fmla="*/ 1642145 w 2358991"/>
                    <a:gd name="connsiteY699" fmla="*/ 286944 h 2404309"/>
                    <a:gd name="connsiteX700" fmla="*/ 1642145 w 2358991"/>
                    <a:gd name="connsiteY700" fmla="*/ 286944 h 2404309"/>
                    <a:gd name="connsiteX701" fmla="*/ 1642145 w 2358991"/>
                    <a:gd name="connsiteY701" fmla="*/ 286944 h 2404309"/>
                    <a:gd name="connsiteX702" fmla="*/ 1642145 w 2358991"/>
                    <a:gd name="connsiteY702" fmla="*/ 286944 h 2404309"/>
                    <a:gd name="connsiteX703" fmla="*/ 1642145 w 2358991"/>
                    <a:gd name="connsiteY703" fmla="*/ 286944 h 2404309"/>
                    <a:gd name="connsiteX704" fmla="*/ 1642145 w 2358991"/>
                    <a:gd name="connsiteY704" fmla="*/ 286944 h 2404309"/>
                    <a:gd name="connsiteX705" fmla="*/ 1642145 w 2358991"/>
                    <a:gd name="connsiteY705" fmla="*/ 286944 h 2404309"/>
                    <a:gd name="connsiteX706" fmla="*/ 1642145 w 2358991"/>
                    <a:gd name="connsiteY706" fmla="*/ 286944 h 2404309"/>
                    <a:gd name="connsiteX707" fmla="*/ 1642145 w 2358991"/>
                    <a:gd name="connsiteY707" fmla="*/ 286944 h 2404309"/>
                    <a:gd name="connsiteX708" fmla="*/ 1642145 w 2358991"/>
                    <a:gd name="connsiteY708" fmla="*/ 286944 h 2404309"/>
                    <a:gd name="connsiteX709" fmla="*/ 1642145 w 2358991"/>
                    <a:gd name="connsiteY709" fmla="*/ 286944 h 2404309"/>
                    <a:gd name="connsiteX710" fmla="*/ 1642145 w 2358991"/>
                    <a:gd name="connsiteY710" fmla="*/ 286944 h 2404309"/>
                    <a:gd name="connsiteX711" fmla="*/ 1642145 w 2358991"/>
                    <a:gd name="connsiteY711" fmla="*/ 286944 h 2404309"/>
                    <a:gd name="connsiteX712" fmla="*/ 1642145 w 2358991"/>
                    <a:gd name="connsiteY712" fmla="*/ 286944 h 2404309"/>
                    <a:gd name="connsiteX713" fmla="*/ 1642145 w 2358991"/>
                    <a:gd name="connsiteY713" fmla="*/ 286944 h 2404309"/>
                    <a:gd name="connsiteX714" fmla="*/ 1642145 w 2358991"/>
                    <a:gd name="connsiteY714" fmla="*/ 286944 h 2404309"/>
                    <a:gd name="connsiteX715" fmla="*/ 1642145 w 2358991"/>
                    <a:gd name="connsiteY715" fmla="*/ 286944 h 2404309"/>
                    <a:gd name="connsiteX716" fmla="*/ 1642145 w 2358991"/>
                    <a:gd name="connsiteY716" fmla="*/ 286944 h 2404309"/>
                    <a:gd name="connsiteX717" fmla="*/ 1642145 w 2358991"/>
                    <a:gd name="connsiteY717" fmla="*/ 286944 h 2404309"/>
                    <a:gd name="connsiteX718" fmla="*/ 1642145 w 2358991"/>
                    <a:gd name="connsiteY718" fmla="*/ 286944 h 2404309"/>
                    <a:gd name="connsiteX719" fmla="*/ 1642145 w 2358991"/>
                    <a:gd name="connsiteY719" fmla="*/ 286944 h 2404309"/>
                    <a:gd name="connsiteX720" fmla="*/ 1642145 w 2358991"/>
                    <a:gd name="connsiteY720" fmla="*/ 286944 h 2404309"/>
                    <a:gd name="connsiteX721" fmla="*/ 1642145 w 2358991"/>
                    <a:gd name="connsiteY721" fmla="*/ 286944 h 2404309"/>
                    <a:gd name="connsiteX722" fmla="*/ 1642145 w 2358991"/>
                    <a:gd name="connsiteY722" fmla="*/ 286944 h 2404309"/>
                    <a:gd name="connsiteX723" fmla="*/ 1642145 w 2358991"/>
                    <a:gd name="connsiteY723" fmla="*/ 286944 h 2404309"/>
                    <a:gd name="connsiteX724" fmla="*/ 1642145 w 2358991"/>
                    <a:gd name="connsiteY724" fmla="*/ 286944 h 2404309"/>
                    <a:gd name="connsiteX725" fmla="*/ 1636040 w 2358991"/>
                    <a:gd name="connsiteY725" fmla="*/ 293772 h 2404309"/>
                    <a:gd name="connsiteX726" fmla="*/ 1638209 w 2358991"/>
                    <a:gd name="connsiteY726" fmla="*/ 307829 h 2404309"/>
                    <a:gd name="connsiteX727" fmla="*/ 1634273 w 2358991"/>
                    <a:gd name="connsiteY727" fmla="*/ 300760 h 2404309"/>
                    <a:gd name="connsiteX728" fmla="*/ 1635397 w 2358991"/>
                    <a:gd name="connsiteY728" fmla="*/ 301162 h 2404309"/>
                    <a:gd name="connsiteX729" fmla="*/ 1632104 w 2358991"/>
                    <a:gd name="connsiteY729" fmla="*/ 294414 h 2404309"/>
                    <a:gd name="connsiteX730" fmla="*/ 1628087 w 2358991"/>
                    <a:gd name="connsiteY730" fmla="*/ 289434 h 2404309"/>
                    <a:gd name="connsiteX731" fmla="*/ 1636040 w 2358991"/>
                    <a:gd name="connsiteY731" fmla="*/ 293772 h 2404309"/>
                    <a:gd name="connsiteX732" fmla="*/ 1637405 w 2358991"/>
                    <a:gd name="connsiteY732" fmla="*/ 288791 h 2404309"/>
                    <a:gd name="connsiteX733" fmla="*/ 1637325 w 2358991"/>
                    <a:gd name="connsiteY733" fmla="*/ 288871 h 2404309"/>
                    <a:gd name="connsiteX734" fmla="*/ 1633871 w 2358991"/>
                    <a:gd name="connsiteY734" fmla="*/ 289032 h 2404309"/>
                    <a:gd name="connsiteX735" fmla="*/ 1630578 w 2358991"/>
                    <a:gd name="connsiteY735" fmla="*/ 287426 h 2404309"/>
                    <a:gd name="connsiteX736" fmla="*/ 1637405 w 2358991"/>
                    <a:gd name="connsiteY736" fmla="*/ 288791 h 2404309"/>
                    <a:gd name="connsiteX737" fmla="*/ 1781996 w 2358991"/>
                    <a:gd name="connsiteY737" fmla="*/ 129260 h 2404309"/>
                    <a:gd name="connsiteX738" fmla="*/ 1766171 w 2358991"/>
                    <a:gd name="connsiteY738" fmla="*/ 123476 h 2404309"/>
                    <a:gd name="connsiteX739" fmla="*/ 1783120 w 2358991"/>
                    <a:gd name="connsiteY739" fmla="*/ 129662 h 2404309"/>
                    <a:gd name="connsiteX740" fmla="*/ 1781996 w 2358991"/>
                    <a:gd name="connsiteY740" fmla="*/ 129260 h 2404309"/>
                    <a:gd name="connsiteX741" fmla="*/ 1653471 w 2358991"/>
                    <a:gd name="connsiteY741" fmla="*/ 266781 h 2404309"/>
                    <a:gd name="connsiteX742" fmla="*/ 1653873 w 2358991"/>
                    <a:gd name="connsiteY742" fmla="*/ 271199 h 2404309"/>
                    <a:gd name="connsiteX743" fmla="*/ 1651865 w 2358991"/>
                    <a:gd name="connsiteY743" fmla="*/ 270396 h 2404309"/>
                    <a:gd name="connsiteX744" fmla="*/ 1651945 w 2358991"/>
                    <a:gd name="connsiteY744" fmla="*/ 271199 h 2404309"/>
                    <a:gd name="connsiteX745" fmla="*/ 1648571 w 2358991"/>
                    <a:gd name="connsiteY745" fmla="*/ 263809 h 2404309"/>
                    <a:gd name="connsiteX746" fmla="*/ 1653471 w 2358991"/>
                    <a:gd name="connsiteY746" fmla="*/ 266781 h 2404309"/>
                    <a:gd name="connsiteX747" fmla="*/ 1648491 w 2358991"/>
                    <a:gd name="connsiteY747" fmla="*/ 260998 h 2404309"/>
                    <a:gd name="connsiteX748" fmla="*/ 1651865 w 2358991"/>
                    <a:gd name="connsiteY748" fmla="*/ 263568 h 2404309"/>
                    <a:gd name="connsiteX749" fmla="*/ 1646563 w 2358991"/>
                    <a:gd name="connsiteY749" fmla="*/ 260275 h 2404309"/>
                    <a:gd name="connsiteX750" fmla="*/ 1648491 w 2358991"/>
                    <a:gd name="connsiteY750" fmla="*/ 260998 h 2404309"/>
                    <a:gd name="connsiteX751" fmla="*/ 1643269 w 2358991"/>
                    <a:gd name="connsiteY751" fmla="*/ 261319 h 2404309"/>
                    <a:gd name="connsiteX752" fmla="*/ 1644555 w 2358991"/>
                    <a:gd name="connsiteY752" fmla="*/ 269754 h 2404309"/>
                    <a:gd name="connsiteX753" fmla="*/ 1637245 w 2358991"/>
                    <a:gd name="connsiteY753" fmla="*/ 269512 h 2404309"/>
                    <a:gd name="connsiteX754" fmla="*/ 1641502 w 2358991"/>
                    <a:gd name="connsiteY754" fmla="*/ 260034 h 2404309"/>
                    <a:gd name="connsiteX755" fmla="*/ 1643269 w 2358991"/>
                    <a:gd name="connsiteY755" fmla="*/ 261319 h 2404309"/>
                    <a:gd name="connsiteX756" fmla="*/ 1168210 w 2358991"/>
                    <a:gd name="connsiteY756" fmla="*/ 430972 h 2404309"/>
                    <a:gd name="connsiteX757" fmla="*/ 1153992 w 2358991"/>
                    <a:gd name="connsiteY757" fmla="*/ 440692 h 2404309"/>
                    <a:gd name="connsiteX758" fmla="*/ 1141541 w 2358991"/>
                    <a:gd name="connsiteY758" fmla="*/ 439406 h 2404309"/>
                    <a:gd name="connsiteX759" fmla="*/ 1168852 w 2358991"/>
                    <a:gd name="connsiteY759" fmla="*/ 429847 h 2404309"/>
                    <a:gd name="connsiteX760" fmla="*/ 1168210 w 2358991"/>
                    <a:gd name="connsiteY760" fmla="*/ 430972 h 2404309"/>
                    <a:gd name="connsiteX761" fmla="*/ 1652828 w 2358991"/>
                    <a:gd name="connsiteY761" fmla="*/ 245093 h 2404309"/>
                    <a:gd name="connsiteX762" fmla="*/ 1650419 w 2358991"/>
                    <a:gd name="connsiteY762" fmla="*/ 248145 h 2404309"/>
                    <a:gd name="connsiteX763" fmla="*/ 1649455 w 2358991"/>
                    <a:gd name="connsiteY763" fmla="*/ 244771 h 2404309"/>
                    <a:gd name="connsiteX764" fmla="*/ 1652909 w 2358991"/>
                    <a:gd name="connsiteY764" fmla="*/ 244771 h 2404309"/>
                    <a:gd name="connsiteX765" fmla="*/ 1652828 w 2358991"/>
                    <a:gd name="connsiteY765" fmla="*/ 245093 h 2404309"/>
                    <a:gd name="connsiteX766" fmla="*/ 1173993 w 2358991"/>
                    <a:gd name="connsiteY766" fmla="*/ 244209 h 2404309"/>
                    <a:gd name="connsiteX767" fmla="*/ 1173993 w 2358991"/>
                    <a:gd name="connsiteY767" fmla="*/ 244370 h 2404309"/>
                    <a:gd name="connsiteX768" fmla="*/ 1173993 w 2358991"/>
                    <a:gd name="connsiteY768" fmla="*/ 244370 h 2404309"/>
                    <a:gd name="connsiteX769" fmla="*/ 1173993 w 2358991"/>
                    <a:gd name="connsiteY769" fmla="*/ 244370 h 2404309"/>
                    <a:gd name="connsiteX770" fmla="*/ 1173993 w 2358991"/>
                    <a:gd name="connsiteY770" fmla="*/ 244370 h 2404309"/>
                    <a:gd name="connsiteX771" fmla="*/ 1173993 w 2358991"/>
                    <a:gd name="connsiteY771" fmla="*/ 244370 h 2404309"/>
                    <a:gd name="connsiteX772" fmla="*/ 1173993 w 2358991"/>
                    <a:gd name="connsiteY772" fmla="*/ 244370 h 2404309"/>
                    <a:gd name="connsiteX773" fmla="*/ 1173993 w 2358991"/>
                    <a:gd name="connsiteY773" fmla="*/ 244370 h 2404309"/>
                    <a:gd name="connsiteX774" fmla="*/ 1173993 w 2358991"/>
                    <a:gd name="connsiteY774" fmla="*/ 244370 h 2404309"/>
                    <a:gd name="connsiteX775" fmla="*/ 1173993 w 2358991"/>
                    <a:gd name="connsiteY775" fmla="*/ 244370 h 2404309"/>
                    <a:gd name="connsiteX776" fmla="*/ 1173993 w 2358991"/>
                    <a:gd name="connsiteY776" fmla="*/ 244370 h 2404309"/>
                    <a:gd name="connsiteX777" fmla="*/ 1173993 w 2358991"/>
                    <a:gd name="connsiteY777" fmla="*/ 244370 h 2404309"/>
                    <a:gd name="connsiteX778" fmla="*/ 1173993 w 2358991"/>
                    <a:gd name="connsiteY778" fmla="*/ 244370 h 2404309"/>
                    <a:gd name="connsiteX779" fmla="*/ 1173993 w 2358991"/>
                    <a:gd name="connsiteY779" fmla="*/ 244209 h 2404309"/>
                    <a:gd name="connsiteX780" fmla="*/ 1173993 w 2358991"/>
                    <a:gd name="connsiteY780" fmla="*/ 244209 h 2404309"/>
                    <a:gd name="connsiteX781" fmla="*/ 1173913 w 2358991"/>
                    <a:gd name="connsiteY781" fmla="*/ 244290 h 2404309"/>
                    <a:gd name="connsiteX782" fmla="*/ 1173913 w 2358991"/>
                    <a:gd name="connsiteY782" fmla="*/ 244290 h 2404309"/>
                    <a:gd name="connsiteX783" fmla="*/ 1173913 w 2358991"/>
                    <a:gd name="connsiteY783" fmla="*/ 244290 h 2404309"/>
                    <a:gd name="connsiteX784" fmla="*/ 1173913 w 2358991"/>
                    <a:gd name="connsiteY784" fmla="*/ 244290 h 2404309"/>
                    <a:gd name="connsiteX785" fmla="*/ 1173913 w 2358991"/>
                    <a:gd name="connsiteY785" fmla="*/ 244290 h 2404309"/>
                    <a:gd name="connsiteX786" fmla="*/ 1173913 w 2358991"/>
                    <a:gd name="connsiteY786" fmla="*/ 244290 h 2404309"/>
                    <a:gd name="connsiteX787" fmla="*/ 1173913 w 2358991"/>
                    <a:gd name="connsiteY787" fmla="*/ 244290 h 2404309"/>
                    <a:gd name="connsiteX788" fmla="*/ 1173913 w 2358991"/>
                    <a:gd name="connsiteY788" fmla="*/ 244290 h 2404309"/>
                    <a:gd name="connsiteX789" fmla="*/ 1173913 w 2358991"/>
                    <a:gd name="connsiteY789" fmla="*/ 244290 h 2404309"/>
                    <a:gd name="connsiteX790" fmla="*/ 1173913 w 2358991"/>
                    <a:gd name="connsiteY790" fmla="*/ 244290 h 2404309"/>
                    <a:gd name="connsiteX791" fmla="*/ 1173913 w 2358991"/>
                    <a:gd name="connsiteY791" fmla="*/ 244290 h 2404309"/>
                    <a:gd name="connsiteX792" fmla="*/ 1173913 w 2358991"/>
                    <a:gd name="connsiteY792" fmla="*/ 244290 h 2404309"/>
                    <a:gd name="connsiteX793" fmla="*/ 1173913 w 2358991"/>
                    <a:gd name="connsiteY793" fmla="*/ 244290 h 2404309"/>
                    <a:gd name="connsiteX794" fmla="*/ 1173913 w 2358991"/>
                    <a:gd name="connsiteY794" fmla="*/ 244290 h 2404309"/>
                    <a:gd name="connsiteX795" fmla="*/ 1173913 w 2358991"/>
                    <a:gd name="connsiteY795" fmla="*/ 244290 h 2404309"/>
                    <a:gd name="connsiteX796" fmla="*/ 1173913 w 2358991"/>
                    <a:gd name="connsiteY796" fmla="*/ 244290 h 2404309"/>
                    <a:gd name="connsiteX797" fmla="*/ 1173913 w 2358991"/>
                    <a:gd name="connsiteY797" fmla="*/ 244290 h 2404309"/>
                    <a:gd name="connsiteX798" fmla="*/ 1173913 w 2358991"/>
                    <a:gd name="connsiteY798" fmla="*/ 244290 h 2404309"/>
                    <a:gd name="connsiteX799" fmla="*/ 1173913 w 2358991"/>
                    <a:gd name="connsiteY799" fmla="*/ 244290 h 2404309"/>
                    <a:gd name="connsiteX800" fmla="*/ 1173993 w 2358991"/>
                    <a:gd name="connsiteY800" fmla="*/ 244209 h 2404309"/>
                    <a:gd name="connsiteX801" fmla="*/ 1510487 w 2358991"/>
                    <a:gd name="connsiteY801" fmla="*/ 19452 h 2404309"/>
                    <a:gd name="connsiteX802" fmla="*/ 1583987 w 2358991"/>
                    <a:gd name="connsiteY802" fmla="*/ 49414 h 2404309"/>
                    <a:gd name="connsiteX803" fmla="*/ 1613789 w 2358991"/>
                    <a:gd name="connsiteY803" fmla="*/ 64676 h 2404309"/>
                    <a:gd name="connsiteX804" fmla="*/ 1612504 w 2358991"/>
                    <a:gd name="connsiteY804" fmla="*/ 65479 h 2404309"/>
                    <a:gd name="connsiteX805" fmla="*/ 1666002 w 2358991"/>
                    <a:gd name="connsiteY805" fmla="*/ 95442 h 2404309"/>
                    <a:gd name="connsiteX806" fmla="*/ 1669296 w 2358991"/>
                    <a:gd name="connsiteY806" fmla="*/ 93996 h 2404309"/>
                    <a:gd name="connsiteX807" fmla="*/ 1757978 w 2358991"/>
                    <a:gd name="connsiteY807" fmla="*/ 129742 h 2404309"/>
                    <a:gd name="connsiteX808" fmla="*/ 1755568 w 2358991"/>
                    <a:gd name="connsiteY808" fmla="*/ 130144 h 2404309"/>
                    <a:gd name="connsiteX809" fmla="*/ 1756773 w 2358991"/>
                    <a:gd name="connsiteY809" fmla="*/ 130866 h 2404309"/>
                    <a:gd name="connsiteX810" fmla="*/ 1752435 w 2358991"/>
                    <a:gd name="connsiteY810" fmla="*/ 134642 h 2404309"/>
                    <a:gd name="connsiteX811" fmla="*/ 1754363 w 2358991"/>
                    <a:gd name="connsiteY811" fmla="*/ 135686 h 2404309"/>
                    <a:gd name="connsiteX812" fmla="*/ 1747615 w 2358991"/>
                    <a:gd name="connsiteY812" fmla="*/ 137614 h 2404309"/>
                    <a:gd name="connsiteX813" fmla="*/ 1739583 w 2358991"/>
                    <a:gd name="connsiteY813" fmla="*/ 131107 h 2404309"/>
                    <a:gd name="connsiteX814" fmla="*/ 1730666 w 2358991"/>
                    <a:gd name="connsiteY814" fmla="*/ 132393 h 2404309"/>
                    <a:gd name="connsiteX815" fmla="*/ 1744081 w 2358991"/>
                    <a:gd name="connsiteY815" fmla="*/ 136971 h 2404309"/>
                    <a:gd name="connsiteX816" fmla="*/ 1744483 w 2358991"/>
                    <a:gd name="connsiteY816" fmla="*/ 137614 h 2404309"/>
                    <a:gd name="connsiteX817" fmla="*/ 1731952 w 2358991"/>
                    <a:gd name="connsiteY817" fmla="*/ 133116 h 2404309"/>
                    <a:gd name="connsiteX818" fmla="*/ 1730586 w 2358991"/>
                    <a:gd name="connsiteY818" fmla="*/ 132473 h 2404309"/>
                    <a:gd name="connsiteX819" fmla="*/ 1665360 w 2358991"/>
                    <a:gd name="connsiteY819" fmla="*/ 97691 h 2404309"/>
                    <a:gd name="connsiteX820" fmla="*/ 1664396 w 2358991"/>
                    <a:gd name="connsiteY820" fmla="*/ 98655 h 2404309"/>
                    <a:gd name="connsiteX821" fmla="*/ 1616038 w 2358991"/>
                    <a:gd name="connsiteY821" fmla="*/ 77448 h 2404309"/>
                    <a:gd name="connsiteX822" fmla="*/ 1592743 w 2358991"/>
                    <a:gd name="connsiteY822" fmla="*/ 68853 h 2404309"/>
                    <a:gd name="connsiteX823" fmla="*/ 1564066 w 2358991"/>
                    <a:gd name="connsiteY823" fmla="*/ 52547 h 2404309"/>
                    <a:gd name="connsiteX824" fmla="*/ 1548081 w 2358991"/>
                    <a:gd name="connsiteY824" fmla="*/ 44112 h 2404309"/>
                    <a:gd name="connsiteX825" fmla="*/ 1525830 w 2358991"/>
                    <a:gd name="connsiteY825" fmla="*/ 27725 h 2404309"/>
                    <a:gd name="connsiteX826" fmla="*/ 1503418 w 2358991"/>
                    <a:gd name="connsiteY826" fmla="*/ 18568 h 2404309"/>
                    <a:gd name="connsiteX827" fmla="*/ 1510487 w 2358991"/>
                    <a:gd name="connsiteY827" fmla="*/ 19452 h 2404309"/>
                    <a:gd name="connsiteX828" fmla="*/ 1409515 w 2358991"/>
                    <a:gd name="connsiteY828" fmla="*/ 117612 h 2404309"/>
                    <a:gd name="connsiteX829" fmla="*/ 1414335 w 2358991"/>
                    <a:gd name="connsiteY829" fmla="*/ 129662 h 2404309"/>
                    <a:gd name="connsiteX830" fmla="*/ 1408390 w 2358991"/>
                    <a:gd name="connsiteY830" fmla="*/ 129662 h 2404309"/>
                    <a:gd name="connsiteX831" fmla="*/ 1405338 w 2358991"/>
                    <a:gd name="connsiteY831" fmla="*/ 128778 h 2404309"/>
                    <a:gd name="connsiteX832" fmla="*/ 1388068 w 2358991"/>
                    <a:gd name="connsiteY832" fmla="*/ 121147 h 2404309"/>
                    <a:gd name="connsiteX833" fmla="*/ 1384694 w 2358991"/>
                    <a:gd name="connsiteY833" fmla="*/ 120665 h 2404309"/>
                    <a:gd name="connsiteX834" fmla="*/ 1367584 w 2358991"/>
                    <a:gd name="connsiteY834" fmla="*/ 116086 h 2404309"/>
                    <a:gd name="connsiteX835" fmla="*/ 1355936 w 2358991"/>
                    <a:gd name="connsiteY835" fmla="*/ 108937 h 2404309"/>
                    <a:gd name="connsiteX836" fmla="*/ 1362764 w 2358991"/>
                    <a:gd name="connsiteY836" fmla="*/ 107893 h 2404309"/>
                    <a:gd name="connsiteX837" fmla="*/ 1408310 w 2358991"/>
                    <a:gd name="connsiteY837" fmla="*/ 116247 h 2404309"/>
                    <a:gd name="connsiteX838" fmla="*/ 1409515 w 2358991"/>
                    <a:gd name="connsiteY838" fmla="*/ 117612 h 2404309"/>
                    <a:gd name="connsiteX839" fmla="*/ 1331436 w 2358991"/>
                    <a:gd name="connsiteY839" fmla="*/ 138016 h 2404309"/>
                    <a:gd name="connsiteX840" fmla="*/ 1296654 w 2358991"/>
                    <a:gd name="connsiteY840" fmla="*/ 125002 h 2404309"/>
                    <a:gd name="connsiteX841" fmla="*/ 1304767 w 2358991"/>
                    <a:gd name="connsiteY841" fmla="*/ 127252 h 2404309"/>
                    <a:gd name="connsiteX842" fmla="*/ 1308221 w 2358991"/>
                    <a:gd name="connsiteY842" fmla="*/ 128617 h 2404309"/>
                    <a:gd name="connsiteX843" fmla="*/ 1315853 w 2358991"/>
                    <a:gd name="connsiteY843" fmla="*/ 132152 h 2404309"/>
                    <a:gd name="connsiteX844" fmla="*/ 1325090 w 2358991"/>
                    <a:gd name="connsiteY844" fmla="*/ 134481 h 2404309"/>
                    <a:gd name="connsiteX845" fmla="*/ 1331838 w 2358991"/>
                    <a:gd name="connsiteY845" fmla="*/ 137453 h 2404309"/>
                    <a:gd name="connsiteX846" fmla="*/ 1331436 w 2358991"/>
                    <a:gd name="connsiteY846" fmla="*/ 138016 h 2404309"/>
                    <a:gd name="connsiteX847" fmla="*/ 1324528 w 2358991"/>
                    <a:gd name="connsiteY847" fmla="*/ 99298 h 2404309"/>
                    <a:gd name="connsiteX848" fmla="*/ 1325894 w 2358991"/>
                    <a:gd name="connsiteY848" fmla="*/ 99860 h 2404309"/>
                    <a:gd name="connsiteX849" fmla="*/ 1324528 w 2358991"/>
                    <a:gd name="connsiteY849" fmla="*/ 99298 h 2404309"/>
                    <a:gd name="connsiteX850" fmla="*/ 1324528 w 2358991"/>
                    <a:gd name="connsiteY850" fmla="*/ 99298 h 2404309"/>
                    <a:gd name="connsiteX851" fmla="*/ 1330633 w 2358991"/>
                    <a:gd name="connsiteY851" fmla="*/ 102029 h 2404309"/>
                    <a:gd name="connsiteX852" fmla="*/ 1420199 w 2358991"/>
                    <a:gd name="connsiteY852" fmla="*/ 163480 h 2404309"/>
                    <a:gd name="connsiteX853" fmla="*/ 1369913 w 2358991"/>
                    <a:gd name="connsiteY853" fmla="*/ 137293 h 2404309"/>
                    <a:gd name="connsiteX854" fmla="*/ 1348546 w 2358991"/>
                    <a:gd name="connsiteY854" fmla="*/ 129983 h 2404309"/>
                    <a:gd name="connsiteX855" fmla="*/ 1349028 w 2358991"/>
                    <a:gd name="connsiteY855" fmla="*/ 129099 h 2404309"/>
                    <a:gd name="connsiteX856" fmla="*/ 1347261 w 2358991"/>
                    <a:gd name="connsiteY856" fmla="*/ 121388 h 2404309"/>
                    <a:gd name="connsiteX857" fmla="*/ 1334489 w 2358991"/>
                    <a:gd name="connsiteY857" fmla="*/ 116889 h 2404309"/>
                    <a:gd name="connsiteX858" fmla="*/ 1336899 w 2358991"/>
                    <a:gd name="connsiteY858" fmla="*/ 122994 h 2404309"/>
                    <a:gd name="connsiteX859" fmla="*/ 1323002 w 2358991"/>
                    <a:gd name="connsiteY859" fmla="*/ 117532 h 2404309"/>
                    <a:gd name="connsiteX860" fmla="*/ 1334730 w 2358991"/>
                    <a:gd name="connsiteY860" fmla="*/ 129662 h 2404309"/>
                    <a:gd name="connsiteX861" fmla="*/ 1304205 w 2358991"/>
                    <a:gd name="connsiteY861" fmla="*/ 122753 h 2404309"/>
                    <a:gd name="connsiteX862" fmla="*/ 1291433 w 2358991"/>
                    <a:gd name="connsiteY862" fmla="*/ 118496 h 2404309"/>
                    <a:gd name="connsiteX863" fmla="*/ 1258980 w 2358991"/>
                    <a:gd name="connsiteY863" fmla="*/ 103876 h 2404309"/>
                    <a:gd name="connsiteX864" fmla="*/ 1263238 w 2358991"/>
                    <a:gd name="connsiteY864" fmla="*/ 104519 h 2404309"/>
                    <a:gd name="connsiteX865" fmla="*/ 1260426 w 2358991"/>
                    <a:gd name="connsiteY865" fmla="*/ 101627 h 2404309"/>
                    <a:gd name="connsiteX866" fmla="*/ 1267817 w 2358991"/>
                    <a:gd name="connsiteY866" fmla="*/ 102430 h 2404309"/>
                    <a:gd name="connsiteX867" fmla="*/ 1262917 w 2358991"/>
                    <a:gd name="connsiteY867" fmla="*/ 100101 h 2404309"/>
                    <a:gd name="connsiteX868" fmla="*/ 1275689 w 2358991"/>
                    <a:gd name="connsiteY868" fmla="*/ 105242 h 2404309"/>
                    <a:gd name="connsiteX869" fmla="*/ 1287497 w 2358991"/>
                    <a:gd name="connsiteY869" fmla="*/ 105965 h 2404309"/>
                    <a:gd name="connsiteX870" fmla="*/ 1272234 w 2358991"/>
                    <a:gd name="connsiteY870" fmla="*/ 96165 h 2404309"/>
                    <a:gd name="connsiteX871" fmla="*/ 1318343 w 2358991"/>
                    <a:gd name="connsiteY871" fmla="*/ 110865 h 2404309"/>
                    <a:gd name="connsiteX872" fmla="*/ 1271753 w 2358991"/>
                    <a:gd name="connsiteY872" fmla="*/ 89658 h 2404309"/>
                    <a:gd name="connsiteX873" fmla="*/ 1272234 w 2358991"/>
                    <a:gd name="connsiteY873" fmla="*/ 88453 h 2404309"/>
                    <a:gd name="connsiteX874" fmla="*/ 1303723 w 2358991"/>
                    <a:gd name="connsiteY874" fmla="*/ 99298 h 2404309"/>
                    <a:gd name="connsiteX875" fmla="*/ 1297457 w 2358991"/>
                    <a:gd name="connsiteY875" fmla="*/ 93916 h 2404309"/>
                    <a:gd name="connsiteX876" fmla="*/ 1315612 w 2358991"/>
                    <a:gd name="connsiteY876" fmla="*/ 100181 h 2404309"/>
                    <a:gd name="connsiteX877" fmla="*/ 1328063 w 2358991"/>
                    <a:gd name="connsiteY877" fmla="*/ 101707 h 2404309"/>
                    <a:gd name="connsiteX878" fmla="*/ 1326456 w 2358991"/>
                    <a:gd name="connsiteY878" fmla="*/ 100101 h 2404309"/>
                    <a:gd name="connsiteX879" fmla="*/ 1330633 w 2358991"/>
                    <a:gd name="connsiteY879" fmla="*/ 102029 h 2404309"/>
                    <a:gd name="connsiteX880" fmla="*/ 1333605 w 2358991"/>
                    <a:gd name="connsiteY880" fmla="*/ 13989 h 2404309"/>
                    <a:gd name="connsiteX881" fmla="*/ 1336176 w 2358991"/>
                    <a:gd name="connsiteY881" fmla="*/ 15435 h 2404309"/>
                    <a:gd name="connsiteX882" fmla="*/ 1333605 w 2358991"/>
                    <a:gd name="connsiteY882" fmla="*/ 13989 h 2404309"/>
                    <a:gd name="connsiteX883" fmla="*/ 1338264 w 2358991"/>
                    <a:gd name="connsiteY883" fmla="*/ 28528 h 2404309"/>
                    <a:gd name="connsiteX884" fmla="*/ 1339067 w 2358991"/>
                    <a:gd name="connsiteY884" fmla="*/ 29332 h 2404309"/>
                    <a:gd name="connsiteX885" fmla="*/ 1334489 w 2358991"/>
                    <a:gd name="connsiteY885" fmla="*/ 29814 h 2404309"/>
                    <a:gd name="connsiteX886" fmla="*/ 1334087 w 2358991"/>
                    <a:gd name="connsiteY886" fmla="*/ 29653 h 2404309"/>
                    <a:gd name="connsiteX887" fmla="*/ 1327339 w 2358991"/>
                    <a:gd name="connsiteY887" fmla="*/ 27484 h 2404309"/>
                    <a:gd name="connsiteX888" fmla="*/ 1339228 w 2358991"/>
                    <a:gd name="connsiteY888" fmla="*/ 27966 h 2404309"/>
                    <a:gd name="connsiteX889" fmla="*/ 1338264 w 2358991"/>
                    <a:gd name="connsiteY889" fmla="*/ 28528 h 2404309"/>
                    <a:gd name="connsiteX890" fmla="*/ 1329107 w 2358991"/>
                    <a:gd name="connsiteY890" fmla="*/ 29412 h 2404309"/>
                    <a:gd name="connsiteX891" fmla="*/ 1319226 w 2358991"/>
                    <a:gd name="connsiteY891" fmla="*/ 28287 h 2404309"/>
                    <a:gd name="connsiteX892" fmla="*/ 1328223 w 2358991"/>
                    <a:gd name="connsiteY892" fmla="*/ 29171 h 2404309"/>
                    <a:gd name="connsiteX893" fmla="*/ 1329107 w 2358991"/>
                    <a:gd name="connsiteY893" fmla="*/ 29412 h 2404309"/>
                    <a:gd name="connsiteX894" fmla="*/ 1313925 w 2358991"/>
                    <a:gd name="connsiteY894" fmla="*/ 19371 h 2404309"/>
                    <a:gd name="connsiteX895" fmla="*/ 1319708 w 2358991"/>
                    <a:gd name="connsiteY895" fmla="*/ 19934 h 2404309"/>
                    <a:gd name="connsiteX896" fmla="*/ 1313925 w 2358991"/>
                    <a:gd name="connsiteY896" fmla="*/ 19371 h 2404309"/>
                    <a:gd name="connsiteX897" fmla="*/ 1313925 w 2358991"/>
                    <a:gd name="connsiteY897" fmla="*/ 19371 h 2404309"/>
                    <a:gd name="connsiteX898" fmla="*/ 1261631 w 2358991"/>
                    <a:gd name="connsiteY898" fmla="*/ 79939 h 2404309"/>
                    <a:gd name="connsiteX899" fmla="*/ 1255848 w 2358991"/>
                    <a:gd name="connsiteY899" fmla="*/ 78492 h 2404309"/>
                    <a:gd name="connsiteX900" fmla="*/ 1259221 w 2358991"/>
                    <a:gd name="connsiteY900" fmla="*/ 78412 h 2404309"/>
                    <a:gd name="connsiteX901" fmla="*/ 1261631 w 2358991"/>
                    <a:gd name="connsiteY901" fmla="*/ 79939 h 2404309"/>
                    <a:gd name="connsiteX902" fmla="*/ 1311515 w 2358991"/>
                    <a:gd name="connsiteY902" fmla="*/ 22183 h 2404309"/>
                    <a:gd name="connsiteX903" fmla="*/ 1320753 w 2358991"/>
                    <a:gd name="connsiteY903" fmla="*/ 24271 h 2404309"/>
                    <a:gd name="connsiteX904" fmla="*/ 1311515 w 2358991"/>
                    <a:gd name="connsiteY904" fmla="*/ 22183 h 2404309"/>
                    <a:gd name="connsiteX905" fmla="*/ 1311515 w 2358991"/>
                    <a:gd name="connsiteY905" fmla="*/ 22183 h 2404309"/>
                    <a:gd name="connsiteX906" fmla="*/ 1321957 w 2358991"/>
                    <a:gd name="connsiteY906" fmla="*/ 17202 h 2404309"/>
                    <a:gd name="connsiteX907" fmla="*/ 1328063 w 2358991"/>
                    <a:gd name="connsiteY907" fmla="*/ 19853 h 2404309"/>
                    <a:gd name="connsiteX908" fmla="*/ 1311836 w 2358991"/>
                    <a:gd name="connsiteY908" fmla="*/ 18166 h 2404309"/>
                    <a:gd name="connsiteX909" fmla="*/ 1312720 w 2358991"/>
                    <a:gd name="connsiteY909" fmla="*/ 17283 h 2404309"/>
                    <a:gd name="connsiteX910" fmla="*/ 1321957 w 2358991"/>
                    <a:gd name="connsiteY910" fmla="*/ 17202 h 2404309"/>
                    <a:gd name="connsiteX911" fmla="*/ 1315371 w 2358991"/>
                    <a:gd name="connsiteY911" fmla="*/ 77609 h 2404309"/>
                    <a:gd name="connsiteX912" fmla="*/ 1315451 w 2358991"/>
                    <a:gd name="connsiteY912" fmla="*/ 91024 h 2404309"/>
                    <a:gd name="connsiteX913" fmla="*/ 1295289 w 2358991"/>
                    <a:gd name="connsiteY913" fmla="*/ 85883 h 2404309"/>
                    <a:gd name="connsiteX914" fmla="*/ 1273921 w 2358991"/>
                    <a:gd name="connsiteY914" fmla="*/ 83634 h 2404309"/>
                    <a:gd name="connsiteX915" fmla="*/ 1264684 w 2358991"/>
                    <a:gd name="connsiteY915" fmla="*/ 81143 h 2404309"/>
                    <a:gd name="connsiteX916" fmla="*/ 1271110 w 2358991"/>
                    <a:gd name="connsiteY916" fmla="*/ 81143 h 2404309"/>
                    <a:gd name="connsiteX917" fmla="*/ 1259784 w 2358991"/>
                    <a:gd name="connsiteY917" fmla="*/ 77529 h 2404309"/>
                    <a:gd name="connsiteX918" fmla="*/ 1266130 w 2358991"/>
                    <a:gd name="connsiteY918" fmla="*/ 78251 h 2404309"/>
                    <a:gd name="connsiteX919" fmla="*/ 1256812 w 2358991"/>
                    <a:gd name="connsiteY919" fmla="*/ 73914 h 2404309"/>
                    <a:gd name="connsiteX920" fmla="*/ 1283239 w 2358991"/>
                    <a:gd name="connsiteY920" fmla="*/ 77288 h 2404309"/>
                    <a:gd name="connsiteX921" fmla="*/ 1262274 w 2358991"/>
                    <a:gd name="connsiteY921" fmla="*/ 69255 h 2404309"/>
                    <a:gd name="connsiteX922" fmla="*/ 1277617 w 2358991"/>
                    <a:gd name="connsiteY922" fmla="*/ 73352 h 2404309"/>
                    <a:gd name="connsiteX923" fmla="*/ 1270387 w 2358991"/>
                    <a:gd name="connsiteY923" fmla="*/ 68291 h 2404309"/>
                    <a:gd name="connsiteX924" fmla="*/ 1315371 w 2358991"/>
                    <a:gd name="connsiteY924" fmla="*/ 77609 h 2404309"/>
                    <a:gd name="connsiteX925" fmla="*/ 1313121 w 2358991"/>
                    <a:gd name="connsiteY925" fmla="*/ 13588 h 2404309"/>
                    <a:gd name="connsiteX926" fmla="*/ 1323805 w 2358991"/>
                    <a:gd name="connsiteY926" fmla="*/ 16238 h 2404309"/>
                    <a:gd name="connsiteX927" fmla="*/ 1301233 w 2358991"/>
                    <a:gd name="connsiteY927" fmla="*/ 15917 h 2404309"/>
                    <a:gd name="connsiteX928" fmla="*/ 1313121 w 2358991"/>
                    <a:gd name="connsiteY928" fmla="*/ 13588 h 2404309"/>
                    <a:gd name="connsiteX929" fmla="*/ 1302116 w 2358991"/>
                    <a:gd name="connsiteY929" fmla="*/ 19773 h 2404309"/>
                    <a:gd name="connsiteX930" fmla="*/ 1302518 w 2358991"/>
                    <a:gd name="connsiteY930" fmla="*/ 19773 h 2404309"/>
                    <a:gd name="connsiteX931" fmla="*/ 1306133 w 2358991"/>
                    <a:gd name="connsiteY931" fmla="*/ 20255 h 2404309"/>
                    <a:gd name="connsiteX932" fmla="*/ 1292879 w 2358991"/>
                    <a:gd name="connsiteY932" fmla="*/ 19853 h 2404309"/>
                    <a:gd name="connsiteX933" fmla="*/ 1302116 w 2358991"/>
                    <a:gd name="connsiteY933" fmla="*/ 19773 h 2404309"/>
                    <a:gd name="connsiteX934" fmla="*/ 1276090 w 2358991"/>
                    <a:gd name="connsiteY934" fmla="*/ 26360 h 2404309"/>
                    <a:gd name="connsiteX935" fmla="*/ 1278098 w 2358991"/>
                    <a:gd name="connsiteY935" fmla="*/ 27324 h 2404309"/>
                    <a:gd name="connsiteX936" fmla="*/ 1288380 w 2358991"/>
                    <a:gd name="connsiteY936" fmla="*/ 29171 h 2404309"/>
                    <a:gd name="connsiteX937" fmla="*/ 1289907 w 2358991"/>
                    <a:gd name="connsiteY937" fmla="*/ 29412 h 2404309"/>
                    <a:gd name="connsiteX938" fmla="*/ 1300108 w 2358991"/>
                    <a:gd name="connsiteY938" fmla="*/ 32384 h 2404309"/>
                    <a:gd name="connsiteX939" fmla="*/ 1291433 w 2358991"/>
                    <a:gd name="connsiteY939" fmla="*/ 31661 h 2404309"/>
                    <a:gd name="connsiteX940" fmla="*/ 1293441 w 2358991"/>
                    <a:gd name="connsiteY940" fmla="*/ 32384 h 2404309"/>
                    <a:gd name="connsiteX941" fmla="*/ 1287577 w 2358991"/>
                    <a:gd name="connsiteY941" fmla="*/ 32866 h 2404309"/>
                    <a:gd name="connsiteX942" fmla="*/ 1276090 w 2358991"/>
                    <a:gd name="connsiteY942" fmla="*/ 26360 h 2404309"/>
                    <a:gd name="connsiteX943" fmla="*/ 1276090 w 2358991"/>
                    <a:gd name="connsiteY943" fmla="*/ 26360 h 2404309"/>
                    <a:gd name="connsiteX944" fmla="*/ 1282918 w 2358991"/>
                    <a:gd name="connsiteY944" fmla="*/ 8527 h 2404309"/>
                    <a:gd name="connsiteX945" fmla="*/ 1306213 w 2358991"/>
                    <a:gd name="connsiteY945" fmla="*/ 11499 h 2404309"/>
                    <a:gd name="connsiteX946" fmla="*/ 1277295 w 2358991"/>
                    <a:gd name="connsiteY946" fmla="*/ 11258 h 2404309"/>
                    <a:gd name="connsiteX947" fmla="*/ 1278741 w 2358991"/>
                    <a:gd name="connsiteY947" fmla="*/ 10776 h 2404309"/>
                    <a:gd name="connsiteX948" fmla="*/ 1276894 w 2358991"/>
                    <a:gd name="connsiteY948" fmla="*/ 8848 h 2404309"/>
                    <a:gd name="connsiteX949" fmla="*/ 1282918 w 2358991"/>
                    <a:gd name="connsiteY949" fmla="*/ 8527 h 2404309"/>
                    <a:gd name="connsiteX950" fmla="*/ 1284926 w 2358991"/>
                    <a:gd name="connsiteY950" fmla="*/ 22906 h 2404309"/>
                    <a:gd name="connsiteX951" fmla="*/ 1325733 w 2358991"/>
                    <a:gd name="connsiteY951" fmla="*/ 31661 h 2404309"/>
                    <a:gd name="connsiteX952" fmla="*/ 1310872 w 2358991"/>
                    <a:gd name="connsiteY952" fmla="*/ 31742 h 2404309"/>
                    <a:gd name="connsiteX953" fmla="*/ 1309185 w 2358991"/>
                    <a:gd name="connsiteY953" fmla="*/ 31420 h 2404309"/>
                    <a:gd name="connsiteX954" fmla="*/ 1293521 w 2358991"/>
                    <a:gd name="connsiteY954" fmla="*/ 26520 h 2404309"/>
                    <a:gd name="connsiteX955" fmla="*/ 1279866 w 2358991"/>
                    <a:gd name="connsiteY955" fmla="*/ 24673 h 2404309"/>
                    <a:gd name="connsiteX956" fmla="*/ 1269503 w 2358991"/>
                    <a:gd name="connsiteY956" fmla="*/ 23227 h 2404309"/>
                    <a:gd name="connsiteX957" fmla="*/ 1284926 w 2358991"/>
                    <a:gd name="connsiteY957" fmla="*/ 22906 h 2404309"/>
                    <a:gd name="connsiteX958" fmla="*/ 1270949 w 2358991"/>
                    <a:gd name="connsiteY958" fmla="*/ 15194 h 2404309"/>
                    <a:gd name="connsiteX959" fmla="*/ 1283480 w 2358991"/>
                    <a:gd name="connsiteY959" fmla="*/ 18246 h 2404309"/>
                    <a:gd name="connsiteX960" fmla="*/ 1279946 w 2358991"/>
                    <a:gd name="connsiteY960" fmla="*/ 18487 h 2404309"/>
                    <a:gd name="connsiteX961" fmla="*/ 1270548 w 2358991"/>
                    <a:gd name="connsiteY961" fmla="*/ 15194 h 2404309"/>
                    <a:gd name="connsiteX962" fmla="*/ 1270949 w 2358991"/>
                    <a:gd name="connsiteY962" fmla="*/ 15194 h 2404309"/>
                    <a:gd name="connsiteX963" fmla="*/ 1268539 w 2358991"/>
                    <a:gd name="connsiteY963" fmla="*/ 9973 h 2404309"/>
                    <a:gd name="connsiteX964" fmla="*/ 1258980 w 2358991"/>
                    <a:gd name="connsiteY964" fmla="*/ 9973 h 2404309"/>
                    <a:gd name="connsiteX965" fmla="*/ 1269182 w 2358991"/>
                    <a:gd name="connsiteY965" fmla="*/ 9973 h 2404309"/>
                    <a:gd name="connsiteX966" fmla="*/ 1268539 w 2358991"/>
                    <a:gd name="connsiteY966" fmla="*/ 9973 h 2404309"/>
                    <a:gd name="connsiteX967" fmla="*/ 1277054 w 2358991"/>
                    <a:gd name="connsiteY967" fmla="*/ 13266 h 2404309"/>
                    <a:gd name="connsiteX968" fmla="*/ 1277617 w 2358991"/>
                    <a:gd name="connsiteY968" fmla="*/ 13266 h 2404309"/>
                    <a:gd name="connsiteX969" fmla="*/ 1255285 w 2358991"/>
                    <a:gd name="connsiteY969" fmla="*/ 13025 h 2404309"/>
                    <a:gd name="connsiteX970" fmla="*/ 1277054 w 2358991"/>
                    <a:gd name="connsiteY970" fmla="*/ 13266 h 2404309"/>
                    <a:gd name="connsiteX971" fmla="*/ 1254643 w 2358991"/>
                    <a:gd name="connsiteY971" fmla="*/ 21701 h 2404309"/>
                    <a:gd name="connsiteX972" fmla="*/ 1256571 w 2358991"/>
                    <a:gd name="connsiteY972" fmla="*/ 22343 h 2404309"/>
                    <a:gd name="connsiteX973" fmla="*/ 1253598 w 2358991"/>
                    <a:gd name="connsiteY973" fmla="*/ 22263 h 2404309"/>
                    <a:gd name="connsiteX974" fmla="*/ 1253598 w 2358991"/>
                    <a:gd name="connsiteY974" fmla="*/ 22263 h 2404309"/>
                    <a:gd name="connsiteX975" fmla="*/ 1253598 w 2358991"/>
                    <a:gd name="connsiteY975" fmla="*/ 22263 h 2404309"/>
                    <a:gd name="connsiteX976" fmla="*/ 1253598 w 2358991"/>
                    <a:gd name="connsiteY976" fmla="*/ 22263 h 2404309"/>
                    <a:gd name="connsiteX977" fmla="*/ 1253598 w 2358991"/>
                    <a:gd name="connsiteY977" fmla="*/ 22263 h 2404309"/>
                    <a:gd name="connsiteX978" fmla="*/ 1253598 w 2358991"/>
                    <a:gd name="connsiteY978" fmla="*/ 22263 h 2404309"/>
                    <a:gd name="connsiteX979" fmla="*/ 1253598 w 2358991"/>
                    <a:gd name="connsiteY979" fmla="*/ 22263 h 2404309"/>
                    <a:gd name="connsiteX980" fmla="*/ 1253598 w 2358991"/>
                    <a:gd name="connsiteY980" fmla="*/ 22263 h 2404309"/>
                    <a:gd name="connsiteX981" fmla="*/ 1253598 w 2358991"/>
                    <a:gd name="connsiteY981" fmla="*/ 22263 h 2404309"/>
                    <a:gd name="connsiteX982" fmla="*/ 1254643 w 2358991"/>
                    <a:gd name="connsiteY982" fmla="*/ 21701 h 2404309"/>
                    <a:gd name="connsiteX983" fmla="*/ 1269343 w 2358991"/>
                    <a:gd name="connsiteY983" fmla="*/ 4671 h 2404309"/>
                    <a:gd name="connsiteX984" fmla="*/ 1282436 w 2358991"/>
                    <a:gd name="connsiteY984" fmla="*/ 6760 h 2404309"/>
                    <a:gd name="connsiteX985" fmla="*/ 1282356 w 2358991"/>
                    <a:gd name="connsiteY985" fmla="*/ 7001 h 2404309"/>
                    <a:gd name="connsiteX986" fmla="*/ 1265648 w 2358991"/>
                    <a:gd name="connsiteY986" fmla="*/ 7242 h 2404309"/>
                    <a:gd name="connsiteX987" fmla="*/ 1265728 w 2358991"/>
                    <a:gd name="connsiteY987" fmla="*/ 7081 h 2404309"/>
                    <a:gd name="connsiteX988" fmla="*/ 1254964 w 2358991"/>
                    <a:gd name="connsiteY988" fmla="*/ 5796 h 2404309"/>
                    <a:gd name="connsiteX989" fmla="*/ 1250064 w 2358991"/>
                    <a:gd name="connsiteY989" fmla="*/ 5394 h 2404309"/>
                    <a:gd name="connsiteX990" fmla="*/ 1269343 w 2358991"/>
                    <a:gd name="connsiteY990" fmla="*/ 4671 h 2404309"/>
                    <a:gd name="connsiteX991" fmla="*/ 1241630 w 2358991"/>
                    <a:gd name="connsiteY991" fmla="*/ 11820 h 2404309"/>
                    <a:gd name="connsiteX992" fmla="*/ 1235444 w 2358991"/>
                    <a:gd name="connsiteY992" fmla="*/ 12061 h 2404309"/>
                    <a:gd name="connsiteX993" fmla="*/ 1241870 w 2358991"/>
                    <a:gd name="connsiteY993" fmla="*/ 11820 h 2404309"/>
                    <a:gd name="connsiteX994" fmla="*/ 1241630 w 2358991"/>
                    <a:gd name="connsiteY994" fmla="*/ 11820 h 2404309"/>
                    <a:gd name="connsiteX995" fmla="*/ 1230785 w 2358991"/>
                    <a:gd name="connsiteY995" fmla="*/ 12543 h 2404309"/>
                    <a:gd name="connsiteX996" fmla="*/ 1231749 w 2358991"/>
                    <a:gd name="connsiteY996" fmla="*/ 12543 h 2404309"/>
                    <a:gd name="connsiteX997" fmla="*/ 1236007 w 2358991"/>
                    <a:gd name="connsiteY997" fmla="*/ 13106 h 2404309"/>
                    <a:gd name="connsiteX998" fmla="*/ 1249100 w 2358991"/>
                    <a:gd name="connsiteY998" fmla="*/ 13186 h 2404309"/>
                    <a:gd name="connsiteX999" fmla="*/ 1251510 w 2358991"/>
                    <a:gd name="connsiteY999" fmla="*/ 13507 h 2404309"/>
                    <a:gd name="connsiteX1000" fmla="*/ 1246289 w 2358991"/>
                    <a:gd name="connsiteY1000" fmla="*/ 14310 h 2404309"/>
                    <a:gd name="connsiteX1001" fmla="*/ 1250707 w 2358991"/>
                    <a:gd name="connsiteY1001" fmla="*/ 14712 h 2404309"/>
                    <a:gd name="connsiteX1002" fmla="*/ 1247333 w 2358991"/>
                    <a:gd name="connsiteY1002" fmla="*/ 15033 h 2404309"/>
                    <a:gd name="connsiteX1003" fmla="*/ 1250064 w 2358991"/>
                    <a:gd name="connsiteY1003" fmla="*/ 15596 h 2404309"/>
                    <a:gd name="connsiteX1004" fmla="*/ 1239220 w 2358991"/>
                    <a:gd name="connsiteY1004" fmla="*/ 15355 h 2404309"/>
                    <a:gd name="connsiteX1005" fmla="*/ 1241308 w 2358991"/>
                    <a:gd name="connsiteY1005" fmla="*/ 14953 h 2404309"/>
                    <a:gd name="connsiteX1006" fmla="*/ 1220584 w 2358991"/>
                    <a:gd name="connsiteY1006" fmla="*/ 13266 h 2404309"/>
                    <a:gd name="connsiteX1007" fmla="*/ 1230785 w 2358991"/>
                    <a:gd name="connsiteY1007" fmla="*/ 12543 h 2404309"/>
                    <a:gd name="connsiteX1008" fmla="*/ 1198654 w 2358991"/>
                    <a:gd name="connsiteY1008" fmla="*/ 12543 h 2404309"/>
                    <a:gd name="connsiteX1009" fmla="*/ 1209739 w 2358991"/>
                    <a:gd name="connsiteY1009" fmla="*/ 13266 h 2404309"/>
                    <a:gd name="connsiteX1010" fmla="*/ 1198654 w 2358991"/>
                    <a:gd name="connsiteY1010" fmla="*/ 12543 h 2404309"/>
                    <a:gd name="connsiteX1011" fmla="*/ 1198654 w 2358991"/>
                    <a:gd name="connsiteY1011" fmla="*/ 12543 h 2404309"/>
                    <a:gd name="connsiteX1012" fmla="*/ 1198654 w 2358991"/>
                    <a:gd name="connsiteY1012" fmla="*/ 12543 h 2404309"/>
                    <a:gd name="connsiteX1013" fmla="*/ 1198654 w 2358991"/>
                    <a:gd name="connsiteY1013" fmla="*/ 12543 h 2404309"/>
                    <a:gd name="connsiteX1014" fmla="*/ 1198654 w 2358991"/>
                    <a:gd name="connsiteY1014" fmla="*/ 12543 h 2404309"/>
                    <a:gd name="connsiteX1015" fmla="*/ 1010365 w 2358991"/>
                    <a:gd name="connsiteY1015" fmla="*/ 593395 h 2404309"/>
                    <a:gd name="connsiteX1016" fmla="*/ 1010365 w 2358991"/>
                    <a:gd name="connsiteY1016" fmla="*/ 593395 h 2404309"/>
                    <a:gd name="connsiteX1017" fmla="*/ 1010365 w 2358991"/>
                    <a:gd name="connsiteY1017" fmla="*/ 593395 h 2404309"/>
                    <a:gd name="connsiteX1018" fmla="*/ 1041452 w 2358991"/>
                    <a:gd name="connsiteY1018" fmla="*/ 27645 h 2404309"/>
                    <a:gd name="connsiteX1019" fmla="*/ 1005947 w 2358991"/>
                    <a:gd name="connsiteY1019" fmla="*/ 73593 h 2404309"/>
                    <a:gd name="connsiteX1020" fmla="*/ 1004341 w 2358991"/>
                    <a:gd name="connsiteY1020" fmla="*/ 79858 h 2404309"/>
                    <a:gd name="connsiteX1021" fmla="*/ 1003216 w 2358991"/>
                    <a:gd name="connsiteY1021" fmla="*/ 89498 h 2404309"/>
                    <a:gd name="connsiteX1022" fmla="*/ 1013016 w 2358991"/>
                    <a:gd name="connsiteY1022" fmla="*/ 67729 h 2404309"/>
                    <a:gd name="connsiteX1023" fmla="*/ 1013819 w 2358991"/>
                    <a:gd name="connsiteY1023" fmla="*/ 93193 h 2404309"/>
                    <a:gd name="connsiteX1024" fmla="*/ 1026993 w 2358991"/>
                    <a:gd name="connsiteY1024" fmla="*/ 56161 h 2404309"/>
                    <a:gd name="connsiteX1025" fmla="*/ 1031813 w 2358991"/>
                    <a:gd name="connsiteY1025" fmla="*/ 57286 h 2404309"/>
                    <a:gd name="connsiteX1026" fmla="*/ 1031733 w 2358991"/>
                    <a:gd name="connsiteY1026" fmla="*/ 45558 h 2404309"/>
                    <a:gd name="connsiteX1027" fmla="*/ 1032054 w 2358991"/>
                    <a:gd name="connsiteY1027" fmla="*/ 45799 h 2404309"/>
                    <a:gd name="connsiteX1028" fmla="*/ 1037115 w 2358991"/>
                    <a:gd name="connsiteY1028" fmla="*/ 37686 h 2404309"/>
                    <a:gd name="connsiteX1029" fmla="*/ 1036472 w 2358991"/>
                    <a:gd name="connsiteY1029" fmla="*/ 42425 h 2404309"/>
                    <a:gd name="connsiteX1030" fmla="*/ 1041452 w 2358991"/>
                    <a:gd name="connsiteY1030" fmla="*/ 27645 h 2404309"/>
                    <a:gd name="connsiteX1031" fmla="*/ 1688173 w 2358991"/>
                    <a:gd name="connsiteY1031" fmla="*/ 63953 h 2404309"/>
                    <a:gd name="connsiteX1032" fmla="*/ 1041532 w 2358991"/>
                    <a:gd name="connsiteY1032" fmla="*/ 27565 h 2404309"/>
                    <a:gd name="connsiteX1033" fmla="*/ 1041532 w 2358991"/>
                    <a:gd name="connsiteY1033" fmla="*/ 27565 h 2404309"/>
                    <a:gd name="connsiteX1034" fmla="*/ 1044023 w 2358991"/>
                    <a:gd name="connsiteY1034" fmla="*/ 39132 h 2404309"/>
                    <a:gd name="connsiteX1035" fmla="*/ 1066354 w 2358991"/>
                    <a:gd name="connsiteY1035" fmla="*/ 86043 h 2404309"/>
                    <a:gd name="connsiteX1036" fmla="*/ 1069888 w 2358991"/>
                    <a:gd name="connsiteY1036" fmla="*/ 75199 h 2404309"/>
                    <a:gd name="connsiteX1037" fmla="*/ 1087480 w 2358991"/>
                    <a:gd name="connsiteY1037" fmla="*/ 119058 h 2404309"/>
                    <a:gd name="connsiteX1038" fmla="*/ 1085151 w 2358991"/>
                    <a:gd name="connsiteY1038" fmla="*/ 87088 h 2404309"/>
                    <a:gd name="connsiteX1039" fmla="*/ 1104670 w 2358991"/>
                    <a:gd name="connsiteY1039" fmla="*/ 91827 h 2404309"/>
                    <a:gd name="connsiteX1040" fmla="*/ 1139854 w 2358991"/>
                    <a:gd name="connsiteY1040" fmla="*/ 221316 h 2404309"/>
                    <a:gd name="connsiteX1041" fmla="*/ 1150457 w 2358991"/>
                    <a:gd name="connsiteY1041" fmla="*/ 216014 h 2404309"/>
                    <a:gd name="connsiteX1042" fmla="*/ 1146602 w 2358991"/>
                    <a:gd name="connsiteY1042" fmla="*/ 220994 h 2404309"/>
                    <a:gd name="connsiteX1043" fmla="*/ 1173913 w 2358991"/>
                    <a:gd name="connsiteY1043" fmla="*/ 244049 h 2404309"/>
                    <a:gd name="connsiteX1044" fmla="*/ 1143870 w 2358991"/>
                    <a:gd name="connsiteY1044" fmla="*/ 252965 h 2404309"/>
                    <a:gd name="connsiteX1045" fmla="*/ 1174234 w 2358991"/>
                    <a:gd name="connsiteY1045" fmla="*/ 274573 h 2404309"/>
                    <a:gd name="connsiteX1046" fmla="*/ 1164595 w 2358991"/>
                    <a:gd name="connsiteY1046" fmla="*/ 300760 h 2404309"/>
                    <a:gd name="connsiteX1047" fmla="*/ 1187328 w 2358991"/>
                    <a:gd name="connsiteY1047" fmla="*/ 325903 h 2404309"/>
                    <a:gd name="connsiteX1048" fmla="*/ 1180902 w 2358991"/>
                    <a:gd name="connsiteY1048" fmla="*/ 326706 h 2404309"/>
                    <a:gd name="connsiteX1049" fmla="*/ 1176323 w 2358991"/>
                    <a:gd name="connsiteY1049" fmla="*/ 323011 h 2404309"/>
                    <a:gd name="connsiteX1050" fmla="*/ 1176002 w 2358991"/>
                    <a:gd name="connsiteY1050" fmla="*/ 330080 h 2404309"/>
                    <a:gd name="connsiteX1051" fmla="*/ 1196164 w 2358991"/>
                    <a:gd name="connsiteY1051" fmla="*/ 334900 h 2404309"/>
                    <a:gd name="connsiteX1052" fmla="*/ 1153028 w 2358991"/>
                    <a:gd name="connsiteY1052" fmla="*/ 349198 h 2404309"/>
                    <a:gd name="connsiteX1053" fmla="*/ 1148128 w 2358991"/>
                    <a:gd name="connsiteY1053" fmla="*/ 346627 h 2404309"/>
                    <a:gd name="connsiteX1054" fmla="*/ 1151341 w 2358991"/>
                    <a:gd name="connsiteY1054" fmla="*/ 352893 h 2404309"/>
                    <a:gd name="connsiteX1055" fmla="*/ 1148529 w 2358991"/>
                    <a:gd name="connsiteY1055" fmla="*/ 359239 h 2404309"/>
                    <a:gd name="connsiteX1056" fmla="*/ 1193272 w 2358991"/>
                    <a:gd name="connsiteY1056" fmla="*/ 386631 h 2404309"/>
                    <a:gd name="connsiteX1057" fmla="*/ 1146361 w 2358991"/>
                    <a:gd name="connsiteY1057" fmla="*/ 376268 h 2404309"/>
                    <a:gd name="connsiteX1058" fmla="*/ 1159695 w 2358991"/>
                    <a:gd name="connsiteY1058" fmla="*/ 373216 h 2404309"/>
                    <a:gd name="connsiteX1059" fmla="*/ 1161462 w 2358991"/>
                    <a:gd name="connsiteY1059" fmla="*/ 386470 h 2404309"/>
                    <a:gd name="connsiteX1060" fmla="*/ 1200341 w 2358991"/>
                    <a:gd name="connsiteY1060" fmla="*/ 396109 h 2404309"/>
                    <a:gd name="connsiteX1061" fmla="*/ 1198333 w 2358991"/>
                    <a:gd name="connsiteY1061" fmla="*/ 408641 h 2404309"/>
                    <a:gd name="connsiteX1062" fmla="*/ 1210462 w 2358991"/>
                    <a:gd name="connsiteY1062" fmla="*/ 415228 h 2404309"/>
                    <a:gd name="connsiteX1063" fmla="*/ 1206526 w 2358991"/>
                    <a:gd name="connsiteY1063" fmla="*/ 431133 h 2404309"/>
                    <a:gd name="connsiteX1064" fmla="*/ 1204197 w 2358991"/>
                    <a:gd name="connsiteY1064" fmla="*/ 425108 h 2404309"/>
                    <a:gd name="connsiteX1065" fmla="*/ 1157044 w 2358991"/>
                    <a:gd name="connsiteY1065" fmla="*/ 414424 h 2404309"/>
                    <a:gd name="connsiteX1066" fmla="*/ 1155197 w 2358991"/>
                    <a:gd name="connsiteY1066" fmla="*/ 420931 h 2404309"/>
                    <a:gd name="connsiteX1067" fmla="*/ 1134311 w 2358991"/>
                    <a:gd name="connsiteY1067" fmla="*/ 430249 h 2404309"/>
                    <a:gd name="connsiteX1068" fmla="*/ 1138729 w 2358991"/>
                    <a:gd name="connsiteY1068" fmla="*/ 434105 h 2404309"/>
                    <a:gd name="connsiteX1069" fmla="*/ 1133106 w 2358991"/>
                    <a:gd name="connsiteY1069" fmla="*/ 444387 h 2404309"/>
                    <a:gd name="connsiteX1070" fmla="*/ 1156883 w 2358991"/>
                    <a:gd name="connsiteY1070" fmla="*/ 443905 h 2404309"/>
                    <a:gd name="connsiteX1071" fmla="*/ 1151823 w 2358991"/>
                    <a:gd name="connsiteY1071" fmla="*/ 454910 h 2404309"/>
                    <a:gd name="connsiteX1072" fmla="*/ 1188613 w 2358991"/>
                    <a:gd name="connsiteY1072" fmla="*/ 442700 h 2404309"/>
                    <a:gd name="connsiteX1073" fmla="*/ 1115836 w 2358991"/>
                    <a:gd name="connsiteY1073" fmla="*/ 511059 h 2404309"/>
                    <a:gd name="connsiteX1074" fmla="*/ 1103385 w 2358991"/>
                    <a:gd name="connsiteY1074" fmla="*/ 507685 h 2404309"/>
                    <a:gd name="connsiteX1075" fmla="*/ 1058723 w 2358991"/>
                    <a:gd name="connsiteY1075" fmla="*/ 560943 h 2404309"/>
                    <a:gd name="connsiteX1076" fmla="*/ 1061133 w 2358991"/>
                    <a:gd name="connsiteY1076" fmla="*/ 566967 h 2404309"/>
                    <a:gd name="connsiteX1077" fmla="*/ 1035669 w 2358991"/>
                    <a:gd name="connsiteY1077" fmla="*/ 579257 h 2404309"/>
                    <a:gd name="connsiteX1078" fmla="*/ 1031491 w 2358991"/>
                    <a:gd name="connsiteY1078" fmla="*/ 574197 h 2404309"/>
                    <a:gd name="connsiteX1079" fmla="*/ 1009241 w 2358991"/>
                    <a:gd name="connsiteY1079" fmla="*/ 595162 h 2404309"/>
                    <a:gd name="connsiteX1080" fmla="*/ 992854 w 2358991"/>
                    <a:gd name="connsiteY1080" fmla="*/ 601669 h 2404309"/>
                    <a:gd name="connsiteX1081" fmla="*/ 1001770 w 2358991"/>
                    <a:gd name="connsiteY1081" fmla="*/ 612272 h 2404309"/>
                    <a:gd name="connsiteX1082" fmla="*/ 987231 w 2358991"/>
                    <a:gd name="connsiteY1082" fmla="*/ 621349 h 2404309"/>
                    <a:gd name="connsiteX1083" fmla="*/ 997111 w 2358991"/>
                    <a:gd name="connsiteY1083" fmla="*/ 629703 h 2404309"/>
                    <a:gd name="connsiteX1084" fmla="*/ 987070 w 2358991"/>
                    <a:gd name="connsiteY1084" fmla="*/ 647134 h 2404309"/>
                    <a:gd name="connsiteX1085" fmla="*/ 975423 w 2358991"/>
                    <a:gd name="connsiteY1085" fmla="*/ 646492 h 2404309"/>
                    <a:gd name="connsiteX1086" fmla="*/ 980082 w 2358991"/>
                    <a:gd name="connsiteY1086" fmla="*/ 650990 h 2404309"/>
                    <a:gd name="connsiteX1087" fmla="*/ 976949 w 2358991"/>
                    <a:gd name="connsiteY1087" fmla="*/ 656774 h 2404309"/>
                    <a:gd name="connsiteX1088" fmla="*/ 969800 w 2358991"/>
                    <a:gd name="connsiteY1088" fmla="*/ 658139 h 2404309"/>
                    <a:gd name="connsiteX1089" fmla="*/ 975824 w 2358991"/>
                    <a:gd name="connsiteY1089" fmla="*/ 660710 h 2404309"/>
                    <a:gd name="connsiteX1090" fmla="*/ 969639 w 2358991"/>
                    <a:gd name="connsiteY1090" fmla="*/ 679989 h 2404309"/>
                    <a:gd name="connsiteX1091" fmla="*/ 973575 w 2358991"/>
                    <a:gd name="connsiteY1091" fmla="*/ 680470 h 2404309"/>
                    <a:gd name="connsiteX1092" fmla="*/ 953413 w 2358991"/>
                    <a:gd name="connsiteY1092" fmla="*/ 715092 h 2404309"/>
                    <a:gd name="connsiteX1093" fmla="*/ 954055 w 2358991"/>
                    <a:gd name="connsiteY1093" fmla="*/ 720956 h 2404309"/>
                    <a:gd name="connsiteX1094" fmla="*/ 948432 w 2358991"/>
                    <a:gd name="connsiteY1094" fmla="*/ 722161 h 2404309"/>
                    <a:gd name="connsiteX1095" fmla="*/ 948031 w 2358991"/>
                    <a:gd name="connsiteY1095" fmla="*/ 720233 h 2404309"/>
                    <a:gd name="connsiteX1096" fmla="*/ 942568 w 2358991"/>
                    <a:gd name="connsiteY1096" fmla="*/ 718385 h 2404309"/>
                    <a:gd name="connsiteX1097" fmla="*/ 945701 w 2358991"/>
                    <a:gd name="connsiteY1097" fmla="*/ 713084 h 2404309"/>
                    <a:gd name="connsiteX1098" fmla="*/ 934937 w 2358991"/>
                    <a:gd name="connsiteY1098" fmla="*/ 718385 h 2404309"/>
                    <a:gd name="connsiteX1099" fmla="*/ 929555 w 2358991"/>
                    <a:gd name="connsiteY1099" fmla="*/ 713967 h 2404309"/>
                    <a:gd name="connsiteX1100" fmla="*/ 934777 w 2358991"/>
                    <a:gd name="connsiteY1100" fmla="*/ 709951 h 2404309"/>
                    <a:gd name="connsiteX1101" fmla="*/ 921844 w 2358991"/>
                    <a:gd name="connsiteY1101" fmla="*/ 708666 h 2404309"/>
                    <a:gd name="connsiteX1102" fmla="*/ 921683 w 2358991"/>
                    <a:gd name="connsiteY1102" fmla="*/ 695010 h 2404309"/>
                    <a:gd name="connsiteX1103" fmla="*/ 894131 w 2358991"/>
                    <a:gd name="connsiteY1103" fmla="*/ 707461 h 2404309"/>
                    <a:gd name="connsiteX1104" fmla="*/ 887945 w 2358991"/>
                    <a:gd name="connsiteY1104" fmla="*/ 706898 h 2404309"/>
                    <a:gd name="connsiteX1105" fmla="*/ 893729 w 2358991"/>
                    <a:gd name="connsiteY1105" fmla="*/ 701838 h 2404309"/>
                    <a:gd name="connsiteX1106" fmla="*/ 872603 w 2358991"/>
                    <a:gd name="connsiteY1106" fmla="*/ 690351 h 2404309"/>
                    <a:gd name="connsiteX1107" fmla="*/ 872924 w 2358991"/>
                    <a:gd name="connsiteY1107" fmla="*/ 684246 h 2404309"/>
                    <a:gd name="connsiteX1108" fmla="*/ 877503 w 2358991"/>
                    <a:gd name="connsiteY1108" fmla="*/ 680390 h 2404309"/>
                    <a:gd name="connsiteX1109" fmla="*/ 871880 w 2358991"/>
                    <a:gd name="connsiteY1109" fmla="*/ 681193 h 2404309"/>
                    <a:gd name="connsiteX1110" fmla="*/ 860232 w 2358991"/>
                    <a:gd name="connsiteY1110" fmla="*/ 668020 h 2404309"/>
                    <a:gd name="connsiteX1111" fmla="*/ 868185 w 2358991"/>
                    <a:gd name="connsiteY1111" fmla="*/ 658461 h 2404309"/>
                    <a:gd name="connsiteX1112" fmla="*/ 856618 w 2358991"/>
                    <a:gd name="connsiteY1112" fmla="*/ 661031 h 2404309"/>
                    <a:gd name="connsiteX1113" fmla="*/ 846818 w 2358991"/>
                    <a:gd name="connsiteY1113" fmla="*/ 641190 h 2404309"/>
                    <a:gd name="connsiteX1114" fmla="*/ 864409 w 2358991"/>
                    <a:gd name="connsiteY1114" fmla="*/ 632033 h 2404309"/>
                    <a:gd name="connsiteX1115" fmla="*/ 851637 w 2358991"/>
                    <a:gd name="connsiteY1115" fmla="*/ 633318 h 2404309"/>
                    <a:gd name="connsiteX1116" fmla="*/ 865373 w 2358991"/>
                    <a:gd name="connsiteY1116" fmla="*/ 622795 h 2404309"/>
                    <a:gd name="connsiteX1117" fmla="*/ 857742 w 2358991"/>
                    <a:gd name="connsiteY1117" fmla="*/ 609300 h 2404309"/>
                    <a:gd name="connsiteX1118" fmla="*/ 859831 w 2358991"/>
                    <a:gd name="connsiteY1118" fmla="*/ 615244 h 2404309"/>
                    <a:gd name="connsiteX1119" fmla="*/ 857260 w 2358991"/>
                    <a:gd name="connsiteY1119" fmla="*/ 620305 h 2404309"/>
                    <a:gd name="connsiteX1120" fmla="*/ 837419 w 2358991"/>
                    <a:gd name="connsiteY1120" fmla="*/ 622554 h 2404309"/>
                    <a:gd name="connsiteX1121" fmla="*/ 857581 w 2358991"/>
                    <a:gd name="connsiteY1121" fmla="*/ 596206 h 2404309"/>
                    <a:gd name="connsiteX1122" fmla="*/ 838142 w 2358991"/>
                    <a:gd name="connsiteY1122" fmla="*/ 602472 h 2404309"/>
                    <a:gd name="connsiteX1123" fmla="*/ 802396 w 2358991"/>
                    <a:gd name="connsiteY1123" fmla="*/ 955514 h 2404309"/>
                    <a:gd name="connsiteX1124" fmla="*/ 803039 w 2358991"/>
                    <a:gd name="connsiteY1124" fmla="*/ 961136 h 2404309"/>
                    <a:gd name="connsiteX1125" fmla="*/ 801995 w 2358991"/>
                    <a:gd name="connsiteY1125" fmla="*/ 968366 h 2404309"/>
                    <a:gd name="connsiteX1126" fmla="*/ 1677971 w 2358991"/>
                    <a:gd name="connsiteY1126" fmla="*/ 808353 h 2404309"/>
                    <a:gd name="connsiteX1127" fmla="*/ 1675079 w 2358991"/>
                    <a:gd name="connsiteY1127" fmla="*/ 803613 h 2404309"/>
                    <a:gd name="connsiteX1128" fmla="*/ 1630738 w 2358991"/>
                    <a:gd name="connsiteY1128" fmla="*/ 805863 h 2404309"/>
                    <a:gd name="connsiteX1129" fmla="*/ 1626883 w 2358991"/>
                    <a:gd name="connsiteY1129" fmla="*/ 801444 h 2404309"/>
                    <a:gd name="connsiteX1130" fmla="*/ 1666002 w 2358991"/>
                    <a:gd name="connsiteY1130" fmla="*/ 781121 h 2404309"/>
                    <a:gd name="connsiteX1131" fmla="*/ 1671866 w 2358991"/>
                    <a:gd name="connsiteY1131" fmla="*/ 780639 h 2404309"/>
                    <a:gd name="connsiteX1132" fmla="*/ 1664958 w 2358991"/>
                    <a:gd name="connsiteY1132" fmla="*/ 766100 h 2404309"/>
                    <a:gd name="connsiteX1133" fmla="*/ 1692912 w 2358991"/>
                    <a:gd name="connsiteY1133" fmla="*/ 756862 h 2404309"/>
                    <a:gd name="connsiteX1134" fmla="*/ 1732353 w 2358991"/>
                    <a:gd name="connsiteY1134" fmla="*/ 706898 h 2404309"/>
                    <a:gd name="connsiteX1135" fmla="*/ 1725686 w 2358991"/>
                    <a:gd name="connsiteY1135" fmla="*/ 707300 h 2404309"/>
                    <a:gd name="connsiteX1136" fmla="*/ 1736852 w 2358991"/>
                    <a:gd name="connsiteY1136" fmla="*/ 703525 h 2404309"/>
                    <a:gd name="connsiteX1137" fmla="*/ 1734281 w 2358991"/>
                    <a:gd name="connsiteY1137" fmla="*/ 701918 h 2404309"/>
                    <a:gd name="connsiteX1138" fmla="*/ 1758219 w 2358991"/>
                    <a:gd name="connsiteY1138" fmla="*/ 658541 h 2404309"/>
                    <a:gd name="connsiteX1139" fmla="*/ 1775329 w 2358991"/>
                    <a:gd name="connsiteY1139" fmla="*/ 646251 h 2404309"/>
                    <a:gd name="connsiteX1140" fmla="*/ 1776533 w 2358991"/>
                    <a:gd name="connsiteY1140" fmla="*/ 640708 h 2404309"/>
                    <a:gd name="connsiteX1141" fmla="*/ 1787940 w 2358991"/>
                    <a:gd name="connsiteY1141" fmla="*/ 637736 h 2404309"/>
                    <a:gd name="connsiteX1142" fmla="*/ 1748258 w 2358991"/>
                    <a:gd name="connsiteY1142" fmla="*/ 596769 h 2404309"/>
                    <a:gd name="connsiteX1143" fmla="*/ 1758219 w 2358991"/>
                    <a:gd name="connsiteY1143" fmla="*/ 564959 h 2404309"/>
                    <a:gd name="connsiteX1144" fmla="*/ 1783843 w 2358991"/>
                    <a:gd name="connsiteY1144" fmla="*/ 619983 h 2404309"/>
                    <a:gd name="connsiteX1145" fmla="*/ 1851239 w 2358991"/>
                    <a:gd name="connsiteY1145" fmla="*/ 608657 h 2404309"/>
                    <a:gd name="connsiteX1146" fmla="*/ 1837262 w 2358991"/>
                    <a:gd name="connsiteY1146" fmla="*/ 605525 h 2404309"/>
                    <a:gd name="connsiteX1147" fmla="*/ 1886502 w 2358991"/>
                    <a:gd name="connsiteY1147" fmla="*/ 568172 h 2404309"/>
                    <a:gd name="connsiteX1148" fmla="*/ 1886663 w 2358991"/>
                    <a:gd name="connsiteY1148" fmla="*/ 568092 h 2404309"/>
                    <a:gd name="connsiteX1149" fmla="*/ 1886663 w 2358991"/>
                    <a:gd name="connsiteY1149" fmla="*/ 568092 h 2404309"/>
                    <a:gd name="connsiteX1150" fmla="*/ 1886663 w 2358991"/>
                    <a:gd name="connsiteY1150" fmla="*/ 568092 h 2404309"/>
                    <a:gd name="connsiteX1151" fmla="*/ 1886663 w 2358991"/>
                    <a:gd name="connsiteY1151" fmla="*/ 568092 h 2404309"/>
                    <a:gd name="connsiteX1152" fmla="*/ 1886663 w 2358991"/>
                    <a:gd name="connsiteY1152" fmla="*/ 568092 h 2404309"/>
                    <a:gd name="connsiteX1153" fmla="*/ 1886663 w 2358991"/>
                    <a:gd name="connsiteY1153" fmla="*/ 568092 h 2404309"/>
                    <a:gd name="connsiteX1154" fmla="*/ 1886663 w 2358991"/>
                    <a:gd name="connsiteY1154" fmla="*/ 568092 h 2404309"/>
                    <a:gd name="connsiteX1155" fmla="*/ 1886663 w 2358991"/>
                    <a:gd name="connsiteY1155" fmla="*/ 568092 h 2404309"/>
                    <a:gd name="connsiteX1156" fmla="*/ 1884414 w 2358991"/>
                    <a:gd name="connsiteY1156" fmla="*/ 497242 h 2404309"/>
                    <a:gd name="connsiteX1157" fmla="*/ 1902167 w 2358991"/>
                    <a:gd name="connsiteY1157" fmla="*/ 490575 h 2404309"/>
                    <a:gd name="connsiteX1158" fmla="*/ 1874453 w 2358991"/>
                    <a:gd name="connsiteY1158" fmla="*/ 471377 h 2404309"/>
                    <a:gd name="connsiteX1159" fmla="*/ 1874052 w 2358991"/>
                    <a:gd name="connsiteY1159" fmla="*/ 462139 h 2404309"/>
                    <a:gd name="connsiteX1160" fmla="*/ 1909155 w 2358991"/>
                    <a:gd name="connsiteY1160" fmla="*/ 422055 h 2404309"/>
                    <a:gd name="connsiteX1161" fmla="*/ 1890519 w 2358991"/>
                    <a:gd name="connsiteY1161" fmla="*/ 418601 h 2404309"/>
                    <a:gd name="connsiteX1162" fmla="*/ 1892286 w 2358991"/>
                    <a:gd name="connsiteY1162" fmla="*/ 418682 h 2404309"/>
                    <a:gd name="connsiteX1163" fmla="*/ 1872686 w 2358991"/>
                    <a:gd name="connsiteY1163" fmla="*/ 433623 h 2404309"/>
                    <a:gd name="connsiteX1164" fmla="*/ 1860235 w 2358991"/>
                    <a:gd name="connsiteY1164" fmla="*/ 458123 h 2404309"/>
                    <a:gd name="connsiteX1165" fmla="*/ 1854371 w 2358991"/>
                    <a:gd name="connsiteY1165" fmla="*/ 455311 h 2404309"/>
                    <a:gd name="connsiteX1166" fmla="*/ 1849873 w 2358991"/>
                    <a:gd name="connsiteY1166" fmla="*/ 458846 h 2404309"/>
                    <a:gd name="connsiteX1167" fmla="*/ 1846419 w 2358991"/>
                    <a:gd name="connsiteY1167" fmla="*/ 453705 h 2404309"/>
                    <a:gd name="connsiteX1168" fmla="*/ 1835735 w 2358991"/>
                    <a:gd name="connsiteY1168" fmla="*/ 456516 h 2404309"/>
                    <a:gd name="connsiteX1169" fmla="*/ 1821276 w 2358991"/>
                    <a:gd name="connsiteY1169" fmla="*/ 443342 h 2404309"/>
                    <a:gd name="connsiteX1170" fmla="*/ 1820393 w 2358991"/>
                    <a:gd name="connsiteY1170" fmla="*/ 440611 h 2404309"/>
                    <a:gd name="connsiteX1171" fmla="*/ 1794125 w 2358991"/>
                    <a:gd name="connsiteY1171" fmla="*/ 414344 h 2404309"/>
                    <a:gd name="connsiteX1172" fmla="*/ 1795571 w 2358991"/>
                    <a:gd name="connsiteY1172" fmla="*/ 413300 h 2404309"/>
                    <a:gd name="connsiteX1173" fmla="*/ 1793001 w 2358991"/>
                    <a:gd name="connsiteY1173" fmla="*/ 401732 h 2404309"/>
                    <a:gd name="connsiteX1174" fmla="*/ 1790912 w 2358991"/>
                    <a:gd name="connsiteY1174" fmla="*/ 362773 h 2404309"/>
                    <a:gd name="connsiteX1175" fmla="*/ 1766252 w 2358991"/>
                    <a:gd name="connsiteY1175" fmla="*/ 348234 h 2404309"/>
                    <a:gd name="connsiteX1176" fmla="*/ 1752114 w 2358991"/>
                    <a:gd name="connsiteY1176" fmla="*/ 359399 h 2404309"/>
                    <a:gd name="connsiteX1177" fmla="*/ 1752034 w 2358991"/>
                    <a:gd name="connsiteY1177" fmla="*/ 365183 h 2404309"/>
                    <a:gd name="connsiteX1178" fmla="*/ 1768902 w 2358991"/>
                    <a:gd name="connsiteY1178" fmla="*/ 416191 h 2404309"/>
                    <a:gd name="connsiteX1179" fmla="*/ 1770268 w 2358991"/>
                    <a:gd name="connsiteY1179" fmla="*/ 417718 h 2404309"/>
                    <a:gd name="connsiteX1180" fmla="*/ 1768019 w 2358991"/>
                    <a:gd name="connsiteY1180" fmla="*/ 417477 h 2404309"/>
                    <a:gd name="connsiteX1181" fmla="*/ 1766975 w 2358991"/>
                    <a:gd name="connsiteY1181" fmla="*/ 429606 h 2404309"/>
                    <a:gd name="connsiteX1182" fmla="*/ 1768581 w 2358991"/>
                    <a:gd name="connsiteY1182" fmla="*/ 430651 h 2404309"/>
                    <a:gd name="connsiteX1183" fmla="*/ 1767858 w 2358991"/>
                    <a:gd name="connsiteY1183" fmla="*/ 436434 h 2404309"/>
                    <a:gd name="connsiteX1184" fmla="*/ 1767296 w 2358991"/>
                    <a:gd name="connsiteY1184" fmla="*/ 435550 h 2404309"/>
                    <a:gd name="connsiteX1185" fmla="*/ 1770589 w 2358991"/>
                    <a:gd name="connsiteY1185" fmla="*/ 440772 h 2404309"/>
                    <a:gd name="connsiteX1186" fmla="*/ 1766894 w 2358991"/>
                    <a:gd name="connsiteY1186" fmla="*/ 444949 h 2404309"/>
                    <a:gd name="connsiteX1187" fmla="*/ 1820152 w 2358991"/>
                    <a:gd name="connsiteY1187" fmla="*/ 485755 h 2404309"/>
                    <a:gd name="connsiteX1188" fmla="*/ 1810593 w 2358991"/>
                    <a:gd name="connsiteY1188" fmla="*/ 497323 h 2404309"/>
                    <a:gd name="connsiteX1189" fmla="*/ 1800150 w 2358991"/>
                    <a:gd name="connsiteY1189" fmla="*/ 502865 h 2404309"/>
                    <a:gd name="connsiteX1190" fmla="*/ 1822240 w 2358991"/>
                    <a:gd name="connsiteY1190" fmla="*/ 494672 h 2404309"/>
                    <a:gd name="connsiteX1191" fmla="*/ 1810271 w 2358991"/>
                    <a:gd name="connsiteY1191" fmla="*/ 518288 h 2404309"/>
                    <a:gd name="connsiteX1192" fmla="*/ 1815975 w 2358991"/>
                    <a:gd name="connsiteY1192" fmla="*/ 516521 h 2404309"/>
                    <a:gd name="connsiteX1193" fmla="*/ 1826738 w 2358991"/>
                    <a:gd name="connsiteY1193" fmla="*/ 569538 h 2404309"/>
                    <a:gd name="connsiteX1194" fmla="*/ 1813966 w 2358991"/>
                    <a:gd name="connsiteY1194" fmla="*/ 589700 h 2404309"/>
                    <a:gd name="connsiteX1195" fmla="*/ 1797579 w 2358991"/>
                    <a:gd name="connsiteY1195" fmla="*/ 578534 h 2404309"/>
                    <a:gd name="connsiteX1196" fmla="*/ 1778301 w 2358991"/>
                    <a:gd name="connsiteY1196" fmla="*/ 562549 h 2404309"/>
                    <a:gd name="connsiteX1197" fmla="*/ 1748901 w 2358991"/>
                    <a:gd name="connsiteY1197" fmla="*/ 538531 h 2404309"/>
                    <a:gd name="connsiteX1198" fmla="*/ 1734924 w 2358991"/>
                    <a:gd name="connsiteY1198" fmla="*/ 532185 h 2404309"/>
                    <a:gd name="connsiteX1199" fmla="*/ 1737976 w 2358991"/>
                    <a:gd name="connsiteY1199" fmla="*/ 545359 h 2404309"/>
                    <a:gd name="connsiteX1200" fmla="*/ 1732032 w 2358991"/>
                    <a:gd name="connsiteY1200" fmla="*/ 546805 h 2404309"/>
                    <a:gd name="connsiteX1201" fmla="*/ 1687771 w 2358991"/>
                    <a:gd name="connsiteY1201" fmla="*/ 576928 h 2404309"/>
                    <a:gd name="connsiteX1202" fmla="*/ 1684317 w 2358991"/>
                    <a:gd name="connsiteY1202" fmla="*/ 571948 h 2404309"/>
                    <a:gd name="connsiteX1203" fmla="*/ 1690824 w 2358991"/>
                    <a:gd name="connsiteY1203" fmla="*/ 566164 h 2404309"/>
                    <a:gd name="connsiteX1204" fmla="*/ 1683915 w 2358991"/>
                    <a:gd name="connsiteY1204" fmla="*/ 566003 h 2404309"/>
                    <a:gd name="connsiteX1205" fmla="*/ 1683594 w 2358991"/>
                    <a:gd name="connsiteY1205" fmla="*/ 558774 h 2404309"/>
                    <a:gd name="connsiteX1206" fmla="*/ 1672589 w 2358991"/>
                    <a:gd name="connsiteY1206" fmla="*/ 565521 h 2404309"/>
                    <a:gd name="connsiteX1207" fmla="*/ 1679096 w 2358991"/>
                    <a:gd name="connsiteY1207" fmla="*/ 552106 h 2404309"/>
                    <a:gd name="connsiteX1208" fmla="*/ 1668814 w 2358991"/>
                    <a:gd name="connsiteY1208" fmla="*/ 555802 h 2404309"/>
                    <a:gd name="connsiteX1209" fmla="*/ 1668974 w 2358991"/>
                    <a:gd name="connsiteY1209" fmla="*/ 549616 h 2404309"/>
                    <a:gd name="connsiteX1210" fmla="*/ 1663110 w 2358991"/>
                    <a:gd name="connsiteY1210" fmla="*/ 549456 h 2404309"/>
                    <a:gd name="connsiteX1211" fmla="*/ 1657969 w 2358991"/>
                    <a:gd name="connsiteY1211" fmla="*/ 538772 h 2404309"/>
                    <a:gd name="connsiteX1212" fmla="*/ 1652828 w 2358991"/>
                    <a:gd name="connsiteY1212" fmla="*/ 536282 h 2404309"/>
                    <a:gd name="connsiteX1213" fmla="*/ 1672669 w 2358991"/>
                    <a:gd name="connsiteY1213" fmla="*/ 528169 h 2404309"/>
                    <a:gd name="connsiteX1214" fmla="*/ 1675401 w 2358991"/>
                    <a:gd name="connsiteY1214" fmla="*/ 522626 h 2404309"/>
                    <a:gd name="connsiteX1215" fmla="*/ 1651222 w 2358991"/>
                    <a:gd name="connsiteY1215" fmla="*/ 532265 h 2404309"/>
                    <a:gd name="connsiteX1216" fmla="*/ 1642386 w 2358991"/>
                    <a:gd name="connsiteY1216" fmla="*/ 523992 h 2404309"/>
                    <a:gd name="connsiteX1217" fmla="*/ 1643751 w 2358991"/>
                    <a:gd name="connsiteY1217" fmla="*/ 517485 h 2404309"/>
                    <a:gd name="connsiteX1218" fmla="*/ 1638048 w 2358991"/>
                    <a:gd name="connsiteY1218" fmla="*/ 514513 h 2404309"/>
                    <a:gd name="connsiteX1219" fmla="*/ 1664155 w 2358991"/>
                    <a:gd name="connsiteY1219" fmla="*/ 489049 h 2404309"/>
                    <a:gd name="connsiteX1220" fmla="*/ 1649053 w 2358991"/>
                    <a:gd name="connsiteY1220" fmla="*/ 490977 h 2404309"/>
                    <a:gd name="connsiteX1221" fmla="*/ 1668653 w 2358991"/>
                    <a:gd name="connsiteY1221" fmla="*/ 484229 h 2404309"/>
                    <a:gd name="connsiteX1222" fmla="*/ 1659897 w 2358991"/>
                    <a:gd name="connsiteY1222" fmla="*/ 471297 h 2404309"/>
                    <a:gd name="connsiteX1223" fmla="*/ 1683433 w 2358991"/>
                    <a:gd name="connsiteY1223" fmla="*/ 460452 h 2404309"/>
                    <a:gd name="connsiteX1224" fmla="*/ 1682148 w 2358991"/>
                    <a:gd name="connsiteY1224" fmla="*/ 448965 h 2404309"/>
                    <a:gd name="connsiteX1225" fmla="*/ 1677971 w 2358991"/>
                    <a:gd name="connsiteY1225" fmla="*/ 460291 h 2404309"/>
                    <a:gd name="connsiteX1226" fmla="*/ 1672589 w 2358991"/>
                    <a:gd name="connsiteY1226" fmla="*/ 463665 h 2404309"/>
                    <a:gd name="connsiteX1227" fmla="*/ 1666725 w 2358991"/>
                    <a:gd name="connsiteY1227" fmla="*/ 459649 h 2404309"/>
                    <a:gd name="connsiteX1228" fmla="*/ 1666966 w 2358991"/>
                    <a:gd name="connsiteY1228" fmla="*/ 429847 h 2404309"/>
                    <a:gd name="connsiteX1229" fmla="*/ 1669296 w 2358991"/>
                    <a:gd name="connsiteY1229" fmla="*/ 423662 h 2404309"/>
                    <a:gd name="connsiteX1230" fmla="*/ 1674678 w 2358991"/>
                    <a:gd name="connsiteY1230" fmla="*/ 422136 h 2404309"/>
                    <a:gd name="connsiteX1231" fmla="*/ 1675802 w 2358991"/>
                    <a:gd name="connsiteY1231" fmla="*/ 416593 h 2404309"/>
                    <a:gd name="connsiteX1232" fmla="*/ 1661183 w 2358991"/>
                    <a:gd name="connsiteY1232" fmla="*/ 403178 h 2404309"/>
                    <a:gd name="connsiteX1233" fmla="*/ 1668733 w 2358991"/>
                    <a:gd name="connsiteY1233" fmla="*/ 392977 h 2404309"/>
                    <a:gd name="connsiteX1234" fmla="*/ 1663673 w 2358991"/>
                    <a:gd name="connsiteY1234" fmla="*/ 395788 h 2404309"/>
                    <a:gd name="connsiteX1235" fmla="*/ 1657728 w 2358991"/>
                    <a:gd name="connsiteY1235" fmla="*/ 393700 h 2404309"/>
                    <a:gd name="connsiteX1236" fmla="*/ 1656845 w 2358991"/>
                    <a:gd name="connsiteY1236" fmla="*/ 390969 h 2404309"/>
                    <a:gd name="connsiteX1237" fmla="*/ 1661022 w 2358991"/>
                    <a:gd name="connsiteY1237" fmla="*/ 368396 h 2404309"/>
                    <a:gd name="connsiteX1238" fmla="*/ 1654676 w 2358991"/>
                    <a:gd name="connsiteY1238" fmla="*/ 367352 h 2404309"/>
                    <a:gd name="connsiteX1239" fmla="*/ 1660460 w 2358991"/>
                    <a:gd name="connsiteY1239" fmla="*/ 364460 h 2404309"/>
                    <a:gd name="connsiteX1240" fmla="*/ 1648973 w 2358991"/>
                    <a:gd name="connsiteY1240" fmla="*/ 344298 h 2404309"/>
                    <a:gd name="connsiteX1241" fmla="*/ 1658773 w 2358991"/>
                    <a:gd name="connsiteY1241" fmla="*/ 349760 h 2404309"/>
                    <a:gd name="connsiteX1242" fmla="*/ 1648009 w 2358991"/>
                    <a:gd name="connsiteY1242" fmla="*/ 309275 h 2404309"/>
                    <a:gd name="connsiteX1243" fmla="*/ 1642627 w 2358991"/>
                    <a:gd name="connsiteY1243" fmla="*/ 305660 h 2404309"/>
                    <a:gd name="connsiteX1244" fmla="*/ 1641904 w 2358991"/>
                    <a:gd name="connsiteY1244" fmla="*/ 298591 h 2404309"/>
                    <a:gd name="connsiteX1245" fmla="*/ 1647366 w 2358991"/>
                    <a:gd name="connsiteY1245" fmla="*/ 300439 h 2404309"/>
                    <a:gd name="connsiteX1246" fmla="*/ 1644555 w 2358991"/>
                    <a:gd name="connsiteY1246" fmla="*/ 294977 h 2404309"/>
                    <a:gd name="connsiteX1247" fmla="*/ 1654837 w 2358991"/>
                    <a:gd name="connsiteY1247" fmla="*/ 301162 h 2404309"/>
                    <a:gd name="connsiteX1248" fmla="*/ 1648651 w 2358991"/>
                    <a:gd name="connsiteY1248" fmla="*/ 289032 h 2404309"/>
                    <a:gd name="connsiteX1249" fmla="*/ 1654033 w 2358991"/>
                    <a:gd name="connsiteY1249" fmla="*/ 286542 h 2404309"/>
                    <a:gd name="connsiteX1250" fmla="*/ 1647687 w 2358991"/>
                    <a:gd name="connsiteY1250" fmla="*/ 282526 h 2404309"/>
                    <a:gd name="connsiteX1251" fmla="*/ 1646804 w 2358991"/>
                    <a:gd name="connsiteY1251" fmla="*/ 276903 h 2404309"/>
                    <a:gd name="connsiteX1252" fmla="*/ 1649776 w 2358991"/>
                    <a:gd name="connsiteY1252" fmla="*/ 276099 h 2404309"/>
                    <a:gd name="connsiteX1253" fmla="*/ 1661745 w 2358991"/>
                    <a:gd name="connsiteY1253" fmla="*/ 276099 h 2404309"/>
                    <a:gd name="connsiteX1254" fmla="*/ 1650258 w 2358991"/>
                    <a:gd name="connsiteY1254" fmla="*/ 254973 h 2404309"/>
                    <a:gd name="connsiteX1255" fmla="*/ 1671465 w 2358991"/>
                    <a:gd name="connsiteY1255" fmla="*/ 267504 h 2404309"/>
                    <a:gd name="connsiteX1256" fmla="*/ 1658933 w 2358991"/>
                    <a:gd name="connsiteY1256" fmla="*/ 244852 h 2404309"/>
                    <a:gd name="connsiteX1257" fmla="*/ 1669376 w 2358991"/>
                    <a:gd name="connsiteY1257" fmla="*/ 252403 h 2404309"/>
                    <a:gd name="connsiteX1258" fmla="*/ 1665601 w 2358991"/>
                    <a:gd name="connsiteY1258" fmla="*/ 241237 h 2404309"/>
                    <a:gd name="connsiteX1259" fmla="*/ 1686486 w 2358991"/>
                    <a:gd name="connsiteY1259" fmla="*/ 251358 h 2404309"/>
                    <a:gd name="connsiteX1260" fmla="*/ 1677088 w 2358991"/>
                    <a:gd name="connsiteY1260" fmla="*/ 240193 h 2404309"/>
                    <a:gd name="connsiteX1261" fmla="*/ 1681747 w 2358991"/>
                    <a:gd name="connsiteY1261" fmla="*/ 236176 h 2404309"/>
                    <a:gd name="connsiteX1262" fmla="*/ 1697170 w 2358991"/>
                    <a:gd name="connsiteY1262" fmla="*/ 238907 h 2404309"/>
                    <a:gd name="connsiteX1263" fmla="*/ 1699981 w 2358991"/>
                    <a:gd name="connsiteY1263" fmla="*/ 244450 h 2404309"/>
                    <a:gd name="connsiteX1264" fmla="*/ 1695643 w 2358991"/>
                    <a:gd name="connsiteY1264" fmla="*/ 248627 h 2404309"/>
                    <a:gd name="connsiteX1265" fmla="*/ 1712191 w 2358991"/>
                    <a:gd name="connsiteY1265" fmla="*/ 251037 h 2404309"/>
                    <a:gd name="connsiteX1266" fmla="*/ 1711147 w 2358991"/>
                    <a:gd name="connsiteY1266" fmla="*/ 249832 h 2404309"/>
                    <a:gd name="connsiteX1267" fmla="*/ 1716609 w 2358991"/>
                    <a:gd name="connsiteY1267" fmla="*/ 247824 h 2404309"/>
                    <a:gd name="connsiteX1268" fmla="*/ 1717091 w 2358991"/>
                    <a:gd name="connsiteY1268" fmla="*/ 242040 h 2404309"/>
                    <a:gd name="connsiteX1269" fmla="*/ 1739422 w 2358991"/>
                    <a:gd name="connsiteY1269" fmla="*/ 245816 h 2404309"/>
                    <a:gd name="connsiteX1270" fmla="*/ 1743760 w 2358991"/>
                    <a:gd name="connsiteY1270" fmla="*/ 251117 h 2404309"/>
                    <a:gd name="connsiteX1271" fmla="*/ 1835494 w 2358991"/>
                    <a:gd name="connsiteY1271" fmla="*/ 261881 h 2404309"/>
                    <a:gd name="connsiteX1272" fmla="*/ 1787699 w 2358991"/>
                    <a:gd name="connsiteY1272" fmla="*/ 287506 h 2404309"/>
                    <a:gd name="connsiteX1273" fmla="*/ 1876863 w 2358991"/>
                    <a:gd name="connsiteY1273" fmla="*/ 317388 h 2404309"/>
                    <a:gd name="connsiteX1274" fmla="*/ 1856701 w 2358991"/>
                    <a:gd name="connsiteY1274" fmla="*/ 304937 h 2404309"/>
                    <a:gd name="connsiteX1275" fmla="*/ 1877185 w 2358991"/>
                    <a:gd name="connsiteY1275" fmla="*/ 288711 h 2404309"/>
                    <a:gd name="connsiteX1276" fmla="*/ 1857906 w 2358991"/>
                    <a:gd name="connsiteY1276" fmla="*/ 254491 h 2404309"/>
                    <a:gd name="connsiteX1277" fmla="*/ 1793724 w 2358991"/>
                    <a:gd name="connsiteY1277" fmla="*/ 212801 h 2404309"/>
                    <a:gd name="connsiteX1278" fmla="*/ 1849552 w 2358991"/>
                    <a:gd name="connsiteY1278" fmla="*/ 227903 h 2404309"/>
                    <a:gd name="connsiteX1279" fmla="*/ 1803925 w 2358991"/>
                    <a:gd name="connsiteY1279" fmla="*/ 160829 h 2404309"/>
                    <a:gd name="connsiteX1280" fmla="*/ 1820071 w 2358991"/>
                    <a:gd name="connsiteY1280" fmla="*/ 174003 h 2404309"/>
                    <a:gd name="connsiteX1281" fmla="*/ 1807460 w 2358991"/>
                    <a:gd name="connsiteY1281" fmla="*/ 147012 h 2404309"/>
                    <a:gd name="connsiteX1282" fmla="*/ 1808986 w 2358991"/>
                    <a:gd name="connsiteY1282" fmla="*/ 147494 h 2404309"/>
                    <a:gd name="connsiteX1283" fmla="*/ 1804889 w 2358991"/>
                    <a:gd name="connsiteY1283" fmla="*/ 143719 h 2404309"/>
                    <a:gd name="connsiteX1284" fmla="*/ 1818706 w 2358991"/>
                    <a:gd name="connsiteY1284" fmla="*/ 148057 h 2404309"/>
                    <a:gd name="connsiteX1285" fmla="*/ 1798945 w 2358991"/>
                    <a:gd name="connsiteY1285" fmla="*/ 132875 h 2404309"/>
                    <a:gd name="connsiteX1286" fmla="*/ 1800150 w 2358991"/>
                    <a:gd name="connsiteY1286" fmla="*/ 134160 h 2404309"/>
                    <a:gd name="connsiteX1287" fmla="*/ 1778542 w 2358991"/>
                    <a:gd name="connsiteY1287" fmla="*/ 119058 h 2404309"/>
                    <a:gd name="connsiteX1288" fmla="*/ 1806576 w 2358991"/>
                    <a:gd name="connsiteY1288" fmla="*/ 114560 h 2404309"/>
                    <a:gd name="connsiteX1289" fmla="*/ 1802078 w 2358991"/>
                    <a:gd name="connsiteY1289" fmla="*/ 110383 h 2404309"/>
                    <a:gd name="connsiteX1290" fmla="*/ 1788502 w 2358991"/>
                    <a:gd name="connsiteY1290" fmla="*/ 104037 h 2404309"/>
                    <a:gd name="connsiteX1291" fmla="*/ 1735084 w 2358991"/>
                    <a:gd name="connsiteY1291" fmla="*/ 87007 h 2404309"/>
                    <a:gd name="connsiteX1292" fmla="*/ 1688173 w 2358991"/>
                    <a:gd name="connsiteY1292" fmla="*/ 63953 h 2404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</a:cxnLst>
                  <a:rect l="l" t="t" r="r" b="b"/>
                  <a:pathLst>
                    <a:path w="2358991" h="2404309">
                      <a:moveTo>
                        <a:pt x="2350156" y="1677823"/>
                      </a:moveTo>
                      <a:lnTo>
                        <a:pt x="2358992" y="1657660"/>
                      </a:lnTo>
                      <a:cubicBezTo>
                        <a:pt x="2323808" y="1739836"/>
                        <a:pt x="2208778" y="1830205"/>
                        <a:pt x="2016553" y="1913907"/>
                      </a:cubicBezTo>
                      <a:cubicBezTo>
                        <a:pt x="1726409" y="2040182"/>
                        <a:pt x="1333926" y="2119145"/>
                        <a:pt x="991328" y="2131676"/>
                      </a:cubicBezTo>
                      <a:cubicBezTo>
                        <a:pt x="1073503" y="2309361"/>
                        <a:pt x="1173190" y="2407523"/>
                        <a:pt x="1272717" y="2404229"/>
                      </a:cubicBezTo>
                      <a:lnTo>
                        <a:pt x="1289746" y="2403506"/>
                      </a:lnTo>
                      <a:lnTo>
                        <a:pt x="1289023" y="2403506"/>
                      </a:lnTo>
                      <a:cubicBezTo>
                        <a:pt x="1319548" y="2397401"/>
                        <a:pt x="1350795" y="2399249"/>
                        <a:pt x="1381481" y="2395473"/>
                      </a:cubicBezTo>
                      <a:cubicBezTo>
                        <a:pt x="1395056" y="2393625"/>
                        <a:pt x="1413130" y="2391055"/>
                        <a:pt x="1426625" y="2388967"/>
                      </a:cubicBezTo>
                      <a:lnTo>
                        <a:pt x="1413451" y="2390895"/>
                      </a:lnTo>
                      <a:cubicBezTo>
                        <a:pt x="1409595" y="2391135"/>
                        <a:pt x="1404454" y="2391537"/>
                        <a:pt x="1400679" y="2391778"/>
                      </a:cubicBezTo>
                      <a:cubicBezTo>
                        <a:pt x="1459881" y="2357237"/>
                        <a:pt x="1528400" y="2348401"/>
                        <a:pt x="1591137" y="2323660"/>
                      </a:cubicBezTo>
                      <a:cubicBezTo>
                        <a:pt x="1588566" y="2324142"/>
                        <a:pt x="1585112" y="2324704"/>
                        <a:pt x="1582541" y="2325186"/>
                      </a:cubicBezTo>
                      <a:cubicBezTo>
                        <a:pt x="1583023" y="2324463"/>
                        <a:pt x="1658210" y="2269519"/>
                        <a:pt x="1675722" y="2279560"/>
                      </a:cubicBezTo>
                      <a:cubicBezTo>
                        <a:pt x="1778542" y="2222929"/>
                        <a:pt x="1891724" y="2188950"/>
                        <a:pt x="1994463" y="2132158"/>
                      </a:cubicBezTo>
                      <a:cubicBezTo>
                        <a:pt x="2004022" y="2126857"/>
                        <a:pt x="2032860" y="2108140"/>
                        <a:pt x="2093829" y="2048456"/>
                      </a:cubicBezTo>
                      <a:cubicBezTo>
                        <a:pt x="2092223" y="2050063"/>
                        <a:pt x="2090054" y="2052312"/>
                        <a:pt x="2088447" y="2053919"/>
                      </a:cubicBezTo>
                      <a:cubicBezTo>
                        <a:pt x="2097604" y="2044601"/>
                        <a:pt x="2109895" y="2032149"/>
                        <a:pt x="2119052" y="2022832"/>
                      </a:cubicBezTo>
                      <a:cubicBezTo>
                        <a:pt x="2189259" y="1943628"/>
                        <a:pt x="2200023" y="1931418"/>
                        <a:pt x="2250710" y="1857998"/>
                      </a:cubicBezTo>
                      <a:cubicBezTo>
                        <a:pt x="2307742" y="1765059"/>
                        <a:pt x="2319631" y="1745780"/>
                        <a:pt x="2350156" y="1677823"/>
                      </a:cubicBezTo>
                      <a:moveTo>
                        <a:pt x="991247" y="2131756"/>
                      </a:moveTo>
                      <a:cubicBezTo>
                        <a:pt x="965382" y="2075848"/>
                        <a:pt x="941283" y="2012148"/>
                        <a:pt x="919434" y="1941218"/>
                      </a:cubicBezTo>
                      <a:cubicBezTo>
                        <a:pt x="889632" y="1966923"/>
                        <a:pt x="860634" y="1965799"/>
                        <a:pt x="819586" y="1937363"/>
                      </a:cubicBezTo>
                      <a:cubicBezTo>
                        <a:pt x="821996" y="1939612"/>
                        <a:pt x="825129" y="1942664"/>
                        <a:pt x="827539" y="1944994"/>
                      </a:cubicBezTo>
                      <a:cubicBezTo>
                        <a:pt x="886419" y="2009417"/>
                        <a:pt x="782154" y="2011345"/>
                        <a:pt x="777735" y="2011345"/>
                      </a:cubicBezTo>
                      <a:cubicBezTo>
                        <a:pt x="781431" y="2018654"/>
                        <a:pt x="790026" y="2035764"/>
                        <a:pt x="739901" y="2025483"/>
                      </a:cubicBezTo>
                      <a:cubicBezTo>
                        <a:pt x="739499" y="2029338"/>
                        <a:pt x="738294" y="2040905"/>
                        <a:pt x="760144" y="2041789"/>
                      </a:cubicBezTo>
                      <a:cubicBezTo>
                        <a:pt x="760063" y="2041789"/>
                        <a:pt x="759903" y="2041789"/>
                        <a:pt x="759822" y="2041789"/>
                      </a:cubicBezTo>
                      <a:cubicBezTo>
                        <a:pt x="759742" y="2041789"/>
                        <a:pt x="759581" y="2041789"/>
                        <a:pt x="759501" y="2041789"/>
                      </a:cubicBezTo>
                      <a:cubicBezTo>
                        <a:pt x="759421" y="2041789"/>
                        <a:pt x="759260" y="2041789"/>
                        <a:pt x="759180" y="2041789"/>
                      </a:cubicBezTo>
                      <a:cubicBezTo>
                        <a:pt x="759099" y="2041789"/>
                        <a:pt x="758939" y="2041789"/>
                        <a:pt x="758858" y="2041789"/>
                      </a:cubicBezTo>
                      <a:cubicBezTo>
                        <a:pt x="758778" y="2041789"/>
                        <a:pt x="758617" y="2041789"/>
                        <a:pt x="758537" y="2041789"/>
                      </a:cubicBezTo>
                      <a:cubicBezTo>
                        <a:pt x="758457" y="2041789"/>
                        <a:pt x="758296" y="2041789"/>
                        <a:pt x="758216" y="2041789"/>
                      </a:cubicBezTo>
                      <a:cubicBezTo>
                        <a:pt x="758135" y="2041789"/>
                        <a:pt x="757975" y="2041789"/>
                        <a:pt x="757894" y="2041789"/>
                      </a:cubicBezTo>
                      <a:cubicBezTo>
                        <a:pt x="757814" y="2041789"/>
                        <a:pt x="757653" y="2041789"/>
                        <a:pt x="757573" y="2041789"/>
                      </a:cubicBezTo>
                      <a:cubicBezTo>
                        <a:pt x="760545" y="2042592"/>
                        <a:pt x="764481" y="2043717"/>
                        <a:pt x="767293" y="2044841"/>
                      </a:cubicBezTo>
                      <a:cubicBezTo>
                        <a:pt x="765686" y="2046689"/>
                        <a:pt x="765365" y="2047091"/>
                        <a:pt x="746890" y="2046689"/>
                      </a:cubicBezTo>
                      <a:cubicBezTo>
                        <a:pt x="751790" y="2048135"/>
                        <a:pt x="754762" y="2048858"/>
                        <a:pt x="759662" y="2049581"/>
                      </a:cubicBezTo>
                      <a:cubicBezTo>
                        <a:pt x="707047" y="2083479"/>
                        <a:pt x="756850" y="2101553"/>
                        <a:pt x="757332" y="2101714"/>
                      </a:cubicBezTo>
                      <a:cubicBezTo>
                        <a:pt x="759501" y="2102437"/>
                        <a:pt x="761831" y="2102115"/>
                        <a:pt x="763999" y="2102999"/>
                      </a:cubicBezTo>
                      <a:cubicBezTo>
                        <a:pt x="756609" y="2111915"/>
                        <a:pt x="743194" y="2119546"/>
                        <a:pt x="732752" y="2120752"/>
                      </a:cubicBezTo>
                      <a:cubicBezTo>
                        <a:pt x="733073" y="2121073"/>
                        <a:pt x="733475" y="2121555"/>
                        <a:pt x="733796" y="2121956"/>
                      </a:cubicBezTo>
                      <a:cubicBezTo>
                        <a:pt x="732832" y="2122679"/>
                        <a:pt x="731065" y="2123161"/>
                        <a:pt x="729860" y="2123161"/>
                      </a:cubicBezTo>
                      <a:cubicBezTo>
                        <a:pt x="735162" y="2124527"/>
                        <a:pt x="736045" y="2125250"/>
                        <a:pt x="737250" y="2127178"/>
                      </a:cubicBezTo>
                      <a:cubicBezTo>
                        <a:pt x="816775" y="2133765"/>
                        <a:pt x="902324" y="2134970"/>
                        <a:pt x="991247" y="2131756"/>
                      </a:cubicBezTo>
                      <a:moveTo>
                        <a:pt x="376096" y="1458768"/>
                      </a:moveTo>
                      <a:cubicBezTo>
                        <a:pt x="374650" y="1459411"/>
                        <a:pt x="373445" y="1458688"/>
                        <a:pt x="372882" y="1458367"/>
                      </a:cubicBezTo>
                      <a:cubicBezTo>
                        <a:pt x="374007" y="1458447"/>
                        <a:pt x="375132" y="1458608"/>
                        <a:pt x="376176" y="1458688"/>
                      </a:cubicBezTo>
                      <a:cubicBezTo>
                        <a:pt x="376176" y="1458688"/>
                        <a:pt x="376096" y="1458768"/>
                        <a:pt x="376096" y="1458768"/>
                      </a:cubicBezTo>
                      <a:moveTo>
                        <a:pt x="376738" y="1458768"/>
                      </a:moveTo>
                      <a:cubicBezTo>
                        <a:pt x="376738" y="1458768"/>
                        <a:pt x="376738" y="1458768"/>
                        <a:pt x="376738" y="1458768"/>
                      </a:cubicBezTo>
                      <a:cubicBezTo>
                        <a:pt x="376738" y="1458768"/>
                        <a:pt x="376738" y="1458768"/>
                        <a:pt x="376738" y="1458768"/>
                      </a:cubicBezTo>
                      <a:cubicBezTo>
                        <a:pt x="376738" y="1458768"/>
                        <a:pt x="376738" y="1458768"/>
                        <a:pt x="376738" y="1458768"/>
                      </a:cubicBezTo>
                      <a:cubicBezTo>
                        <a:pt x="376738" y="1458768"/>
                        <a:pt x="376658" y="1458768"/>
                        <a:pt x="376738" y="1458768"/>
                      </a:cubicBezTo>
                      <a:cubicBezTo>
                        <a:pt x="376658" y="1458768"/>
                        <a:pt x="376658" y="1458768"/>
                        <a:pt x="37673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lnTo>
                        <a:pt x="376658" y="1458768"/>
                      </a:lnTo>
                      <a:cubicBezTo>
                        <a:pt x="376819" y="1458688"/>
                        <a:pt x="376899" y="1458608"/>
                        <a:pt x="377060" y="1458528"/>
                      </a:cubicBezTo>
                      <a:cubicBezTo>
                        <a:pt x="376578" y="1458608"/>
                        <a:pt x="376738" y="1458688"/>
                        <a:pt x="376738" y="1458768"/>
                      </a:cubicBezTo>
                      <a:lnTo>
                        <a:pt x="376738" y="1458768"/>
                      </a:lnTo>
                      <a:moveTo>
                        <a:pt x="372481" y="1458286"/>
                      </a:moveTo>
                      <a:cubicBezTo>
                        <a:pt x="363966" y="1457082"/>
                        <a:pt x="356415" y="1454832"/>
                        <a:pt x="350873" y="1453065"/>
                      </a:cubicBezTo>
                      <a:cubicBezTo>
                        <a:pt x="350953" y="1452985"/>
                        <a:pt x="350953" y="1452985"/>
                        <a:pt x="350953" y="1452904"/>
                      </a:cubicBezTo>
                      <a:cubicBezTo>
                        <a:pt x="350632" y="1452664"/>
                        <a:pt x="350230" y="1452423"/>
                        <a:pt x="349989" y="1452182"/>
                      </a:cubicBezTo>
                      <a:cubicBezTo>
                        <a:pt x="362761" y="1449531"/>
                        <a:pt x="369348" y="1455314"/>
                        <a:pt x="372882" y="1458367"/>
                      </a:cubicBezTo>
                      <a:cubicBezTo>
                        <a:pt x="372802" y="1458367"/>
                        <a:pt x="372641" y="1458286"/>
                        <a:pt x="372481" y="1458286"/>
                      </a:cubicBezTo>
                      <a:moveTo>
                        <a:pt x="351515" y="1446719"/>
                      </a:moveTo>
                      <a:cubicBezTo>
                        <a:pt x="349587" y="1447603"/>
                        <a:pt x="349266" y="1447442"/>
                        <a:pt x="349427" y="1447121"/>
                      </a:cubicBezTo>
                      <a:cubicBezTo>
                        <a:pt x="349507" y="1446960"/>
                        <a:pt x="349587" y="1446880"/>
                        <a:pt x="349668" y="1446719"/>
                      </a:cubicBezTo>
                      <a:cubicBezTo>
                        <a:pt x="349266" y="1446478"/>
                        <a:pt x="348704" y="1446077"/>
                        <a:pt x="348302" y="1445836"/>
                      </a:cubicBezTo>
                      <a:cubicBezTo>
                        <a:pt x="347820" y="1446960"/>
                        <a:pt x="347258" y="1447201"/>
                        <a:pt x="345812" y="1446960"/>
                      </a:cubicBezTo>
                      <a:cubicBezTo>
                        <a:pt x="346053" y="1446398"/>
                        <a:pt x="347097" y="1444711"/>
                        <a:pt x="348463" y="1444631"/>
                      </a:cubicBezTo>
                      <a:cubicBezTo>
                        <a:pt x="349748" y="1444551"/>
                        <a:pt x="350873" y="1445514"/>
                        <a:pt x="351837" y="1446559"/>
                      </a:cubicBezTo>
                      <a:cubicBezTo>
                        <a:pt x="351676" y="1446639"/>
                        <a:pt x="351596" y="1446719"/>
                        <a:pt x="351515" y="1446719"/>
                      </a:cubicBezTo>
                      <a:moveTo>
                        <a:pt x="291189" y="1392819"/>
                      </a:moveTo>
                      <a:cubicBezTo>
                        <a:pt x="290707" y="1393863"/>
                        <a:pt x="290466" y="1394506"/>
                        <a:pt x="290305" y="1394104"/>
                      </a:cubicBezTo>
                      <a:cubicBezTo>
                        <a:pt x="290305" y="1394104"/>
                        <a:pt x="290305" y="1394104"/>
                        <a:pt x="290305" y="1394104"/>
                      </a:cubicBezTo>
                      <a:cubicBezTo>
                        <a:pt x="290627" y="1393462"/>
                        <a:pt x="291028" y="1392980"/>
                        <a:pt x="291269" y="1392739"/>
                      </a:cubicBezTo>
                      <a:cubicBezTo>
                        <a:pt x="291269" y="1392819"/>
                        <a:pt x="291189" y="1392819"/>
                        <a:pt x="291189" y="1392819"/>
                      </a:cubicBezTo>
                      <a:moveTo>
                        <a:pt x="526952" y="1358840"/>
                      </a:moveTo>
                      <a:cubicBezTo>
                        <a:pt x="526470" y="1359724"/>
                        <a:pt x="525506" y="1360608"/>
                        <a:pt x="524863" y="1361411"/>
                      </a:cubicBezTo>
                      <a:cubicBezTo>
                        <a:pt x="495383" y="1361090"/>
                        <a:pt x="478594" y="1360688"/>
                        <a:pt x="462930" y="1359162"/>
                      </a:cubicBezTo>
                      <a:cubicBezTo>
                        <a:pt x="450560" y="1357716"/>
                        <a:pt x="438751" y="1355467"/>
                        <a:pt x="444937" y="1350004"/>
                      </a:cubicBezTo>
                      <a:cubicBezTo>
                        <a:pt x="447266" y="1347996"/>
                        <a:pt x="451202" y="1346309"/>
                        <a:pt x="455379" y="1344462"/>
                      </a:cubicBezTo>
                      <a:cubicBezTo>
                        <a:pt x="457468" y="1332091"/>
                        <a:pt x="472569" y="1332894"/>
                        <a:pt x="515143" y="1347755"/>
                      </a:cubicBezTo>
                      <a:cubicBezTo>
                        <a:pt x="512332" y="1347836"/>
                        <a:pt x="510163" y="1348318"/>
                        <a:pt x="508556" y="1349201"/>
                      </a:cubicBezTo>
                      <a:cubicBezTo>
                        <a:pt x="517232" y="1350326"/>
                        <a:pt x="530325" y="1352173"/>
                        <a:pt x="526952" y="1358840"/>
                      </a:cubicBezTo>
                      <a:moveTo>
                        <a:pt x="130131" y="1233368"/>
                      </a:moveTo>
                      <a:cubicBezTo>
                        <a:pt x="130131" y="1233690"/>
                        <a:pt x="130051" y="1234091"/>
                        <a:pt x="129971" y="1234412"/>
                      </a:cubicBezTo>
                      <a:cubicBezTo>
                        <a:pt x="130051" y="1233448"/>
                        <a:pt x="130051" y="1232484"/>
                        <a:pt x="130051" y="1231521"/>
                      </a:cubicBezTo>
                      <a:cubicBezTo>
                        <a:pt x="130212" y="1232002"/>
                        <a:pt x="130212" y="1232565"/>
                        <a:pt x="130131" y="1233368"/>
                      </a:cubicBezTo>
                      <a:moveTo>
                        <a:pt x="429514" y="1326227"/>
                      </a:moveTo>
                      <a:cubicBezTo>
                        <a:pt x="426220" y="1327754"/>
                        <a:pt x="421401" y="1328878"/>
                        <a:pt x="417866" y="1329521"/>
                      </a:cubicBezTo>
                      <a:cubicBezTo>
                        <a:pt x="417705" y="1329119"/>
                        <a:pt x="417545" y="1328637"/>
                        <a:pt x="417465" y="1328236"/>
                      </a:cubicBezTo>
                      <a:cubicBezTo>
                        <a:pt x="404050" y="1326870"/>
                        <a:pt x="390635" y="1325504"/>
                        <a:pt x="377220" y="1324139"/>
                      </a:cubicBezTo>
                      <a:cubicBezTo>
                        <a:pt x="381558" y="1300522"/>
                        <a:pt x="335128" y="1288955"/>
                        <a:pt x="334566" y="1289035"/>
                      </a:cubicBezTo>
                      <a:cubicBezTo>
                        <a:pt x="333200" y="1289357"/>
                        <a:pt x="328461" y="1289839"/>
                        <a:pt x="325489" y="1284858"/>
                      </a:cubicBezTo>
                      <a:cubicBezTo>
                        <a:pt x="321794" y="1286706"/>
                        <a:pt x="317456" y="1285340"/>
                        <a:pt x="312556" y="1280762"/>
                      </a:cubicBezTo>
                      <a:cubicBezTo>
                        <a:pt x="310227" y="1278593"/>
                        <a:pt x="300105" y="1275701"/>
                        <a:pt x="278176" y="1280521"/>
                      </a:cubicBezTo>
                      <a:cubicBezTo>
                        <a:pt x="279140" y="1276826"/>
                        <a:pt x="280425" y="1271845"/>
                        <a:pt x="305728" y="1272086"/>
                      </a:cubicBezTo>
                      <a:cubicBezTo>
                        <a:pt x="318179" y="1272166"/>
                        <a:pt x="318179" y="1272166"/>
                        <a:pt x="345812" y="1281163"/>
                      </a:cubicBezTo>
                      <a:cubicBezTo>
                        <a:pt x="345651" y="1281324"/>
                        <a:pt x="345491" y="1281645"/>
                        <a:pt x="345410" y="1281806"/>
                      </a:cubicBezTo>
                      <a:cubicBezTo>
                        <a:pt x="358182" y="1289839"/>
                        <a:pt x="366697" y="1294498"/>
                        <a:pt x="380755" y="1300924"/>
                      </a:cubicBezTo>
                      <a:cubicBezTo>
                        <a:pt x="380353" y="1300522"/>
                        <a:pt x="379791" y="1299880"/>
                        <a:pt x="379389" y="1299478"/>
                      </a:cubicBezTo>
                      <a:cubicBezTo>
                        <a:pt x="381638" y="1300844"/>
                        <a:pt x="383887" y="1302209"/>
                        <a:pt x="386056" y="1303655"/>
                      </a:cubicBezTo>
                      <a:cubicBezTo>
                        <a:pt x="384851" y="1304137"/>
                        <a:pt x="384450" y="1304218"/>
                        <a:pt x="382763" y="1303414"/>
                      </a:cubicBezTo>
                      <a:cubicBezTo>
                        <a:pt x="384128" y="1305422"/>
                        <a:pt x="384932" y="1305663"/>
                        <a:pt x="386538" y="1304619"/>
                      </a:cubicBezTo>
                      <a:cubicBezTo>
                        <a:pt x="388386" y="1304940"/>
                        <a:pt x="389430" y="1306467"/>
                        <a:pt x="390876" y="1307350"/>
                      </a:cubicBezTo>
                      <a:cubicBezTo>
                        <a:pt x="390715" y="1307591"/>
                        <a:pt x="390474" y="1307832"/>
                        <a:pt x="390314" y="1308073"/>
                      </a:cubicBezTo>
                      <a:cubicBezTo>
                        <a:pt x="395374" y="1309117"/>
                        <a:pt x="396820" y="1309519"/>
                        <a:pt x="402042" y="1311688"/>
                      </a:cubicBezTo>
                      <a:cubicBezTo>
                        <a:pt x="405174" y="1312973"/>
                        <a:pt x="407263" y="1315785"/>
                        <a:pt x="410315" y="1317150"/>
                      </a:cubicBezTo>
                      <a:cubicBezTo>
                        <a:pt x="416581" y="1320042"/>
                        <a:pt x="423971" y="1320122"/>
                        <a:pt x="429674" y="1324460"/>
                      </a:cubicBezTo>
                      <a:cubicBezTo>
                        <a:pt x="429674" y="1325022"/>
                        <a:pt x="429594" y="1325745"/>
                        <a:pt x="429514" y="1326227"/>
                      </a:cubicBezTo>
                      <a:moveTo>
                        <a:pt x="830109" y="1517810"/>
                      </a:moveTo>
                      <a:cubicBezTo>
                        <a:pt x="805770" y="1334260"/>
                        <a:pt x="796854" y="1146775"/>
                        <a:pt x="801914" y="968125"/>
                      </a:cubicBezTo>
                      <a:cubicBezTo>
                        <a:pt x="734599" y="970615"/>
                        <a:pt x="669132" y="970455"/>
                        <a:pt x="606798" y="967643"/>
                      </a:cubicBezTo>
                      <a:cubicBezTo>
                        <a:pt x="607761" y="972704"/>
                        <a:pt x="607761" y="972704"/>
                        <a:pt x="617401" y="982665"/>
                      </a:cubicBezTo>
                      <a:cubicBezTo>
                        <a:pt x="623988" y="985396"/>
                        <a:pt x="630976" y="986842"/>
                        <a:pt x="637643" y="989412"/>
                      </a:cubicBezTo>
                      <a:cubicBezTo>
                        <a:pt x="642222" y="988609"/>
                        <a:pt x="648488" y="988127"/>
                        <a:pt x="653147" y="988287"/>
                      </a:cubicBezTo>
                      <a:cubicBezTo>
                        <a:pt x="654593" y="990135"/>
                        <a:pt x="656521" y="992625"/>
                        <a:pt x="657966" y="994473"/>
                      </a:cubicBezTo>
                      <a:cubicBezTo>
                        <a:pt x="644632" y="1003229"/>
                        <a:pt x="628566" y="1002425"/>
                        <a:pt x="614107" y="1007164"/>
                      </a:cubicBezTo>
                      <a:lnTo>
                        <a:pt x="613224" y="1005638"/>
                      </a:lnTo>
                      <a:cubicBezTo>
                        <a:pt x="594106" y="1024033"/>
                        <a:pt x="590571" y="1022105"/>
                        <a:pt x="581976" y="1017527"/>
                      </a:cubicBezTo>
                      <a:cubicBezTo>
                        <a:pt x="581816" y="1014956"/>
                        <a:pt x="581494" y="1011582"/>
                        <a:pt x="581334" y="1009092"/>
                      </a:cubicBezTo>
                      <a:cubicBezTo>
                        <a:pt x="583422" y="1007084"/>
                        <a:pt x="586073" y="1004192"/>
                        <a:pt x="588563" y="1002827"/>
                      </a:cubicBezTo>
                      <a:cubicBezTo>
                        <a:pt x="605753" y="995437"/>
                        <a:pt x="605753" y="995437"/>
                        <a:pt x="611858" y="993991"/>
                      </a:cubicBezTo>
                      <a:cubicBezTo>
                        <a:pt x="614429" y="994071"/>
                        <a:pt x="617722" y="994151"/>
                        <a:pt x="620293" y="994232"/>
                      </a:cubicBezTo>
                      <a:cubicBezTo>
                        <a:pt x="615794" y="993348"/>
                        <a:pt x="609609" y="992786"/>
                        <a:pt x="605030" y="992625"/>
                      </a:cubicBezTo>
                      <a:cubicBezTo>
                        <a:pt x="606717" y="991018"/>
                        <a:pt x="608886" y="989010"/>
                        <a:pt x="610573" y="987404"/>
                      </a:cubicBezTo>
                      <a:cubicBezTo>
                        <a:pt x="602058" y="989171"/>
                        <a:pt x="593945" y="992304"/>
                        <a:pt x="585189" y="992706"/>
                      </a:cubicBezTo>
                      <a:cubicBezTo>
                        <a:pt x="585270" y="992223"/>
                        <a:pt x="585350" y="991581"/>
                        <a:pt x="585350" y="991018"/>
                      </a:cubicBezTo>
                      <a:lnTo>
                        <a:pt x="582699" y="992223"/>
                      </a:lnTo>
                      <a:cubicBezTo>
                        <a:pt x="578602" y="994151"/>
                        <a:pt x="572176" y="994955"/>
                        <a:pt x="567758" y="994071"/>
                      </a:cubicBezTo>
                      <a:cubicBezTo>
                        <a:pt x="563340" y="1003710"/>
                        <a:pt x="563340" y="1003710"/>
                        <a:pt x="553299" y="1004353"/>
                      </a:cubicBezTo>
                      <a:lnTo>
                        <a:pt x="551612" y="1005558"/>
                      </a:lnTo>
                      <a:cubicBezTo>
                        <a:pt x="548560" y="1005558"/>
                        <a:pt x="544302" y="1005397"/>
                        <a:pt x="541652" y="1003791"/>
                      </a:cubicBezTo>
                      <a:cubicBezTo>
                        <a:pt x="537796" y="1006442"/>
                        <a:pt x="532253" y="1009494"/>
                        <a:pt x="528076" y="1011422"/>
                      </a:cubicBezTo>
                      <a:cubicBezTo>
                        <a:pt x="527996" y="1011020"/>
                        <a:pt x="527835" y="1010378"/>
                        <a:pt x="527755" y="1009976"/>
                      </a:cubicBezTo>
                      <a:lnTo>
                        <a:pt x="526470" y="1011502"/>
                      </a:lnTo>
                      <a:lnTo>
                        <a:pt x="526309" y="1009735"/>
                      </a:lnTo>
                      <a:lnTo>
                        <a:pt x="524943" y="1011823"/>
                      </a:lnTo>
                      <a:lnTo>
                        <a:pt x="523979" y="1010860"/>
                      </a:lnTo>
                      <a:lnTo>
                        <a:pt x="523578" y="1012948"/>
                      </a:lnTo>
                      <a:lnTo>
                        <a:pt x="521007" y="1012546"/>
                      </a:lnTo>
                      <a:lnTo>
                        <a:pt x="521329" y="1011422"/>
                      </a:lnTo>
                      <a:cubicBezTo>
                        <a:pt x="520525" y="1012064"/>
                        <a:pt x="520525" y="1012064"/>
                        <a:pt x="503897" y="1031263"/>
                      </a:cubicBezTo>
                      <a:cubicBezTo>
                        <a:pt x="504701" y="1033753"/>
                        <a:pt x="505825" y="1037047"/>
                        <a:pt x="506709" y="1039456"/>
                      </a:cubicBezTo>
                      <a:cubicBezTo>
                        <a:pt x="508797" y="1040019"/>
                        <a:pt x="511529" y="1040822"/>
                        <a:pt x="513617" y="1041384"/>
                      </a:cubicBezTo>
                      <a:cubicBezTo>
                        <a:pt x="513938" y="1040581"/>
                        <a:pt x="514260" y="1039617"/>
                        <a:pt x="514581" y="1038814"/>
                      </a:cubicBezTo>
                      <a:cubicBezTo>
                        <a:pt x="514581" y="1038814"/>
                        <a:pt x="514581" y="1038894"/>
                        <a:pt x="514581" y="1038894"/>
                      </a:cubicBezTo>
                      <a:cubicBezTo>
                        <a:pt x="513296" y="1040822"/>
                        <a:pt x="511529" y="1043312"/>
                        <a:pt x="510163" y="1045240"/>
                      </a:cubicBezTo>
                      <a:cubicBezTo>
                        <a:pt x="506227" y="1044517"/>
                        <a:pt x="501006" y="1043553"/>
                        <a:pt x="496989" y="1042991"/>
                      </a:cubicBezTo>
                      <a:lnTo>
                        <a:pt x="495302" y="1041063"/>
                      </a:lnTo>
                      <a:cubicBezTo>
                        <a:pt x="479719" y="1047328"/>
                        <a:pt x="473212" y="1048935"/>
                        <a:pt x="454094" y="1052469"/>
                      </a:cubicBezTo>
                      <a:cubicBezTo>
                        <a:pt x="454496" y="1050220"/>
                        <a:pt x="454978" y="1047248"/>
                        <a:pt x="455379" y="1045079"/>
                      </a:cubicBezTo>
                      <a:cubicBezTo>
                        <a:pt x="452247" y="1051907"/>
                        <a:pt x="453050" y="1059619"/>
                        <a:pt x="450801" y="1066688"/>
                      </a:cubicBezTo>
                      <a:cubicBezTo>
                        <a:pt x="450961" y="1065804"/>
                        <a:pt x="451202" y="1064599"/>
                        <a:pt x="451363" y="1063635"/>
                      </a:cubicBezTo>
                      <a:cubicBezTo>
                        <a:pt x="448230" y="1067089"/>
                        <a:pt x="443812" y="1071587"/>
                        <a:pt x="440438" y="1074801"/>
                      </a:cubicBezTo>
                      <a:cubicBezTo>
                        <a:pt x="438028" y="1074319"/>
                        <a:pt x="434815" y="1073676"/>
                        <a:pt x="432405" y="1073275"/>
                      </a:cubicBezTo>
                      <a:cubicBezTo>
                        <a:pt x="432245" y="1070945"/>
                        <a:pt x="432004" y="1067812"/>
                        <a:pt x="431763" y="1065483"/>
                      </a:cubicBezTo>
                      <a:cubicBezTo>
                        <a:pt x="428389" y="1074158"/>
                        <a:pt x="428389" y="1074158"/>
                        <a:pt x="433128" y="1084520"/>
                      </a:cubicBezTo>
                      <a:cubicBezTo>
                        <a:pt x="429835" y="1088296"/>
                        <a:pt x="425337" y="1093276"/>
                        <a:pt x="422043" y="1096971"/>
                      </a:cubicBezTo>
                      <a:cubicBezTo>
                        <a:pt x="421722" y="1094722"/>
                        <a:pt x="421240" y="1091750"/>
                        <a:pt x="420919" y="1089501"/>
                      </a:cubicBezTo>
                      <a:lnTo>
                        <a:pt x="419794" y="1084681"/>
                      </a:lnTo>
                      <a:lnTo>
                        <a:pt x="419633" y="1084038"/>
                      </a:lnTo>
                      <a:lnTo>
                        <a:pt x="416179" y="1077050"/>
                      </a:lnTo>
                      <a:lnTo>
                        <a:pt x="415135" y="1077853"/>
                      </a:lnTo>
                      <a:lnTo>
                        <a:pt x="419071" y="1072230"/>
                      </a:lnTo>
                      <a:lnTo>
                        <a:pt x="417545" y="1072953"/>
                      </a:lnTo>
                      <a:lnTo>
                        <a:pt x="421401" y="1068294"/>
                      </a:lnTo>
                      <a:lnTo>
                        <a:pt x="423569" y="1067170"/>
                      </a:lnTo>
                      <a:lnTo>
                        <a:pt x="422124" y="1067089"/>
                      </a:lnTo>
                      <a:lnTo>
                        <a:pt x="422445" y="1065884"/>
                      </a:lnTo>
                      <a:lnTo>
                        <a:pt x="417946" y="1067411"/>
                      </a:lnTo>
                      <a:lnTo>
                        <a:pt x="417304" y="1069097"/>
                      </a:lnTo>
                      <a:lnTo>
                        <a:pt x="416581" y="1067732"/>
                      </a:lnTo>
                      <a:lnTo>
                        <a:pt x="414894" y="1070142"/>
                      </a:lnTo>
                      <a:lnTo>
                        <a:pt x="412805" y="1069178"/>
                      </a:lnTo>
                      <a:cubicBezTo>
                        <a:pt x="412725" y="1073837"/>
                        <a:pt x="412805" y="1080102"/>
                        <a:pt x="412966" y="1084761"/>
                      </a:cubicBezTo>
                      <a:cubicBezTo>
                        <a:pt x="410797" y="1085484"/>
                        <a:pt x="407986" y="1086368"/>
                        <a:pt x="405817" y="1087091"/>
                      </a:cubicBezTo>
                      <a:cubicBezTo>
                        <a:pt x="407986" y="1089260"/>
                        <a:pt x="411360" y="1091910"/>
                        <a:pt x="412404" y="1094802"/>
                      </a:cubicBezTo>
                      <a:lnTo>
                        <a:pt x="411761" y="1096811"/>
                      </a:lnTo>
                      <a:cubicBezTo>
                        <a:pt x="414814" y="1105004"/>
                        <a:pt x="419714" y="1112394"/>
                        <a:pt x="422043" y="1120909"/>
                      </a:cubicBezTo>
                      <a:cubicBezTo>
                        <a:pt x="420919" y="1118579"/>
                        <a:pt x="419473" y="1115366"/>
                        <a:pt x="418348" y="1113037"/>
                      </a:cubicBezTo>
                      <a:cubicBezTo>
                        <a:pt x="413528" y="1113760"/>
                        <a:pt x="413448" y="1114402"/>
                        <a:pt x="413368" y="1115045"/>
                      </a:cubicBezTo>
                      <a:lnTo>
                        <a:pt x="411601" y="1114081"/>
                      </a:lnTo>
                      <a:lnTo>
                        <a:pt x="412163" y="1115206"/>
                      </a:lnTo>
                      <a:cubicBezTo>
                        <a:pt x="410074" y="1114563"/>
                        <a:pt x="407263" y="1113760"/>
                        <a:pt x="405094" y="1113198"/>
                      </a:cubicBezTo>
                      <a:cubicBezTo>
                        <a:pt x="408869" y="1115527"/>
                        <a:pt x="413368" y="1119543"/>
                        <a:pt x="416099" y="1123078"/>
                      </a:cubicBezTo>
                      <a:cubicBezTo>
                        <a:pt x="411360" y="1123078"/>
                        <a:pt x="405014" y="1122596"/>
                        <a:pt x="400355" y="1121792"/>
                      </a:cubicBezTo>
                      <a:cubicBezTo>
                        <a:pt x="401881" y="1123480"/>
                        <a:pt x="403809" y="1125729"/>
                        <a:pt x="405335" y="1127416"/>
                      </a:cubicBezTo>
                      <a:cubicBezTo>
                        <a:pt x="403166" y="1127175"/>
                        <a:pt x="400355" y="1126934"/>
                        <a:pt x="398186" y="1126693"/>
                      </a:cubicBezTo>
                      <a:cubicBezTo>
                        <a:pt x="399953" y="1127978"/>
                        <a:pt x="402363" y="1129665"/>
                        <a:pt x="404210" y="1130950"/>
                      </a:cubicBezTo>
                      <a:cubicBezTo>
                        <a:pt x="400756" y="1132074"/>
                        <a:pt x="396097" y="1133601"/>
                        <a:pt x="392643" y="1134725"/>
                      </a:cubicBezTo>
                      <a:cubicBezTo>
                        <a:pt x="377541" y="1142356"/>
                        <a:pt x="364127" y="1145650"/>
                        <a:pt x="363966" y="1145650"/>
                      </a:cubicBezTo>
                      <a:cubicBezTo>
                        <a:pt x="357620" y="1151755"/>
                        <a:pt x="348141" y="1151193"/>
                        <a:pt x="341153" y="1156093"/>
                      </a:cubicBezTo>
                      <a:lnTo>
                        <a:pt x="339948" y="1154406"/>
                      </a:lnTo>
                      <a:cubicBezTo>
                        <a:pt x="338181" y="1157940"/>
                        <a:pt x="335771" y="1162519"/>
                        <a:pt x="333361" y="1165652"/>
                      </a:cubicBezTo>
                      <a:cubicBezTo>
                        <a:pt x="323963" y="1184850"/>
                        <a:pt x="337859" y="1206780"/>
                        <a:pt x="338020" y="1206940"/>
                      </a:cubicBezTo>
                      <a:cubicBezTo>
                        <a:pt x="343884" y="1229111"/>
                        <a:pt x="343884" y="1229111"/>
                        <a:pt x="342840" y="1243007"/>
                      </a:cubicBezTo>
                      <a:cubicBezTo>
                        <a:pt x="342679" y="1242847"/>
                        <a:pt x="342518" y="1242606"/>
                        <a:pt x="342358" y="1242365"/>
                      </a:cubicBezTo>
                      <a:cubicBezTo>
                        <a:pt x="340269" y="1243972"/>
                        <a:pt x="337458" y="1246140"/>
                        <a:pt x="335369" y="1247827"/>
                      </a:cubicBezTo>
                      <a:cubicBezTo>
                        <a:pt x="320509" y="1244052"/>
                        <a:pt x="321553" y="1225898"/>
                        <a:pt x="309664" y="1219471"/>
                      </a:cubicBezTo>
                      <a:cubicBezTo>
                        <a:pt x="309905" y="1216017"/>
                        <a:pt x="309584" y="1211117"/>
                        <a:pt x="307977" y="1208065"/>
                      </a:cubicBezTo>
                      <a:cubicBezTo>
                        <a:pt x="304925" y="1194088"/>
                        <a:pt x="301069" y="1176737"/>
                        <a:pt x="273115" y="1174729"/>
                      </a:cubicBezTo>
                      <a:cubicBezTo>
                        <a:pt x="272312" y="1172720"/>
                        <a:pt x="271268" y="1170070"/>
                        <a:pt x="270464" y="1168061"/>
                      </a:cubicBezTo>
                      <a:cubicBezTo>
                        <a:pt x="255443" y="1162037"/>
                        <a:pt x="255443" y="1162037"/>
                        <a:pt x="252953" y="1160350"/>
                      </a:cubicBezTo>
                      <a:lnTo>
                        <a:pt x="251828" y="1159386"/>
                      </a:lnTo>
                      <a:lnTo>
                        <a:pt x="248213" y="1160350"/>
                      </a:lnTo>
                      <a:lnTo>
                        <a:pt x="243876" y="1160511"/>
                      </a:lnTo>
                      <a:cubicBezTo>
                        <a:pt x="242269" y="1158743"/>
                        <a:pt x="240181" y="1156414"/>
                        <a:pt x="238654" y="1154727"/>
                      </a:cubicBezTo>
                      <a:cubicBezTo>
                        <a:pt x="229095" y="1154968"/>
                        <a:pt x="226364" y="1154888"/>
                        <a:pt x="215841" y="1153281"/>
                      </a:cubicBezTo>
                      <a:cubicBezTo>
                        <a:pt x="218733" y="1155048"/>
                        <a:pt x="222589" y="1157940"/>
                        <a:pt x="224356" y="1160832"/>
                      </a:cubicBezTo>
                      <a:lnTo>
                        <a:pt x="221786" y="1161555"/>
                      </a:lnTo>
                      <a:lnTo>
                        <a:pt x="225561" y="1171997"/>
                      </a:lnTo>
                      <a:lnTo>
                        <a:pt x="224677" y="1170873"/>
                      </a:lnTo>
                      <a:lnTo>
                        <a:pt x="222830" y="1171676"/>
                      </a:lnTo>
                      <a:cubicBezTo>
                        <a:pt x="221625" y="1169588"/>
                        <a:pt x="219938" y="1166776"/>
                        <a:pt x="218733" y="1164688"/>
                      </a:cubicBezTo>
                      <a:cubicBezTo>
                        <a:pt x="210941" y="1165491"/>
                        <a:pt x="205720" y="1166053"/>
                        <a:pt x="203069" y="1160430"/>
                      </a:cubicBezTo>
                      <a:cubicBezTo>
                        <a:pt x="201945" y="1158422"/>
                        <a:pt x="200418" y="1155771"/>
                        <a:pt x="199294" y="1153763"/>
                      </a:cubicBezTo>
                      <a:cubicBezTo>
                        <a:pt x="189092" y="1151112"/>
                        <a:pt x="180417" y="1144124"/>
                        <a:pt x="169492" y="1143562"/>
                      </a:cubicBezTo>
                      <a:cubicBezTo>
                        <a:pt x="166922" y="1143079"/>
                        <a:pt x="166118" y="1142678"/>
                        <a:pt x="165235" y="1142356"/>
                      </a:cubicBezTo>
                      <a:cubicBezTo>
                        <a:pt x="161218" y="1145730"/>
                        <a:pt x="154551" y="1148622"/>
                        <a:pt x="149410" y="1149666"/>
                      </a:cubicBezTo>
                      <a:cubicBezTo>
                        <a:pt x="150133" y="1149425"/>
                        <a:pt x="151017" y="1149104"/>
                        <a:pt x="151740" y="1148863"/>
                      </a:cubicBezTo>
                      <a:lnTo>
                        <a:pt x="145956" y="1145088"/>
                      </a:lnTo>
                      <a:lnTo>
                        <a:pt x="142422" y="1149907"/>
                      </a:lnTo>
                      <a:lnTo>
                        <a:pt x="141217" y="1151112"/>
                      </a:lnTo>
                      <a:cubicBezTo>
                        <a:pt x="133103" y="1164366"/>
                        <a:pt x="133103" y="1164366"/>
                        <a:pt x="130051" y="1231601"/>
                      </a:cubicBezTo>
                      <a:cubicBezTo>
                        <a:pt x="129408" y="1229512"/>
                        <a:pt x="128605" y="1226781"/>
                        <a:pt x="127962" y="1224693"/>
                      </a:cubicBezTo>
                      <a:cubicBezTo>
                        <a:pt x="131095" y="1240035"/>
                        <a:pt x="132541" y="1247104"/>
                        <a:pt x="144108" y="1271845"/>
                      </a:cubicBezTo>
                      <a:cubicBezTo>
                        <a:pt x="143707" y="1271444"/>
                        <a:pt x="143064" y="1270962"/>
                        <a:pt x="142662" y="1270560"/>
                      </a:cubicBezTo>
                      <a:lnTo>
                        <a:pt x="144751" y="1272568"/>
                      </a:lnTo>
                      <a:cubicBezTo>
                        <a:pt x="161379" y="1285903"/>
                        <a:pt x="168608" y="1287911"/>
                        <a:pt x="185959" y="1292570"/>
                      </a:cubicBezTo>
                      <a:cubicBezTo>
                        <a:pt x="187164" y="1291847"/>
                        <a:pt x="188690" y="1290883"/>
                        <a:pt x="189895" y="1290160"/>
                      </a:cubicBezTo>
                      <a:cubicBezTo>
                        <a:pt x="209656" y="1263732"/>
                        <a:pt x="238253" y="1266142"/>
                        <a:pt x="242269" y="1279476"/>
                      </a:cubicBezTo>
                      <a:cubicBezTo>
                        <a:pt x="242430" y="1280039"/>
                        <a:pt x="242430" y="1280039"/>
                        <a:pt x="237289" y="1304539"/>
                      </a:cubicBezTo>
                      <a:cubicBezTo>
                        <a:pt x="235040" y="1304539"/>
                        <a:pt x="231987" y="1304539"/>
                        <a:pt x="229658" y="1304539"/>
                      </a:cubicBezTo>
                      <a:cubicBezTo>
                        <a:pt x="226123" y="1312330"/>
                        <a:pt x="225320" y="1314178"/>
                        <a:pt x="223472" y="1336670"/>
                      </a:cubicBezTo>
                      <a:cubicBezTo>
                        <a:pt x="238172" y="1343016"/>
                        <a:pt x="240823" y="1344141"/>
                        <a:pt x="258013" y="1346229"/>
                      </a:cubicBezTo>
                      <a:cubicBezTo>
                        <a:pt x="257772" y="1345908"/>
                        <a:pt x="257532" y="1345426"/>
                        <a:pt x="257291" y="1345104"/>
                      </a:cubicBezTo>
                      <a:cubicBezTo>
                        <a:pt x="263958" y="1347434"/>
                        <a:pt x="270464" y="1350004"/>
                        <a:pt x="277212" y="1352093"/>
                      </a:cubicBezTo>
                      <a:cubicBezTo>
                        <a:pt x="281550" y="1354824"/>
                        <a:pt x="286851" y="1359081"/>
                        <a:pt x="290466" y="1362776"/>
                      </a:cubicBezTo>
                      <a:cubicBezTo>
                        <a:pt x="290064" y="1362214"/>
                        <a:pt x="289582" y="1361572"/>
                        <a:pt x="289181" y="1361009"/>
                      </a:cubicBezTo>
                      <a:cubicBezTo>
                        <a:pt x="290948" y="1362294"/>
                        <a:pt x="293277" y="1364062"/>
                        <a:pt x="295045" y="1365347"/>
                      </a:cubicBezTo>
                      <a:cubicBezTo>
                        <a:pt x="294964" y="1366472"/>
                        <a:pt x="294804" y="1367918"/>
                        <a:pt x="294643" y="1368962"/>
                      </a:cubicBezTo>
                      <a:cubicBezTo>
                        <a:pt x="293438" y="1374103"/>
                        <a:pt x="293438" y="1374103"/>
                        <a:pt x="289181" y="1399808"/>
                      </a:cubicBezTo>
                      <a:cubicBezTo>
                        <a:pt x="294000" y="1417882"/>
                        <a:pt x="299864" y="1428967"/>
                        <a:pt x="320187" y="1442542"/>
                      </a:cubicBezTo>
                      <a:cubicBezTo>
                        <a:pt x="319625" y="1441819"/>
                        <a:pt x="318902" y="1440775"/>
                        <a:pt x="318340" y="1440052"/>
                      </a:cubicBezTo>
                      <a:cubicBezTo>
                        <a:pt x="333843" y="1446960"/>
                        <a:pt x="337458" y="1448406"/>
                        <a:pt x="350873" y="1452985"/>
                      </a:cubicBezTo>
                      <a:cubicBezTo>
                        <a:pt x="348784" y="1457162"/>
                        <a:pt x="344286" y="1462142"/>
                        <a:pt x="340028" y="1463909"/>
                      </a:cubicBezTo>
                      <a:cubicBezTo>
                        <a:pt x="322276" y="1450093"/>
                        <a:pt x="299141" y="1444631"/>
                        <a:pt x="283317" y="1427762"/>
                      </a:cubicBezTo>
                      <a:lnTo>
                        <a:pt x="225400" y="1368078"/>
                      </a:lnTo>
                      <a:cubicBezTo>
                        <a:pt x="225481" y="1368400"/>
                        <a:pt x="225561" y="1368881"/>
                        <a:pt x="225641" y="1369203"/>
                      </a:cubicBezTo>
                      <a:cubicBezTo>
                        <a:pt x="200338" y="1355306"/>
                        <a:pt x="200338" y="1355306"/>
                        <a:pt x="155595" y="1306949"/>
                      </a:cubicBezTo>
                      <a:lnTo>
                        <a:pt x="153507" y="1306306"/>
                      </a:lnTo>
                      <a:cubicBezTo>
                        <a:pt x="130212" y="1295301"/>
                        <a:pt x="95028" y="1278593"/>
                        <a:pt x="70367" y="1215134"/>
                      </a:cubicBezTo>
                      <a:cubicBezTo>
                        <a:pt x="45305" y="1150550"/>
                        <a:pt x="54462" y="1080745"/>
                        <a:pt x="40244" y="1014474"/>
                      </a:cubicBezTo>
                      <a:cubicBezTo>
                        <a:pt x="25143" y="1059940"/>
                        <a:pt x="53177" y="1104602"/>
                        <a:pt x="42654" y="1149907"/>
                      </a:cubicBezTo>
                      <a:cubicBezTo>
                        <a:pt x="36549" y="1120909"/>
                        <a:pt x="22171" y="1052952"/>
                        <a:pt x="43538" y="881612"/>
                      </a:cubicBezTo>
                      <a:cubicBezTo>
                        <a:pt x="43457" y="881531"/>
                        <a:pt x="43377" y="881451"/>
                        <a:pt x="43377" y="881371"/>
                      </a:cubicBezTo>
                      <a:lnTo>
                        <a:pt x="44020" y="880166"/>
                      </a:lnTo>
                      <a:cubicBezTo>
                        <a:pt x="47474" y="861931"/>
                        <a:pt x="48759" y="856228"/>
                        <a:pt x="54221" y="837190"/>
                      </a:cubicBezTo>
                      <a:cubicBezTo>
                        <a:pt x="54221" y="837190"/>
                        <a:pt x="54221" y="837190"/>
                        <a:pt x="54221" y="837110"/>
                      </a:cubicBezTo>
                      <a:cubicBezTo>
                        <a:pt x="54302" y="836949"/>
                        <a:pt x="54302" y="836789"/>
                        <a:pt x="54382" y="836628"/>
                      </a:cubicBezTo>
                      <a:lnTo>
                        <a:pt x="54221" y="837431"/>
                      </a:lnTo>
                      <a:lnTo>
                        <a:pt x="54543" y="836548"/>
                      </a:lnTo>
                      <a:lnTo>
                        <a:pt x="54543" y="836227"/>
                      </a:lnTo>
                      <a:cubicBezTo>
                        <a:pt x="58479" y="823856"/>
                        <a:pt x="70528" y="814297"/>
                        <a:pt x="67154" y="799436"/>
                      </a:cubicBezTo>
                      <a:cubicBezTo>
                        <a:pt x="75267" y="779917"/>
                        <a:pt x="77035" y="775418"/>
                        <a:pt x="85630" y="753730"/>
                      </a:cubicBezTo>
                      <a:cubicBezTo>
                        <a:pt x="86112" y="732684"/>
                        <a:pt x="90048" y="713325"/>
                        <a:pt x="98643" y="693484"/>
                      </a:cubicBezTo>
                      <a:lnTo>
                        <a:pt x="72376" y="760236"/>
                      </a:lnTo>
                      <a:cubicBezTo>
                        <a:pt x="35505" y="876391"/>
                        <a:pt x="33256" y="883299"/>
                        <a:pt x="19359" y="957682"/>
                      </a:cubicBezTo>
                      <a:cubicBezTo>
                        <a:pt x="2169" y="1080584"/>
                        <a:pt x="1125" y="1087894"/>
                        <a:pt x="0" y="1163242"/>
                      </a:cubicBezTo>
                      <a:cubicBezTo>
                        <a:pt x="3936" y="1290240"/>
                        <a:pt x="4177" y="1297791"/>
                        <a:pt x="16066" y="1373701"/>
                      </a:cubicBezTo>
                      <a:cubicBezTo>
                        <a:pt x="27151" y="1428083"/>
                        <a:pt x="44180" y="1500137"/>
                        <a:pt x="59282" y="1553475"/>
                      </a:cubicBezTo>
                      <a:cubicBezTo>
                        <a:pt x="103141" y="1673244"/>
                        <a:pt x="104828" y="1677984"/>
                        <a:pt x="138967" y="1744335"/>
                      </a:cubicBezTo>
                      <a:cubicBezTo>
                        <a:pt x="200981" y="1852857"/>
                        <a:pt x="203471" y="1857115"/>
                        <a:pt x="248213" y="1917040"/>
                      </a:cubicBezTo>
                      <a:cubicBezTo>
                        <a:pt x="266528" y="1939451"/>
                        <a:pt x="290305" y="1970056"/>
                        <a:pt x="309504" y="1991664"/>
                      </a:cubicBezTo>
                      <a:cubicBezTo>
                        <a:pt x="349507" y="2036407"/>
                        <a:pt x="425497" y="2073679"/>
                        <a:pt x="538278" y="2099063"/>
                      </a:cubicBezTo>
                      <a:cubicBezTo>
                        <a:pt x="574586" y="2107256"/>
                        <a:pt x="613465" y="2113923"/>
                        <a:pt x="654432" y="2119145"/>
                      </a:cubicBezTo>
                      <a:lnTo>
                        <a:pt x="654994" y="2114486"/>
                      </a:lnTo>
                      <a:cubicBezTo>
                        <a:pt x="652906" y="2111594"/>
                        <a:pt x="646480" y="2102839"/>
                        <a:pt x="632663" y="2093038"/>
                      </a:cubicBezTo>
                      <a:cubicBezTo>
                        <a:pt x="637483" y="2093359"/>
                        <a:pt x="643909" y="2094243"/>
                        <a:pt x="648568" y="2095368"/>
                      </a:cubicBezTo>
                      <a:cubicBezTo>
                        <a:pt x="638527" y="2086773"/>
                        <a:pt x="625193" y="2083238"/>
                        <a:pt x="615312" y="2074402"/>
                      </a:cubicBezTo>
                      <a:cubicBezTo>
                        <a:pt x="613224" y="2074964"/>
                        <a:pt x="610412" y="2075688"/>
                        <a:pt x="608324" y="2076170"/>
                      </a:cubicBezTo>
                      <a:cubicBezTo>
                        <a:pt x="611457" y="2072956"/>
                        <a:pt x="616035" y="2068940"/>
                        <a:pt x="619650" y="2066369"/>
                      </a:cubicBezTo>
                      <a:cubicBezTo>
                        <a:pt x="621658" y="2067494"/>
                        <a:pt x="624309" y="2068940"/>
                        <a:pt x="626237" y="2070065"/>
                      </a:cubicBezTo>
                      <a:cubicBezTo>
                        <a:pt x="628566" y="2068940"/>
                        <a:pt x="631699" y="2067414"/>
                        <a:pt x="634029" y="2066289"/>
                      </a:cubicBezTo>
                      <a:cubicBezTo>
                        <a:pt x="623988" y="2052473"/>
                        <a:pt x="624068" y="2030141"/>
                        <a:pt x="624148" y="2029901"/>
                      </a:cubicBezTo>
                      <a:cubicBezTo>
                        <a:pt x="622462" y="2028133"/>
                        <a:pt x="620293" y="2025804"/>
                        <a:pt x="618686" y="2024037"/>
                      </a:cubicBezTo>
                      <a:cubicBezTo>
                        <a:pt x="614107" y="2024117"/>
                        <a:pt x="607842" y="2023715"/>
                        <a:pt x="603504" y="2022269"/>
                      </a:cubicBezTo>
                      <a:cubicBezTo>
                        <a:pt x="572658" y="1958730"/>
                        <a:pt x="604548" y="1885230"/>
                        <a:pt x="571855" y="1822012"/>
                      </a:cubicBezTo>
                      <a:cubicBezTo>
                        <a:pt x="544302" y="1768674"/>
                        <a:pt x="500524" y="1745299"/>
                        <a:pt x="445097" y="1715657"/>
                      </a:cubicBezTo>
                      <a:cubicBezTo>
                        <a:pt x="444214" y="1715176"/>
                        <a:pt x="359387" y="1655733"/>
                        <a:pt x="362922" y="1579983"/>
                      </a:cubicBezTo>
                      <a:cubicBezTo>
                        <a:pt x="357781" y="1577734"/>
                        <a:pt x="351435" y="1573557"/>
                        <a:pt x="347659" y="1569460"/>
                      </a:cubicBezTo>
                      <a:cubicBezTo>
                        <a:pt x="348302" y="1566569"/>
                        <a:pt x="349186" y="1562793"/>
                        <a:pt x="349828" y="1559901"/>
                      </a:cubicBezTo>
                      <a:cubicBezTo>
                        <a:pt x="351274" y="1559098"/>
                        <a:pt x="353282" y="1557974"/>
                        <a:pt x="354728" y="1557090"/>
                      </a:cubicBezTo>
                      <a:cubicBezTo>
                        <a:pt x="359628" y="1533232"/>
                        <a:pt x="384851" y="1529618"/>
                        <a:pt x="397864" y="1513874"/>
                      </a:cubicBezTo>
                      <a:cubicBezTo>
                        <a:pt x="396499" y="1513552"/>
                        <a:pt x="394651" y="1513070"/>
                        <a:pt x="393286" y="1512749"/>
                      </a:cubicBezTo>
                      <a:lnTo>
                        <a:pt x="390394" y="1509295"/>
                      </a:lnTo>
                      <a:cubicBezTo>
                        <a:pt x="391117" y="1507206"/>
                        <a:pt x="392081" y="1504395"/>
                        <a:pt x="392804" y="1502306"/>
                      </a:cubicBezTo>
                      <a:cubicBezTo>
                        <a:pt x="386619" y="1490177"/>
                        <a:pt x="384128" y="1476200"/>
                        <a:pt x="374891" y="1465516"/>
                      </a:cubicBezTo>
                      <a:cubicBezTo>
                        <a:pt x="386217" y="1456118"/>
                        <a:pt x="406781" y="1463749"/>
                        <a:pt x="412966" y="1444952"/>
                      </a:cubicBezTo>
                      <a:cubicBezTo>
                        <a:pt x="421561" y="1435232"/>
                        <a:pt x="478996" y="1430332"/>
                        <a:pt x="479076" y="1439249"/>
                      </a:cubicBezTo>
                      <a:cubicBezTo>
                        <a:pt x="479076" y="1440373"/>
                        <a:pt x="478192" y="1441819"/>
                        <a:pt x="477791" y="1442863"/>
                      </a:cubicBezTo>
                      <a:cubicBezTo>
                        <a:pt x="478755" y="1447924"/>
                        <a:pt x="480120" y="1454672"/>
                        <a:pt x="481245" y="1459733"/>
                      </a:cubicBezTo>
                      <a:cubicBezTo>
                        <a:pt x="482129" y="1454993"/>
                        <a:pt x="482450" y="1448406"/>
                        <a:pt x="482209" y="1443587"/>
                      </a:cubicBezTo>
                      <a:cubicBezTo>
                        <a:pt x="539643" y="1436437"/>
                        <a:pt x="595150" y="1455877"/>
                        <a:pt x="652022" y="1456359"/>
                      </a:cubicBezTo>
                      <a:cubicBezTo>
                        <a:pt x="646801" y="1457322"/>
                        <a:pt x="639652" y="1458126"/>
                        <a:pt x="634270" y="1458367"/>
                      </a:cubicBezTo>
                      <a:cubicBezTo>
                        <a:pt x="637884" y="1461580"/>
                        <a:pt x="643507" y="1465034"/>
                        <a:pt x="647925" y="1466962"/>
                      </a:cubicBezTo>
                      <a:lnTo>
                        <a:pt x="647604" y="1465114"/>
                      </a:lnTo>
                      <a:cubicBezTo>
                        <a:pt x="649612" y="1465998"/>
                        <a:pt x="652344" y="1467123"/>
                        <a:pt x="654352" y="1467926"/>
                      </a:cubicBezTo>
                      <a:cubicBezTo>
                        <a:pt x="654593" y="1467685"/>
                        <a:pt x="654834" y="1467444"/>
                        <a:pt x="655075" y="1467203"/>
                      </a:cubicBezTo>
                      <a:cubicBezTo>
                        <a:pt x="659814" y="1467926"/>
                        <a:pt x="665999" y="1470095"/>
                        <a:pt x="669935" y="1472746"/>
                      </a:cubicBezTo>
                      <a:cubicBezTo>
                        <a:pt x="668248" y="1474914"/>
                        <a:pt x="665999" y="1477806"/>
                        <a:pt x="664312" y="1479895"/>
                      </a:cubicBezTo>
                      <a:cubicBezTo>
                        <a:pt x="674273" y="1481983"/>
                        <a:pt x="684475" y="1482947"/>
                        <a:pt x="694516" y="1485036"/>
                      </a:cubicBezTo>
                      <a:cubicBezTo>
                        <a:pt x="694516" y="1484875"/>
                        <a:pt x="694516" y="1484715"/>
                        <a:pt x="694435" y="1484554"/>
                      </a:cubicBezTo>
                      <a:cubicBezTo>
                        <a:pt x="717168" y="1491703"/>
                        <a:pt x="719739" y="1494354"/>
                        <a:pt x="717248" y="1507769"/>
                      </a:cubicBezTo>
                      <a:cubicBezTo>
                        <a:pt x="734680" y="1500861"/>
                        <a:pt x="738696" y="1505519"/>
                        <a:pt x="746729" y="1517649"/>
                      </a:cubicBezTo>
                      <a:cubicBezTo>
                        <a:pt x="760304" y="1505680"/>
                        <a:pt x="806252" y="1517649"/>
                        <a:pt x="806573" y="1517810"/>
                      </a:cubicBezTo>
                      <a:cubicBezTo>
                        <a:pt x="816052" y="1515400"/>
                        <a:pt x="818703" y="1515159"/>
                        <a:pt x="830109" y="1517810"/>
                      </a:cubicBezTo>
                      <a:moveTo>
                        <a:pt x="2131181" y="548251"/>
                      </a:moveTo>
                      <a:cubicBezTo>
                        <a:pt x="2130619" y="547046"/>
                        <a:pt x="2128852" y="549536"/>
                        <a:pt x="2127245" y="552106"/>
                      </a:cubicBezTo>
                      <a:cubicBezTo>
                        <a:pt x="2127245" y="551303"/>
                        <a:pt x="2127245" y="550178"/>
                        <a:pt x="2127326" y="549295"/>
                      </a:cubicBezTo>
                      <a:lnTo>
                        <a:pt x="2126924" y="550098"/>
                      </a:lnTo>
                      <a:cubicBezTo>
                        <a:pt x="2124916" y="554436"/>
                        <a:pt x="2123631" y="558131"/>
                        <a:pt x="2122506" y="563192"/>
                      </a:cubicBezTo>
                      <a:cubicBezTo>
                        <a:pt x="2125398" y="560059"/>
                        <a:pt x="2128129" y="556926"/>
                        <a:pt x="2130780" y="553874"/>
                      </a:cubicBezTo>
                      <a:cubicBezTo>
                        <a:pt x="2131021" y="552588"/>
                        <a:pt x="2131664" y="549215"/>
                        <a:pt x="2131181" y="548251"/>
                      </a:cubicBezTo>
                      <a:moveTo>
                        <a:pt x="858867" y="568815"/>
                      </a:moveTo>
                      <a:cubicBezTo>
                        <a:pt x="859108" y="568654"/>
                        <a:pt x="859349" y="568413"/>
                        <a:pt x="859509" y="568252"/>
                      </a:cubicBezTo>
                      <a:cubicBezTo>
                        <a:pt x="859268" y="568413"/>
                        <a:pt x="858867" y="568654"/>
                        <a:pt x="858626" y="568815"/>
                      </a:cubicBezTo>
                      <a:cubicBezTo>
                        <a:pt x="849227" y="574438"/>
                        <a:pt x="842159" y="578534"/>
                        <a:pt x="836857" y="581105"/>
                      </a:cubicBezTo>
                      <a:cubicBezTo>
                        <a:pt x="836616" y="582551"/>
                        <a:pt x="836375" y="583997"/>
                        <a:pt x="836134" y="585443"/>
                      </a:cubicBezTo>
                      <a:cubicBezTo>
                        <a:pt x="839267" y="583434"/>
                        <a:pt x="848504" y="577410"/>
                        <a:pt x="858867" y="568815"/>
                      </a:cubicBezTo>
                      <a:moveTo>
                        <a:pt x="844488" y="569297"/>
                      </a:moveTo>
                      <a:cubicBezTo>
                        <a:pt x="844649" y="569136"/>
                        <a:pt x="844809" y="568975"/>
                        <a:pt x="844970" y="568895"/>
                      </a:cubicBezTo>
                      <a:cubicBezTo>
                        <a:pt x="842560" y="566164"/>
                        <a:pt x="841114" y="564156"/>
                        <a:pt x="840070" y="561826"/>
                      </a:cubicBezTo>
                      <a:cubicBezTo>
                        <a:pt x="839347" y="566164"/>
                        <a:pt x="838624" y="570501"/>
                        <a:pt x="837901" y="574839"/>
                      </a:cubicBezTo>
                      <a:cubicBezTo>
                        <a:pt x="840070" y="572992"/>
                        <a:pt x="842239" y="571144"/>
                        <a:pt x="844488" y="569297"/>
                      </a:cubicBezTo>
                      <a:moveTo>
                        <a:pt x="866418" y="545359"/>
                      </a:moveTo>
                      <a:cubicBezTo>
                        <a:pt x="866578" y="545359"/>
                        <a:pt x="866819" y="545359"/>
                        <a:pt x="867060" y="545279"/>
                      </a:cubicBezTo>
                      <a:cubicBezTo>
                        <a:pt x="863445" y="544877"/>
                        <a:pt x="860554" y="544716"/>
                        <a:pt x="856216" y="544957"/>
                      </a:cubicBezTo>
                      <a:cubicBezTo>
                        <a:pt x="851236" y="545279"/>
                        <a:pt x="847219" y="546082"/>
                        <a:pt x="842480" y="547528"/>
                      </a:cubicBezTo>
                      <a:cubicBezTo>
                        <a:pt x="842239" y="548974"/>
                        <a:pt x="841998" y="550339"/>
                        <a:pt x="841757" y="551785"/>
                      </a:cubicBezTo>
                      <a:cubicBezTo>
                        <a:pt x="846577" y="547769"/>
                        <a:pt x="854770" y="546323"/>
                        <a:pt x="866418" y="545359"/>
                      </a:cubicBezTo>
                      <a:moveTo>
                        <a:pt x="861357" y="533792"/>
                      </a:moveTo>
                      <a:cubicBezTo>
                        <a:pt x="862481" y="530900"/>
                        <a:pt x="855975" y="531221"/>
                        <a:pt x="853485" y="531382"/>
                      </a:cubicBezTo>
                      <a:cubicBezTo>
                        <a:pt x="850834" y="531543"/>
                        <a:pt x="848826" y="531784"/>
                        <a:pt x="845131" y="532265"/>
                      </a:cubicBezTo>
                      <a:cubicBezTo>
                        <a:pt x="844247" y="537085"/>
                        <a:pt x="843444" y="541825"/>
                        <a:pt x="842560" y="546724"/>
                      </a:cubicBezTo>
                      <a:cubicBezTo>
                        <a:pt x="847380" y="544154"/>
                        <a:pt x="859991" y="537406"/>
                        <a:pt x="861357" y="533792"/>
                      </a:cubicBezTo>
                      <a:moveTo>
                        <a:pt x="877101" y="509693"/>
                      </a:moveTo>
                      <a:cubicBezTo>
                        <a:pt x="878145" y="507283"/>
                        <a:pt x="876057" y="506801"/>
                        <a:pt x="870514" y="508006"/>
                      </a:cubicBezTo>
                      <a:cubicBezTo>
                        <a:pt x="868426" y="503106"/>
                        <a:pt x="868345" y="499973"/>
                        <a:pt x="869309" y="493146"/>
                      </a:cubicBezTo>
                      <a:cubicBezTo>
                        <a:pt x="870595" y="483828"/>
                        <a:pt x="869791" y="479169"/>
                        <a:pt x="856698" y="473706"/>
                      </a:cubicBezTo>
                      <a:cubicBezTo>
                        <a:pt x="855413" y="479650"/>
                        <a:pt x="854208" y="485675"/>
                        <a:pt x="853003" y="491780"/>
                      </a:cubicBezTo>
                      <a:cubicBezTo>
                        <a:pt x="855252" y="493226"/>
                        <a:pt x="855011" y="494511"/>
                        <a:pt x="851959" y="497082"/>
                      </a:cubicBezTo>
                      <a:cubicBezTo>
                        <a:pt x="849870" y="507685"/>
                        <a:pt x="847781" y="518369"/>
                        <a:pt x="845854" y="529213"/>
                      </a:cubicBezTo>
                      <a:cubicBezTo>
                        <a:pt x="850031" y="526803"/>
                        <a:pt x="855734" y="523510"/>
                        <a:pt x="865936" y="520296"/>
                      </a:cubicBezTo>
                      <a:cubicBezTo>
                        <a:pt x="866418" y="520136"/>
                        <a:pt x="867060" y="520055"/>
                        <a:pt x="867462" y="519814"/>
                      </a:cubicBezTo>
                      <a:cubicBezTo>
                        <a:pt x="867542" y="519654"/>
                        <a:pt x="875655" y="512746"/>
                        <a:pt x="877101" y="509693"/>
                      </a:cubicBezTo>
                      <a:moveTo>
                        <a:pt x="875173" y="463424"/>
                      </a:moveTo>
                      <a:cubicBezTo>
                        <a:pt x="876780" y="460372"/>
                        <a:pt x="875254" y="458123"/>
                        <a:pt x="871960" y="458765"/>
                      </a:cubicBezTo>
                      <a:cubicBezTo>
                        <a:pt x="871800" y="458765"/>
                        <a:pt x="857742" y="458203"/>
                        <a:pt x="875575" y="439647"/>
                      </a:cubicBezTo>
                      <a:cubicBezTo>
                        <a:pt x="875334" y="439727"/>
                        <a:pt x="875013" y="439888"/>
                        <a:pt x="874691" y="439968"/>
                      </a:cubicBezTo>
                      <a:cubicBezTo>
                        <a:pt x="869068" y="442218"/>
                        <a:pt x="865936" y="443182"/>
                        <a:pt x="863124" y="443664"/>
                      </a:cubicBezTo>
                      <a:cubicBezTo>
                        <a:pt x="861116" y="452741"/>
                        <a:pt x="859108" y="461898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70514" y="470413"/>
                        <a:pt x="874290" y="465031"/>
                        <a:pt x="875173" y="463424"/>
                      </a:cubicBezTo>
                      <a:moveTo>
                        <a:pt x="1502695" y="731238"/>
                      </a:moveTo>
                      <a:cubicBezTo>
                        <a:pt x="1502615" y="731238"/>
                        <a:pt x="1502535" y="731318"/>
                        <a:pt x="1502454" y="731318"/>
                      </a:cubicBezTo>
                      <a:cubicBezTo>
                        <a:pt x="1502374" y="731318"/>
                        <a:pt x="1502294" y="731398"/>
                        <a:pt x="1502213" y="731398"/>
                      </a:cubicBezTo>
                      <a:cubicBezTo>
                        <a:pt x="1502133" y="731398"/>
                        <a:pt x="1502053" y="731479"/>
                        <a:pt x="1501973" y="731479"/>
                      </a:cubicBezTo>
                      <a:cubicBezTo>
                        <a:pt x="1501892" y="731479"/>
                        <a:pt x="1501812" y="731559"/>
                        <a:pt x="1501732" y="731559"/>
                      </a:cubicBezTo>
                      <a:cubicBezTo>
                        <a:pt x="1501651" y="731559"/>
                        <a:pt x="1501571" y="731640"/>
                        <a:pt x="1501491" y="731640"/>
                      </a:cubicBezTo>
                      <a:cubicBezTo>
                        <a:pt x="1501410" y="731640"/>
                        <a:pt x="1501330" y="731720"/>
                        <a:pt x="1501250" y="731720"/>
                      </a:cubicBezTo>
                      <a:cubicBezTo>
                        <a:pt x="1501169" y="731720"/>
                        <a:pt x="1501089" y="731800"/>
                        <a:pt x="1501009" y="731800"/>
                      </a:cubicBezTo>
                      <a:lnTo>
                        <a:pt x="1502615" y="730756"/>
                      </a:lnTo>
                      <a:cubicBezTo>
                        <a:pt x="1502695" y="730916"/>
                        <a:pt x="1502856" y="731077"/>
                        <a:pt x="1502936" y="731238"/>
                      </a:cubicBezTo>
                      <a:cubicBezTo>
                        <a:pt x="1502856" y="731157"/>
                        <a:pt x="1502776" y="731238"/>
                        <a:pt x="1502695" y="731238"/>
                      </a:cubicBezTo>
                      <a:moveTo>
                        <a:pt x="1569287" y="705533"/>
                      </a:moveTo>
                      <a:cubicBezTo>
                        <a:pt x="1568243" y="705292"/>
                        <a:pt x="1566797" y="704890"/>
                        <a:pt x="1565673" y="704649"/>
                      </a:cubicBezTo>
                      <a:cubicBezTo>
                        <a:pt x="1566074" y="706979"/>
                        <a:pt x="1567038" y="707300"/>
                        <a:pt x="1568805" y="707139"/>
                      </a:cubicBezTo>
                      <a:cubicBezTo>
                        <a:pt x="1567279" y="711156"/>
                        <a:pt x="1565271" y="713244"/>
                        <a:pt x="1560853" y="715172"/>
                      </a:cubicBezTo>
                      <a:cubicBezTo>
                        <a:pt x="1563343" y="716779"/>
                        <a:pt x="1570332" y="727302"/>
                        <a:pt x="1569850" y="745697"/>
                      </a:cubicBezTo>
                      <a:cubicBezTo>
                        <a:pt x="1570653" y="746018"/>
                        <a:pt x="1571778" y="746420"/>
                        <a:pt x="1572581" y="746661"/>
                      </a:cubicBezTo>
                      <a:cubicBezTo>
                        <a:pt x="1569046" y="748267"/>
                        <a:pt x="1567119" y="749231"/>
                        <a:pt x="1564468" y="750838"/>
                      </a:cubicBezTo>
                      <a:cubicBezTo>
                        <a:pt x="1563905" y="750516"/>
                        <a:pt x="1563102" y="750035"/>
                        <a:pt x="1562540" y="749713"/>
                      </a:cubicBezTo>
                      <a:cubicBezTo>
                        <a:pt x="1556837" y="755818"/>
                        <a:pt x="1551053" y="759513"/>
                        <a:pt x="1542538" y="762486"/>
                      </a:cubicBezTo>
                      <a:cubicBezTo>
                        <a:pt x="1540369" y="769795"/>
                        <a:pt x="1530489" y="773731"/>
                        <a:pt x="1522536" y="775740"/>
                      </a:cubicBezTo>
                      <a:cubicBezTo>
                        <a:pt x="1523259" y="773731"/>
                        <a:pt x="1524143" y="772687"/>
                        <a:pt x="1526232" y="771080"/>
                      </a:cubicBezTo>
                      <a:cubicBezTo>
                        <a:pt x="1522697" y="772286"/>
                        <a:pt x="1520368" y="773330"/>
                        <a:pt x="1517235" y="775097"/>
                      </a:cubicBezTo>
                      <a:cubicBezTo>
                        <a:pt x="1519082" y="772286"/>
                        <a:pt x="1520689" y="770598"/>
                        <a:pt x="1523741" y="768189"/>
                      </a:cubicBezTo>
                      <a:cubicBezTo>
                        <a:pt x="1520769" y="770357"/>
                        <a:pt x="1517877" y="772205"/>
                        <a:pt x="1512495" y="772848"/>
                      </a:cubicBezTo>
                      <a:cubicBezTo>
                        <a:pt x="1512736" y="770117"/>
                        <a:pt x="1514022" y="768189"/>
                        <a:pt x="1517395" y="765458"/>
                      </a:cubicBezTo>
                      <a:cubicBezTo>
                        <a:pt x="1514664" y="765618"/>
                        <a:pt x="1512335" y="767064"/>
                        <a:pt x="1509684" y="767466"/>
                      </a:cubicBezTo>
                      <a:cubicBezTo>
                        <a:pt x="1510407" y="766020"/>
                        <a:pt x="1511612" y="763289"/>
                        <a:pt x="1518681" y="762726"/>
                      </a:cubicBezTo>
                      <a:cubicBezTo>
                        <a:pt x="1517717" y="762164"/>
                        <a:pt x="1516512" y="761361"/>
                        <a:pt x="1515548" y="760798"/>
                      </a:cubicBezTo>
                      <a:cubicBezTo>
                        <a:pt x="1520127" y="756220"/>
                        <a:pt x="1523982" y="753890"/>
                        <a:pt x="1531373" y="750998"/>
                      </a:cubicBezTo>
                      <a:cubicBezTo>
                        <a:pt x="1529766" y="751320"/>
                        <a:pt x="1528802" y="751239"/>
                        <a:pt x="1527677" y="750677"/>
                      </a:cubicBezTo>
                      <a:cubicBezTo>
                        <a:pt x="1523420" y="754051"/>
                        <a:pt x="1520528" y="755658"/>
                        <a:pt x="1514343" y="757987"/>
                      </a:cubicBezTo>
                      <a:cubicBezTo>
                        <a:pt x="1519002" y="754533"/>
                        <a:pt x="1520287" y="752123"/>
                        <a:pt x="1519002" y="749553"/>
                      </a:cubicBezTo>
                      <a:cubicBezTo>
                        <a:pt x="1520769" y="746500"/>
                        <a:pt x="1522055" y="745135"/>
                        <a:pt x="1525509" y="742805"/>
                      </a:cubicBezTo>
                      <a:cubicBezTo>
                        <a:pt x="1518681" y="744090"/>
                        <a:pt x="1515709" y="744492"/>
                        <a:pt x="1509845" y="744733"/>
                      </a:cubicBezTo>
                      <a:cubicBezTo>
                        <a:pt x="1510086" y="744412"/>
                        <a:pt x="1510487" y="743930"/>
                        <a:pt x="1510809" y="743528"/>
                      </a:cubicBezTo>
                      <a:cubicBezTo>
                        <a:pt x="1506712" y="743769"/>
                        <a:pt x="1506150" y="743689"/>
                        <a:pt x="1505587" y="742966"/>
                      </a:cubicBezTo>
                      <a:cubicBezTo>
                        <a:pt x="1506230" y="741922"/>
                        <a:pt x="1506792" y="741520"/>
                        <a:pt x="1510648" y="739512"/>
                      </a:cubicBezTo>
                      <a:cubicBezTo>
                        <a:pt x="1508559" y="739351"/>
                        <a:pt x="1508077" y="739351"/>
                        <a:pt x="1507274" y="738708"/>
                      </a:cubicBezTo>
                      <a:cubicBezTo>
                        <a:pt x="1507274" y="737744"/>
                        <a:pt x="1508077" y="737102"/>
                        <a:pt x="1511451" y="735415"/>
                      </a:cubicBezTo>
                      <a:cubicBezTo>
                        <a:pt x="1511291" y="735013"/>
                        <a:pt x="1511130" y="734531"/>
                        <a:pt x="1510969" y="734130"/>
                      </a:cubicBezTo>
                      <a:cubicBezTo>
                        <a:pt x="1508800" y="734371"/>
                        <a:pt x="1507435" y="734853"/>
                        <a:pt x="1505828" y="735897"/>
                      </a:cubicBezTo>
                      <a:cubicBezTo>
                        <a:pt x="1505989" y="734290"/>
                        <a:pt x="1505828" y="733246"/>
                        <a:pt x="1505186" y="731640"/>
                      </a:cubicBezTo>
                      <a:lnTo>
                        <a:pt x="1504061" y="732363"/>
                      </a:lnTo>
                      <a:cubicBezTo>
                        <a:pt x="1503740" y="731961"/>
                        <a:pt x="1503258" y="731479"/>
                        <a:pt x="1502936" y="731077"/>
                      </a:cubicBezTo>
                      <a:cubicBezTo>
                        <a:pt x="1516030" y="726900"/>
                        <a:pt x="1521573" y="723205"/>
                        <a:pt x="1527758" y="714449"/>
                      </a:cubicBezTo>
                      <a:cubicBezTo>
                        <a:pt x="1524625" y="716457"/>
                        <a:pt x="1521733" y="717100"/>
                        <a:pt x="1517797" y="716618"/>
                      </a:cubicBezTo>
                      <a:cubicBezTo>
                        <a:pt x="1519645" y="709871"/>
                        <a:pt x="1522135" y="706979"/>
                        <a:pt x="1529525" y="703203"/>
                      </a:cubicBezTo>
                      <a:cubicBezTo>
                        <a:pt x="1529284" y="702882"/>
                        <a:pt x="1528963" y="702480"/>
                        <a:pt x="1528722" y="702159"/>
                      </a:cubicBezTo>
                      <a:cubicBezTo>
                        <a:pt x="1531935" y="701677"/>
                        <a:pt x="1532899" y="702480"/>
                        <a:pt x="1532176" y="704890"/>
                      </a:cubicBezTo>
                      <a:lnTo>
                        <a:pt x="1532417" y="706497"/>
                      </a:lnTo>
                      <a:cubicBezTo>
                        <a:pt x="1532658" y="703203"/>
                        <a:pt x="1533300" y="701677"/>
                        <a:pt x="1535309" y="699107"/>
                      </a:cubicBezTo>
                      <a:cubicBezTo>
                        <a:pt x="1534907" y="698866"/>
                        <a:pt x="1534345" y="698544"/>
                        <a:pt x="1533943" y="698303"/>
                      </a:cubicBezTo>
                      <a:cubicBezTo>
                        <a:pt x="1536433" y="697982"/>
                        <a:pt x="1538361" y="698062"/>
                        <a:pt x="1540932" y="698625"/>
                      </a:cubicBezTo>
                      <a:lnTo>
                        <a:pt x="1540932" y="698625"/>
                      </a:lnTo>
                      <a:cubicBezTo>
                        <a:pt x="1540932" y="698625"/>
                        <a:pt x="1540932" y="698625"/>
                        <a:pt x="1540932" y="698625"/>
                      </a:cubicBezTo>
                      <a:lnTo>
                        <a:pt x="1540932" y="698625"/>
                      </a:lnTo>
                      <a:cubicBezTo>
                        <a:pt x="1540932" y="698625"/>
                        <a:pt x="1540932" y="698625"/>
                        <a:pt x="1540932" y="698625"/>
                      </a:cubicBezTo>
                      <a:lnTo>
                        <a:pt x="1540932" y="698625"/>
                      </a:lnTo>
                      <a:cubicBezTo>
                        <a:pt x="1540932" y="698625"/>
                        <a:pt x="1540932" y="698625"/>
                        <a:pt x="1540932" y="698625"/>
                      </a:cubicBezTo>
                      <a:lnTo>
                        <a:pt x="1540932" y="698625"/>
                      </a:lnTo>
                      <a:lnTo>
                        <a:pt x="1540932" y="698625"/>
                      </a:lnTo>
                      <a:cubicBezTo>
                        <a:pt x="1544386" y="698303"/>
                        <a:pt x="1551696" y="698544"/>
                        <a:pt x="1561897" y="703926"/>
                      </a:cubicBezTo>
                      <a:cubicBezTo>
                        <a:pt x="1567440" y="700633"/>
                        <a:pt x="1568725" y="704087"/>
                        <a:pt x="1569287" y="705533"/>
                      </a:cubicBezTo>
                      <a:moveTo>
                        <a:pt x="1689619" y="707862"/>
                      </a:moveTo>
                      <a:cubicBezTo>
                        <a:pt x="1688815" y="711477"/>
                        <a:pt x="1685683" y="715654"/>
                        <a:pt x="1683594" y="718787"/>
                      </a:cubicBezTo>
                      <a:cubicBezTo>
                        <a:pt x="1684397" y="719028"/>
                        <a:pt x="1685442" y="719430"/>
                        <a:pt x="1686084" y="719912"/>
                      </a:cubicBezTo>
                      <a:cubicBezTo>
                        <a:pt x="1685924" y="721759"/>
                        <a:pt x="1685924" y="722081"/>
                        <a:pt x="1680783" y="724812"/>
                      </a:cubicBezTo>
                      <a:cubicBezTo>
                        <a:pt x="1688655" y="725695"/>
                        <a:pt x="1690502" y="725856"/>
                        <a:pt x="1693555" y="727864"/>
                      </a:cubicBezTo>
                      <a:cubicBezTo>
                        <a:pt x="1693555" y="728346"/>
                        <a:pt x="1693555" y="728908"/>
                        <a:pt x="1693555" y="729390"/>
                      </a:cubicBezTo>
                      <a:cubicBezTo>
                        <a:pt x="1690422" y="732523"/>
                        <a:pt x="1686004" y="735415"/>
                        <a:pt x="1657648" y="743769"/>
                      </a:cubicBezTo>
                      <a:cubicBezTo>
                        <a:pt x="1658210" y="744010"/>
                        <a:pt x="1658853" y="744251"/>
                        <a:pt x="1659415" y="744492"/>
                      </a:cubicBezTo>
                      <a:cubicBezTo>
                        <a:pt x="1656684" y="747303"/>
                        <a:pt x="1653873" y="748830"/>
                        <a:pt x="1649615" y="749794"/>
                      </a:cubicBezTo>
                      <a:cubicBezTo>
                        <a:pt x="1650178" y="750115"/>
                        <a:pt x="1650901" y="750597"/>
                        <a:pt x="1651383" y="750918"/>
                      </a:cubicBezTo>
                      <a:cubicBezTo>
                        <a:pt x="1628891" y="760638"/>
                        <a:pt x="1619492" y="765538"/>
                        <a:pt x="1598607" y="778872"/>
                      </a:cubicBezTo>
                      <a:cubicBezTo>
                        <a:pt x="1608568" y="763208"/>
                        <a:pt x="1614512" y="755738"/>
                        <a:pt x="1627846" y="742805"/>
                      </a:cubicBezTo>
                      <a:cubicBezTo>
                        <a:pt x="1622545" y="745938"/>
                        <a:pt x="1617323" y="747303"/>
                        <a:pt x="1609692" y="747464"/>
                      </a:cubicBezTo>
                      <a:cubicBezTo>
                        <a:pt x="1610174" y="746821"/>
                        <a:pt x="1610737" y="745858"/>
                        <a:pt x="1611219" y="745215"/>
                      </a:cubicBezTo>
                      <a:cubicBezTo>
                        <a:pt x="1601740" y="748749"/>
                        <a:pt x="1597161" y="748749"/>
                        <a:pt x="1591699" y="747464"/>
                      </a:cubicBezTo>
                      <a:cubicBezTo>
                        <a:pt x="1599892" y="741681"/>
                        <a:pt x="1603587" y="737343"/>
                        <a:pt x="1606399" y="730274"/>
                      </a:cubicBezTo>
                      <a:cubicBezTo>
                        <a:pt x="1604150" y="728908"/>
                        <a:pt x="1602864" y="727302"/>
                        <a:pt x="1601820" y="724651"/>
                      </a:cubicBezTo>
                      <a:cubicBezTo>
                        <a:pt x="1598366" y="726097"/>
                        <a:pt x="1596358" y="727221"/>
                        <a:pt x="1593868" y="729310"/>
                      </a:cubicBezTo>
                      <a:cubicBezTo>
                        <a:pt x="1595073" y="725695"/>
                        <a:pt x="1598205" y="716217"/>
                        <a:pt x="1614271" y="713967"/>
                      </a:cubicBezTo>
                      <a:cubicBezTo>
                        <a:pt x="1613628" y="713726"/>
                        <a:pt x="1612905" y="713325"/>
                        <a:pt x="1612343" y="712923"/>
                      </a:cubicBezTo>
                      <a:cubicBezTo>
                        <a:pt x="1612343" y="712602"/>
                        <a:pt x="1612343" y="712120"/>
                        <a:pt x="1612343" y="711799"/>
                      </a:cubicBezTo>
                      <a:cubicBezTo>
                        <a:pt x="1612664" y="711558"/>
                        <a:pt x="1613146" y="711236"/>
                        <a:pt x="1613468" y="710915"/>
                      </a:cubicBezTo>
                      <a:cubicBezTo>
                        <a:pt x="1614833" y="712040"/>
                        <a:pt x="1616279" y="713164"/>
                        <a:pt x="1619010" y="711316"/>
                      </a:cubicBezTo>
                      <a:cubicBezTo>
                        <a:pt x="1613227" y="711236"/>
                        <a:pt x="1611701" y="709549"/>
                        <a:pt x="1613146" y="705131"/>
                      </a:cubicBezTo>
                      <a:cubicBezTo>
                        <a:pt x="1603587" y="699428"/>
                        <a:pt x="1601178" y="695251"/>
                        <a:pt x="1601499" y="684969"/>
                      </a:cubicBezTo>
                      <a:cubicBezTo>
                        <a:pt x="1589932" y="690431"/>
                        <a:pt x="1582782" y="694287"/>
                        <a:pt x="1575955" y="698625"/>
                      </a:cubicBezTo>
                      <a:cubicBezTo>
                        <a:pt x="1571537" y="697420"/>
                        <a:pt x="1571296" y="697018"/>
                        <a:pt x="1570492" y="695492"/>
                      </a:cubicBezTo>
                      <a:cubicBezTo>
                        <a:pt x="1571215" y="694448"/>
                        <a:pt x="1571296" y="692600"/>
                        <a:pt x="1571135" y="691395"/>
                      </a:cubicBezTo>
                      <a:cubicBezTo>
                        <a:pt x="1570814" y="688503"/>
                        <a:pt x="1570171" y="681193"/>
                        <a:pt x="1570653" y="675410"/>
                      </a:cubicBezTo>
                      <a:cubicBezTo>
                        <a:pt x="1566556" y="675731"/>
                        <a:pt x="1565833" y="675008"/>
                        <a:pt x="1565592" y="672598"/>
                      </a:cubicBezTo>
                      <a:cubicBezTo>
                        <a:pt x="1564548" y="675490"/>
                        <a:pt x="1563584" y="677097"/>
                        <a:pt x="1561576" y="679426"/>
                      </a:cubicBezTo>
                      <a:cubicBezTo>
                        <a:pt x="1561415" y="679185"/>
                        <a:pt x="1561255" y="678944"/>
                        <a:pt x="1561094" y="678703"/>
                      </a:cubicBezTo>
                      <a:cubicBezTo>
                        <a:pt x="1558845" y="689307"/>
                        <a:pt x="1558845" y="689307"/>
                        <a:pt x="1558604" y="689949"/>
                      </a:cubicBezTo>
                      <a:cubicBezTo>
                        <a:pt x="1558443" y="689789"/>
                        <a:pt x="1558122" y="689628"/>
                        <a:pt x="1558041" y="689387"/>
                      </a:cubicBezTo>
                      <a:cubicBezTo>
                        <a:pt x="1557399" y="686977"/>
                        <a:pt x="1558684" y="684567"/>
                        <a:pt x="1558122" y="682158"/>
                      </a:cubicBezTo>
                      <a:cubicBezTo>
                        <a:pt x="1557399" y="679266"/>
                        <a:pt x="1554909" y="677177"/>
                        <a:pt x="1554427" y="674125"/>
                      </a:cubicBezTo>
                      <a:cubicBezTo>
                        <a:pt x="1553784" y="669225"/>
                        <a:pt x="1554186" y="667216"/>
                        <a:pt x="1554909" y="663843"/>
                      </a:cubicBezTo>
                      <a:cubicBezTo>
                        <a:pt x="1547679" y="669707"/>
                        <a:pt x="1546394" y="669787"/>
                        <a:pt x="1544868" y="669867"/>
                      </a:cubicBezTo>
                      <a:cubicBezTo>
                        <a:pt x="1544466" y="669144"/>
                        <a:pt x="1544145" y="668582"/>
                        <a:pt x="1545430" y="666172"/>
                      </a:cubicBezTo>
                      <a:cubicBezTo>
                        <a:pt x="1546394" y="664244"/>
                        <a:pt x="1546394" y="664244"/>
                        <a:pt x="1543341" y="655649"/>
                      </a:cubicBezTo>
                      <a:cubicBezTo>
                        <a:pt x="1541173" y="655248"/>
                        <a:pt x="1541173" y="655248"/>
                        <a:pt x="1540128" y="654123"/>
                      </a:cubicBezTo>
                      <a:cubicBezTo>
                        <a:pt x="1540771" y="652677"/>
                        <a:pt x="1540771" y="652677"/>
                        <a:pt x="1542538" y="651472"/>
                      </a:cubicBezTo>
                      <a:cubicBezTo>
                        <a:pt x="1540128" y="649866"/>
                        <a:pt x="1535068" y="646652"/>
                        <a:pt x="1545591" y="643439"/>
                      </a:cubicBezTo>
                      <a:cubicBezTo>
                        <a:pt x="1538763" y="640788"/>
                        <a:pt x="1538441" y="638861"/>
                        <a:pt x="1544386" y="635728"/>
                      </a:cubicBezTo>
                      <a:cubicBezTo>
                        <a:pt x="1542699" y="633559"/>
                        <a:pt x="1538843" y="628498"/>
                        <a:pt x="1550330" y="628498"/>
                      </a:cubicBezTo>
                      <a:cubicBezTo>
                        <a:pt x="1557399" y="624643"/>
                        <a:pt x="1572179" y="616770"/>
                        <a:pt x="1568484" y="627454"/>
                      </a:cubicBezTo>
                      <a:cubicBezTo>
                        <a:pt x="1567359" y="630587"/>
                        <a:pt x="1564146" y="635567"/>
                        <a:pt x="1561978" y="638780"/>
                      </a:cubicBezTo>
                      <a:cubicBezTo>
                        <a:pt x="1562861" y="638700"/>
                        <a:pt x="1563986" y="638620"/>
                        <a:pt x="1564789" y="638539"/>
                      </a:cubicBezTo>
                      <a:cubicBezTo>
                        <a:pt x="1563102" y="641029"/>
                        <a:pt x="1563102" y="642154"/>
                        <a:pt x="1563022" y="644162"/>
                      </a:cubicBezTo>
                      <a:cubicBezTo>
                        <a:pt x="1574027" y="639343"/>
                        <a:pt x="1603186" y="626570"/>
                        <a:pt x="1594189" y="647857"/>
                      </a:cubicBezTo>
                      <a:cubicBezTo>
                        <a:pt x="1592261" y="652356"/>
                        <a:pt x="1588405" y="657818"/>
                        <a:pt x="1585674" y="661835"/>
                      </a:cubicBezTo>
                      <a:cubicBezTo>
                        <a:pt x="1591779" y="661433"/>
                        <a:pt x="1593064" y="661353"/>
                        <a:pt x="1594350" y="662236"/>
                      </a:cubicBezTo>
                      <a:cubicBezTo>
                        <a:pt x="1592984" y="663923"/>
                        <a:pt x="1590976" y="664887"/>
                        <a:pt x="1581015" y="668823"/>
                      </a:cubicBezTo>
                      <a:cubicBezTo>
                        <a:pt x="1609130" y="666012"/>
                        <a:pt x="1628248" y="670108"/>
                        <a:pt x="1651624" y="684085"/>
                      </a:cubicBezTo>
                      <a:cubicBezTo>
                        <a:pt x="1651543" y="687700"/>
                        <a:pt x="1653391" y="689628"/>
                        <a:pt x="1658853" y="691556"/>
                      </a:cubicBezTo>
                      <a:cubicBezTo>
                        <a:pt x="1655399" y="691556"/>
                        <a:pt x="1652025" y="691636"/>
                        <a:pt x="1646563" y="693644"/>
                      </a:cubicBezTo>
                      <a:cubicBezTo>
                        <a:pt x="1661343" y="691797"/>
                        <a:pt x="1665842" y="694367"/>
                        <a:pt x="1663833" y="703444"/>
                      </a:cubicBezTo>
                      <a:cubicBezTo>
                        <a:pt x="1675722" y="700392"/>
                        <a:pt x="1692270" y="696215"/>
                        <a:pt x="1689619" y="707862"/>
                      </a:cubicBezTo>
                      <a:moveTo>
                        <a:pt x="1665520" y="432498"/>
                      </a:moveTo>
                      <a:cubicBezTo>
                        <a:pt x="1665761" y="432980"/>
                        <a:pt x="1664958" y="433382"/>
                        <a:pt x="1664556" y="433542"/>
                      </a:cubicBezTo>
                      <a:cubicBezTo>
                        <a:pt x="1663512" y="434024"/>
                        <a:pt x="1662307" y="434346"/>
                        <a:pt x="1660620" y="434747"/>
                      </a:cubicBezTo>
                      <a:cubicBezTo>
                        <a:pt x="1660379" y="433382"/>
                        <a:pt x="1660701" y="432337"/>
                        <a:pt x="1661825" y="431213"/>
                      </a:cubicBezTo>
                      <a:cubicBezTo>
                        <a:pt x="1662950" y="431534"/>
                        <a:pt x="1665199" y="431855"/>
                        <a:pt x="1665520" y="432498"/>
                      </a:cubicBezTo>
                      <a:moveTo>
                        <a:pt x="1784807" y="362372"/>
                      </a:moveTo>
                      <a:cubicBezTo>
                        <a:pt x="1783442" y="362693"/>
                        <a:pt x="1781835" y="363014"/>
                        <a:pt x="1782076" y="362613"/>
                      </a:cubicBezTo>
                      <a:cubicBezTo>
                        <a:pt x="1782237" y="362211"/>
                        <a:pt x="1783683" y="361408"/>
                        <a:pt x="1784968" y="360765"/>
                      </a:cubicBezTo>
                      <a:lnTo>
                        <a:pt x="1784807" y="362372"/>
                      </a:lnTo>
                      <a:moveTo>
                        <a:pt x="1850435" y="305901"/>
                      </a:moveTo>
                      <a:cubicBezTo>
                        <a:pt x="1851560" y="306865"/>
                        <a:pt x="1851962" y="307588"/>
                        <a:pt x="1852122" y="307909"/>
                      </a:cubicBezTo>
                      <a:cubicBezTo>
                        <a:pt x="1849953" y="307588"/>
                        <a:pt x="1848266" y="306865"/>
                        <a:pt x="1847142" y="305660"/>
                      </a:cubicBezTo>
                      <a:lnTo>
                        <a:pt x="1847463" y="305740"/>
                      </a:lnTo>
                      <a:cubicBezTo>
                        <a:pt x="1847222" y="305258"/>
                        <a:pt x="1846740" y="303893"/>
                        <a:pt x="1848347" y="304536"/>
                      </a:cubicBezTo>
                      <a:cubicBezTo>
                        <a:pt x="1849230" y="304937"/>
                        <a:pt x="1850194" y="305660"/>
                        <a:pt x="1850435" y="305901"/>
                      </a:cubicBezTo>
                      <a:moveTo>
                        <a:pt x="1660138" y="414264"/>
                      </a:moveTo>
                      <a:cubicBezTo>
                        <a:pt x="1659415" y="414103"/>
                        <a:pt x="1658612" y="414023"/>
                        <a:pt x="1657889" y="413942"/>
                      </a:cubicBezTo>
                      <a:cubicBezTo>
                        <a:pt x="1659496" y="414023"/>
                        <a:pt x="1660138" y="414264"/>
                        <a:pt x="1660138" y="414264"/>
                      </a:cubicBezTo>
                      <a:lnTo>
                        <a:pt x="1660138" y="414264"/>
                      </a:lnTo>
                      <a:moveTo>
                        <a:pt x="1658130" y="400849"/>
                      </a:moveTo>
                      <a:cubicBezTo>
                        <a:pt x="1658291" y="401090"/>
                        <a:pt x="1659737" y="403018"/>
                        <a:pt x="1657006" y="404464"/>
                      </a:cubicBezTo>
                      <a:cubicBezTo>
                        <a:pt x="1656363" y="402937"/>
                        <a:pt x="1655961" y="401572"/>
                        <a:pt x="1655961" y="400126"/>
                      </a:cubicBezTo>
                      <a:cubicBezTo>
                        <a:pt x="1656443" y="400045"/>
                        <a:pt x="1657487" y="399965"/>
                        <a:pt x="1658130" y="400849"/>
                      </a:cubicBezTo>
                      <a:moveTo>
                        <a:pt x="1359631" y="528570"/>
                      </a:moveTo>
                      <a:cubicBezTo>
                        <a:pt x="1363326" y="539495"/>
                        <a:pt x="1361158" y="540780"/>
                        <a:pt x="1355936" y="543913"/>
                      </a:cubicBezTo>
                      <a:cubicBezTo>
                        <a:pt x="1357382" y="547447"/>
                        <a:pt x="1357382" y="550339"/>
                        <a:pt x="1353125" y="554436"/>
                      </a:cubicBezTo>
                      <a:cubicBezTo>
                        <a:pt x="1352643" y="554918"/>
                        <a:pt x="1351840" y="555400"/>
                        <a:pt x="1351358" y="555882"/>
                      </a:cubicBezTo>
                      <a:cubicBezTo>
                        <a:pt x="1344530" y="561103"/>
                        <a:pt x="1337139" y="565602"/>
                        <a:pt x="1330312" y="570823"/>
                      </a:cubicBezTo>
                      <a:cubicBezTo>
                        <a:pt x="1324769" y="575080"/>
                        <a:pt x="1320271" y="580542"/>
                        <a:pt x="1314246" y="584157"/>
                      </a:cubicBezTo>
                      <a:cubicBezTo>
                        <a:pt x="1312559" y="585202"/>
                        <a:pt x="1295128" y="590905"/>
                        <a:pt x="1285328" y="586728"/>
                      </a:cubicBezTo>
                      <a:cubicBezTo>
                        <a:pt x="1284043" y="586165"/>
                        <a:pt x="1282516" y="584961"/>
                        <a:pt x="1281472" y="583997"/>
                      </a:cubicBezTo>
                      <a:cubicBezTo>
                        <a:pt x="1277375" y="586406"/>
                        <a:pt x="1274002" y="586165"/>
                        <a:pt x="1271190" y="583193"/>
                      </a:cubicBezTo>
                      <a:cubicBezTo>
                        <a:pt x="1268700" y="584479"/>
                        <a:pt x="1262033" y="588013"/>
                        <a:pt x="1250144" y="590101"/>
                      </a:cubicBezTo>
                      <a:cubicBezTo>
                        <a:pt x="1248297" y="588254"/>
                        <a:pt x="1247735" y="586888"/>
                        <a:pt x="1247976" y="584639"/>
                      </a:cubicBezTo>
                      <a:cubicBezTo>
                        <a:pt x="1257936" y="584238"/>
                        <a:pt x="1261390" y="577651"/>
                        <a:pt x="1263077" y="574438"/>
                      </a:cubicBezTo>
                      <a:cubicBezTo>
                        <a:pt x="1261149" y="574598"/>
                        <a:pt x="1258498" y="575080"/>
                        <a:pt x="1255366" y="577651"/>
                      </a:cubicBezTo>
                      <a:cubicBezTo>
                        <a:pt x="1255848" y="577008"/>
                        <a:pt x="1256490" y="576124"/>
                        <a:pt x="1256972" y="575482"/>
                      </a:cubicBezTo>
                      <a:cubicBezTo>
                        <a:pt x="1254482" y="573795"/>
                        <a:pt x="1255125" y="572188"/>
                        <a:pt x="1259703" y="569377"/>
                      </a:cubicBezTo>
                      <a:cubicBezTo>
                        <a:pt x="1237211" y="573474"/>
                        <a:pt x="1233757" y="574036"/>
                        <a:pt x="1230062" y="572188"/>
                      </a:cubicBezTo>
                      <a:cubicBezTo>
                        <a:pt x="1235364" y="563272"/>
                        <a:pt x="1246208" y="563272"/>
                        <a:pt x="1253438" y="557328"/>
                      </a:cubicBezTo>
                      <a:cubicBezTo>
                        <a:pt x="1243477" y="555721"/>
                        <a:pt x="1233356" y="557247"/>
                        <a:pt x="1223395" y="555400"/>
                      </a:cubicBezTo>
                      <a:cubicBezTo>
                        <a:pt x="1223395" y="555400"/>
                        <a:pt x="1220102" y="553392"/>
                        <a:pt x="1219620" y="551062"/>
                      </a:cubicBezTo>
                      <a:cubicBezTo>
                        <a:pt x="1220664" y="549697"/>
                        <a:pt x="1220985" y="549375"/>
                        <a:pt x="1224680" y="548893"/>
                      </a:cubicBezTo>
                      <a:cubicBezTo>
                        <a:pt x="1223957" y="548813"/>
                        <a:pt x="1222993" y="548652"/>
                        <a:pt x="1222351" y="548331"/>
                      </a:cubicBezTo>
                      <a:cubicBezTo>
                        <a:pt x="1222993" y="547367"/>
                        <a:pt x="1222993" y="547367"/>
                        <a:pt x="1225484" y="546323"/>
                      </a:cubicBezTo>
                      <a:cubicBezTo>
                        <a:pt x="1222029" y="544636"/>
                        <a:pt x="1221869" y="544395"/>
                        <a:pt x="1221387" y="543431"/>
                      </a:cubicBezTo>
                      <a:cubicBezTo>
                        <a:pt x="1222672" y="542788"/>
                        <a:pt x="1222672" y="542788"/>
                        <a:pt x="1225323" y="542788"/>
                      </a:cubicBezTo>
                      <a:cubicBezTo>
                        <a:pt x="1225564" y="541664"/>
                        <a:pt x="1224761" y="540700"/>
                        <a:pt x="1225002" y="539575"/>
                      </a:cubicBezTo>
                      <a:cubicBezTo>
                        <a:pt x="1227974" y="539736"/>
                        <a:pt x="1229741" y="542949"/>
                        <a:pt x="1232954" y="542467"/>
                      </a:cubicBezTo>
                      <a:cubicBezTo>
                        <a:pt x="1234239" y="542065"/>
                        <a:pt x="1234400" y="541905"/>
                        <a:pt x="1235043" y="540941"/>
                      </a:cubicBezTo>
                      <a:cubicBezTo>
                        <a:pt x="1233115" y="538129"/>
                        <a:pt x="1233516" y="536764"/>
                        <a:pt x="1236810" y="534515"/>
                      </a:cubicBezTo>
                      <a:cubicBezTo>
                        <a:pt x="1231669" y="534193"/>
                        <a:pt x="1233356" y="531061"/>
                        <a:pt x="1233436" y="531061"/>
                      </a:cubicBezTo>
                      <a:cubicBezTo>
                        <a:pt x="1237372" y="530980"/>
                        <a:pt x="1256892" y="539736"/>
                        <a:pt x="1255205" y="542788"/>
                      </a:cubicBezTo>
                      <a:cubicBezTo>
                        <a:pt x="1254723" y="543672"/>
                        <a:pt x="1252876" y="544315"/>
                        <a:pt x="1251430" y="544797"/>
                      </a:cubicBezTo>
                      <a:cubicBezTo>
                        <a:pt x="1253197" y="546082"/>
                        <a:pt x="1254482" y="546724"/>
                        <a:pt x="1256008" y="547046"/>
                      </a:cubicBezTo>
                      <a:cubicBezTo>
                        <a:pt x="1256812" y="550098"/>
                        <a:pt x="1257776" y="551223"/>
                        <a:pt x="1261712" y="553713"/>
                      </a:cubicBezTo>
                      <a:cubicBezTo>
                        <a:pt x="1270387" y="538531"/>
                        <a:pt x="1281472" y="524875"/>
                        <a:pt x="1303803" y="527044"/>
                      </a:cubicBezTo>
                      <a:cubicBezTo>
                        <a:pt x="1311836" y="515477"/>
                        <a:pt x="1316897" y="510818"/>
                        <a:pt x="1338184" y="508087"/>
                      </a:cubicBezTo>
                      <a:cubicBezTo>
                        <a:pt x="1337541" y="516842"/>
                        <a:pt x="1339630" y="520779"/>
                        <a:pt x="1347421" y="525759"/>
                      </a:cubicBezTo>
                      <a:cubicBezTo>
                        <a:pt x="1352562" y="520537"/>
                        <a:pt x="1358266" y="524634"/>
                        <a:pt x="1359631" y="528570"/>
                      </a:cubicBezTo>
                      <a:moveTo>
                        <a:pt x="1841438" y="247021"/>
                      </a:moveTo>
                      <a:cubicBezTo>
                        <a:pt x="1840555" y="246780"/>
                        <a:pt x="1839671" y="246619"/>
                        <a:pt x="1838788" y="246298"/>
                      </a:cubicBezTo>
                      <a:cubicBezTo>
                        <a:pt x="1839752" y="246539"/>
                        <a:pt x="1840635" y="246780"/>
                        <a:pt x="1841599" y="247021"/>
                      </a:cubicBezTo>
                      <a:cubicBezTo>
                        <a:pt x="1841519" y="247101"/>
                        <a:pt x="1841519" y="247021"/>
                        <a:pt x="1841438" y="247021"/>
                      </a:cubicBezTo>
                      <a:moveTo>
                        <a:pt x="1627686" y="361890"/>
                      </a:moveTo>
                      <a:cubicBezTo>
                        <a:pt x="1629453" y="363898"/>
                        <a:pt x="1628730" y="365906"/>
                        <a:pt x="1628489" y="366629"/>
                      </a:cubicBezTo>
                      <a:cubicBezTo>
                        <a:pt x="1627846" y="365665"/>
                        <a:pt x="1627204" y="364701"/>
                        <a:pt x="1626642" y="363737"/>
                      </a:cubicBezTo>
                      <a:cubicBezTo>
                        <a:pt x="1626481" y="363496"/>
                        <a:pt x="1626401" y="363255"/>
                        <a:pt x="1626240" y="363014"/>
                      </a:cubicBezTo>
                      <a:cubicBezTo>
                        <a:pt x="1625758" y="361890"/>
                        <a:pt x="1625758" y="361006"/>
                        <a:pt x="1625838" y="360524"/>
                      </a:cubicBezTo>
                      <a:cubicBezTo>
                        <a:pt x="1626160" y="360685"/>
                        <a:pt x="1626963" y="361167"/>
                        <a:pt x="1627686" y="361890"/>
                      </a:cubicBezTo>
                      <a:moveTo>
                        <a:pt x="1631943" y="353616"/>
                      </a:moveTo>
                      <a:cubicBezTo>
                        <a:pt x="1632907" y="354821"/>
                        <a:pt x="1631220" y="357311"/>
                        <a:pt x="1630096" y="358998"/>
                      </a:cubicBezTo>
                      <a:cubicBezTo>
                        <a:pt x="1629694" y="358918"/>
                        <a:pt x="1629212" y="358757"/>
                        <a:pt x="1628891" y="358596"/>
                      </a:cubicBezTo>
                      <a:cubicBezTo>
                        <a:pt x="1630015" y="359801"/>
                        <a:pt x="1629935" y="360444"/>
                        <a:pt x="1628730" y="361247"/>
                      </a:cubicBezTo>
                      <a:cubicBezTo>
                        <a:pt x="1628007" y="360524"/>
                        <a:pt x="1626160" y="358596"/>
                        <a:pt x="1626401" y="356668"/>
                      </a:cubicBezTo>
                      <a:cubicBezTo>
                        <a:pt x="1626642" y="354259"/>
                        <a:pt x="1628810" y="352813"/>
                        <a:pt x="1629614" y="352893"/>
                      </a:cubicBezTo>
                      <a:cubicBezTo>
                        <a:pt x="1630819" y="352893"/>
                        <a:pt x="1631622" y="353134"/>
                        <a:pt x="1631943" y="353616"/>
                      </a:cubicBezTo>
                      <a:moveTo>
                        <a:pt x="1641984" y="331767"/>
                      </a:moveTo>
                      <a:cubicBezTo>
                        <a:pt x="1642225" y="332409"/>
                        <a:pt x="1639574" y="345824"/>
                        <a:pt x="1639333" y="346547"/>
                      </a:cubicBezTo>
                      <a:cubicBezTo>
                        <a:pt x="1638209" y="349439"/>
                        <a:pt x="1636843" y="350805"/>
                        <a:pt x="1634192" y="352732"/>
                      </a:cubicBezTo>
                      <a:cubicBezTo>
                        <a:pt x="1632746" y="348475"/>
                        <a:pt x="1631220" y="344218"/>
                        <a:pt x="1629774" y="339880"/>
                      </a:cubicBezTo>
                      <a:cubicBezTo>
                        <a:pt x="1628891" y="339719"/>
                        <a:pt x="1627927" y="339398"/>
                        <a:pt x="1625437" y="338273"/>
                      </a:cubicBezTo>
                      <a:cubicBezTo>
                        <a:pt x="1625678" y="338193"/>
                        <a:pt x="1626079" y="338193"/>
                        <a:pt x="1626320" y="338113"/>
                      </a:cubicBezTo>
                      <a:cubicBezTo>
                        <a:pt x="1625678" y="337149"/>
                        <a:pt x="1624955" y="336265"/>
                        <a:pt x="1624312" y="335301"/>
                      </a:cubicBezTo>
                      <a:cubicBezTo>
                        <a:pt x="1624874" y="335221"/>
                        <a:pt x="1625597" y="335060"/>
                        <a:pt x="1626079" y="334980"/>
                      </a:cubicBezTo>
                      <a:cubicBezTo>
                        <a:pt x="1626963" y="335703"/>
                        <a:pt x="1627766" y="336426"/>
                        <a:pt x="1628569" y="337229"/>
                      </a:cubicBezTo>
                      <a:cubicBezTo>
                        <a:pt x="1628569" y="337229"/>
                        <a:pt x="1628569" y="337229"/>
                        <a:pt x="1628650" y="337309"/>
                      </a:cubicBezTo>
                      <a:cubicBezTo>
                        <a:pt x="1628650" y="337309"/>
                        <a:pt x="1628650" y="337309"/>
                        <a:pt x="1628730" y="337390"/>
                      </a:cubicBezTo>
                      <a:cubicBezTo>
                        <a:pt x="1628730" y="337390"/>
                        <a:pt x="1628730" y="337390"/>
                        <a:pt x="1628810" y="337470"/>
                      </a:cubicBezTo>
                      <a:cubicBezTo>
                        <a:pt x="1628810" y="337470"/>
                        <a:pt x="1628810" y="337470"/>
                        <a:pt x="1628891" y="337550"/>
                      </a:cubicBezTo>
                      <a:cubicBezTo>
                        <a:pt x="1628891" y="337550"/>
                        <a:pt x="1628891" y="337550"/>
                        <a:pt x="1628971" y="337631"/>
                      </a:cubicBezTo>
                      <a:cubicBezTo>
                        <a:pt x="1628971" y="337631"/>
                        <a:pt x="1628971" y="337631"/>
                        <a:pt x="1629051" y="337711"/>
                      </a:cubicBezTo>
                      <a:cubicBezTo>
                        <a:pt x="1629051" y="337711"/>
                        <a:pt x="1629051" y="337711"/>
                        <a:pt x="1629132" y="337791"/>
                      </a:cubicBezTo>
                      <a:cubicBezTo>
                        <a:pt x="1629132" y="337791"/>
                        <a:pt x="1629132" y="337791"/>
                        <a:pt x="1629212" y="337872"/>
                      </a:cubicBezTo>
                      <a:cubicBezTo>
                        <a:pt x="1626963" y="330803"/>
                        <a:pt x="1625196" y="324618"/>
                        <a:pt x="1628650" y="326465"/>
                      </a:cubicBezTo>
                      <a:cubicBezTo>
                        <a:pt x="1631542" y="327991"/>
                        <a:pt x="1637004" y="335060"/>
                        <a:pt x="1639896" y="338836"/>
                      </a:cubicBezTo>
                      <a:cubicBezTo>
                        <a:pt x="1641261" y="333454"/>
                        <a:pt x="1641663" y="332088"/>
                        <a:pt x="1641984" y="331767"/>
                      </a:cubicBezTo>
                      <a:cubicBezTo>
                        <a:pt x="1641904" y="331767"/>
                        <a:pt x="1641984" y="331767"/>
                        <a:pt x="1641984" y="331767"/>
                      </a:cubicBezTo>
                      <a:moveTo>
                        <a:pt x="1796937" y="176734"/>
                      </a:moveTo>
                      <a:cubicBezTo>
                        <a:pt x="1797339" y="176975"/>
                        <a:pt x="1797820" y="177296"/>
                        <a:pt x="1798222" y="177537"/>
                      </a:cubicBezTo>
                      <a:cubicBezTo>
                        <a:pt x="1797258" y="176975"/>
                        <a:pt x="1796696" y="176734"/>
                        <a:pt x="1795732" y="176573"/>
                      </a:cubicBezTo>
                      <a:cubicBezTo>
                        <a:pt x="1798061" y="179867"/>
                        <a:pt x="1801114" y="184445"/>
                        <a:pt x="1800552" y="186293"/>
                      </a:cubicBezTo>
                      <a:cubicBezTo>
                        <a:pt x="1799266" y="187980"/>
                        <a:pt x="1793724" y="183963"/>
                        <a:pt x="1783040" y="175529"/>
                      </a:cubicBezTo>
                      <a:cubicBezTo>
                        <a:pt x="1787137" y="172075"/>
                        <a:pt x="1792840" y="174244"/>
                        <a:pt x="1796937" y="176734"/>
                      </a:cubicBezTo>
                      <a:moveTo>
                        <a:pt x="1639655" y="311685"/>
                      </a:moveTo>
                      <a:cubicBezTo>
                        <a:pt x="1644796" y="316665"/>
                        <a:pt x="1642386" y="317709"/>
                        <a:pt x="1639735" y="318031"/>
                      </a:cubicBezTo>
                      <a:cubicBezTo>
                        <a:pt x="1640217" y="319959"/>
                        <a:pt x="1640378" y="321404"/>
                        <a:pt x="1640619" y="323573"/>
                      </a:cubicBezTo>
                      <a:cubicBezTo>
                        <a:pt x="1640056" y="323172"/>
                        <a:pt x="1638771" y="322288"/>
                        <a:pt x="1637165" y="323573"/>
                      </a:cubicBezTo>
                      <a:cubicBezTo>
                        <a:pt x="1633309" y="319476"/>
                        <a:pt x="1632586" y="317067"/>
                        <a:pt x="1634594" y="314898"/>
                      </a:cubicBezTo>
                      <a:cubicBezTo>
                        <a:pt x="1631381" y="313452"/>
                        <a:pt x="1630658" y="312488"/>
                        <a:pt x="1630738" y="309918"/>
                      </a:cubicBezTo>
                      <a:cubicBezTo>
                        <a:pt x="1631381" y="310078"/>
                        <a:pt x="1632265" y="310319"/>
                        <a:pt x="1632907" y="310560"/>
                      </a:cubicBezTo>
                      <a:cubicBezTo>
                        <a:pt x="1635558" y="308632"/>
                        <a:pt x="1637968" y="310078"/>
                        <a:pt x="1639655" y="311685"/>
                      </a:cubicBezTo>
                      <a:moveTo>
                        <a:pt x="1642145" y="286944"/>
                      </a:move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36040" y="293772"/>
                      </a:moveTo>
                      <a:cubicBezTo>
                        <a:pt x="1642225" y="299234"/>
                        <a:pt x="1639173" y="305740"/>
                        <a:pt x="1638209" y="307829"/>
                      </a:cubicBezTo>
                      <a:cubicBezTo>
                        <a:pt x="1635719" y="306945"/>
                        <a:pt x="1632586" y="305258"/>
                        <a:pt x="1634273" y="300760"/>
                      </a:cubicBezTo>
                      <a:lnTo>
                        <a:pt x="1635397" y="301162"/>
                      </a:lnTo>
                      <a:cubicBezTo>
                        <a:pt x="1632425" y="298672"/>
                        <a:pt x="1631542" y="296744"/>
                        <a:pt x="1632104" y="294414"/>
                      </a:cubicBezTo>
                      <a:cubicBezTo>
                        <a:pt x="1629614" y="292567"/>
                        <a:pt x="1628569" y="291281"/>
                        <a:pt x="1628087" y="289434"/>
                      </a:cubicBezTo>
                      <a:cubicBezTo>
                        <a:pt x="1629774" y="290077"/>
                        <a:pt x="1633309" y="291362"/>
                        <a:pt x="1636040" y="293772"/>
                      </a:cubicBezTo>
                      <a:moveTo>
                        <a:pt x="1637405" y="288791"/>
                      </a:moveTo>
                      <a:cubicBezTo>
                        <a:pt x="1637405" y="288871"/>
                        <a:pt x="1637405" y="288871"/>
                        <a:pt x="1637325" y="288871"/>
                      </a:cubicBezTo>
                      <a:cubicBezTo>
                        <a:pt x="1636843" y="289112"/>
                        <a:pt x="1633871" y="289032"/>
                        <a:pt x="1633871" y="289032"/>
                      </a:cubicBezTo>
                      <a:cubicBezTo>
                        <a:pt x="1632104" y="288631"/>
                        <a:pt x="1631301" y="288068"/>
                        <a:pt x="1630578" y="287426"/>
                      </a:cubicBezTo>
                      <a:cubicBezTo>
                        <a:pt x="1636201" y="288309"/>
                        <a:pt x="1637245" y="288470"/>
                        <a:pt x="1637405" y="288791"/>
                      </a:cubicBezTo>
                      <a:moveTo>
                        <a:pt x="1781996" y="129260"/>
                      </a:moveTo>
                      <a:cubicBezTo>
                        <a:pt x="1776694" y="127332"/>
                        <a:pt x="1771392" y="125565"/>
                        <a:pt x="1766171" y="123476"/>
                      </a:cubicBezTo>
                      <a:cubicBezTo>
                        <a:pt x="1771875" y="125484"/>
                        <a:pt x="1777497" y="127573"/>
                        <a:pt x="1783120" y="129662"/>
                      </a:cubicBezTo>
                      <a:cubicBezTo>
                        <a:pt x="1782799" y="129581"/>
                        <a:pt x="1782398" y="129421"/>
                        <a:pt x="1781996" y="129260"/>
                      </a:cubicBezTo>
                      <a:moveTo>
                        <a:pt x="1653471" y="266781"/>
                      </a:moveTo>
                      <a:cubicBezTo>
                        <a:pt x="1655640" y="270236"/>
                        <a:pt x="1655801" y="271681"/>
                        <a:pt x="1653873" y="271199"/>
                      </a:cubicBezTo>
                      <a:cubicBezTo>
                        <a:pt x="1653230" y="271039"/>
                        <a:pt x="1652507" y="270718"/>
                        <a:pt x="1651865" y="270396"/>
                      </a:cubicBezTo>
                      <a:lnTo>
                        <a:pt x="1651945" y="271199"/>
                      </a:lnTo>
                      <a:cubicBezTo>
                        <a:pt x="1647687" y="268870"/>
                        <a:pt x="1647768" y="265898"/>
                        <a:pt x="1648571" y="263809"/>
                      </a:cubicBezTo>
                      <a:cubicBezTo>
                        <a:pt x="1649535" y="264211"/>
                        <a:pt x="1652748" y="265657"/>
                        <a:pt x="1653471" y="266781"/>
                      </a:cubicBezTo>
                      <a:moveTo>
                        <a:pt x="1648491" y="260998"/>
                      </a:moveTo>
                      <a:cubicBezTo>
                        <a:pt x="1651383" y="263086"/>
                        <a:pt x="1651865" y="263488"/>
                        <a:pt x="1651865" y="263568"/>
                      </a:cubicBezTo>
                      <a:cubicBezTo>
                        <a:pt x="1651624" y="263568"/>
                        <a:pt x="1650901" y="263086"/>
                        <a:pt x="1646563" y="260275"/>
                      </a:cubicBezTo>
                      <a:cubicBezTo>
                        <a:pt x="1647125" y="260436"/>
                        <a:pt x="1647928" y="260596"/>
                        <a:pt x="1648491" y="260998"/>
                      </a:cubicBezTo>
                      <a:moveTo>
                        <a:pt x="1643269" y="261319"/>
                      </a:moveTo>
                      <a:cubicBezTo>
                        <a:pt x="1645599" y="263488"/>
                        <a:pt x="1647527" y="267585"/>
                        <a:pt x="1644555" y="269754"/>
                      </a:cubicBezTo>
                      <a:cubicBezTo>
                        <a:pt x="1642787" y="270637"/>
                        <a:pt x="1641101" y="270637"/>
                        <a:pt x="1637245" y="269512"/>
                      </a:cubicBezTo>
                      <a:cubicBezTo>
                        <a:pt x="1640619" y="266942"/>
                        <a:pt x="1641984" y="264050"/>
                        <a:pt x="1641502" y="260034"/>
                      </a:cubicBezTo>
                      <a:cubicBezTo>
                        <a:pt x="1642065" y="260436"/>
                        <a:pt x="1642787" y="260918"/>
                        <a:pt x="1643269" y="261319"/>
                      </a:cubicBezTo>
                      <a:moveTo>
                        <a:pt x="1168210" y="430972"/>
                      </a:moveTo>
                      <a:cubicBezTo>
                        <a:pt x="1165318" y="436032"/>
                        <a:pt x="1160498" y="439326"/>
                        <a:pt x="1153992" y="440692"/>
                      </a:cubicBezTo>
                      <a:cubicBezTo>
                        <a:pt x="1149172" y="441415"/>
                        <a:pt x="1145959" y="441093"/>
                        <a:pt x="1141541" y="439406"/>
                      </a:cubicBezTo>
                      <a:cubicBezTo>
                        <a:pt x="1145798" y="432498"/>
                        <a:pt x="1155036" y="422055"/>
                        <a:pt x="1168852" y="429847"/>
                      </a:cubicBezTo>
                      <a:cubicBezTo>
                        <a:pt x="1168611" y="430249"/>
                        <a:pt x="1168370" y="430651"/>
                        <a:pt x="1168210" y="430972"/>
                      </a:cubicBezTo>
                      <a:moveTo>
                        <a:pt x="1652828" y="245093"/>
                      </a:moveTo>
                      <a:cubicBezTo>
                        <a:pt x="1651383" y="247422"/>
                        <a:pt x="1650740" y="247985"/>
                        <a:pt x="1650419" y="248145"/>
                      </a:cubicBezTo>
                      <a:cubicBezTo>
                        <a:pt x="1649214" y="248868"/>
                        <a:pt x="1649294" y="246699"/>
                        <a:pt x="1649455" y="244771"/>
                      </a:cubicBezTo>
                      <a:cubicBezTo>
                        <a:pt x="1650499" y="244771"/>
                        <a:pt x="1651865" y="244771"/>
                        <a:pt x="1652909" y="244771"/>
                      </a:cubicBezTo>
                      <a:cubicBezTo>
                        <a:pt x="1652989" y="244852"/>
                        <a:pt x="1652909" y="244932"/>
                        <a:pt x="1652828" y="245093"/>
                      </a:cubicBezTo>
                      <a:moveTo>
                        <a:pt x="1173993" y="244209"/>
                      </a:moveTo>
                      <a:cubicBezTo>
                        <a:pt x="1173993" y="244290"/>
                        <a:pt x="1173993" y="244290"/>
                        <a:pt x="1173993" y="244370"/>
                      </a:cubicBezTo>
                      <a:cubicBezTo>
                        <a:pt x="1173993" y="244370"/>
                        <a:pt x="1173993" y="244370"/>
                        <a:pt x="1173993" y="244370"/>
                      </a:cubicBezTo>
                      <a:cubicBezTo>
                        <a:pt x="1173993" y="244370"/>
                        <a:pt x="1173993" y="244370"/>
                        <a:pt x="1173993" y="244370"/>
                      </a:cubicBezTo>
                      <a:cubicBezTo>
                        <a:pt x="1173993" y="244370"/>
                        <a:pt x="1173993" y="244370"/>
                        <a:pt x="1173993" y="244370"/>
                      </a:cubicBezTo>
                      <a:cubicBezTo>
                        <a:pt x="1173993" y="244370"/>
                        <a:pt x="1173993" y="244370"/>
                        <a:pt x="1173993" y="244370"/>
                      </a:cubicBezTo>
                      <a:lnTo>
                        <a:pt x="1173993" y="244370"/>
                      </a:lnTo>
                      <a:cubicBezTo>
                        <a:pt x="1173993" y="244370"/>
                        <a:pt x="1173993" y="244370"/>
                        <a:pt x="1173993" y="244370"/>
                      </a:cubicBezTo>
                      <a:lnTo>
                        <a:pt x="1173993" y="244370"/>
                      </a:lnTo>
                      <a:lnTo>
                        <a:pt x="1173993" y="244370"/>
                      </a:lnTo>
                      <a:cubicBezTo>
                        <a:pt x="1173993" y="244370"/>
                        <a:pt x="1173993" y="244370"/>
                        <a:pt x="1173993" y="244370"/>
                      </a:cubicBezTo>
                      <a:lnTo>
                        <a:pt x="1173993" y="244370"/>
                      </a:lnTo>
                      <a:cubicBezTo>
                        <a:pt x="1173993" y="244370"/>
                        <a:pt x="1173993" y="244370"/>
                        <a:pt x="1173993" y="244370"/>
                      </a:cubicBezTo>
                      <a:lnTo>
                        <a:pt x="1173993" y="244209"/>
                      </a:lnTo>
                      <a:cubicBezTo>
                        <a:pt x="1173913" y="244290"/>
                        <a:pt x="1173913" y="244290"/>
                        <a:pt x="1173993" y="244209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lnTo>
                        <a:pt x="1173913" y="244290"/>
                      </a:lnTo>
                      <a:cubicBezTo>
                        <a:pt x="1173913" y="244290"/>
                        <a:pt x="1173913" y="244290"/>
                        <a:pt x="1173913" y="244290"/>
                      </a:cubicBezTo>
                      <a:lnTo>
                        <a:pt x="1173913" y="244290"/>
                      </a:lnTo>
                      <a:lnTo>
                        <a:pt x="1173913" y="244290"/>
                      </a:ln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129"/>
                        <a:pt x="1173993" y="244129"/>
                        <a:pt x="1173993" y="244209"/>
                      </a:cubicBezTo>
                      <a:moveTo>
                        <a:pt x="1510487" y="19452"/>
                      </a:moveTo>
                      <a:cubicBezTo>
                        <a:pt x="1537156" y="26360"/>
                        <a:pt x="1560532" y="35838"/>
                        <a:pt x="1583987" y="49414"/>
                      </a:cubicBezTo>
                      <a:cubicBezTo>
                        <a:pt x="1605033" y="61624"/>
                        <a:pt x="1605033" y="61624"/>
                        <a:pt x="1613789" y="64676"/>
                      </a:cubicBezTo>
                      <a:cubicBezTo>
                        <a:pt x="1613387" y="64917"/>
                        <a:pt x="1612905" y="65238"/>
                        <a:pt x="1612504" y="65479"/>
                      </a:cubicBezTo>
                      <a:cubicBezTo>
                        <a:pt x="1612986" y="65640"/>
                        <a:pt x="1664315" y="86606"/>
                        <a:pt x="1666002" y="95442"/>
                      </a:cubicBezTo>
                      <a:cubicBezTo>
                        <a:pt x="1666966" y="94879"/>
                        <a:pt x="1668251" y="93594"/>
                        <a:pt x="1669296" y="93996"/>
                      </a:cubicBezTo>
                      <a:cubicBezTo>
                        <a:pt x="1699178" y="105161"/>
                        <a:pt x="1727132" y="120906"/>
                        <a:pt x="1757978" y="129742"/>
                      </a:cubicBezTo>
                      <a:cubicBezTo>
                        <a:pt x="1757255" y="129903"/>
                        <a:pt x="1756291" y="130063"/>
                        <a:pt x="1755568" y="130144"/>
                      </a:cubicBezTo>
                      <a:lnTo>
                        <a:pt x="1756773" y="130866"/>
                      </a:lnTo>
                      <a:cubicBezTo>
                        <a:pt x="1753801" y="133999"/>
                        <a:pt x="1753801" y="133999"/>
                        <a:pt x="1752435" y="134642"/>
                      </a:cubicBezTo>
                      <a:cubicBezTo>
                        <a:pt x="1752997" y="134963"/>
                        <a:pt x="1753801" y="135365"/>
                        <a:pt x="1754363" y="135686"/>
                      </a:cubicBezTo>
                      <a:cubicBezTo>
                        <a:pt x="1750989" y="136248"/>
                        <a:pt x="1750266" y="136409"/>
                        <a:pt x="1747615" y="137614"/>
                      </a:cubicBezTo>
                      <a:cubicBezTo>
                        <a:pt x="1741430" y="133276"/>
                        <a:pt x="1739583" y="131188"/>
                        <a:pt x="1739583" y="131107"/>
                      </a:cubicBezTo>
                      <a:cubicBezTo>
                        <a:pt x="1733237" y="131107"/>
                        <a:pt x="1733237" y="131107"/>
                        <a:pt x="1730666" y="132393"/>
                      </a:cubicBezTo>
                      <a:cubicBezTo>
                        <a:pt x="1735486" y="132955"/>
                        <a:pt x="1739583" y="135606"/>
                        <a:pt x="1744081" y="136971"/>
                      </a:cubicBezTo>
                      <a:lnTo>
                        <a:pt x="1744483" y="137614"/>
                      </a:lnTo>
                      <a:cubicBezTo>
                        <a:pt x="1734040" y="136409"/>
                        <a:pt x="1733719" y="135847"/>
                        <a:pt x="1731952" y="133116"/>
                      </a:cubicBezTo>
                      <a:cubicBezTo>
                        <a:pt x="1731470" y="132875"/>
                        <a:pt x="1731068" y="132714"/>
                        <a:pt x="1730586" y="132473"/>
                      </a:cubicBezTo>
                      <a:cubicBezTo>
                        <a:pt x="1714360" y="135766"/>
                        <a:pt x="1665601" y="98093"/>
                        <a:pt x="1665360" y="97691"/>
                      </a:cubicBezTo>
                      <a:cubicBezTo>
                        <a:pt x="1665038" y="98012"/>
                        <a:pt x="1664717" y="98414"/>
                        <a:pt x="1664396" y="98655"/>
                      </a:cubicBezTo>
                      <a:cubicBezTo>
                        <a:pt x="1647045" y="94397"/>
                        <a:pt x="1633951" y="80501"/>
                        <a:pt x="1616038" y="77448"/>
                      </a:cubicBezTo>
                      <a:cubicBezTo>
                        <a:pt x="1612423" y="76806"/>
                        <a:pt x="1592823" y="68934"/>
                        <a:pt x="1592743" y="68853"/>
                      </a:cubicBezTo>
                      <a:cubicBezTo>
                        <a:pt x="1582702" y="64274"/>
                        <a:pt x="1573946" y="57447"/>
                        <a:pt x="1564066" y="52547"/>
                      </a:cubicBezTo>
                      <a:cubicBezTo>
                        <a:pt x="1559166" y="50137"/>
                        <a:pt x="1552820" y="46763"/>
                        <a:pt x="1548081" y="44112"/>
                      </a:cubicBezTo>
                      <a:cubicBezTo>
                        <a:pt x="1539968" y="39614"/>
                        <a:pt x="1533863" y="32384"/>
                        <a:pt x="1525830" y="27725"/>
                      </a:cubicBezTo>
                      <a:cubicBezTo>
                        <a:pt x="1518761" y="23709"/>
                        <a:pt x="1509845" y="24271"/>
                        <a:pt x="1503418" y="18568"/>
                      </a:cubicBezTo>
                      <a:cubicBezTo>
                        <a:pt x="1505427" y="18809"/>
                        <a:pt x="1508318" y="18970"/>
                        <a:pt x="1510487" y="19452"/>
                      </a:cubicBezTo>
                      <a:moveTo>
                        <a:pt x="1409515" y="117612"/>
                      </a:moveTo>
                      <a:cubicBezTo>
                        <a:pt x="1413210" y="121950"/>
                        <a:pt x="1416986" y="127493"/>
                        <a:pt x="1414335" y="129662"/>
                      </a:cubicBezTo>
                      <a:cubicBezTo>
                        <a:pt x="1413612" y="129903"/>
                        <a:pt x="1411604" y="130545"/>
                        <a:pt x="1408390" y="129662"/>
                      </a:cubicBezTo>
                      <a:cubicBezTo>
                        <a:pt x="1407507" y="129421"/>
                        <a:pt x="1406222" y="129019"/>
                        <a:pt x="1405338" y="128778"/>
                      </a:cubicBezTo>
                      <a:cubicBezTo>
                        <a:pt x="1399313" y="126770"/>
                        <a:pt x="1394092" y="123155"/>
                        <a:pt x="1388068" y="121147"/>
                      </a:cubicBezTo>
                      <a:cubicBezTo>
                        <a:pt x="1387103" y="120825"/>
                        <a:pt x="1385738" y="120825"/>
                        <a:pt x="1384694" y="120665"/>
                      </a:cubicBezTo>
                      <a:cubicBezTo>
                        <a:pt x="1384613" y="120665"/>
                        <a:pt x="1377223" y="119540"/>
                        <a:pt x="1367584" y="116086"/>
                      </a:cubicBezTo>
                      <a:cubicBezTo>
                        <a:pt x="1356499" y="112150"/>
                        <a:pt x="1354651" y="111025"/>
                        <a:pt x="1355936" y="108937"/>
                      </a:cubicBezTo>
                      <a:cubicBezTo>
                        <a:pt x="1357623" y="106286"/>
                        <a:pt x="1358426" y="106527"/>
                        <a:pt x="1362764" y="107893"/>
                      </a:cubicBezTo>
                      <a:cubicBezTo>
                        <a:pt x="1384935" y="115042"/>
                        <a:pt x="1396984" y="115925"/>
                        <a:pt x="1408310" y="116247"/>
                      </a:cubicBezTo>
                      <a:cubicBezTo>
                        <a:pt x="1408631" y="116648"/>
                        <a:pt x="1409113" y="117130"/>
                        <a:pt x="1409515" y="117612"/>
                      </a:cubicBezTo>
                      <a:moveTo>
                        <a:pt x="1331436" y="138016"/>
                      </a:moveTo>
                      <a:cubicBezTo>
                        <a:pt x="1320030" y="134963"/>
                        <a:pt x="1303482" y="129099"/>
                        <a:pt x="1296654" y="125002"/>
                      </a:cubicBezTo>
                      <a:cubicBezTo>
                        <a:pt x="1298823" y="125404"/>
                        <a:pt x="1301072" y="125966"/>
                        <a:pt x="1304767" y="127252"/>
                      </a:cubicBezTo>
                      <a:cubicBezTo>
                        <a:pt x="1305651" y="127573"/>
                        <a:pt x="1307418" y="128296"/>
                        <a:pt x="1308221" y="128617"/>
                      </a:cubicBezTo>
                      <a:cubicBezTo>
                        <a:pt x="1310792" y="129742"/>
                        <a:pt x="1312961" y="131830"/>
                        <a:pt x="1315853" y="132152"/>
                      </a:cubicBezTo>
                      <a:cubicBezTo>
                        <a:pt x="1319949" y="132553"/>
                        <a:pt x="1324287" y="134160"/>
                        <a:pt x="1325090" y="134481"/>
                      </a:cubicBezTo>
                      <a:cubicBezTo>
                        <a:pt x="1327902" y="135525"/>
                        <a:pt x="1329428" y="136248"/>
                        <a:pt x="1331838" y="137453"/>
                      </a:cubicBezTo>
                      <a:lnTo>
                        <a:pt x="1331436" y="138016"/>
                      </a:lnTo>
                      <a:moveTo>
                        <a:pt x="1324528" y="99298"/>
                      </a:moveTo>
                      <a:cubicBezTo>
                        <a:pt x="1325010" y="99458"/>
                        <a:pt x="1325412" y="99699"/>
                        <a:pt x="1325894" y="99860"/>
                      </a:cubicBezTo>
                      <a:cubicBezTo>
                        <a:pt x="1325412" y="99619"/>
                        <a:pt x="1324930" y="99458"/>
                        <a:pt x="1324528" y="99298"/>
                      </a:cubicBezTo>
                      <a:cubicBezTo>
                        <a:pt x="1324448" y="99217"/>
                        <a:pt x="1324448" y="99217"/>
                        <a:pt x="1324528" y="99298"/>
                      </a:cubicBezTo>
                      <a:moveTo>
                        <a:pt x="1330633" y="102029"/>
                      </a:moveTo>
                      <a:cubicBezTo>
                        <a:pt x="1352482" y="112150"/>
                        <a:pt x="1385818" y="131107"/>
                        <a:pt x="1420199" y="163480"/>
                      </a:cubicBezTo>
                      <a:cubicBezTo>
                        <a:pt x="1403892" y="160427"/>
                        <a:pt x="1359792" y="148057"/>
                        <a:pt x="1369913" y="137293"/>
                      </a:cubicBezTo>
                      <a:cubicBezTo>
                        <a:pt x="1347743" y="148458"/>
                        <a:pt x="1348466" y="130224"/>
                        <a:pt x="1348546" y="129983"/>
                      </a:cubicBezTo>
                      <a:cubicBezTo>
                        <a:pt x="1348626" y="129742"/>
                        <a:pt x="1348867" y="129421"/>
                        <a:pt x="1349028" y="129099"/>
                      </a:cubicBezTo>
                      <a:cubicBezTo>
                        <a:pt x="1345092" y="125886"/>
                        <a:pt x="1344610" y="123878"/>
                        <a:pt x="1347261" y="121388"/>
                      </a:cubicBezTo>
                      <a:cubicBezTo>
                        <a:pt x="1344931" y="122432"/>
                        <a:pt x="1342682" y="123476"/>
                        <a:pt x="1334489" y="116889"/>
                      </a:cubicBezTo>
                      <a:cubicBezTo>
                        <a:pt x="1337059" y="120263"/>
                        <a:pt x="1337782" y="121629"/>
                        <a:pt x="1336899" y="122994"/>
                      </a:cubicBezTo>
                      <a:cubicBezTo>
                        <a:pt x="1334569" y="123075"/>
                        <a:pt x="1333364" y="123155"/>
                        <a:pt x="1323002" y="117532"/>
                      </a:cubicBezTo>
                      <a:cubicBezTo>
                        <a:pt x="1332882" y="124761"/>
                        <a:pt x="1334649" y="127252"/>
                        <a:pt x="1334730" y="129662"/>
                      </a:cubicBezTo>
                      <a:cubicBezTo>
                        <a:pt x="1331517" y="132955"/>
                        <a:pt x="1307981" y="125806"/>
                        <a:pt x="1304205" y="122753"/>
                      </a:cubicBezTo>
                      <a:cubicBezTo>
                        <a:pt x="1293923" y="114399"/>
                        <a:pt x="1292316" y="117050"/>
                        <a:pt x="1291433" y="118496"/>
                      </a:cubicBezTo>
                      <a:cubicBezTo>
                        <a:pt x="1274966" y="112471"/>
                        <a:pt x="1263238" y="106286"/>
                        <a:pt x="1258980" y="103876"/>
                      </a:cubicBezTo>
                      <a:cubicBezTo>
                        <a:pt x="1260025" y="103555"/>
                        <a:pt x="1260025" y="103555"/>
                        <a:pt x="1263238" y="104519"/>
                      </a:cubicBezTo>
                      <a:cubicBezTo>
                        <a:pt x="1260828" y="102832"/>
                        <a:pt x="1260748" y="102671"/>
                        <a:pt x="1260426" y="101627"/>
                      </a:cubicBezTo>
                      <a:cubicBezTo>
                        <a:pt x="1261712" y="101306"/>
                        <a:pt x="1262274" y="101145"/>
                        <a:pt x="1267817" y="102430"/>
                      </a:cubicBezTo>
                      <a:cubicBezTo>
                        <a:pt x="1265166" y="101386"/>
                        <a:pt x="1264603" y="101145"/>
                        <a:pt x="1262917" y="100101"/>
                      </a:cubicBezTo>
                      <a:cubicBezTo>
                        <a:pt x="1269744" y="94558"/>
                        <a:pt x="1273279" y="99940"/>
                        <a:pt x="1275689" y="105242"/>
                      </a:cubicBezTo>
                      <a:cubicBezTo>
                        <a:pt x="1285569" y="107330"/>
                        <a:pt x="1286292" y="106848"/>
                        <a:pt x="1287497" y="105965"/>
                      </a:cubicBezTo>
                      <a:cubicBezTo>
                        <a:pt x="1286131" y="103957"/>
                        <a:pt x="1285328" y="102671"/>
                        <a:pt x="1272234" y="96165"/>
                      </a:cubicBezTo>
                      <a:cubicBezTo>
                        <a:pt x="1287658" y="101065"/>
                        <a:pt x="1303000" y="105965"/>
                        <a:pt x="1318343" y="110865"/>
                      </a:cubicBezTo>
                      <a:cubicBezTo>
                        <a:pt x="1282999" y="97530"/>
                        <a:pt x="1275367" y="93514"/>
                        <a:pt x="1271753" y="89658"/>
                      </a:cubicBezTo>
                      <a:cubicBezTo>
                        <a:pt x="1271913" y="89257"/>
                        <a:pt x="1272074" y="88774"/>
                        <a:pt x="1272234" y="88453"/>
                      </a:cubicBezTo>
                      <a:cubicBezTo>
                        <a:pt x="1284605" y="90301"/>
                        <a:pt x="1292557" y="93032"/>
                        <a:pt x="1303723" y="99298"/>
                      </a:cubicBezTo>
                      <a:cubicBezTo>
                        <a:pt x="1298341" y="95281"/>
                        <a:pt x="1298100" y="94879"/>
                        <a:pt x="1297457" y="93916"/>
                      </a:cubicBezTo>
                      <a:cubicBezTo>
                        <a:pt x="1304125" y="94157"/>
                        <a:pt x="1309105" y="99378"/>
                        <a:pt x="1315612" y="100181"/>
                      </a:cubicBezTo>
                      <a:cubicBezTo>
                        <a:pt x="1319789" y="100663"/>
                        <a:pt x="1323966" y="101145"/>
                        <a:pt x="1328063" y="101707"/>
                      </a:cubicBezTo>
                      <a:cubicBezTo>
                        <a:pt x="1327741" y="101145"/>
                        <a:pt x="1327018" y="100502"/>
                        <a:pt x="1326456" y="100101"/>
                      </a:cubicBezTo>
                      <a:cubicBezTo>
                        <a:pt x="1327580" y="100663"/>
                        <a:pt x="1329348" y="101386"/>
                        <a:pt x="1330633" y="102029"/>
                      </a:cubicBezTo>
                      <a:moveTo>
                        <a:pt x="1333605" y="13989"/>
                      </a:moveTo>
                      <a:cubicBezTo>
                        <a:pt x="1334489" y="14471"/>
                        <a:pt x="1335292" y="14953"/>
                        <a:pt x="1336176" y="15435"/>
                      </a:cubicBezTo>
                      <a:cubicBezTo>
                        <a:pt x="1335292" y="14873"/>
                        <a:pt x="1334408" y="14471"/>
                        <a:pt x="1333605" y="13989"/>
                      </a:cubicBezTo>
                      <a:moveTo>
                        <a:pt x="1338264" y="28528"/>
                      </a:moveTo>
                      <a:cubicBezTo>
                        <a:pt x="1338907" y="28850"/>
                        <a:pt x="1339148" y="29091"/>
                        <a:pt x="1339067" y="29332"/>
                      </a:cubicBezTo>
                      <a:cubicBezTo>
                        <a:pt x="1338505" y="30055"/>
                        <a:pt x="1334569" y="29814"/>
                        <a:pt x="1334489" y="29814"/>
                      </a:cubicBezTo>
                      <a:cubicBezTo>
                        <a:pt x="1334328" y="29814"/>
                        <a:pt x="1334167" y="29734"/>
                        <a:pt x="1334087" y="29653"/>
                      </a:cubicBezTo>
                      <a:cubicBezTo>
                        <a:pt x="1331276" y="28689"/>
                        <a:pt x="1328544" y="27886"/>
                        <a:pt x="1327339" y="27484"/>
                      </a:cubicBezTo>
                      <a:cubicBezTo>
                        <a:pt x="1331035" y="27484"/>
                        <a:pt x="1334167" y="27565"/>
                        <a:pt x="1339228" y="27966"/>
                      </a:cubicBezTo>
                      <a:cubicBezTo>
                        <a:pt x="1338987" y="28207"/>
                        <a:pt x="1338585" y="28448"/>
                        <a:pt x="1338264" y="28528"/>
                      </a:cubicBezTo>
                      <a:moveTo>
                        <a:pt x="1329107" y="29412"/>
                      </a:moveTo>
                      <a:cubicBezTo>
                        <a:pt x="1325813" y="29011"/>
                        <a:pt x="1322520" y="28770"/>
                        <a:pt x="1319226" y="28287"/>
                      </a:cubicBezTo>
                      <a:cubicBezTo>
                        <a:pt x="1319467" y="28287"/>
                        <a:pt x="1323162" y="28609"/>
                        <a:pt x="1328223" y="29171"/>
                      </a:cubicBezTo>
                      <a:lnTo>
                        <a:pt x="1329107" y="29412"/>
                      </a:lnTo>
                      <a:moveTo>
                        <a:pt x="1313925" y="19371"/>
                      </a:moveTo>
                      <a:cubicBezTo>
                        <a:pt x="1315853" y="19532"/>
                        <a:pt x="1317781" y="19773"/>
                        <a:pt x="1319708" y="19934"/>
                      </a:cubicBezTo>
                      <a:cubicBezTo>
                        <a:pt x="1317781" y="19773"/>
                        <a:pt x="1315853" y="19612"/>
                        <a:pt x="1313925" y="19371"/>
                      </a:cubicBezTo>
                      <a:lnTo>
                        <a:pt x="1313925" y="19371"/>
                      </a:lnTo>
                      <a:moveTo>
                        <a:pt x="1261631" y="79939"/>
                      </a:moveTo>
                      <a:cubicBezTo>
                        <a:pt x="1256571" y="78975"/>
                        <a:pt x="1255848" y="78653"/>
                        <a:pt x="1255848" y="78492"/>
                      </a:cubicBezTo>
                      <a:cubicBezTo>
                        <a:pt x="1256008" y="78332"/>
                        <a:pt x="1256571" y="78332"/>
                        <a:pt x="1259221" y="78412"/>
                      </a:cubicBezTo>
                      <a:lnTo>
                        <a:pt x="1261631" y="79939"/>
                      </a:lnTo>
                      <a:moveTo>
                        <a:pt x="1311515" y="22183"/>
                      </a:moveTo>
                      <a:cubicBezTo>
                        <a:pt x="1314648" y="22825"/>
                        <a:pt x="1317700" y="23548"/>
                        <a:pt x="1320753" y="24271"/>
                      </a:cubicBezTo>
                      <a:cubicBezTo>
                        <a:pt x="1317700" y="23468"/>
                        <a:pt x="1314648" y="22825"/>
                        <a:pt x="1311515" y="22183"/>
                      </a:cubicBezTo>
                      <a:lnTo>
                        <a:pt x="1311515" y="22183"/>
                      </a:lnTo>
                      <a:moveTo>
                        <a:pt x="1321957" y="17202"/>
                      </a:moveTo>
                      <a:cubicBezTo>
                        <a:pt x="1327580" y="17684"/>
                        <a:pt x="1327982" y="19291"/>
                        <a:pt x="1328063" y="19853"/>
                      </a:cubicBezTo>
                      <a:cubicBezTo>
                        <a:pt x="1323162" y="18970"/>
                        <a:pt x="1318343" y="18487"/>
                        <a:pt x="1311836" y="18166"/>
                      </a:cubicBezTo>
                      <a:cubicBezTo>
                        <a:pt x="1312077" y="17925"/>
                        <a:pt x="1312318" y="17283"/>
                        <a:pt x="1312720" y="17283"/>
                      </a:cubicBezTo>
                      <a:cubicBezTo>
                        <a:pt x="1312800" y="17202"/>
                        <a:pt x="1317781" y="16801"/>
                        <a:pt x="1321957" y="17202"/>
                      </a:cubicBezTo>
                      <a:moveTo>
                        <a:pt x="1315371" y="77609"/>
                      </a:moveTo>
                      <a:cubicBezTo>
                        <a:pt x="1326135" y="81947"/>
                        <a:pt x="1326135" y="86445"/>
                        <a:pt x="1315451" y="91024"/>
                      </a:cubicBezTo>
                      <a:cubicBezTo>
                        <a:pt x="1306776" y="94799"/>
                        <a:pt x="1300108" y="89658"/>
                        <a:pt x="1295289" y="85883"/>
                      </a:cubicBezTo>
                      <a:cubicBezTo>
                        <a:pt x="1290871" y="92711"/>
                        <a:pt x="1280267" y="87007"/>
                        <a:pt x="1273921" y="83634"/>
                      </a:cubicBezTo>
                      <a:cubicBezTo>
                        <a:pt x="1265246" y="84919"/>
                        <a:pt x="1263961" y="81866"/>
                        <a:pt x="1264684" y="81143"/>
                      </a:cubicBezTo>
                      <a:cubicBezTo>
                        <a:pt x="1265487" y="80260"/>
                        <a:pt x="1269262" y="80902"/>
                        <a:pt x="1271110" y="81143"/>
                      </a:cubicBezTo>
                      <a:cubicBezTo>
                        <a:pt x="1267656" y="78975"/>
                        <a:pt x="1263559" y="78894"/>
                        <a:pt x="1259784" y="77529"/>
                      </a:cubicBezTo>
                      <a:cubicBezTo>
                        <a:pt x="1260266" y="77368"/>
                        <a:pt x="1260346" y="77368"/>
                        <a:pt x="1266130" y="78251"/>
                      </a:cubicBezTo>
                      <a:cubicBezTo>
                        <a:pt x="1259382" y="75681"/>
                        <a:pt x="1257374" y="74717"/>
                        <a:pt x="1256812" y="73914"/>
                      </a:cubicBezTo>
                      <a:cubicBezTo>
                        <a:pt x="1258820" y="73271"/>
                        <a:pt x="1260185" y="73271"/>
                        <a:pt x="1283239" y="77288"/>
                      </a:cubicBezTo>
                      <a:cubicBezTo>
                        <a:pt x="1262756" y="69657"/>
                        <a:pt x="1262756" y="69657"/>
                        <a:pt x="1262274" y="69255"/>
                      </a:cubicBezTo>
                      <a:cubicBezTo>
                        <a:pt x="1263479" y="69416"/>
                        <a:pt x="1264844" y="69576"/>
                        <a:pt x="1277617" y="73352"/>
                      </a:cubicBezTo>
                      <a:cubicBezTo>
                        <a:pt x="1277536" y="71745"/>
                        <a:pt x="1275689" y="70380"/>
                        <a:pt x="1270387" y="68291"/>
                      </a:cubicBezTo>
                      <a:cubicBezTo>
                        <a:pt x="1282918" y="69978"/>
                        <a:pt x="1303723" y="72870"/>
                        <a:pt x="1315371" y="77609"/>
                      </a:cubicBezTo>
                      <a:moveTo>
                        <a:pt x="1313121" y="13588"/>
                      </a:moveTo>
                      <a:cubicBezTo>
                        <a:pt x="1316977" y="14230"/>
                        <a:pt x="1323403" y="15435"/>
                        <a:pt x="1323805" y="16238"/>
                      </a:cubicBezTo>
                      <a:cubicBezTo>
                        <a:pt x="1323323" y="17042"/>
                        <a:pt x="1316174" y="16720"/>
                        <a:pt x="1301233" y="15917"/>
                      </a:cubicBezTo>
                      <a:cubicBezTo>
                        <a:pt x="1300189" y="13909"/>
                        <a:pt x="1309346" y="12945"/>
                        <a:pt x="1313121" y="13588"/>
                      </a:cubicBezTo>
                      <a:moveTo>
                        <a:pt x="1302116" y="19773"/>
                      </a:moveTo>
                      <a:lnTo>
                        <a:pt x="1302518" y="19773"/>
                      </a:lnTo>
                      <a:lnTo>
                        <a:pt x="1306133" y="20255"/>
                      </a:lnTo>
                      <a:cubicBezTo>
                        <a:pt x="1303080" y="20576"/>
                        <a:pt x="1299466" y="20496"/>
                        <a:pt x="1292879" y="19853"/>
                      </a:cubicBezTo>
                      <a:cubicBezTo>
                        <a:pt x="1294967" y="19532"/>
                        <a:pt x="1298100" y="19452"/>
                        <a:pt x="1302116" y="19773"/>
                      </a:cubicBezTo>
                      <a:moveTo>
                        <a:pt x="1276090" y="26360"/>
                      </a:moveTo>
                      <a:cubicBezTo>
                        <a:pt x="1276813" y="26601"/>
                        <a:pt x="1277456" y="27002"/>
                        <a:pt x="1278098" y="27324"/>
                      </a:cubicBezTo>
                      <a:cubicBezTo>
                        <a:pt x="1278821" y="27645"/>
                        <a:pt x="1279143" y="27806"/>
                        <a:pt x="1288380" y="29171"/>
                      </a:cubicBezTo>
                      <a:cubicBezTo>
                        <a:pt x="1288862" y="29252"/>
                        <a:pt x="1289425" y="29252"/>
                        <a:pt x="1289907" y="29412"/>
                      </a:cubicBezTo>
                      <a:cubicBezTo>
                        <a:pt x="1293361" y="30296"/>
                        <a:pt x="1296735" y="31501"/>
                        <a:pt x="1300108" y="32384"/>
                      </a:cubicBezTo>
                      <a:cubicBezTo>
                        <a:pt x="1297216" y="32143"/>
                        <a:pt x="1294325" y="31902"/>
                        <a:pt x="1291433" y="31661"/>
                      </a:cubicBezTo>
                      <a:cubicBezTo>
                        <a:pt x="1293280" y="32063"/>
                        <a:pt x="1293361" y="32224"/>
                        <a:pt x="1293441" y="32384"/>
                      </a:cubicBezTo>
                      <a:cubicBezTo>
                        <a:pt x="1291594" y="33509"/>
                        <a:pt x="1289505" y="32063"/>
                        <a:pt x="1287577" y="32866"/>
                      </a:cubicBezTo>
                      <a:cubicBezTo>
                        <a:pt x="1283882" y="30537"/>
                        <a:pt x="1279866" y="28609"/>
                        <a:pt x="1276090" y="26360"/>
                      </a:cubicBezTo>
                      <a:cubicBezTo>
                        <a:pt x="1276090" y="26440"/>
                        <a:pt x="1276090" y="26360"/>
                        <a:pt x="1276090" y="26360"/>
                      </a:cubicBezTo>
                      <a:moveTo>
                        <a:pt x="1282918" y="8527"/>
                      </a:moveTo>
                      <a:cubicBezTo>
                        <a:pt x="1283159" y="8527"/>
                        <a:pt x="1307900" y="9491"/>
                        <a:pt x="1306213" y="11499"/>
                      </a:cubicBezTo>
                      <a:cubicBezTo>
                        <a:pt x="1304767" y="13266"/>
                        <a:pt x="1279303" y="12383"/>
                        <a:pt x="1277295" y="11258"/>
                      </a:cubicBezTo>
                      <a:cubicBezTo>
                        <a:pt x="1277536" y="11017"/>
                        <a:pt x="1277617" y="11017"/>
                        <a:pt x="1278741" y="10776"/>
                      </a:cubicBezTo>
                      <a:cubicBezTo>
                        <a:pt x="1277617" y="10294"/>
                        <a:pt x="1275448" y="9330"/>
                        <a:pt x="1276894" y="8848"/>
                      </a:cubicBezTo>
                      <a:cubicBezTo>
                        <a:pt x="1277697" y="8527"/>
                        <a:pt x="1279785" y="8446"/>
                        <a:pt x="1282918" y="8527"/>
                      </a:cubicBezTo>
                      <a:moveTo>
                        <a:pt x="1284926" y="22906"/>
                      </a:moveTo>
                      <a:cubicBezTo>
                        <a:pt x="1298582" y="25637"/>
                        <a:pt x="1312077" y="28850"/>
                        <a:pt x="1325733" y="31661"/>
                      </a:cubicBezTo>
                      <a:cubicBezTo>
                        <a:pt x="1312318" y="31983"/>
                        <a:pt x="1312318" y="31983"/>
                        <a:pt x="1310872" y="31742"/>
                      </a:cubicBezTo>
                      <a:cubicBezTo>
                        <a:pt x="1310390" y="31661"/>
                        <a:pt x="1309748" y="31581"/>
                        <a:pt x="1309185" y="31420"/>
                      </a:cubicBezTo>
                      <a:cubicBezTo>
                        <a:pt x="1303803" y="30296"/>
                        <a:pt x="1298984" y="27484"/>
                        <a:pt x="1293521" y="26520"/>
                      </a:cubicBezTo>
                      <a:cubicBezTo>
                        <a:pt x="1292156" y="26279"/>
                        <a:pt x="1287979" y="25637"/>
                        <a:pt x="1279866" y="24673"/>
                      </a:cubicBezTo>
                      <a:cubicBezTo>
                        <a:pt x="1271190" y="23709"/>
                        <a:pt x="1270628" y="23629"/>
                        <a:pt x="1269503" y="23227"/>
                      </a:cubicBezTo>
                      <a:cubicBezTo>
                        <a:pt x="1269584" y="23307"/>
                        <a:pt x="1278580" y="21620"/>
                        <a:pt x="1284926" y="22906"/>
                      </a:cubicBezTo>
                      <a:moveTo>
                        <a:pt x="1270949" y="15194"/>
                      </a:moveTo>
                      <a:cubicBezTo>
                        <a:pt x="1271030" y="15194"/>
                        <a:pt x="1273841" y="15515"/>
                        <a:pt x="1283480" y="18246"/>
                      </a:cubicBezTo>
                      <a:cubicBezTo>
                        <a:pt x="1281071" y="18166"/>
                        <a:pt x="1280187" y="18166"/>
                        <a:pt x="1279946" y="18487"/>
                      </a:cubicBezTo>
                      <a:cubicBezTo>
                        <a:pt x="1270628" y="15274"/>
                        <a:pt x="1270628" y="15274"/>
                        <a:pt x="1270548" y="15194"/>
                      </a:cubicBezTo>
                      <a:cubicBezTo>
                        <a:pt x="1270708" y="15194"/>
                        <a:pt x="1270869" y="15194"/>
                        <a:pt x="1270949" y="15194"/>
                      </a:cubicBezTo>
                      <a:moveTo>
                        <a:pt x="1268539" y="9973"/>
                      </a:moveTo>
                      <a:cubicBezTo>
                        <a:pt x="1265326" y="9973"/>
                        <a:pt x="1262193" y="9973"/>
                        <a:pt x="1258980" y="9973"/>
                      </a:cubicBezTo>
                      <a:cubicBezTo>
                        <a:pt x="1262354" y="9973"/>
                        <a:pt x="1265808" y="9973"/>
                        <a:pt x="1269182" y="9973"/>
                      </a:cubicBezTo>
                      <a:cubicBezTo>
                        <a:pt x="1269021" y="9973"/>
                        <a:pt x="1268700" y="9973"/>
                        <a:pt x="1268539" y="9973"/>
                      </a:cubicBezTo>
                      <a:moveTo>
                        <a:pt x="1277054" y="13266"/>
                      </a:moveTo>
                      <a:cubicBezTo>
                        <a:pt x="1277215" y="13266"/>
                        <a:pt x="1277456" y="13266"/>
                        <a:pt x="1277617" y="13266"/>
                      </a:cubicBezTo>
                      <a:cubicBezTo>
                        <a:pt x="1270146" y="13427"/>
                        <a:pt x="1262756" y="13106"/>
                        <a:pt x="1255285" y="13025"/>
                      </a:cubicBezTo>
                      <a:cubicBezTo>
                        <a:pt x="1259302" y="12784"/>
                        <a:pt x="1276894" y="13266"/>
                        <a:pt x="1277054" y="13266"/>
                      </a:cubicBezTo>
                      <a:moveTo>
                        <a:pt x="1254643" y="21701"/>
                      </a:moveTo>
                      <a:cubicBezTo>
                        <a:pt x="1255366" y="21781"/>
                        <a:pt x="1256249" y="22183"/>
                        <a:pt x="1256571" y="22343"/>
                      </a:cubicBezTo>
                      <a:cubicBezTo>
                        <a:pt x="1255687" y="22343"/>
                        <a:pt x="1254482" y="22263"/>
                        <a:pt x="1253598" y="22263"/>
                      </a:cubicBezTo>
                      <a:cubicBezTo>
                        <a:pt x="1253598" y="22263"/>
                        <a:pt x="1253598" y="22263"/>
                        <a:pt x="1253598" y="22263"/>
                      </a:cubicBezTo>
                      <a:lnTo>
                        <a:pt x="1253598" y="22263"/>
                      </a:lnTo>
                      <a:cubicBezTo>
                        <a:pt x="1253598" y="22263"/>
                        <a:pt x="1253598" y="22263"/>
                        <a:pt x="1253598" y="22263"/>
                      </a:cubicBezTo>
                      <a:cubicBezTo>
                        <a:pt x="1253598" y="22263"/>
                        <a:pt x="1253598" y="22263"/>
                        <a:pt x="1253598" y="22263"/>
                      </a:cubicBezTo>
                      <a:cubicBezTo>
                        <a:pt x="1253598" y="22263"/>
                        <a:pt x="1253598" y="22263"/>
                        <a:pt x="1253598" y="22263"/>
                      </a:cubicBezTo>
                      <a:lnTo>
                        <a:pt x="1253598" y="22263"/>
                      </a:lnTo>
                      <a:lnTo>
                        <a:pt x="1253598" y="22263"/>
                      </a:lnTo>
                      <a:cubicBezTo>
                        <a:pt x="1253598" y="22263"/>
                        <a:pt x="1253598" y="22263"/>
                        <a:pt x="1253598" y="22263"/>
                      </a:cubicBezTo>
                      <a:cubicBezTo>
                        <a:pt x="1253759" y="21942"/>
                        <a:pt x="1253920" y="21620"/>
                        <a:pt x="1254643" y="21701"/>
                      </a:cubicBezTo>
                      <a:moveTo>
                        <a:pt x="1269343" y="4671"/>
                      </a:moveTo>
                      <a:cubicBezTo>
                        <a:pt x="1272074" y="4912"/>
                        <a:pt x="1280910" y="5876"/>
                        <a:pt x="1282436" y="6760"/>
                      </a:cubicBezTo>
                      <a:cubicBezTo>
                        <a:pt x="1282436" y="6840"/>
                        <a:pt x="1282356" y="6920"/>
                        <a:pt x="1282356" y="7001"/>
                      </a:cubicBezTo>
                      <a:cubicBezTo>
                        <a:pt x="1280428" y="7483"/>
                        <a:pt x="1275207" y="7402"/>
                        <a:pt x="1265648" y="7242"/>
                      </a:cubicBezTo>
                      <a:cubicBezTo>
                        <a:pt x="1265648" y="7161"/>
                        <a:pt x="1265728" y="7161"/>
                        <a:pt x="1265728" y="7081"/>
                      </a:cubicBezTo>
                      <a:cubicBezTo>
                        <a:pt x="1265246" y="6679"/>
                        <a:pt x="1264041" y="6278"/>
                        <a:pt x="1254964" y="5796"/>
                      </a:cubicBezTo>
                      <a:cubicBezTo>
                        <a:pt x="1250948" y="5555"/>
                        <a:pt x="1250385" y="5555"/>
                        <a:pt x="1250064" y="5394"/>
                      </a:cubicBezTo>
                      <a:cubicBezTo>
                        <a:pt x="1250064" y="5394"/>
                        <a:pt x="1263479" y="4109"/>
                        <a:pt x="1269343" y="4671"/>
                      </a:cubicBezTo>
                      <a:moveTo>
                        <a:pt x="1241630" y="11820"/>
                      </a:moveTo>
                      <a:cubicBezTo>
                        <a:pt x="1239541" y="11901"/>
                        <a:pt x="1237533" y="11981"/>
                        <a:pt x="1235444" y="12061"/>
                      </a:cubicBezTo>
                      <a:cubicBezTo>
                        <a:pt x="1237613" y="11981"/>
                        <a:pt x="1239702" y="11901"/>
                        <a:pt x="1241870" y="11820"/>
                      </a:cubicBezTo>
                      <a:cubicBezTo>
                        <a:pt x="1241790" y="11820"/>
                        <a:pt x="1241710" y="11820"/>
                        <a:pt x="1241630" y="11820"/>
                      </a:cubicBezTo>
                      <a:moveTo>
                        <a:pt x="1230785" y="12543"/>
                      </a:moveTo>
                      <a:cubicBezTo>
                        <a:pt x="1231107" y="12543"/>
                        <a:pt x="1231428" y="12543"/>
                        <a:pt x="1231749" y="12543"/>
                      </a:cubicBezTo>
                      <a:cubicBezTo>
                        <a:pt x="1233195" y="12624"/>
                        <a:pt x="1234561" y="13025"/>
                        <a:pt x="1236007" y="13106"/>
                      </a:cubicBezTo>
                      <a:cubicBezTo>
                        <a:pt x="1240344" y="13266"/>
                        <a:pt x="1244762" y="12945"/>
                        <a:pt x="1249100" y="13186"/>
                      </a:cubicBezTo>
                      <a:cubicBezTo>
                        <a:pt x="1250948" y="13266"/>
                        <a:pt x="1251269" y="13427"/>
                        <a:pt x="1251510" y="13507"/>
                      </a:cubicBezTo>
                      <a:cubicBezTo>
                        <a:pt x="1251108" y="13748"/>
                        <a:pt x="1250787" y="13909"/>
                        <a:pt x="1246289" y="14310"/>
                      </a:cubicBezTo>
                      <a:cubicBezTo>
                        <a:pt x="1249020" y="14471"/>
                        <a:pt x="1250144" y="14551"/>
                        <a:pt x="1250707" y="14712"/>
                      </a:cubicBezTo>
                      <a:cubicBezTo>
                        <a:pt x="1250546" y="14873"/>
                        <a:pt x="1250466" y="14953"/>
                        <a:pt x="1247333" y="15033"/>
                      </a:cubicBezTo>
                      <a:cubicBezTo>
                        <a:pt x="1248136" y="15194"/>
                        <a:pt x="1249261" y="15435"/>
                        <a:pt x="1250064" y="15596"/>
                      </a:cubicBezTo>
                      <a:cubicBezTo>
                        <a:pt x="1240344" y="15997"/>
                        <a:pt x="1239461" y="15515"/>
                        <a:pt x="1239220" y="15355"/>
                      </a:cubicBezTo>
                      <a:cubicBezTo>
                        <a:pt x="1239380" y="15194"/>
                        <a:pt x="1239461" y="15114"/>
                        <a:pt x="1241308" y="14953"/>
                      </a:cubicBezTo>
                      <a:cubicBezTo>
                        <a:pt x="1229500" y="14471"/>
                        <a:pt x="1223877" y="13989"/>
                        <a:pt x="1220584" y="13266"/>
                      </a:cubicBezTo>
                      <a:cubicBezTo>
                        <a:pt x="1223395" y="13025"/>
                        <a:pt x="1227412" y="12543"/>
                        <a:pt x="1230785" y="12543"/>
                      </a:cubicBezTo>
                      <a:moveTo>
                        <a:pt x="1198654" y="12543"/>
                      </a:moveTo>
                      <a:cubicBezTo>
                        <a:pt x="1202349" y="12784"/>
                        <a:pt x="1206044" y="12945"/>
                        <a:pt x="1209739" y="13266"/>
                      </a:cubicBezTo>
                      <a:cubicBezTo>
                        <a:pt x="1206044" y="13025"/>
                        <a:pt x="1202349" y="12784"/>
                        <a:pt x="1198654" y="12543"/>
                      </a:cubicBezTo>
                      <a:cubicBezTo>
                        <a:pt x="1198654" y="12543"/>
                        <a:pt x="1198654" y="12543"/>
                        <a:pt x="1198654" y="12543"/>
                      </a:cubicBezTo>
                      <a:moveTo>
                        <a:pt x="1198654" y="12543"/>
                      </a:moveTo>
                      <a:lnTo>
                        <a:pt x="1198654" y="12543"/>
                      </a:lnTo>
                      <a:lnTo>
                        <a:pt x="1198654" y="12543"/>
                      </a:lnTo>
                      <a:moveTo>
                        <a:pt x="1010365" y="593395"/>
                      </a:moveTo>
                      <a:lnTo>
                        <a:pt x="1010365" y="593395"/>
                      </a:lnTo>
                      <a:lnTo>
                        <a:pt x="1010365" y="593395"/>
                      </a:lnTo>
                      <a:moveTo>
                        <a:pt x="1041452" y="27645"/>
                      </a:moveTo>
                      <a:cubicBezTo>
                        <a:pt x="1029242" y="41461"/>
                        <a:pt x="1017354" y="56804"/>
                        <a:pt x="1005947" y="73593"/>
                      </a:cubicBezTo>
                      <a:cubicBezTo>
                        <a:pt x="1005867" y="75520"/>
                        <a:pt x="1005867" y="76243"/>
                        <a:pt x="1004341" y="79858"/>
                      </a:cubicBezTo>
                      <a:cubicBezTo>
                        <a:pt x="1001288" y="87007"/>
                        <a:pt x="1001208" y="87811"/>
                        <a:pt x="1003216" y="89498"/>
                      </a:cubicBezTo>
                      <a:cubicBezTo>
                        <a:pt x="1006269" y="81625"/>
                        <a:pt x="1008678" y="76163"/>
                        <a:pt x="1013016" y="67729"/>
                      </a:cubicBezTo>
                      <a:cubicBezTo>
                        <a:pt x="1015587" y="76163"/>
                        <a:pt x="1010687" y="84758"/>
                        <a:pt x="1013819" y="93193"/>
                      </a:cubicBezTo>
                      <a:cubicBezTo>
                        <a:pt x="1018559" y="83393"/>
                        <a:pt x="1018559" y="83393"/>
                        <a:pt x="1026993" y="56161"/>
                      </a:cubicBezTo>
                      <a:cubicBezTo>
                        <a:pt x="1028600" y="56563"/>
                        <a:pt x="1030367" y="56001"/>
                        <a:pt x="1031813" y="57286"/>
                      </a:cubicBezTo>
                      <a:cubicBezTo>
                        <a:pt x="1029965" y="53591"/>
                        <a:pt x="1029965" y="47486"/>
                        <a:pt x="1031733" y="45558"/>
                      </a:cubicBezTo>
                      <a:cubicBezTo>
                        <a:pt x="1031813" y="45638"/>
                        <a:pt x="1031974" y="45719"/>
                        <a:pt x="1032054" y="45799"/>
                      </a:cubicBezTo>
                      <a:cubicBezTo>
                        <a:pt x="1033741" y="43148"/>
                        <a:pt x="1035187" y="40257"/>
                        <a:pt x="1037115" y="37686"/>
                      </a:cubicBezTo>
                      <a:cubicBezTo>
                        <a:pt x="1037356" y="38248"/>
                        <a:pt x="1037356" y="38248"/>
                        <a:pt x="1036472" y="42425"/>
                      </a:cubicBezTo>
                      <a:cubicBezTo>
                        <a:pt x="1041292" y="29252"/>
                        <a:pt x="1041292" y="29252"/>
                        <a:pt x="1041452" y="27645"/>
                      </a:cubicBezTo>
                      <a:moveTo>
                        <a:pt x="1688173" y="63953"/>
                      </a:moveTo>
                      <a:cubicBezTo>
                        <a:pt x="1490405" y="-4085"/>
                        <a:pt x="1268379" y="-20471"/>
                        <a:pt x="1041532" y="27565"/>
                      </a:cubicBezTo>
                      <a:lnTo>
                        <a:pt x="1041532" y="27565"/>
                      </a:lnTo>
                      <a:cubicBezTo>
                        <a:pt x="1042737" y="30858"/>
                        <a:pt x="1043782" y="35597"/>
                        <a:pt x="1044023" y="39132"/>
                      </a:cubicBezTo>
                      <a:cubicBezTo>
                        <a:pt x="1058723" y="51342"/>
                        <a:pt x="1053341" y="73030"/>
                        <a:pt x="1066354" y="86043"/>
                      </a:cubicBezTo>
                      <a:cubicBezTo>
                        <a:pt x="1068201" y="83152"/>
                        <a:pt x="1069647" y="78653"/>
                        <a:pt x="1069888" y="75199"/>
                      </a:cubicBezTo>
                      <a:cubicBezTo>
                        <a:pt x="1075351" y="80501"/>
                        <a:pt x="1082259" y="90381"/>
                        <a:pt x="1087480" y="119058"/>
                      </a:cubicBezTo>
                      <a:cubicBezTo>
                        <a:pt x="1087320" y="102832"/>
                        <a:pt x="1086998" y="99378"/>
                        <a:pt x="1085151" y="87088"/>
                      </a:cubicBezTo>
                      <a:cubicBezTo>
                        <a:pt x="1093344" y="94397"/>
                        <a:pt x="1093344" y="94397"/>
                        <a:pt x="1104670" y="91827"/>
                      </a:cubicBezTo>
                      <a:cubicBezTo>
                        <a:pt x="1120093" y="110543"/>
                        <a:pt x="1120093" y="110543"/>
                        <a:pt x="1139854" y="221316"/>
                      </a:cubicBezTo>
                      <a:cubicBezTo>
                        <a:pt x="1143147" y="219950"/>
                        <a:pt x="1147405" y="217862"/>
                        <a:pt x="1150457" y="216014"/>
                      </a:cubicBezTo>
                      <a:cubicBezTo>
                        <a:pt x="1149333" y="217540"/>
                        <a:pt x="1147726" y="219468"/>
                        <a:pt x="1146602" y="220994"/>
                      </a:cubicBezTo>
                      <a:cubicBezTo>
                        <a:pt x="1153992" y="230714"/>
                        <a:pt x="1166041" y="234891"/>
                        <a:pt x="1173913" y="244049"/>
                      </a:cubicBezTo>
                      <a:cubicBezTo>
                        <a:pt x="1150377" y="247101"/>
                        <a:pt x="1148610" y="248707"/>
                        <a:pt x="1143870" y="252965"/>
                      </a:cubicBezTo>
                      <a:cubicBezTo>
                        <a:pt x="1162908" y="262926"/>
                        <a:pt x="1167407" y="265335"/>
                        <a:pt x="1174234" y="274573"/>
                      </a:cubicBezTo>
                      <a:cubicBezTo>
                        <a:pt x="1172548" y="283891"/>
                        <a:pt x="1166523" y="291603"/>
                        <a:pt x="1164595" y="300760"/>
                      </a:cubicBezTo>
                      <a:cubicBezTo>
                        <a:pt x="1208775" y="305499"/>
                        <a:pt x="1187730" y="325742"/>
                        <a:pt x="1187328" y="325903"/>
                      </a:cubicBezTo>
                      <a:cubicBezTo>
                        <a:pt x="1185561" y="326706"/>
                        <a:pt x="1182830" y="326465"/>
                        <a:pt x="1180902" y="326706"/>
                      </a:cubicBezTo>
                      <a:cubicBezTo>
                        <a:pt x="1179536" y="325581"/>
                        <a:pt x="1177689" y="324136"/>
                        <a:pt x="1176323" y="323011"/>
                      </a:cubicBezTo>
                      <a:cubicBezTo>
                        <a:pt x="1176243" y="325180"/>
                        <a:pt x="1176162" y="327991"/>
                        <a:pt x="1176002" y="330080"/>
                      </a:cubicBezTo>
                      <a:cubicBezTo>
                        <a:pt x="1182830" y="335462"/>
                        <a:pt x="1182830" y="335462"/>
                        <a:pt x="1196164" y="334900"/>
                      </a:cubicBezTo>
                      <a:cubicBezTo>
                        <a:pt x="1199618" y="356026"/>
                        <a:pt x="1167166" y="343575"/>
                        <a:pt x="1153028" y="349198"/>
                      </a:cubicBezTo>
                      <a:cubicBezTo>
                        <a:pt x="1151582" y="348395"/>
                        <a:pt x="1149574" y="347350"/>
                        <a:pt x="1148128" y="346627"/>
                      </a:cubicBezTo>
                      <a:cubicBezTo>
                        <a:pt x="1149092" y="348475"/>
                        <a:pt x="1150377" y="351046"/>
                        <a:pt x="1151341" y="352893"/>
                      </a:cubicBezTo>
                      <a:cubicBezTo>
                        <a:pt x="1150457" y="354821"/>
                        <a:pt x="1149333" y="357311"/>
                        <a:pt x="1148529" y="359239"/>
                      </a:cubicBezTo>
                      <a:cubicBezTo>
                        <a:pt x="1163310" y="368557"/>
                        <a:pt x="1179697" y="375304"/>
                        <a:pt x="1193272" y="386631"/>
                      </a:cubicBezTo>
                      <a:cubicBezTo>
                        <a:pt x="1176403" y="373296"/>
                        <a:pt x="1165157" y="365665"/>
                        <a:pt x="1146361" y="376268"/>
                      </a:cubicBezTo>
                      <a:cubicBezTo>
                        <a:pt x="1150216" y="374903"/>
                        <a:pt x="1155598" y="373698"/>
                        <a:pt x="1159695" y="373216"/>
                      </a:cubicBezTo>
                      <a:cubicBezTo>
                        <a:pt x="1161382" y="376831"/>
                        <a:pt x="1162185" y="382534"/>
                        <a:pt x="1161462" y="386470"/>
                      </a:cubicBezTo>
                      <a:cubicBezTo>
                        <a:pt x="1176885" y="387514"/>
                        <a:pt x="1183793" y="389201"/>
                        <a:pt x="1200341" y="396109"/>
                      </a:cubicBezTo>
                      <a:cubicBezTo>
                        <a:pt x="1198413" y="399403"/>
                        <a:pt x="1197771" y="404865"/>
                        <a:pt x="1198333" y="408641"/>
                      </a:cubicBezTo>
                      <a:cubicBezTo>
                        <a:pt x="1202430" y="409203"/>
                        <a:pt x="1207651" y="412175"/>
                        <a:pt x="1210462" y="415228"/>
                      </a:cubicBezTo>
                      <a:cubicBezTo>
                        <a:pt x="1209900" y="420127"/>
                        <a:pt x="1208213" y="426554"/>
                        <a:pt x="1206526" y="431133"/>
                      </a:cubicBezTo>
                      <a:cubicBezTo>
                        <a:pt x="1205803" y="429285"/>
                        <a:pt x="1204920" y="426875"/>
                        <a:pt x="1204197" y="425108"/>
                      </a:cubicBezTo>
                      <a:cubicBezTo>
                        <a:pt x="1188774" y="420369"/>
                        <a:pt x="1172628" y="418521"/>
                        <a:pt x="1157044" y="414424"/>
                      </a:cubicBezTo>
                      <a:cubicBezTo>
                        <a:pt x="1156482" y="416352"/>
                        <a:pt x="1155759" y="418923"/>
                        <a:pt x="1155197" y="420931"/>
                      </a:cubicBezTo>
                      <a:cubicBezTo>
                        <a:pt x="1141380" y="425670"/>
                        <a:pt x="1141059" y="425750"/>
                        <a:pt x="1134311" y="430249"/>
                      </a:cubicBezTo>
                      <a:cubicBezTo>
                        <a:pt x="1135597" y="431374"/>
                        <a:pt x="1137364" y="432900"/>
                        <a:pt x="1138729" y="434105"/>
                      </a:cubicBezTo>
                      <a:cubicBezTo>
                        <a:pt x="1138247" y="437559"/>
                        <a:pt x="1135757" y="442057"/>
                        <a:pt x="1133106" y="444387"/>
                      </a:cubicBezTo>
                      <a:cubicBezTo>
                        <a:pt x="1141059" y="444226"/>
                        <a:pt x="1148931" y="443182"/>
                        <a:pt x="1156883" y="443905"/>
                      </a:cubicBezTo>
                      <a:cubicBezTo>
                        <a:pt x="1156080" y="447439"/>
                        <a:pt x="1153911" y="451937"/>
                        <a:pt x="1151823" y="454910"/>
                      </a:cubicBezTo>
                      <a:cubicBezTo>
                        <a:pt x="1175359" y="445351"/>
                        <a:pt x="1177689" y="444869"/>
                        <a:pt x="1188613" y="442700"/>
                      </a:cubicBezTo>
                      <a:cubicBezTo>
                        <a:pt x="1223877" y="473867"/>
                        <a:pt x="1137525" y="485514"/>
                        <a:pt x="1115836" y="511059"/>
                      </a:cubicBezTo>
                      <a:cubicBezTo>
                        <a:pt x="1111980" y="510738"/>
                        <a:pt x="1106839" y="509372"/>
                        <a:pt x="1103385" y="507685"/>
                      </a:cubicBezTo>
                      <a:cubicBezTo>
                        <a:pt x="1087079" y="524233"/>
                        <a:pt x="1081295" y="549616"/>
                        <a:pt x="1058723" y="560943"/>
                      </a:cubicBezTo>
                      <a:cubicBezTo>
                        <a:pt x="1059446" y="562710"/>
                        <a:pt x="1060410" y="565120"/>
                        <a:pt x="1061133" y="566967"/>
                      </a:cubicBezTo>
                      <a:cubicBezTo>
                        <a:pt x="1056313" y="576124"/>
                        <a:pt x="1054465" y="578374"/>
                        <a:pt x="1035669" y="579257"/>
                      </a:cubicBezTo>
                      <a:cubicBezTo>
                        <a:pt x="1034464" y="577731"/>
                        <a:pt x="1032777" y="575723"/>
                        <a:pt x="1031491" y="574197"/>
                      </a:cubicBezTo>
                      <a:cubicBezTo>
                        <a:pt x="1022093" y="577972"/>
                        <a:pt x="1022093" y="577972"/>
                        <a:pt x="1009241" y="595162"/>
                      </a:cubicBezTo>
                      <a:cubicBezTo>
                        <a:pt x="1003457" y="600223"/>
                        <a:pt x="1001931" y="601026"/>
                        <a:pt x="992854" y="601669"/>
                      </a:cubicBezTo>
                      <a:cubicBezTo>
                        <a:pt x="995826" y="604561"/>
                        <a:pt x="999521" y="608738"/>
                        <a:pt x="1001770" y="612272"/>
                      </a:cubicBezTo>
                      <a:cubicBezTo>
                        <a:pt x="996629" y="620144"/>
                        <a:pt x="994621" y="620385"/>
                        <a:pt x="987231" y="621349"/>
                      </a:cubicBezTo>
                      <a:cubicBezTo>
                        <a:pt x="990605" y="623277"/>
                        <a:pt x="994782" y="626570"/>
                        <a:pt x="997111" y="629703"/>
                      </a:cubicBezTo>
                      <a:cubicBezTo>
                        <a:pt x="989400" y="643841"/>
                        <a:pt x="989400" y="643841"/>
                        <a:pt x="987070" y="647134"/>
                      </a:cubicBezTo>
                      <a:cubicBezTo>
                        <a:pt x="983616" y="647697"/>
                        <a:pt x="978796" y="647375"/>
                        <a:pt x="975423" y="646492"/>
                      </a:cubicBezTo>
                      <a:cubicBezTo>
                        <a:pt x="976788" y="647857"/>
                        <a:pt x="978716" y="649625"/>
                        <a:pt x="980082" y="650990"/>
                      </a:cubicBezTo>
                      <a:cubicBezTo>
                        <a:pt x="979118" y="652677"/>
                        <a:pt x="977913" y="655007"/>
                        <a:pt x="976949" y="656774"/>
                      </a:cubicBezTo>
                      <a:cubicBezTo>
                        <a:pt x="974780" y="657175"/>
                        <a:pt x="971968" y="657738"/>
                        <a:pt x="969800" y="658139"/>
                      </a:cubicBezTo>
                      <a:cubicBezTo>
                        <a:pt x="971567" y="658943"/>
                        <a:pt x="973977" y="659987"/>
                        <a:pt x="975824" y="660710"/>
                      </a:cubicBezTo>
                      <a:cubicBezTo>
                        <a:pt x="976708" y="671152"/>
                        <a:pt x="975905" y="672197"/>
                        <a:pt x="969639" y="679989"/>
                      </a:cubicBezTo>
                      <a:cubicBezTo>
                        <a:pt x="970844" y="680149"/>
                        <a:pt x="972370" y="680310"/>
                        <a:pt x="973575" y="680470"/>
                      </a:cubicBezTo>
                      <a:cubicBezTo>
                        <a:pt x="961124" y="707300"/>
                        <a:pt x="961124" y="707300"/>
                        <a:pt x="953413" y="715092"/>
                      </a:cubicBezTo>
                      <a:cubicBezTo>
                        <a:pt x="953573" y="716859"/>
                        <a:pt x="953895" y="719189"/>
                        <a:pt x="954055" y="720956"/>
                      </a:cubicBezTo>
                      <a:cubicBezTo>
                        <a:pt x="952369" y="721357"/>
                        <a:pt x="950119" y="721840"/>
                        <a:pt x="948432" y="722161"/>
                      </a:cubicBezTo>
                      <a:cubicBezTo>
                        <a:pt x="948352" y="721599"/>
                        <a:pt x="948191" y="720795"/>
                        <a:pt x="948031" y="720233"/>
                      </a:cubicBezTo>
                      <a:cubicBezTo>
                        <a:pt x="946344" y="719671"/>
                        <a:pt x="944175" y="718948"/>
                        <a:pt x="942568" y="718385"/>
                      </a:cubicBezTo>
                      <a:cubicBezTo>
                        <a:pt x="943532" y="716779"/>
                        <a:pt x="944737" y="714690"/>
                        <a:pt x="945701" y="713084"/>
                      </a:cubicBezTo>
                      <a:cubicBezTo>
                        <a:pt x="943050" y="715574"/>
                        <a:pt x="938472" y="717662"/>
                        <a:pt x="934937" y="718385"/>
                      </a:cubicBezTo>
                      <a:cubicBezTo>
                        <a:pt x="933331" y="717100"/>
                        <a:pt x="931162" y="715333"/>
                        <a:pt x="929555" y="713967"/>
                      </a:cubicBezTo>
                      <a:cubicBezTo>
                        <a:pt x="931082" y="712762"/>
                        <a:pt x="933170" y="711156"/>
                        <a:pt x="934777" y="709951"/>
                      </a:cubicBezTo>
                      <a:cubicBezTo>
                        <a:pt x="930921" y="709389"/>
                        <a:pt x="925780" y="708826"/>
                        <a:pt x="921844" y="708666"/>
                      </a:cubicBezTo>
                      <a:cubicBezTo>
                        <a:pt x="920719" y="704730"/>
                        <a:pt x="920559" y="698946"/>
                        <a:pt x="921683" y="695010"/>
                      </a:cubicBezTo>
                      <a:cubicBezTo>
                        <a:pt x="913570" y="701597"/>
                        <a:pt x="902967" y="702561"/>
                        <a:pt x="894131" y="707461"/>
                      </a:cubicBezTo>
                      <a:cubicBezTo>
                        <a:pt x="892283" y="707300"/>
                        <a:pt x="889793" y="707059"/>
                        <a:pt x="887945" y="706898"/>
                      </a:cubicBezTo>
                      <a:cubicBezTo>
                        <a:pt x="889713" y="705372"/>
                        <a:pt x="892042" y="703364"/>
                        <a:pt x="893729" y="701838"/>
                      </a:cubicBezTo>
                      <a:cubicBezTo>
                        <a:pt x="890195" y="701918"/>
                        <a:pt x="890195" y="701918"/>
                        <a:pt x="872603" y="690351"/>
                      </a:cubicBezTo>
                      <a:cubicBezTo>
                        <a:pt x="872683" y="688503"/>
                        <a:pt x="872844" y="686094"/>
                        <a:pt x="872924" y="684246"/>
                      </a:cubicBezTo>
                      <a:cubicBezTo>
                        <a:pt x="874290" y="683121"/>
                        <a:pt x="876137" y="681515"/>
                        <a:pt x="877503" y="680390"/>
                      </a:cubicBezTo>
                      <a:cubicBezTo>
                        <a:pt x="875816" y="680631"/>
                        <a:pt x="873567" y="680952"/>
                        <a:pt x="871880" y="681193"/>
                      </a:cubicBezTo>
                      <a:cubicBezTo>
                        <a:pt x="868586" y="676213"/>
                        <a:pt x="862883" y="673482"/>
                        <a:pt x="860232" y="668020"/>
                      </a:cubicBezTo>
                      <a:cubicBezTo>
                        <a:pt x="862000" y="664726"/>
                        <a:pt x="865373" y="660951"/>
                        <a:pt x="868185" y="658461"/>
                      </a:cubicBezTo>
                      <a:cubicBezTo>
                        <a:pt x="865052" y="660147"/>
                        <a:pt x="860152" y="661353"/>
                        <a:pt x="856618" y="661031"/>
                      </a:cubicBezTo>
                      <a:cubicBezTo>
                        <a:pt x="850352" y="652757"/>
                        <a:pt x="849308" y="650508"/>
                        <a:pt x="846818" y="641190"/>
                      </a:cubicBezTo>
                      <a:cubicBezTo>
                        <a:pt x="850914" y="636451"/>
                        <a:pt x="850914" y="636451"/>
                        <a:pt x="864409" y="632033"/>
                      </a:cubicBezTo>
                      <a:cubicBezTo>
                        <a:pt x="860554" y="631792"/>
                        <a:pt x="855332" y="632194"/>
                        <a:pt x="851637" y="633318"/>
                      </a:cubicBezTo>
                      <a:cubicBezTo>
                        <a:pt x="855975" y="623036"/>
                        <a:pt x="858063" y="622634"/>
                        <a:pt x="865373" y="622795"/>
                      </a:cubicBezTo>
                      <a:cubicBezTo>
                        <a:pt x="863285" y="618618"/>
                        <a:pt x="860152" y="613236"/>
                        <a:pt x="857742" y="609300"/>
                      </a:cubicBezTo>
                      <a:cubicBezTo>
                        <a:pt x="858385" y="611067"/>
                        <a:pt x="859188" y="613477"/>
                        <a:pt x="859831" y="615244"/>
                      </a:cubicBezTo>
                      <a:cubicBezTo>
                        <a:pt x="859108" y="616770"/>
                        <a:pt x="858063" y="618779"/>
                        <a:pt x="857260" y="620305"/>
                      </a:cubicBezTo>
                      <a:cubicBezTo>
                        <a:pt x="850513" y="620064"/>
                        <a:pt x="844086" y="622072"/>
                        <a:pt x="837419" y="622554"/>
                      </a:cubicBezTo>
                      <a:cubicBezTo>
                        <a:pt x="840391" y="612834"/>
                        <a:pt x="840391" y="612834"/>
                        <a:pt x="857581" y="596206"/>
                      </a:cubicBezTo>
                      <a:cubicBezTo>
                        <a:pt x="846014" y="601749"/>
                        <a:pt x="845131" y="601830"/>
                        <a:pt x="838142" y="602472"/>
                      </a:cubicBezTo>
                      <a:cubicBezTo>
                        <a:pt x="817096" y="711397"/>
                        <a:pt x="806413" y="831246"/>
                        <a:pt x="802396" y="955514"/>
                      </a:cubicBezTo>
                      <a:cubicBezTo>
                        <a:pt x="802557" y="957200"/>
                        <a:pt x="802878" y="959450"/>
                        <a:pt x="803039" y="961136"/>
                      </a:cubicBezTo>
                      <a:cubicBezTo>
                        <a:pt x="802075" y="963948"/>
                        <a:pt x="802075" y="966117"/>
                        <a:pt x="801995" y="968366"/>
                      </a:cubicBezTo>
                      <a:cubicBezTo>
                        <a:pt x="1088846" y="957843"/>
                        <a:pt x="1410640" y="900810"/>
                        <a:pt x="1677971" y="808353"/>
                      </a:cubicBezTo>
                      <a:cubicBezTo>
                        <a:pt x="1677088" y="806907"/>
                        <a:pt x="1675963" y="805059"/>
                        <a:pt x="1675079" y="803613"/>
                      </a:cubicBezTo>
                      <a:cubicBezTo>
                        <a:pt x="1673071" y="803854"/>
                        <a:pt x="1673071" y="803854"/>
                        <a:pt x="1630738" y="805863"/>
                      </a:cubicBezTo>
                      <a:cubicBezTo>
                        <a:pt x="1629533" y="804497"/>
                        <a:pt x="1628007" y="802730"/>
                        <a:pt x="1626883" y="801444"/>
                      </a:cubicBezTo>
                      <a:cubicBezTo>
                        <a:pt x="1636522" y="788110"/>
                        <a:pt x="1653873" y="789717"/>
                        <a:pt x="1666002" y="781121"/>
                      </a:cubicBezTo>
                      <a:cubicBezTo>
                        <a:pt x="1667769" y="780961"/>
                        <a:pt x="1670099" y="780800"/>
                        <a:pt x="1671866" y="780639"/>
                      </a:cubicBezTo>
                      <a:cubicBezTo>
                        <a:pt x="1669135" y="776623"/>
                        <a:pt x="1666083" y="770759"/>
                        <a:pt x="1664958" y="766100"/>
                      </a:cubicBezTo>
                      <a:cubicBezTo>
                        <a:pt x="1674999" y="759835"/>
                        <a:pt x="1674999" y="759835"/>
                        <a:pt x="1692912" y="756862"/>
                      </a:cubicBezTo>
                      <a:cubicBezTo>
                        <a:pt x="1692992" y="756541"/>
                        <a:pt x="1712833" y="715654"/>
                        <a:pt x="1732353" y="706898"/>
                      </a:cubicBezTo>
                      <a:cubicBezTo>
                        <a:pt x="1730345" y="706979"/>
                        <a:pt x="1727694" y="707139"/>
                        <a:pt x="1725686" y="707300"/>
                      </a:cubicBezTo>
                      <a:cubicBezTo>
                        <a:pt x="1728658" y="705372"/>
                        <a:pt x="1733317" y="703926"/>
                        <a:pt x="1736852" y="703525"/>
                      </a:cubicBezTo>
                      <a:cubicBezTo>
                        <a:pt x="1736048" y="703043"/>
                        <a:pt x="1735084" y="702400"/>
                        <a:pt x="1734281" y="701918"/>
                      </a:cubicBezTo>
                      <a:cubicBezTo>
                        <a:pt x="1730345" y="692841"/>
                        <a:pt x="1719902" y="668662"/>
                        <a:pt x="1758219" y="658541"/>
                      </a:cubicBezTo>
                      <a:cubicBezTo>
                        <a:pt x="1758540" y="657015"/>
                        <a:pt x="1758540" y="657015"/>
                        <a:pt x="1775329" y="646251"/>
                      </a:cubicBezTo>
                      <a:cubicBezTo>
                        <a:pt x="1775650" y="644564"/>
                        <a:pt x="1776132" y="642395"/>
                        <a:pt x="1776533" y="640708"/>
                      </a:cubicBezTo>
                      <a:cubicBezTo>
                        <a:pt x="1779586" y="639021"/>
                        <a:pt x="1784406" y="637816"/>
                        <a:pt x="1787940" y="637736"/>
                      </a:cubicBezTo>
                      <a:cubicBezTo>
                        <a:pt x="1768179" y="632997"/>
                        <a:pt x="1743358" y="607292"/>
                        <a:pt x="1748258" y="596769"/>
                      </a:cubicBezTo>
                      <a:cubicBezTo>
                        <a:pt x="1741189" y="587451"/>
                        <a:pt x="1741189" y="587451"/>
                        <a:pt x="1758219" y="564959"/>
                      </a:cubicBezTo>
                      <a:cubicBezTo>
                        <a:pt x="1768822" y="582390"/>
                        <a:pt x="1759986" y="608818"/>
                        <a:pt x="1783843" y="619983"/>
                      </a:cubicBezTo>
                      <a:cubicBezTo>
                        <a:pt x="1808906" y="631792"/>
                        <a:pt x="1828586" y="611469"/>
                        <a:pt x="1851239" y="608657"/>
                      </a:cubicBezTo>
                      <a:cubicBezTo>
                        <a:pt x="1846981" y="608095"/>
                        <a:pt x="1841358" y="606810"/>
                        <a:pt x="1837262" y="605525"/>
                      </a:cubicBezTo>
                      <a:cubicBezTo>
                        <a:pt x="1857504" y="590101"/>
                        <a:pt x="1886262" y="568333"/>
                        <a:pt x="1886502" y="56817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93009" y="566083"/>
                        <a:pt x="1893009" y="566083"/>
                        <a:pt x="1884414" y="497242"/>
                      </a:cubicBezTo>
                      <a:cubicBezTo>
                        <a:pt x="1894937" y="495315"/>
                        <a:pt x="1894937" y="495315"/>
                        <a:pt x="1902167" y="490575"/>
                      </a:cubicBezTo>
                      <a:cubicBezTo>
                        <a:pt x="1897668" y="482623"/>
                        <a:pt x="1897668" y="482623"/>
                        <a:pt x="1874453" y="471377"/>
                      </a:cubicBezTo>
                      <a:cubicBezTo>
                        <a:pt x="1874373" y="468646"/>
                        <a:pt x="1874293" y="464951"/>
                        <a:pt x="1874052" y="462139"/>
                      </a:cubicBezTo>
                      <a:cubicBezTo>
                        <a:pt x="1882888" y="450492"/>
                        <a:pt x="1897588" y="431052"/>
                        <a:pt x="1909155" y="422055"/>
                      </a:cubicBezTo>
                      <a:cubicBezTo>
                        <a:pt x="1901122" y="418360"/>
                        <a:pt x="1901122" y="418360"/>
                        <a:pt x="1890519" y="418601"/>
                      </a:cubicBezTo>
                      <a:cubicBezTo>
                        <a:pt x="1891001" y="418601"/>
                        <a:pt x="1891724" y="418601"/>
                        <a:pt x="1892286" y="418682"/>
                      </a:cubicBezTo>
                      <a:cubicBezTo>
                        <a:pt x="1884735" y="422377"/>
                        <a:pt x="1880558" y="430490"/>
                        <a:pt x="1872686" y="433623"/>
                      </a:cubicBezTo>
                      <a:cubicBezTo>
                        <a:pt x="1870758" y="442137"/>
                        <a:pt x="1870357" y="443905"/>
                        <a:pt x="1860235" y="458123"/>
                      </a:cubicBezTo>
                      <a:cubicBezTo>
                        <a:pt x="1858468" y="457319"/>
                        <a:pt x="1856139" y="456195"/>
                        <a:pt x="1854371" y="455311"/>
                      </a:cubicBezTo>
                      <a:cubicBezTo>
                        <a:pt x="1853006" y="456355"/>
                        <a:pt x="1851239" y="457801"/>
                        <a:pt x="1849873" y="458846"/>
                      </a:cubicBezTo>
                      <a:cubicBezTo>
                        <a:pt x="1848829" y="457319"/>
                        <a:pt x="1847463" y="455231"/>
                        <a:pt x="1846419" y="453705"/>
                      </a:cubicBezTo>
                      <a:cubicBezTo>
                        <a:pt x="1843206" y="454588"/>
                        <a:pt x="1838948" y="455713"/>
                        <a:pt x="1835735" y="456516"/>
                      </a:cubicBezTo>
                      <a:cubicBezTo>
                        <a:pt x="1826738" y="450492"/>
                        <a:pt x="1826738" y="450492"/>
                        <a:pt x="1821276" y="443342"/>
                      </a:cubicBezTo>
                      <a:cubicBezTo>
                        <a:pt x="1819991" y="440852"/>
                        <a:pt x="1820232" y="440692"/>
                        <a:pt x="1820393" y="440611"/>
                      </a:cubicBezTo>
                      <a:cubicBezTo>
                        <a:pt x="1805773" y="430811"/>
                        <a:pt x="1802560" y="427116"/>
                        <a:pt x="1794125" y="414344"/>
                      </a:cubicBezTo>
                      <a:cubicBezTo>
                        <a:pt x="1794527" y="414023"/>
                        <a:pt x="1795170" y="413621"/>
                        <a:pt x="1795571" y="413300"/>
                      </a:cubicBezTo>
                      <a:cubicBezTo>
                        <a:pt x="1794929" y="409765"/>
                        <a:pt x="1793965" y="405106"/>
                        <a:pt x="1793001" y="401732"/>
                      </a:cubicBezTo>
                      <a:cubicBezTo>
                        <a:pt x="1790993" y="383498"/>
                        <a:pt x="1790752" y="376349"/>
                        <a:pt x="1790912" y="362773"/>
                      </a:cubicBezTo>
                      <a:cubicBezTo>
                        <a:pt x="1782076" y="354500"/>
                        <a:pt x="1779265" y="352572"/>
                        <a:pt x="1766252" y="348234"/>
                      </a:cubicBezTo>
                      <a:cubicBezTo>
                        <a:pt x="1763922" y="351206"/>
                        <a:pt x="1763922" y="351206"/>
                        <a:pt x="1752114" y="359399"/>
                      </a:cubicBezTo>
                      <a:cubicBezTo>
                        <a:pt x="1752114" y="361167"/>
                        <a:pt x="1752114" y="363496"/>
                        <a:pt x="1752034" y="365183"/>
                      </a:cubicBezTo>
                      <a:cubicBezTo>
                        <a:pt x="1755006" y="383016"/>
                        <a:pt x="1775971" y="394985"/>
                        <a:pt x="1768902" y="416191"/>
                      </a:cubicBezTo>
                      <a:cubicBezTo>
                        <a:pt x="1769304" y="416673"/>
                        <a:pt x="1769866" y="417236"/>
                        <a:pt x="1770268" y="417718"/>
                      </a:cubicBezTo>
                      <a:lnTo>
                        <a:pt x="1768019" y="417477"/>
                      </a:lnTo>
                      <a:cubicBezTo>
                        <a:pt x="1768340" y="421092"/>
                        <a:pt x="1767858" y="426072"/>
                        <a:pt x="1766975" y="429606"/>
                      </a:cubicBezTo>
                      <a:cubicBezTo>
                        <a:pt x="1767456" y="429927"/>
                        <a:pt x="1768099" y="430329"/>
                        <a:pt x="1768581" y="430651"/>
                      </a:cubicBezTo>
                      <a:cubicBezTo>
                        <a:pt x="1768340" y="432418"/>
                        <a:pt x="1768099" y="434667"/>
                        <a:pt x="1767858" y="436434"/>
                      </a:cubicBezTo>
                      <a:cubicBezTo>
                        <a:pt x="1767697" y="436193"/>
                        <a:pt x="1767456" y="435791"/>
                        <a:pt x="1767296" y="435550"/>
                      </a:cubicBezTo>
                      <a:cubicBezTo>
                        <a:pt x="1768260" y="437077"/>
                        <a:pt x="1769625" y="439165"/>
                        <a:pt x="1770589" y="440772"/>
                      </a:cubicBezTo>
                      <a:cubicBezTo>
                        <a:pt x="1769465" y="442057"/>
                        <a:pt x="1768019" y="443744"/>
                        <a:pt x="1766894" y="444949"/>
                      </a:cubicBezTo>
                      <a:cubicBezTo>
                        <a:pt x="1784406" y="458846"/>
                        <a:pt x="1803122" y="471216"/>
                        <a:pt x="1820152" y="485755"/>
                      </a:cubicBezTo>
                      <a:cubicBezTo>
                        <a:pt x="1817983" y="490495"/>
                        <a:pt x="1812761" y="492664"/>
                        <a:pt x="1810593" y="497323"/>
                      </a:cubicBezTo>
                      <a:cubicBezTo>
                        <a:pt x="1807219" y="498287"/>
                        <a:pt x="1802801" y="500455"/>
                        <a:pt x="1800150" y="502865"/>
                      </a:cubicBezTo>
                      <a:cubicBezTo>
                        <a:pt x="1815493" y="499010"/>
                        <a:pt x="1815493" y="499010"/>
                        <a:pt x="1822240" y="494672"/>
                      </a:cubicBezTo>
                      <a:cubicBezTo>
                        <a:pt x="1824007" y="499973"/>
                        <a:pt x="1825694" y="505034"/>
                        <a:pt x="1810271" y="518288"/>
                      </a:cubicBezTo>
                      <a:cubicBezTo>
                        <a:pt x="1811958" y="517806"/>
                        <a:pt x="1814288" y="517083"/>
                        <a:pt x="1815975" y="516521"/>
                      </a:cubicBezTo>
                      <a:cubicBezTo>
                        <a:pt x="1829550" y="532024"/>
                        <a:pt x="1844973" y="549536"/>
                        <a:pt x="1826738" y="569538"/>
                      </a:cubicBezTo>
                      <a:cubicBezTo>
                        <a:pt x="1827702" y="582390"/>
                        <a:pt x="1823365" y="584720"/>
                        <a:pt x="1813966" y="589700"/>
                      </a:cubicBezTo>
                      <a:cubicBezTo>
                        <a:pt x="1805612" y="581266"/>
                        <a:pt x="1803363" y="580542"/>
                        <a:pt x="1797579" y="578534"/>
                      </a:cubicBezTo>
                      <a:cubicBezTo>
                        <a:pt x="1795732" y="569216"/>
                        <a:pt x="1789225" y="563834"/>
                        <a:pt x="1778301" y="562549"/>
                      </a:cubicBezTo>
                      <a:cubicBezTo>
                        <a:pt x="1751391" y="542788"/>
                        <a:pt x="1751391" y="542788"/>
                        <a:pt x="1748901" y="538531"/>
                      </a:cubicBezTo>
                      <a:cubicBezTo>
                        <a:pt x="1744402" y="537647"/>
                        <a:pt x="1738538" y="534997"/>
                        <a:pt x="1734924" y="532185"/>
                      </a:cubicBezTo>
                      <a:cubicBezTo>
                        <a:pt x="1735807" y="536121"/>
                        <a:pt x="1737093" y="541423"/>
                        <a:pt x="1737976" y="545359"/>
                      </a:cubicBezTo>
                      <a:cubicBezTo>
                        <a:pt x="1736209" y="545761"/>
                        <a:pt x="1733799" y="546323"/>
                        <a:pt x="1732032" y="546805"/>
                      </a:cubicBezTo>
                      <a:cubicBezTo>
                        <a:pt x="1716770" y="580542"/>
                        <a:pt x="1716770" y="580542"/>
                        <a:pt x="1687771" y="576928"/>
                      </a:cubicBezTo>
                      <a:cubicBezTo>
                        <a:pt x="1686727" y="575402"/>
                        <a:pt x="1685361" y="573474"/>
                        <a:pt x="1684317" y="571948"/>
                      </a:cubicBezTo>
                      <a:cubicBezTo>
                        <a:pt x="1686245" y="570260"/>
                        <a:pt x="1688815" y="567931"/>
                        <a:pt x="1690824" y="566164"/>
                      </a:cubicBezTo>
                      <a:cubicBezTo>
                        <a:pt x="1688735" y="566083"/>
                        <a:pt x="1686004" y="566083"/>
                        <a:pt x="1683915" y="566003"/>
                      </a:cubicBezTo>
                      <a:cubicBezTo>
                        <a:pt x="1683835" y="563834"/>
                        <a:pt x="1683674" y="560943"/>
                        <a:pt x="1683594" y="558774"/>
                      </a:cubicBezTo>
                      <a:cubicBezTo>
                        <a:pt x="1680301" y="560862"/>
                        <a:pt x="1675883" y="563593"/>
                        <a:pt x="1672589" y="565521"/>
                      </a:cubicBezTo>
                      <a:cubicBezTo>
                        <a:pt x="1674196" y="561344"/>
                        <a:pt x="1676766" y="555882"/>
                        <a:pt x="1679096" y="552106"/>
                      </a:cubicBezTo>
                      <a:cubicBezTo>
                        <a:pt x="1675802" y="552106"/>
                        <a:pt x="1671384" y="553713"/>
                        <a:pt x="1668814" y="555802"/>
                      </a:cubicBezTo>
                      <a:cubicBezTo>
                        <a:pt x="1668894" y="553954"/>
                        <a:pt x="1668894" y="551464"/>
                        <a:pt x="1668974" y="549616"/>
                      </a:cubicBezTo>
                      <a:cubicBezTo>
                        <a:pt x="1667207" y="549616"/>
                        <a:pt x="1664878" y="549536"/>
                        <a:pt x="1663110" y="549456"/>
                      </a:cubicBezTo>
                      <a:cubicBezTo>
                        <a:pt x="1661022" y="546564"/>
                        <a:pt x="1658853" y="542226"/>
                        <a:pt x="1657969" y="538772"/>
                      </a:cubicBezTo>
                      <a:cubicBezTo>
                        <a:pt x="1656443" y="538049"/>
                        <a:pt x="1654355" y="537085"/>
                        <a:pt x="1652828" y="536282"/>
                      </a:cubicBezTo>
                      <a:cubicBezTo>
                        <a:pt x="1659335" y="531543"/>
                        <a:pt x="1659335" y="531543"/>
                        <a:pt x="1672669" y="528169"/>
                      </a:cubicBezTo>
                      <a:cubicBezTo>
                        <a:pt x="1673473" y="526482"/>
                        <a:pt x="1674597" y="524313"/>
                        <a:pt x="1675401" y="522626"/>
                      </a:cubicBezTo>
                      <a:cubicBezTo>
                        <a:pt x="1666886" y="524795"/>
                        <a:pt x="1659576" y="529855"/>
                        <a:pt x="1651222" y="532265"/>
                      </a:cubicBezTo>
                      <a:cubicBezTo>
                        <a:pt x="1649374" y="529133"/>
                        <a:pt x="1645760" y="525518"/>
                        <a:pt x="1642386" y="523992"/>
                      </a:cubicBezTo>
                      <a:cubicBezTo>
                        <a:pt x="1642787" y="522064"/>
                        <a:pt x="1643350" y="519413"/>
                        <a:pt x="1643751" y="517485"/>
                      </a:cubicBezTo>
                      <a:cubicBezTo>
                        <a:pt x="1642065" y="516601"/>
                        <a:pt x="1639735" y="515397"/>
                        <a:pt x="1638048" y="514513"/>
                      </a:cubicBezTo>
                      <a:cubicBezTo>
                        <a:pt x="1644233" y="503428"/>
                        <a:pt x="1656684" y="498769"/>
                        <a:pt x="1664155" y="489049"/>
                      </a:cubicBezTo>
                      <a:cubicBezTo>
                        <a:pt x="1659656" y="489772"/>
                        <a:pt x="1653632" y="490575"/>
                        <a:pt x="1649053" y="490977"/>
                      </a:cubicBezTo>
                      <a:cubicBezTo>
                        <a:pt x="1655319" y="488085"/>
                        <a:pt x="1655319" y="488085"/>
                        <a:pt x="1668653" y="484229"/>
                      </a:cubicBezTo>
                      <a:cubicBezTo>
                        <a:pt x="1665119" y="481097"/>
                        <a:pt x="1661263" y="475795"/>
                        <a:pt x="1659897" y="471297"/>
                      </a:cubicBezTo>
                      <a:cubicBezTo>
                        <a:pt x="1660781" y="470493"/>
                        <a:pt x="1660781" y="470493"/>
                        <a:pt x="1683433" y="460452"/>
                      </a:cubicBezTo>
                      <a:cubicBezTo>
                        <a:pt x="1682791" y="457078"/>
                        <a:pt x="1682229" y="452419"/>
                        <a:pt x="1682148" y="448965"/>
                      </a:cubicBezTo>
                      <a:cubicBezTo>
                        <a:pt x="1680140" y="451937"/>
                        <a:pt x="1678292" y="456677"/>
                        <a:pt x="1677971" y="460291"/>
                      </a:cubicBezTo>
                      <a:cubicBezTo>
                        <a:pt x="1676365" y="461336"/>
                        <a:pt x="1674196" y="462701"/>
                        <a:pt x="1672589" y="463665"/>
                      </a:cubicBezTo>
                      <a:cubicBezTo>
                        <a:pt x="1670822" y="462460"/>
                        <a:pt x="1668492" y="460854"/>
                        <a:pt x="1666725" y="459649"/>
                      </a:cubicBezTo>
                      <a:cubicBezTo>
                        <a:pt x="1666324" y="449688"/>
                        <a:pt x="1671786" y="439808"/>
                        <a:pt x="1666966" y="429847"/>
                      </a:cubicBezTo>
                      <a:cubicBezTo>
                        <a:pt x="1667689" y="428000"/>
                        <a:pt x="1668573" y="425509"/>
                        <a:pt x="1669296" y="423662"/>
                      </a:cubicBezTo>
                      <a:cubicBezTo>
                        <a:pt x="1670902" y="423180"/>
                        <a:pt x="1673071" y="422618"/>
                        <a:pt x="1674678" y="422136"/>
                      </a:cubicBezTo>
                      <a:cubicBezTo>
                        <a:pt x="1674999" y="420449"/>
                        <a:pt x="1675481" y="418280"/>
                        <a:pt x="1675802" y="416593"/>
                      </a:cubicBezTo>
                      <a:cubicBezTo>
                        <a:pt x="1664315" y="419244"/>
                        <a:pt x="1663673" y="415870"/>
                        <a:pt x="1661183" y="403178"/>
                      </a:cubicBezTo>
                      <a:cubicBezTo>
                        <a:pt x="1663512" y="400126"/>
                        <a:pt x="1666484" y="396029"/>
                        <a:pt x="1668733" y="392977"/>
                      </a:cubicBezTo>
                      <a:cubicBezTo>
                        <a:pt x="1667207" y="393780"/>
                        <a:pt x="1665199" y="394905"/>
                        <a:pt x="1663673" y="395788"/>
                      </a:cubicBezTo>
                      <a:cubicBezTo>
                        <a:pt x="1661906" y="395146"/>
                        <a:pt x="1659496" y="394342"/>
                        <a:pt x="1657728" y="393700"/>
                      </a:cubicBezTo>
                      <a:cubicBezTo>
                        <a:pt x="1657487" y="392896"/>
                        <a:pt x="1657086" y="391772"/>
                        <a:pt x="1656845" y="390969"/>
                      </a:cubicBezTo>
                      <a:cubicBezTo>
                        <a:pt x="1654917" y="374180"/>
                        <a:pt x="1655720" y="373377"/>
                        <a:pt x="1661022" y="368396"/>
                      </a:cubicBezTo>
                      <a:cubicBezTo>
                        <a:pt x="1659094" y="368075"/>
                        <a:pt x="1656604" y="367673"/>
                        <a:pt x="1654676" y="367352"/>
                      </a:cubicBezTo>
                      <a:cubicBezTo>
                        <a:pt x="1656443" y="366468"/>
                        <a:pt x="1658692" y="365344"/>
                        <a:pt x="1660460" y="364460"/>
                      </a:cubicBezTo>
                      <a:cubicBezTo>
                        <a:pt x="1647768" y="351688"/>
                        <a:pt x="1647768" y="351688"/>
                        <a:pt x="1648973" y="344298"/>
                      </a:cubicBezTo>
                      <a:cubicBezTo>
                        <a:pt x="1651865" y="346065"/>
                        <a:pt x="1655801" y="348314"/>
                        <a:pt x="1658773" y="349760"/>
                      </a:cubicBezTo>
                      <a:cubicBezTo>
                        <a:pt x="1647687" y="336185"/>
                        <a:pt x="1647366" y="324377"/>
                        <a:pt x="1648009" y="309275"/>
                      </a:cubicBezTo>
                      <a:cubicBezTo>
                        <a:pt x="1646402" y="308231"/>
                        <a:pt x="1644233" y="306785"/>
                        <a:pt x="1642627" y="305660"/>
                      </a:cubicBezTo>
                      <a:cubicBezTo>
                        <a:pt x="1642386" y="303572"/>
                        <a:pt x="1642145" y="300760"/>
                        <a:pt x="1641904" y="298591"/>
                      </a:cubicBezTo>
                      <a:cubicBezTo>
                        <a:pt x="1643510" y="299153"/>
                        <a:pt x="1645760" y="299877"/>
                        <a:pt x="1647366" y="300439"/>
                      </a:cubicBezTo>
                      <a:cubicBezTo>
                        <a:pt x="1646563" y="298832"/>
                        <a:pt x="1645438" y="296663"/>
                        <a:pt x="1644555" y="294977"/>
                      </a:cubicBezTo>
                      <a:cubicBezTo>
                        <a:pt x="1648089" y="295780"/>
                        <a:pt x="1652587" y="298431"/>
                        <a:pt x="1654837" y="301162"/>
                      </a:cubicBezTo>
                      <a:cubicBezTo>
                        <a:pt x="1653551" y="297306"/>
                        <a:pt x="1651142" y="292326"/>
                        <a:pt x="1648651" y="289032"/>
                      </a:cubicBezTo>
                      <a:cubicBezTo>
                        <a:pt x="1650258" y="288309"/>
                        <a:pt x="1652427" y="287265"/>
                        <a:pt x="1654033" y="286542"/>
                      </a:cubicBezTo>
                      <a:cubicBezTo>
                        <a:pt x="1652106" y="285337"/>
                        <a:pt x="1649615" y="283731"/>
                        <a:pt x="1647687" y="282526"/>
                      </a:cubicBezTo>
                      <a:cubicBezTo>
                        <a:pt x="1647446" y="280839"/>
                        <a:pt x="1647045" y="278590"/>
                        <a:pt x="1646804" y="276903"/>
                      </a:cubicBezTo>
                      <a:cubicBezTo>
                        <a:pt x="1647687" y="276662"/>
                        <a:pt x="1648892" y="276340"/>
                        <a:pt x="1649776" y="276099"/>
                      </a:cubicBezTo>
                      <a:cubicBezTo>
                        <a:pt x="1653150" y="274814"/>
                        <a:pt x="1658451" y="274654"/>
                        <a:pt x="1661745" y="276099"/>
                      </a:cubicBezTo>
                      <a:cubicBezTo>
                        <a:pt x="1658210" y="268870"/>
                        <a:pt x="1653953" y="262122"/>
                        <a:pt x="1650258" y="254973"/>
                      </a:cubicBezTo>
                      <a:cubicBezTo>
                        <a:pt x="1657006" y="255053"/>
                        <a:pt x="1657006" y="255053"/>
                        <a:pt x="1671465" y="267504"/>
                      </a:cubicBezTo>
                      <a:cubicBezTo>
                        <a:pt x="1667288" y="259954"/>
                        <a:pt x="1663110" y="252403"/>
                        <a:pt x="1658933" y="244852"/>
                      </a:cubicBezTo>
                      <a:cubicBezTo>
                        <a:pt x="1662066" y="247101"/>
                        <a:pt x="1666243" y="250073"/>
                        <a:pt x="1669376" y="252403"/>
                      </a:cubicBezTo>
                      <a:cubicBezTo>
                        <a:pt x="1668894" y="248868"/>
                        <a:pt x="1667448" y="244290"/>
                        <a:pt x="1665601" y="241237"/>
                      </a:cubicBezTo>
                      <a:cubicBezTo>
                        <a:pt x="1676525" y="244531"/>
                        <a:pt x="1676525" y="244531"/>
                        <a:pt x="1686486" y="251358"/>
                      </a:cubicBezTo>
                      <a:cubicBezTo>
                        <a:pt x="1683433" y="248226"/>
                        <a:pt x="1679578" y="243808"/>
                        <a:pt x="1677088" y="240193"/>
                      </a:cubicBezTo>
                      <a:cubicBezTo>
                        <a:pt x="1678453" y="238988"/>
                        <a:pt x="1680301" y="237381"/>
                        <a:pt x="1681747" y="236176"/>
                      </a:cubicBezTo>
                      <a:cubicBezTo>
                        <a:pt x="1686406" y="236899"/>
                        <a:pt x="1692591" y="237944"/>
                        <a:pt x="1697170" y="238907"/>
                      </a:cubicBezTo>
                      <a:cubicBezTo>
                        <a:pt x="1697973" y="240595"/>
                        <a:pt x="1699097" y="242763"/>
                        <a:pt x="1699981" y="244450"/>
                      </a:cubicBezTo>
                      <a:cubicBezTo>
                        <a:pt x="1698696" y="245735"/>
                        <a:pt x="1697009" y="247422"/>
                        <a:pt x="1695643" y="248627"/>
                      </a:cubicBezTo>
                      <a:cubicBezTo>
                        <a:pt x="1700383" y="252001"/>
                        <a:pt x="1702953" y="253849"/>
                        <a:pt x="1712191" y="251037"/>
                      </a:cubicBezTo>
                      <a:cubicBezTo>
                        <a:pt x="1711870" y="250716"/>
                        <a:pt x="1711468" y="250234"/>
                        <a:pt x="1711147" y="249832"/>
                      </a:cubicBezTo>
                      <a:cubicBezTo>
                        <a:pt x="1712753" y="249189"/>
                        <a:pt x="1715002" y="248386"/>
                        <a:pt x="1716609" y="247824"/>
                      </a:cubicBezTo>
                      <a:cubicBezTo>
                        <a:pt x="1716770" y="246057"/>
                        <a:pt x="1716930" y="243808"/>
                        <a:pt x="1717091" y="242040"/>
                      </a:cubicBezTo>
                      <a:cubicBezTo>
                        <a:pt x="1724963" y="240595"/>
                        <a:pt x="1731791" y="245655"/>
                        <a:pt x="1739422" y="245816"/>
                      </a:cubicBezTo>
                      <a:cubicBezTo>
                        <a:pt x="1740707" y="247422"/>
                        <a:pt x="1742474" y="249511"/>
                        <a:pt x="1743760" y="251117"/>
                      </a:cubicBezTo>
                      <a:cubicBezTo>
                        <a:pt x="1759986" y="214247"/>
                        <a:pt x="1830996" y="250796"/>
                        <a:pt x="1835494" y="261881"/>
                      </a:cubicBezTo>
                      <a:cubicBezTo>
                        <a:pt x="1835575" y="262122"/>
                        <a:pt x="1841198" y="288871"/>
                        <a:pt x="1787699" y="287506"/>
                      </a:cubicBezTo>
                      <a:lnTo>
                        <a:pt x="1876863" y="317388"/>
                      </a:lnTo>
                      <a:cubicBezTo>
                        <a:pt x="1872124" y="310480"/>
                        <a:pt x="1872124" y="310480"/>
                        <a:pt x="1856701" y="304937"/>
                      </a:cubicBezTo>
                      <a:cubicBezTo>
                        <a:pt x="1859753" y="302206"/>
                        <a:pt x="1859753" y="302206"/>
                        <a:pt x="1877185" y="288711"/>
                      </a:cubicBezTo>
                      <a:cubicBezTo>
                        <a:pt x="1853006" y="271119"/>
                        <a:pt x="1850837" y="267263"/>
                        <a:pt x="1857906" y="254491"/>
                      </a:cubicBezTo>
                      <a:cubicBezTo>
                        <a:pt x="1850596" y="237381"/>
                        <a:pt x="1818947" y="222360"/>
                        <a:pt x="1793724" y="212801"/>
                      </a:cubicBezTo>
                      <a:cubicBezTo>
                        <a:pt x="1814529" y="208704"/>
                        <a:pt x="1822883" y="210953"/>
                        <a:pt x="1849552" y="227903"/>
                      </a:cubicBezTo>
                      <a:cubicBezTo>
                        <a:pt x="1834691" y="205330"/>
                        <a:pt x="1812681" y="187578"/>
                        <a:pt x="1803925" y="160829"/>
                      </a:cubicBezTo>
                      <a:cubicBezTo>
                        <a:pt x="1813243" y="168781"/>
                        <a:pt x="1813243" y="168781"/>
                        <a:pt x="1820071" y="174003"/>
                      </a:cubicBezTo>
                      <a:cubicBezTo>
                        <a:pt x="1821116" y="164845"/>
                        <a:pt x="1821276" y="163158"/>
                        <a:pt x="1807460" y="147012"/>
                      </a:cubicBezTo>
                      <a:cubicBezTo>
                        <a:pt x="1807942" y="147173"/>
                        <a:pt x="1808504" y="147334"/>
                        <a:pt x="1808986" y="147494"/>
                      </a:cubicBezTo>
                      <a:cubicBezTo>
                        <a:pt x="1807781" y="146370"/>
                        <a:pt x="1806094" y="144843"/>
                        <a:pt x="1804889" y="143719"/>
                      </a:cubicBezTo>
                      <a:cubicBezTo>
                        <a:pt x="1809147" y="144763"/>
                        <a:pt x="1814689" y="146450"/>
                        <a:pt x="1818706" y="148057"/>
                      </a:cubicBezTo>
                      <a:cubicBezTo>
                        <a:pt x="1804086" y="135284"/>
                        <a:pt x="1804086" y="135284"/>
                        <a:pt x="1798945" y="132875"/>
                      </a:cubicBezTo>
                      <a:cubicBezTo>
                        <a:pt x="1799347" y="133276"/>
                        <a:pt x="1799829" y="133758"/>
                        <a:pt x="1800150" y="134160"/>
                      </a:cubicBezTo>
                      <a:cubicBezTo>
                        <a:pt x="1782960" y="125806"/>
                        <a:pt x="1782558" y="125163"/>
                        <a:pt x="1778542" y="119058"/>
                      </a:cubicBezTo>
                      <a:cubicBezTo>
                        <a:pt x="1790189" y="113516"/>
                        <a:pt x="1806415" y="114560"/>
                        <a:pt x="1806576" y="114560"/>
                      </a:cubicBezTo>
                      <a:cubicBezTo>
                        <a:pt x="1805211" y="113275"/>
                        <a:pt x="1803443" y="111588"/>
                        <a:pt x="1802078" y="110383"/>
                      </a:cubicBezTo>
                      <a:cubicBezTo>
                        <a:pt x="1796776" y="107812"/>
                        <a:pt x="1792679" y="105884"/>
                        <a:pt x="1788502" y="104037"/>
                      </a:cubicBezTo>
                      <a:cubicBezTo>
                        <a:pt x="1779907" y="103635"/>
                        <a:pt x="1779907" y="103635"/>
                        <a:pt x="1735084" y="87007"/>
                      </a:cubicBezTo>
                      <a:cubicBezTo>
                        <a:pt x="1722553" y="80501"/>
                        <a:pt x="1696688" y="67327"/>
                        <a:pt x="1688173" y="63953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4" name="Freeform: Shape 423">
                  <a:extLst>
                    <a:ext uri="{FF2B5EF4-FFF2-40B4-BE49-F238E27FC236}">
                      <a16:creationId xmlns:a16="http://schemas.microsoft.com/office/drawing/2014/main" id="{F05FD0D2-162B-3738-4442-CA6C75B1E13D}"/>
                    </a:ext>
                  </a:extLst>
                </p:cNvPr>
                <p:cNvSpPr/>
                <p:nvPr/>
              </p:nvSpPr>
              <p:spPr>
                <a:xfrm>
                  <a:off x="-5335418" y="1921823"/>
                  <a:ext cx="2328854" cy="2163071"/>
                </a:xfrm>
                <a:custGeom>
                  <a:avLst/>
                  <a:gdLst>
                    <a:gd name="connsiteX0" fmla="*/ 623024 w 2328854"/>
                    <a:gd name="connsiteY0" fmla="*/ 2160180 h 2163071"/>
                    <a:gd name="connsiteX1" fmla="*/ 623184 w 2328854"/>
                    <a:gd name="connsiteY1" fmla="*/ 2160180 h 2163071"/>
                    <a:gd name="connsiteX2" fmla="*/ 621417 w 2328854"/>
                    <a:gd name="connsiteY2" fmla="*/ 2158333 h 2163071"/>
                    <a:gd name="connsiteX3" fmla="*/ 621337 w 2328854"/>
                    <a:gd name="connsiteY3" fmla="*/ 2158413 h 2163071"/>
                    <a:gd name="connsiteX4" fmla="*/ 619489 w 2328854"/>
                    <a:gd name="connsiteY4" fmla="*/ 2161225 h 2163071"/>
                    <a:gd name="connsiteX5" fmla="*/ 622702 w 2328854"/>
                    <a:gd name="connsiteY5" fmla="*/ 2163072 h 2163071"/>
                    <a:gd name="connsiteX6" fmla="*/ 623024 w 2328854"/>
                    <a:gd name="connsiteY6" fmla="*/ 2160180 h 2163071"/>
                    <a:gd name="connsiteX7" fmla="*/ 641580 w 2328854"/>
                    <a:gd name="connsiteY7" fmla="*/ 2158011 h 2163071"/>
                    <a:gd name="connsiteX8" fmla="*/ 642222 w 2328854"/>
                    <a:gd name="connsiteY8" fmla="*/ 2158092 h 2163071"/>
                    <a:gd name="connsiteX9" fmla="*/ 624068 w 2328854"/>
                    <a:gd name="connsiteY9" fmla="*/ 2153353 h 2163071"/>
                    <a:gd name="connsiteX10" fmla="*/ 623827 w 2328854"/>
                    <a:gd name="connsiteY10" fmla="*/ 2153593 h 2163071"/>
                    <a:gd name="connsiteX11" fmla="*/ 624389 w 2328854"/>
                    <a:gd name="connsiteY11" fmla="*/ 2155843 h 2163071"/>
                    <a:gd name="connsiteX12" fmla="*/ 628325 w 2328854"/>
                    <a:gd name="connsiteY12" fmla="*/ 2156485 h 2163071"/>
                    <a:gd name="connsiteX13" fmla="*/ 625675 w 2328854"/>
                    <a:gd name="connsiteY13" fmla="*/ 2157369 h 2163071"/>
                    <a:gd name="connsiteX14" fmla="*/ 632502 w 2328854"/>
                    <a:gd name="connsiteY14" fmla="*/ 2161064 h 2163071"/>
                    <a:gd name="connsiteX15" fmla="*/ 633547 w 2328854"/>
                    <a:gd name="connsiteY15" fmla="*/ 2159458 h 2163071"/>
                    <a:gd name="connsiteX16" fmla="*/ 632342 w 2328854"/>
                    <a:gd name="connsiteY16" fmla="*/ 2157771 h 2163071"/>
                    <a:gd name="connsiteX17" fmla="*/ 641580 w 2328854"/>
                    <a:gd name="connsiteY17" fmla="*/ 2158011 h 2163071"/>
                    <a:gd name="connsiteX18" fmla="*/ 635314 w 2328854"/>
                    <a:gd name="connsiteY18" fmla="*/ 2151023 h 2163071"/>
                    <a:gd name="connsiteX19" fmla="*/ 634993 w 2328854"/>
                    <a:gd name="connsiteY19" fmla="*/ 2150943 h 2163071"/>
                    <a:gd name="connsiteX20" fmla="*/ 623988 w 2328854"/>
                    <a:gd name="connsiteY20" fmla="*/ 2149978 h 2163071"/>
                    <a:gd name="connsiteX21" fmla="*/ 624068 w 2328854"/>
                    <a:gd name="connsiteY21" fmla="*/ 2150139 h 2163071"/>
                    <a:gd name="connsiteX22" fmla="*/ 635314 w 2328854"/>
                    <a:gd name="connsiteY22" fmla="*/ 2151023 h 2163071"/>
                    <a:gd name="connsiteX23" fmla="*/ 627763 w 2328854"/>
                    <a:gd name="connsiteY23" fmla="*/ 2118008 h 2163071"/>
                    <a:gd name="connsiteX24" fmla="*/ 628647 w 2328854"/>
                    <a:gd name="connsiteY24" fmla="*/ 2118169 h 2163071"/>
                    <a:gd name="connsiteX25" fmla="*/ 614429 w 2328854"/>
                    <a:gd name="connsiteY25" fmla="*/ 2114715 h 2163071"/>
                    <a:gd name="connsiteX26" fmla="*/ 605753 w 2328854"/>
                    <a:gd name="connsiteY26" fmla="*/ 2115197 h 2163071"/>
                    <a:gd name="connsiteX27" fmla="*/ 606235 w 2328854"/>
                    <a:gd name="connsiteY27" fmla="*/ 2120579 h 2163071"/>
                    <a:gd name="connsiteX28" fmla="*/ 627763 w 2328854"/>
                    <a:gd name="connsiteY28" fmla="*/ 2118008 h 2163071"/>
                    <a:gd name="connsiteX29" fmla="*/ 570570 w 2328854"/>
                    <a:gd name="connsiteY29" fmla="*/ 2050693 h 2163071"/>
                    <a:gd name="connsiteX30" fmla="*/ 574345 w 2328854"/>
                    <a:gd name="connsiteY30" fmla="*/ 2051175 h 2163071"/>
                    <a:gd name="connsiteX31" fmla="*/ 572257 w 2328854"/>
                    <a:gd name="connsiteY31" fmla="*/ 2050372 h 2163071"/>
                    <a:gd name="connsiteX32" fmla="*/ 570570 w 2328854"/>
                    <a:gd name="connsiteY32" fmla="*/ 2050693 h 2163071"/>
                    <a:gd name="connsiteX33" fmla="*/ 572738 w 2328854"/>
                    <a:gd name="connsiteY33" fmla="*/ 2047159 h 2163071"/>
                    <a:gd name="connsiteX34" fmla="*/ 572899 w 2328854"/>
                    <a:gd name="connsiteY34" fmla="*/ 2047239 h 2163071"/>
                    <a:gd name="connsiteX35" fmla="*/ 570811 w 2328854"/>
                    <a:gd name="connsiteY35" fmla="*/ 2045552 h 2163071"/>
                    <a:gd name="connsiteX36" fmla="*/ 572738 w 2328854"/>
                    <a:gd name="connsiteY36" fmla="*/ 2047159 h 2163071"/>
                    <a:gd name="connsiteX37" fmla="*/ 869791 w 2328854"/>
                    <a:gd name="connsiteY37" fmla="*/ 1976631 h 2163071"/>
                    <a:gd name="connsiteX38" fmla="*/ 870193 w 2328854"/>
                    <a:gd name="connsiteY38" fmla="*/ 1976470 h 2163071"/>
                    <a:gd name="connsiteX39" fmla="*/ 869791 w 2328854"/>
                    <a:gd name="connsiteY39" fmla="*/ 1976631 h 2163071"/>
                    <a:gd name="connsiteX40" fmla="*/ 862321 w 2328854"/>
                    <a:gd name="connsiteY40" fmla="*/ 1979201 h 2163071"/>
                    <a:gd name="connsiteX41" fmla="*/ 869791 w 2328854"/>
                    <a:gd name="connsiteY41" fmla="*/ 1976631 h 2163071"/>
                    <a:gd name="connsiteX42" fmla="*/ 879270 w 2328854"/>
                    <a:gd name="connsiteY42" fmla="*/ 1973337 h 2163071"/>
                    <a:gd name="connsiteX43" fmla="*/ 879270 w 2328854"/>
                    <a:gd name="connsiteY43" fmla="*/ 1973337 h 2163071"/>
                    <a:gd name="connsiteX44" fmla="*/ 872442 w 2328854"/>
                    <a:gd name="connsiteY44" fmla="*/ 1975747 h 2163071"/>
                    <a:gd name="connsiteX45" fmla="*/ 879270 w 2328854"/>
                    <a:gd name="connsiteY45" fmla="*/ 1973337 h 2163071"/>
                    <a:gd name="connsiteX46" fmla="*/ 694998 w 2328854"/>
                    <a:gd name="connsiteY46" fmla="*/ 1953978 h 2163071"/>
                    <a:gd name="connsiteX47" fmla="*/ 694757 w 2328854"/>
                    <a:gd name="connsiteY47" fmla="*/ 1953978 h 2163071"/>
                    <a:gd name="connsiteX48" fmla="*/ 694757 w 2328854"/>
                    <a:gd name="connsiteY48" fmla="*/ 1953978 h 2163071"/>
                    <a:gd name="connsiteX49" fmla="*/ 694998 w 2328854"/>
                    <a:gd name="connsiteY49" fmla="*/ 1953978 h 2163071"/>
                    <a:gd name="connsiteX50" fmla="*/ 686242 w 2328854"/>
                    <a:gd name="connsiteY50" fmla="*/ 1953255 h 2163071"/>
                    <a:gd name="connsiteX51" fmla="*/ 686242 w 2328854"/>
                    <a:gd name="connsiteY51" fmla="*/ 1953255 h 2163071"/>
                    <a:gd name="connsiteX52" fmla="*/ 685037 w 2328854"/>
                    <a:gd name="connsiteY52" fmla="*/ 1953175 h 2163071"/>
                    <a:gd name="connsiteX53" fmla="*/ 685037 w 2328854"/>
                    <a:gd name="connsiteY53" fmla="*/ 1953175 h 2163071"/>
                    <a:gd name="connsiteX54" fmla="*/ 686242 w 2328854"/>
                    <a:gd name="connsiteY54" fmla="*/ 1953255 h 2163071"/>
                    <a:gd name="connsiteX55" fmla="*/ 825129 w 2328854"/>
                    <a:gd name="connsiteY55" fmla="*/ 1889555 h 2163071"/>
                    <a:gd name="connsiteX56" fmla="*/ 826013 w 2328854"/>
                    <a:gd name="connsiteY56" fmla="*/ 1889314 h 2163071"/>
                    <a:gd name="connsiteX57" fmla="*/ 822639 w 2328854"/>
                    <a:gd name="connsiteY57" fmla="*/ 1882486 h 2163071"/>
                    <a:gd name="connsiteX58" fmla="*/ 822639 w 2328854"/>
                    <a:gd name="connsiteY58" fmla="*/ 1882968 h 2163071"/>
                    <a:gd name="connsiteX59" fmla="*/ 819747 w 2328854"/>
                    <a:gd name="connsiteY59" fmla="*/ 1889957 h 2163071"/>
                    <a:gd name="connsiteX60" fmla="*/ 817418 w 2328854"/>
                    <a:gd name="connsiteY60" fmla="*/ 1891483 h 2163071"/>
                    <a:gd name="connsiteX61" fmla="*/ 815088 w 2328854"/>
                    <a:gd name="connsiteY61" fmla="*/ 1891483 h 2163071"/>
                    <a:gd name="connsiteX62" fmla="*/ 820470 w 2328854"/>
                    <a:gd name="connsiteY62" fmla="*/ 1892608 h 2163071"/>
                    <a:gd name="connsiteX63" fmla="*/ 816293 w 2328854"/>
                    <a:gd name="connsiteY63" fmla="*/ 1893491 h 2163071"/>
                    <a:gd name="connsiteX64" fmla="*/ 819827 w 2328854"/>
                    <a:gd name="connsiteY64" fmla="*/ 1893893 h 2163071"/>
                    <a:gd name="connsiteX65" fmla="*/ 823924 w 2328854"/>
                    <a:gd name="connsiteY65" fmla="*/ 1896544 h 2163071"/>
                    <a:gd name="connsiteX66" fmla="*/ 823040 w 2328854"/>
                    <a:gd name="connsiteY66" fmla="*/ 1895901 h 2163071"/>
                    <a:gd name="connsiteX67" fmla="*/ 827217 w 2328854"/>
                    <a:gd name="connsiteY67" fmla="*/ 1895098 h 2163071"/>
                    <a:gd name="connsiteX68" fmla="*/ 824165 w 2328854"/>
                    <a:gd name="connsiteY68" fmla="*/ 1892126 h 2163071"/>
                    <a:gd name="connsiteX69" fmla="*/ 825932 w 2328854"/>
                    <a:gd name="connsiteY69" fmla="*/ 1891644 h 2163071"/>
                    <a:gd name="connsiteX70" fmla="*/ 824567 w 2328854"/>
                    <a:gd name="connsiteY70" fmla="*/ 1889796 h 2163071"/>
                    <a:gd name="connsiteX71" fmla="*/ 825129 w 2328854"/>
                    <a:gd name="connsiteY71" fmla="*/ 1889555 h 2163071"/>
                    <a:gd name="connsiteX72" fmla="*/ 881600 w 2328854"/>
                    <a:gd name="connsiteY72" fmla="*/ 1834129 h 2163071"/>
                    <a:gd name="connsiteX73" fmla="*/ 882403 w 2328854"/>
                    <a:gd name="connsiteY73" fmla="*/ 1833808 h 2163071"/>
                    <a:gd name="connsiteX74" fmla="*/ 875655 w 2328854"/>
                    <a:gd name="connsiteY74" fmla="*/ 1835977 h 2163071"/>
                    <a:gd name="connsiteX75" fmla="*/ 873968 w 2328854"/>
                    <a:gd name="connsiteY75" fmla="*/ 1832603 h 2163071"/>
                    <a:gd name="connsiteX76" fmla="*/ 874049 w 2328854"/>
                    <a:gd name="connsiteY76" fmla="*/ 1833406 h 2163071"/>
                    <a:gd name="connsiteX77" fmla="*/ 872041 w 2328854"/>
                    <a:gd name="connsiteY77" fmla="*/ 1837904 h 2163071"/>
                    <a:gd name="connsiteX78" fmla="*/ 866980 w 2328854"/>
                    <a:gd name="connsiteY78" fmla="*/ 1839350 h 2163071"/>
                    <a:gd name="connsiteX79" fmla="*/ 874772 w 2328854"/>
                    <a:gd name="connsiteY79" fmla="*/ 1842001 h 2163071"/>
                    <a:gd name="connsiteX80" fmla="*/ 870996 w 2328854"/>
                    <a:gd name="connsiteY80" fmla="*/ 1840716 h 2163071"/>
                    <a:gd name="connsiteX81" fmla="*/ 877262 w 2328854"/>
                    <a:gd name="connsiteY81" fmla="*/ 1839591 h 2163071"/>
                    <a:gd name="connsiteX82" fmla="*/ 881600 w 2328854"/>
                    <a:gd name="connsiteY82" fmla="*/ 1834129 h 2163071"/>
                    <a:gd name="connsiteX83" fmla="*/ 991809 w 2328854"/>
                    <a:gd name="connsiteY83" fmla="*/ 1815734 h 2163071"/>
                    <a:gd name="connsiteX84" fmla="*/ 992131 w 2328854"/>
                    <a:gd name="connsiteY84" fmla="*/ 1815734 h 2163071"/>
                    <a:gd name="connsiteX85" fmla="*/ 989560 w 2328854"/>
                    <a:gd name="connsiteY85" fmla="*/ 1814609 h 2163071"/>
                    <a:gd name="connsiteX86" fmla="*/ 985785 w 2328854"/>
                    <a:gd name="connsiteY86" fmla="*/ 1813244 h 2163071"/>
                    <a:gd name="connsiteX87" fmla="*/ 982090 w 2328854"/>
                    <a:gd name="connsiteY87" fmla="*/ 1810111 h 2163071"/>
                    <a:gd name="connsiteX88" fmla="*/ 981287 w 2328854"/>
                    <a:gd name="connsiteY88" fmla="*/ 1810272 h 2163071"/>
                    <a:gd name="connsiteX89" fmla="*/ 979439 w 2328854"/>
                    <a:gd name="connsiteY89" fmla="*/ 1813485 h 2163071"/>
                    <a:gd name="connsiteX90" fmla="*/ 979359 w 2328854"/>
                    <a:gd name="connsiteY90" fmla="*/ 1813967 h 2163071"/>
                    <a:gd name="connsiteX91" fmla="*/ 982893 w 2328854"/>
                    <a:gd name="connsiteY91" fmla="*/ 1813806 h 2163071"/>
                    <a:gd name="connsiteX92" fmla="*/ 982491 w 2328854"/>
                    <a:gd name="connsiteY92" fmla="*/ 1814529 h 2163071"/>
                    <a:gd name="connsiteX93" fmla="*/ 984500 w 2328854"/>
                    <a:gd name="connsiteY93" fmla="*/ 1813886 h 2163071"/>
                    <a:gd name="connsiteX94" fmla="*/ 983857 w 2328854"/>
                    <a:gd name="connsiteY94" fmla="*/ 1816216 h 2163071"/>
                    <a:gd name="connsiteX95" fmla="*/ 985705 w 2328854"/>
                    <a:gd name="connsiteY95" fmla="*/ 1815252 h 2163071"/>
                    <a:gd name="connsiteX96" fmla="*/ 982572 w 2328854"/>
                    <a:gd name="connsiteY96" fmla="*/ 1818304 h 2163071"/>
                    <a:gd name="connsiteX97" fmla="*/ 988837 w 2328854"/>
                    <a:gd name="connsiteY97" fmla="*/ 1818224 h 2163071"/>
                    <a:gd name="connsiteX98" fmla="*/ 991167 w 2328854"/>
                    <a:gd name="connsiteY98" fmla="*/ 1815573 h 2163071"/>
                    <a:gd name="connsiteX99" fmla="*/ 991809 w 2328854"/>
                    <a:gd name="connsiteY99" fmla="*/ 1815734 h 2163071"/>
                    <a:gd name="connsiteX100" fmla="*/ 2279467 w 2328854"/>
                    <a:gd name="connsiteY100" fmla="*/ 1397305 h 2163071"/>
                    <a:gd name="connsiteX101" fmla="*/ 2279628 w 2328854"/>
                    <a:gd name="connsiteY101" fmla="*/ 1396984 h 2163071"/>
                    <a:gd name="connsiteX102" fmla="*/ 2274969 w 2328854"/>
                    <a:gd name="connsiteY102" fmla="*/ 1399635 h 2163071"/>
                    <a:gd name="connsiteX103" fmla="*/ 2271836 w 2328854"/>
                    <a:gd name="connsiteY103" fmla="*/ 1403571 h 2163071"/>
                    <a:gd name="connsiteX104" fmla="*/ 2261072 w 2328854"/>
                    <a:gd name="connsiteY104" fmla="*/ 1425099 h 2163071"/>
                    <a:gd name="connsiteX105" fmla="*/ 2265088 w 2328854"/>
                    <a:gd name="connsiteY105" fmla="*/ 1419235 h 2163071"/>
                    <a:gd name="connsiteX106" fmla="*/ 2264847 w 2328854"/>
                    <a:gd name="connsiteY106" fmla="*/ 1419315 h 2163071"/>
                    <a:gd name="connsiteX107" fmla="*/ 2270149 w 2328854"/>
                    <a:gd name="connsiteY107" fmla="*/ 1409194 h 2163071"/>
                    <a:gd name="connsiteX108" fmla="*/ 2271434 w 2328854"/>
                    <a:gd name="connsiteY108" fmla="*/ 1407427 h 2163071"/>
                    <a:gd name="connsiteX109" fmla="*/ 2272077 w 2328854"/>
                    <a:gd name="connsiteY109" fmla="*/ 1406623 h 2163071"/>
                    <a:gd name="connsiteX110" fmla="*/ 2274728 w 2328854"/>
                    <a:gd name="connsiteY110" fmla="*/ 1403892 h 2163071"/>
                    <a:gd name="connsiteX111" fmla="*/ 2277539 w 2328854"/>
                    <a:gd name="connsiteY111" fmla="*/ 1399876 h 2163071"/>
                    <a:gd name="connsiteX112" fmla="*/ 2279226 w 2328854"/>
                    <a:gd name="connsiteY112" fmla="*/ 1398430 h 2163071"/>
                    <a:gd name="connsiteX113" fmla="*/ 2279467 w 2328854"/>
                    <a:gd name="connsiteY113" fmla="*/ 1397305 h 2163071"/>
                    <a:gd name="connsiteX114" fmla="*/ 533137 w 2328854"/>
                    <a:gd name="connsiteY114" fmla="*/ 1793644 h 2163071"/>
                    <a:gd name="connsiteX115" fmla="*/ 532976 w 2328854"/>
                    <a:gd name="connsiteY115" fmla="*/ 1793001 h 2163071"/>
                    <a:gd name="connsiteX116" fmla="*/ 532896 w 2328854"/>
                    <a:gd name="connsiteY116" fmla="*/ 1793081 h 2163071"/>
                    <a:gd name="connsiteX117" fmla="*/ 532253 w 2328854"/>
                    <a:gd name="connsiteY117" fmla="*/ 1795009 h 2163071"/>
                    <a:gd name="connsiteX118" fmla="*/ 533297 w 2328854"/>
                    <a:gd name="connsiteY118" fmla="*/ 1794367 h 2163071"/>
                    <a:gd name="connsiteX119" fmla="*/ 533137 w 2328854"/>
                    <a:gd name="connsiteY119" fmla="*/ 1793644 h 2163071"/>
                    <a:gd name="connsiteX120" fmla="*/ 532012 w 2328854"/>
                    <a:gd name="connsiteY120" fmla="*/ 1791957 h 2163071"/>
                    <a:gd name="connsiteX121" fmla="*/ 532655 w 2328854"/>
                    <a:gd name="connsiteY121" fmla="*/ 1792037 h 2163071"/>
                    <a:gd name="connsiteX122" fmla="*/ 520284 w 2328854"/>
                    <a:gd name="connsiteY122" fmla="*/ 1784727 h 2163071"/>
                    <a:gd name="connsiteX123" fmla="*/ 519160 w 2328854"/>
                    <a:gd name="connsiteY123" fmla="*/ 1784727 h 2163071"/>
                    <a:gd name="connsiteX124" fmla="*/ 516027 w 2328854"/>
                    <a:gd name="connsiteY124" fmla="*/ 1784808 h 2163071"/>
                    <a:gd name="connsiteX125" fmla="*/ 514019 w 2328854"/>
                    <a:gd name="connsiteY125" fmla="*/ 1784326 h 2163071"/>
                    <a:gd name="connsiteX126" fmla="*/ 512653 w 2328854"/>
                    <a:gd name="connsiteY126" fmla="*/ 1785129 h 2163071"/>
                    <a:gd name="connsiteX127" fmla="*/ 532012 w 2328854"/>
                    <a:gd name="connsiteY127" fmla="*/ 1791957 h 2163071"/>
                    <a:gd name="connsiteX128" fmla="*/ 2285090 w 2328854"/>
                    <a:gd name="connsiteY128" fmla="*/ 1327099 h 2163071"/>
                    <a:gd name="connsiteX129" fmla="*/ 2285331 w 2328854"/>
                    <a:gd name="connsiteY129" fmla="*/ 1326777 h 2163071"/>
                    <a:gd name="connsiteX130" fmla="*/ 2285251 w 2328854"/>
                    <a:gd name="connsiteY130" fmla="*/ 1326858 h 2163071"/>
                    <a:gd name="connsiteX131" fmla="*/ 2281636 w 2328854"/>
                    <a:gd name="connsiteY131" fmla="*/ 1331276 h 2163071"/>
                    <a:gd name="connsiteX132" fmla="*/ 2285090 w 2328854"/>
                    <a:gd name="connsiteY132" fmla="*/ 1327099 h 2163071"/>
                    <a:gd name="connsiteX133" fmla="*/ 2327503 w 2328854"/>
                    <a:gd name="connsiteY133" fmla="*/ 1284927 h 2163071"/>
                    <a:gd name="connsiteX134" fmla="*/ 2327182 w 2328854"/>
                    <a:gd name="connsiteY134" fmla="*/ 1282758 h 2163071"/>
                    <a:gd name="connsiteX135" fmla="*/ 2326780 w 2328854"/>
                    <a:gd name="connsiteY135" fmla="*/ 1282999 h 2163071"/>
                    <a:gd name="connsiteX136" fmla="*/ 2327584 w 2328854"/>
                    <a:gd name="connsiteY136" fmla="*/ 1327741 h 2163071"/>
                    <a:gd name="connsiteX137" fmla="*/ 2327102 w 2328854"/>
                    <a:gd name="connsiteY137" fmla="*/ 1314166 h 2163071"/>
                    <a:gd name="connsiteX138" fmla="*/ 2327503 w 2328854"/>
                    <a:gd name="connsiteY138" fmla="*/ 1284927 h 2163071"/>
                    <a:gd name="connsiteX139" fmla="*/ 1044505 w 2328854"/>
                    <a:gd name="connsiteY139" fmla="*/ 1706648 h 2163071"/>
                    <a:gd name="connsiteX140" fmla="*/ 1046111 w 2328854"/>
                    <a:gd name="connsiteY140" fmla="*/ 1704801 h 2163071"/>
                    <a:gd name="connsiteX141" fmla="*/ 1045308 w 2328854"/>
                    <a:gd name="connsiteY141" fmla="*/ 1705363 h 2163071"/>
                    <a:gd name="connsiteX142" fmla="*/ 1024101 w 2328854"/>
                    <a:gd name="connsiteY142" fmla="*/ 1711147 h 2163071"/>
                    <a:gd name="connsiteX143" fmla="*/ 1021932 w 2328854"/>
                    <a:gd name="connsiteY143" fmla="*/ 1714199 h 2163071"/>
                    <a:gd name="connsiteX144" fmla="*/ 1021531 w 2328854"/>
                    <a:gd name="connsiteY144" fmla="*/ 1714199 h 2163071"/>
                    <a:gd name="connsiteX145" fmla="*/ 1016952 w 2328854"/>
                    <a:gd name="connsiteY145" fmla="*/ 1714279 h 2163071"/>
                    <a:gd name="connsiteX146" fmla="*/ 1016631 w 2328854"/>
                    <a:gd name="connsiteY146" fmla="*/ 1714681 h 2163071"/>
                    <a:gd name="connsiteX147" fmla="*/ 1015346 w 2328854"/>
                    <a:gd name="connsiteY147" fmla="*/ 1714922 h 2163071"/>
                    <a:gd name="connsiteX148" fmla="*/ 1022093 w 2328854"/>
                    <a:gd name="connsiteY148" fmla="*/ 1717573 h 2163071"/>
                    <a:gd name="connsiteX149" fmla="*/ 1018880 w 2328854"/>
                    <a:gd name="connsiteY149" fmla="*/ 1718215 h 2163071"/>
                    <a:gd name="connsiteX150" fmla="*/ 1017515 w 2328854"/>
                    <a:gd name="connsiteY150" fmla="*/ 1720786 h 2163071"/>
                    <a:gd name="connsiteX151" fmla="*/ 1015587 w 2328854"/>
                    <a:gd name="connsiteY151" fmla="*/ 1720545 h 2163071"/>
                    <a:gd name="connsiteX152" fmla="*/ 1017354 w 2328854"/>
                    <a:gd name="connsiteY152" fmla="*/ 1723196 h 2163071"/>
                    <a:gd name="connsiteX153" fmla="*/ 1013739 w 2328854"/>
                    <a:gd name="connsiteY153" fmla="*/ 1722232 h 2163071"/>
                    <a:gd name="connsiteX154" fmla="*/ 1012454 w 2328854"/>
                    <a:gd name="connsiteY154" fmla="*/ 1726248 h 2163071"/>
                    <a:gd name="connsiteX155" fmla="*/ 1010928 w 2328854"/>
                    <a:gd name="connsiteY155" fmla="*/ 1728658 h 2163071"/>
                    <a:gd name="connsiteX156" fmla="*/ 1017836 w 2328854"/>
                    <a:gd name="connsiteY156" fmla="*/ 1729221 h 2163071"/>
                    <a:gd name="connsiteX157" fmla="*/ 1025869 w 2328854"/>
                    <a:gd name="connsiteY157" fmla="*/ 1722072 h 2163071"/>
                    <a:gd name="connsiteX158" fmla="*/ 1026913 w 2328854"/>
                    <a:gd name="connsiteY158" fmla="*/ 1725606 h 2163071"/>
                    <a:gd name="connsiteX159" fmla="*/ 1025467 w 2328854"/>
                    <a:gd name="connsiteY159" fmla="*/ 1715565 h 2163071"/>
                    <a:gd name="connsiteX160" fmla="*/ 1035106 w 2328854"/>
                    <a:gd name="connsiteY160" fmla="*/ 1716850 h 2163071"/>
                    <a:gd name="connsiteX161" fmla="*/ 1044505 w 2328854"/>
                    <a:gd name="connsiteY161" fmla="*/ 1706648 h 2163071"/>
                    <a:gd name="connsiteX162" fmla="*/ 2303887 w 2328854"/>
                    <a:gd name="connsiteY162" fmla="*/ 1274002 h 2163071"/>
                    <a:gd name="connsiteX163" fmla="*/ 2304208 w 2328854"/>
                    <a:gd name="connsiteY163" fmla="*/ 1273922 h 2163071"/>
                    <a:gd name="connsiteX164" fmla="*/ 2299710 w 2328854"/>
                    <a:gd name="connsiteY164" fmla="*/ 1274645 h 2163071"/>
                    <a:gd name="connsiteX165" fmla="*/ 2298585 w 2328854"/>
                    <a:gd name="connsiteY165" fmla="*/ 1274805 h 2163071"/>
                    <a:gd name="connsiteX166" fmla="*/ 2298264 w 2328854"/>
                    <a:gd name="connsiteY166" fmla="*/ 1274886 h 2163071"/>
                    <a:gd name="connsiteX167" fmla="*/ 2303887 w 2328854"/>
                    <a:gd name="connsiteY167" fmla="*/ 1274002 h 2163071"/>
                    <a:gd name="connsiteX168" fmla="*/ 882483 w 2328854"/>
                    <a:gd name="connsiteY168" fmla="*/ 1672589 h 2163071"/>
                    <a:gd name="connsiteX169" fmla="*/ 883126 w 2328854"/>
                    <a:gd name="connsiteY169" fmla="*/ 1672589 h 2163071"/>
                    <a:gd name="connsiteX170" fmla="*/ 866659 w 2328854"/>
                    <a:gd name="connsiteY170" fmla="*/ 1660781 h 2163071"/>
                    <a:gd name="connsiteX171" fmla="*/ 862963 w 2328854"/>
                    <a:gd name="connsiteY171" fmla="*/ 1662307 h 2163071"/>
                    <a:gd name="connsiteX172" fmla="*/ 866337 w 2328854"/>
                    <a:gd name="connsiteY172" fmla="*/ 1665440 h 2163071"/>
                    <a:gd name="connsiteX173" fmla="*/ 882483 w 2328854"/>
                    <a:gd name="connsiteY173" fmla="*/ 1672589 h 2163071"/>
                    <a:gd name="connsiteX174" fmla="*/ 2292962 w 2328854"/>
                    <a:gd name="connsiteY174" fmla="*/ 1291192 h 2163071"/>
                    <a:gd name="connsiteX175" fmla="*/ 2293525 w 2328854"/>
                    <a:gd name="connsiteY175" fmla="*/ 1290951 h 2163071"/>
                    <a:gd name="connsiteX176" fmla="*/ 2268382 w 2328854"/>
                    <a:gd name="connsiteY176" fmla="*/ 1250707 h 2163071"/>
                    <a:gd name="connsiteX177" fmla="*/ 2268221 w 2328854"/>
                    <a:gd name="connsiteY177" fmla="*/ 1250707 h 2163071"/>
                    <a:gd name="connsiteX178" fmla="*/ 2271033 w 2328854"/>
                    <a:gd name="connsiteY178" fmla="*/ 1269584 h 2163071"/>
                    <a:gd name="connsiteX179" fmla="*/ 2276093 w 2328854"/>
                    <a:gd name="connsiteY179" fmla="*/ 1279223 h 2163071"/>
                    <a:gd name="connsiteX180" fmla="*/ 2287500 w 2328854"/>
                    <a:gd name="connsiteY180" fmla="*/ 1294084 h 2163071"/>
                    <a:gd name="connsiteX181" fmla="*/ 2292962 w 2328854"/>
                    <a:gd name="connsiteY181" fmla="*/ 1291192 h 2163071"/>
                    <a:gd name="connsiteX182" fmla="*/ 2323648 w 2328854"/>
                    <a:gd name="connsiteY182" fmla="*/ 1196646 h 2163071"/>
                    <a:gd name="connsiteX183" fmla="*/ 2323648 w 2328854"/>
                    <a:gd name="connsiteY183" fmla="*/ 1196646 h 2163071"/>
                    <a:gd name="connsiteX184" fmla="*/ 2322603 w 2328854"/>
                    <a:gd name="connsiteY184" fmla="*/ 1199779 h 2163071"/>
                    <a:gd name="connsiteX185" fmla="*/ 2323648 w 2328854"/>
                    <a:gd name="connsiteY185" fmla="*/ 1196646 h 2163071"/>
                    <a:gd name="connsiteX186" fmla="*/ 2264767 w 2328854"/>
                    <a:gd name="connsiteY186" fmla="*/ 1227412 h 2163071"/>
                    <a:gd name="connsiteX187" fmla="*/ 2264767 w 2328854"/>
                    <a:gd name="connsiteY187" fmla="*/ 1227412 h 2163071"/>
                    <a:gd name="connsiteX188" fmla="*/ 2262277 w 2328854"/>
                    <a:gd name="connsiteY188" fmla="*/ 1236087 h 2163071"/>
                    <a:gd name="connsiteX189" fmla="*/ 2262357 w 2328854"/>
                    <a:gd name="connsiteY189" fmla="*/ 1236971 h 2163071"/>
                    <a:gd name="connsiteX190" fmla="*/ 2264767 w 2328854"/>
                    <a:gd name="connsiteY190" fmla="*/ 1227412 h 2163071"/>
                    <a:gd name="connsiteX191" fmla="*/ 2136644 w 2328854"/>
                    <a:gd name="connsiteY191" fmla="*/ 1299064 h 2163071"/>
                    <a:gd name="connsiteX192" fmla="*/ 2133270 w 2328854"/>
                    <a:gd name="connsiteY192" fmla="*/ 1298422 h 2163071"/>
                    <a:gd name="connsiteX193" fmla="*/ 2131985 w 2328854"/>
                    <a:gd name="connsiteY193" fmla="*/ 1299225 h 2163071"/>
                    <a:gd name="connsiteX194" fmla="*/ 2136564 w 2328854"/>
                    <a:gd name="connsiteY194" fmla="*/ 1300671 h 2163071"/>
                    <a:gd name="connsiteX195" fmla="*/ 2136644 w 2328854"/>
                    <a:gd name="connsiteY195" fmla="*/ 1299064 h 2163071"/>
                    <a:gd name="connsiteX196" fmla="*/ 2307180 w 2328854"/>
                    <a:gd name="connsiteY196" fmla="*/ 1172628 h 2163071"/>
                    <a:gd name="connsiteX197" fmla="*/ 2299951 w 2328854"/>
                    <a:gd name="connsiteY197" fmla="*/ 1170861 h 2163071"/>
                    <a:gd name="connsiteX198" fmla="*/ 2297380 w 2328854"/>
                    <a:gd name="connsiteY198" fmla="*/ 1171905 h 2163071"/>
                    <a:gd name="connsiteX199" fmla="*/ 2296336 w 2328854"/>
                    <a:gd name="connsiteY199" fmla="*/ 1170218 h 2163071"/>
                    <a:gd name="connsiteX200" fmla="*/ 2294970 w 2328854"/>
                    <a:gd name="connsiteY200" fmla="*/ 1172066 h 2163071"/>
                    <a:gd name="connsiteX201" fmla="*/ 2291356 w 2328854"/>
                    <a:gd name="connsiteY201" fmla="*/ 1179456 h 2163071"/>
                    <a:gd name="connsiteX202" fmla="*/ 2291597 w 2328854"/>
                    <a:gd name="connsiteY202" fmla="*/ 1178412 h 2163071"/>
                    <a:gd name="connsiteX203" fmla="*/ 2290793 w 2328854"/>
                    <a:gd name="connsiteY203" fmla="*/ 1178010 h 2163071"/>
                    <a:gd name="connsiteX204" fmla="*/ 2289508 w 2328854"/>
                    <a:gd name="connsiteY204" fmla="*/ 1216889 h 2163071"/>
                    <a:gd name="connsiteX205" fmla="*/ 2289588 w 2328854"/>
                    <a:gd name="connsiteY205" fmla="*/ 1217290 h 2163071"/>
                    <a:gd name="connsiteX206" fmla="*/ 2289829 w 2328854"/>
                    <a:gd name="connsiteY206" fmla="*/ 1218897 h 2163071"/>
                    <a:gd name="connsiteX207" fmla="*/ 2291356 w 2328854"/>
                    <a:gd name="connsiteY207" fmla="*/ 1216969 h 2163071"/>
                    <a:gd name="connsiteX208" fmla="*/ 2295533 w 2328854"/>
                    <a:gd name="connsiteY208" fmla="*/ 1210061 h 2163071"/>
                    <a:gd name="connsiteX209" fmla="*/ 2298344 w 2328854"/>
                    <a:gd name="connsiteY209" fmla="*/ 1211266 h 2163071"/>
                    <a:gd name="connsiteX210" fmla="*/ 2298183 w 2328854"/>
                    <a:gd name="connsiteY210" fmla="*/ 1213917 h 2163071"/>
                    <a:gd name="connsiteX211" fmla="*/ 2299629 w 2328854"/>
                    <a:gd name="connsiteY211" fmla="*/ 1210784 h 2163071"/>
                    <a:gd name="connsiteX212" fmla="*/ 2302360 w 2328854"/>
                    <a:gd name="connsiteY212" fmla="*/ 1203072 h 2163071"/>
                    <a:gd name="connsiteX213" fmla="*/ 2304770 w 2328854"/>
                    <a:gd name="connsiteY213" fmla="*/ 1197128 h 2163071"/>
                    <a:gd name="connsiteX214" fmla="*/ 2304449 w 2328854"/>
                    <a:gd name="connsiteY214" fmla="*/ 1196967 h 2163071"/>
                    <a:gd name="connsiteX215" fmla="*/ 2300352 w 2328854"/>
                    <a:gd name="connsiteY215" fmla="*/ 1200261 h 2163071"/>
                    <a:gd name="connsiteX216" fmla="*/ 2302521 w 2328854"/>
                    <a:gd name="connsiteY216" fmla="*/ 1196967 h 2163071"/>
                    <a:gd name="connsiteX217" fmla="*/ 2300593 w 2328854"/>
                    <a:gd name="connsiteY217" fmla="*/ 1197690 h 2163071"/>
                    <a:gd name="connsiteX218" fmla="*/ 2304851 w 2328854"/>
                    <a:gd name="connsiteY218" fmla="*/ 1188453 h 2163071"/>
                    <a:gd name="connsiteX219" fmla="*/ 2304369 w 2328854"/>
                    <a:gd name="connsiteY219" fmla="*/ 1186525 h 2163071"/>
                    <a:gd name="connsiteX220" fmla="*/ 2307180 w 2328854"/>
                    <a:gd name="connsiteY220" fmla="*/ 1172628 h 2163071"/>
                    <a:gd name="connsiteX221" fmla="*/ 2294488 w 2328854"/>
                    <a:gd name="connsiteY221" fmla="*/ 1156482 h 2163071"/>
                    <a:gd name="connsiteX222" fmla="*/ 2294729 w 2328854"/>
                    <a:gd name="connsiteY222" fmla="*/ 1156161 h 2163071"/>
                    <a:gd name="connsiteX223" fmla="*/ 2293123 w 2328854"/>
                    <a:gd name="connsiteY223" fmla="*/ 1157044 h 2163071"/>
                    <a:gd name="connsiteX224" fmla="*/ 2291356 w 2328854"/>
                    <a:gd name="connsiteY224" fmla="*/ 1159695 h 2163071"/>
                    <a:gd name="connsiteX225" fmla="*/ 2289267 w 2328854"/>
                    <a:gd name="connsiteY225" fmla="*/ 1161944 h 2163071"/>
                    <a:gd name="connsiteX226" fmla="*/ 2287259 w 2328854"/>
                    <a:gd name="connsiteY226" fmla="*/ 1164435 h 2163071"/>
                    <a:gd name="connsiteX227" fmla="*/ 2289347 w 2328854"/>
                    <a:gd name="connsiteY227" fmla="*/ 1165077 h 2163071"/>
                    <a:gd name="connsiteX228" fmla="*/ 2290633 w 2328854"/>
                    <a:gd name="connsiteY228" fmla="*/ 1164274 h 2163071"/>
                    <a:gd name="connsiteX229" fmla="*/ 2293846 w 2328854"/>
                    <a:gd name="connsiteY229" fmla="*/ 1162587 h 2163071"/>
                    <a:gd name="connsiteX230" fmla="*/ 2293926 w 2328854"/>
                    <a:gd name="connsiteY230" fmla="*/ 1159936 h 2163071"/>
                    <a:gd name="connsiteX231" fmla="*/ 2292962 w 2328854"/>
                    <a:gd name="connsiteY231" fmla="*/ 1161061 h 2163071"/>
                    <a:gd name="connsiteX232" fmla="*/ 2293284 w 2328854"/>
                    <a:gd name="connsiteY232" fmla="*/ 1159776 h 2163071"/>
                    <a:gd name="connsiteX233" fmla="*/ 2292641 w 2328854"/>
                    <a:gd name="connsiteY233" fmla="*/ 1158811 h 2163071"/>
                    <a:gd name="connsiteX234" fmla="*/ 2294488 w 2328854"/>
                    <a:gd name="connsiteY234" fmla="*/ 1156482 h 2163071"/>
                    <a:gd name="connsiteX235" fmla="*/ 2276093 w 2328854"/>
                    <a:gd name="connsiteY235" fmla="*/ 1162667 h 2163071"/>
                    <a:gd name="connsiteX236" fmla="*/ 2276013 w 2328854"/>
                    <a:gd name="connsiteY236" fmla="*/ 1162426 h 2163071"/>
                    <a:gd name="connsiteX237" fmla="*/ 2275692 w 2328854"/>
                    <a:gd name="connsiteY237" fmla="*/ 1163069 h 2163071"/>
                    <a:gd name="connsiteX238" fmla="*/ 2270069 w 2328854"/>
                    <a:gd name="connsiteY238" fmla="*/ 1183151 h 2163071"/>
                    <a:gd name="connsiteX239" fmla="*/ 2276093 w 2328854"/>
                    <a:gd name="connsiteY239" fmla="*/ 1162667 h 2163071"/>
                    <a:gd name="connsiteX240" fmla="*/ 2316016 w 2328854"/>
                    <a:gd name="connsiteY240" fmla="*/ 1116800 h 2163071"/>
                    <a:gd name="connsiteX241" fmla="*/ 2314811 w 2328854"/>
                    <a:gd name="connsiteY241" fmla="*/ 1116318 h 2163071"/>
                    <a:gd name="connsiteX242" fmla="*/ 2314892 w 2328854"/>
                    <a:gd name="connsiteY242" fmla="*/ 1116318 h 2163071"/>
                    <a:gd name="connsiteX243" fmla="*/ 2316016 w 2328854"/>
                    <a:gd name="connsiteY243" fmla="*/ 1116800 h 2163071"/>
                    <a:gd name="connsiteX244" fmla="*/ 748898 w 2328854"/>
                    <a:gd name="connsiteY244" fmla="*/ 1562138 h 2163071"/>
                    <a:gd name="connsiteX245" fmla="*/ 748898 w 2328854"/>
                    <a:gd name="connsiteY245" fmla="*/ 1562138 h 2163071"/>
                    <a:gd name="connsiteX246" fmla="*/ 740463 w 2328854"/>
                    <a:gd name="connsiteY246" fmla="*/ 1564950 h 2163071"/>
                    <a:gd name="connsiteX247" fmla="*/ 740383 w 2328854"/>
                    <a:gd name="connsiteY247" fmla="*/ 1565432 h 2163071"/>
                    <a:gd name="connsiteX248" fmla="*/ 748898 w 2328854"/>
                    <a:gd name="connsiteY248" fmla="*/ 1562138 h 2163071"/>
                    <a:gd name="connsiteX249" fmla="*/ 2315936 w 2328854"/>
                    <a:gd name="connsiteY249" fmla="*/ 1066756 h 2163071"/>
                    <a:gd name="connsiteX250" fmla="*/ 2315936 w 2328854"/>
                    <a:gd name="connsiteY250" fmla="*/ 1066434 h 2163071"/>
                    <a:gd name="connsiteX251" fmla="*/ 2315775 w 2328854"/>
                    <a:gd name="connsiteY251" fmla="*/ 1066675 h 2163071"/>
                    <a:gd name="connsiteX252" fmla="*/ 2314490 w 2328854"/>
                    <a:gd name="connsiteY252" fmla="*/ 1075029 h 2163071"/>
                    <a:gd name="connsiteX253" fmla="*/ 2315936 w 2328854"/>
                    <a:gd name="connsiteY253" fmla="*/ 1066756 h 2163071"/>
                    <a:gd name="connsiteX254" fmla="*/ 1834530 w 2328854"/>
                    <a:gd name="connsiteY254" fmla="*/ 1333284 h 2163071"/>
                    <a:gd name="connsiteX255" fmla="*/ 1834450 w 2328854"/>
                    <a:gd name="connsiteY255" fmla="*/ 1330392 h 2163071"/>
                    <a:gd name="connsiteX256" fmla="*/ 1833325 w 2328854"/>
                    <a:gd name="connsiteY256" fmla="*/ 1331436 h 2163071"/>
                    <a:gd name="connsiteX257" fmla="*/ 1833727 w 2328854"/>
                    <a:gd name="connsiteY257" fmla="*/ 1330231 h 2163071"/>
                    <a:gd name="connsiteX258" fmla="*/ 1832442 w 2328854"/>
                    <a:gd name="connsiteY258" fmla="*/ 1326697 h 2163071"/>
                    <a:gd name="connsiteX259" fmla="*/ 1830755 w 2328854"/>
                    <a:gd name="connsiteY259" fmla="*/ 1322199 h 2163071"/>
                    <a:gd name="connsiteX260" fmla="*/ 1831960 w 2328854"/>
                    <a:gd name="connsiteY260" fmla="*/ 1321556 h 2163071"/>
                    <a:gd name="connsiteX261" fmla="*/ 1829309 w 2328854"/>
                    <a:gd name="connsiteY261" fmla="*/ 1317459 h 2163071"/>
                    <a:gd name="connsiteX262" fmla="*/ 1830594 w 2328854"/>
                    <a:gd name="connsiteY262" fmla="*/ 1321717 h 2163071"/>
                    <a:gd name="connsiteX263" fmla="*/ 1828827 w 2328854"/>
                    <a:gd name="connsiteY263" fmla="*/ 1323886 h 2163071"/>
                    <a:gd name="connsiteX264" fmla="*/ 1821196 w 2328854"/>
                    <a:gd name="connsiteY264" fmla="*/ 1327581 h 2163071"/>
                    <a:gd name="connsiteX265" fmla="*/ 1823686 w 2328854"/>
                    <a:gd name="connsiteY265" fmla="*/ 1326376 h 2163071"/>
                    <a:gd name="connsiteX266" fmla="*/ 1813243 w 2328854"/>
                    <a:gd name="connsiteY266" fmla="*/ 1324448 h 2163071"/>
                    <a:gd name="connsiteX267" fmla="*/ 1804006 w 2328854"/>
                    <a:gd name="connsiteY267" fmla="*/ 1321797 h 2163071"/>
                    <a:gd name="connsiteX268" fmla="*/ 1803925 w 2328854"/>
                    <a:gd name="connsiteY268" fmla="*/ 1322520 h 2163071"/>
                    <a:gd name="connsiteX269" fmla="*/ 1806657 w 2328854"/>
                    <a:gd name="connsiteY269" fmla="*/ 1325813 h 2163071"/>
                    <a:gd name="connsiteX270" fmla="*/ 1795089 w 2328854"/>
                    <a:gd name="connsiteY270" fmla="*/ 1330955 h 2163071"/>
                    <a:gd name="connsiteX271" fmla="*/ 1802721 w 2328854"/>
                    <a:gd name="connsiteY271" fmla="*/ 1327822 h 2163071"/>
                    <a:gd name="connsiteX272" fmla="*/ 1804166 w 2328854"/>
                    <a:gd name="connsiteY272" fmla="*/ 1327982 h 2163071"/>
                    <a:gd name="connsiteX273" fmla="*/ 1805532 w 2328854"/>
                    <a:gd name="connsiteY273" fmla="*/ 1328464 h 2163071"/>
                    <a:gd name="connsiteX274" fmla="*/ 1815975 w 2328854"/>
                    <a:gd name="connsiteY274" fmla="*/ 1330231 h 2163071"/>
                    <a:gd name="connsiteX275" fmla="*/ 1816055 w 2328854"/>
                    <a:gd name="connsiteY275" fmla="*/ 1330392 h 2163071"/>
                    <a:gd name="connsiteX276" fmla="*/ 1817661 w 2328854"/>
                    <a:gd name="connsiteY276" fmla="*/ 1328946 h 2163071"/>
                    <a:gd name="connsiteX277" fmla="*/ 1820393 w 2328854"/>
                    <a:gd name="connsiteY277" fmla="*/ 1330231 h 2163071"/>
                    <a:gd name="connsiteX278" fmla="*/ 1826738 w 2328854"/>
                    <a:gd name="connsiteY278" fmla="*/ 1330794 h 2163071"/>
                    <a:gd name="connsiteX279" fmla="*/ 1823927 w 2328854"/>
                    <a:gd name="connsiteY279" fmla="*/ 1332159 h 2163071"/>
                    <a:gd name="connsiteX280" fmla="*/ 1819509 w 2328854"/>
                    <a:gd name="connsiteY280" fmla="*/ 1335212 h 2163071"/>
                    <a:gd name="connsiteX281" fmla="*/ 1829229 w 2328854"/>
                    <a:gd name="connsiteY281" fmla="*/ 1332481 h 2163071"/>
                    <a:gd name="connsiteX282" fmla="*/ 1824650 w 2328854"/>
                    <a:gd name="connsiteY282" fmla="*/ 1334489 h 2163071"/>
                    <a:gd name="connsiteX283" fmla="*/ 1828024 w 2328854"/>
                    <a:gd name="connsiteY283" fmla="*/ 1334168 h 2163071"/>
                    <a:gd name="connsiteX284" fmla="*/ 1828024 w 2328854"/>
                    <a:gd name="connsiteY284" fmla="*/ 1333364 h 2163071"/>
                    <a:gd name="connsiteX285" fmla="*/ 1832281 w 2328854"/>
                    <a:gd name="connsiteY285" fmla="*/ 1334409 h 2163071"/>
                    <a:gd name="connsiteX286" fmla="*/ 1829871 w 2328854"/>
                    <a:gd name="connsiteY286" fmla="*/ 1336336 h 2163071"/>
                    <a:gd name="connsiteX287" fmla="*/ 1831478 w 2328854"/>
                    <a:gd name="connsiteY287" fmla="*/ 1336497 h 2163071"/>
                    <a:gd name="connsiteX288" fmla="*/ 1831157 w 2328854"/>
                    <a:gd name="connsiteY288" fmla="*/ 1339148 h 2163071"/>
                    <a:gd name="connsiteX289" fmla="*/ 1832602 w 2328854"/>
                    <a:gd name="connsiteY289" fmla="*/ 1339308 h 2163071"/>
                    <a:gd name="connsiteX290" fmla="*/ 1823847 w 2328854"/>
                    <a:gd name="connsiteY290" fmla="*/ 1343325 h 2163071"/>
                    <a:gd name="connsiteX291" fmla="*/ 1818545 w 2328854"/>
                    <a:gd name="connsiteY291" fmla="*/ 1345092 h 2163071"/>
                    <a:gd name="connsiteX292" fmla="*/ 1836699 w 2328854"/>
                    <a:gd name="connsiteY292" fmla="*/ 1339790 h 2163071"/>
                    <a:gd name="connsiteX293" fmla="*/ 1835735 w 2328854"/>
                    <a:gd name="connsiteY293" fmla="*/ 1340915 h 2163071"/>
                    <a:gd name="connsiteX294" fmla="*/ 1834530 w 2328854"/>
                    <a:gd name="connsiteY294" fmla="*/ 1333284 h 2163071"/>
                    <a:gd name="connsiteX295" fmla="*/ 574988 w 2328854"/>
                    <a:gd name="connsiteY295" fmla="*/ 1494823 h 2163071"/>
                    <a:gd name="connsiteX296" fmla="*/ 575148 w 2328854"/>
                    <a:gd name="connsiteY296" fmla="*/ 1494823 h 2163071"/>
                    <a:gd name="connsiteX297" fmla="*/ 569525 w 2328854"/>
                    <a:gd name="connsiteY297" fmla="*/ 1493699 h 2163071"/>
                    <a:gd name="connsiteX298" fmla="*/ 569525 w 2328854"/>
                    <a:gd name="connsiteY298" fmla="*/ 1493699 h 2163071"/>
                    <a:gd name="connsiteX299" fmla="*/ 569525 w 2328854"/>
                    <a:gd name="connsiteY299" fmla="*/ 1493699 h 2163071"/>
                    <a:gd name="connsiteX300" fmla="*/ 569525 w 2328854"/>
                    <a:gd name="connsiteY300" fmla="*/ 1493699 h 2163071"/>
                    <a:gd name="connsiteX301" fmla="*/ 569525 w 2328854"/>
                    <a:gd name="connsiteY301" fmla="*/ 1493699 h 2163071"/>
                    <a:gd name="connsiteX302" fmla="*/ 569525 w 2328854"/>
                    <a:gd name="connsiteY302" fmla="*/ 1493699 h 2163071"/>
                    <a:gd name="connsiteX303" fmla="*/ 569525 w 2328854"/>
                    <a:gd name="connsiteY303" fmla="*/ 1493699 h 2163071"/>
                    <a:gd name="connsiteX304" fmla="*/ 569525 w 2328854"/>
                    <a:gd name="connsiteY304" fmla="*/ 1493699 h 2163071"/>
                    <a:gd name="connsiteX305" fmla="*/ 569525 w 2328854"/>
                    <a:gd name="connsiteY305" fmla="*/ 1493699 h 2163071"/>
                    <a:gd name="connsiteX306" fmla="*/ 574988 w 2328854"/>
                    <a:gd name="connsiteY306" fmla="*/ 1494823 h 2163071"/>
                    <a:gd name="connsiteX307" fmla="*/ 2324692 w 2328854"/>
                    <a:gd name="connsiteY307" fmla="*/ 978796 h 2163071"/>
                    <a:gd name="connsiteX308" fmla="*/ 2324370 w 2328854"/>
                    <a:gd name="connsiteY308" fmla="*/ 978234 h 2163071"/>
                    <a:gd name="connsiteX309" fmla="*/ 2324370 w 2328854"/>
                    <a:gd name="connsiteY309" fmla="*/ 978475 h 2163071"/>
                    <a:gd name="connsiteX310" fmla="*/ 2324611 w 2328854"/>
                    <a:gd name="connsiteY310" fmla="*/ 978796 h 2163071"/>
                    <a:gd name="connsiteX311" fmla="*/ 2324692 w 2328854"/>
                    <a:gd name="connsiteY311" fmla="*/ 978796 h 2163071"/>
                    <a:gd name="connsiteX312" fmla="*/ 2324692 w 2328854"/>
                    <a:gd name="connsiteY312" fmla="*/ 978796 h 2163071"/>
                    <a:gd name="connsiteX313" fmla="*/ 2294569 w 2328854"/>
                    <a:gd name="connsiteY313" fmla="*/ 1010847 h 2163071"/>
                    <a:gd name="connsiteX314" fmla="*/ 2294569 w 2328854"/>
                    <a:gd name="connsiteY314" fmla="*/ 1010847 h 2163071"/>
                    <a:gd name="connsiteX315" fmla="*/ 2291516 w 2328854"/>
                    <a:gd name="connsiteY315" fmla="*/ 1014542 h 2163071"/>
                    <a:gd name="connsiteX316" fmla="*/ 2293203 w 2328854"/>
                    <a:gd name="connsiteY316" fmla="*/ 1012534 h 2163071"/>
                    <a:gd name="connsiteX317" fmla="*/ 2294087 w 2328854"/>
                    <a:gd name="connsiteY317" fmla="*/ 1011490 h 2163071"/>
                    <a:gd name="connsiteX318" fmla="*/ 2294569 w 2328854"/>
                    <a:gd name="connsiteY318" fmla="*/ 1010847 h 2163071"/>
                    <a:gd name="connsiteX319" fmla="*/ 212869 w 2328854"/>
                    <a:gd name="connsiteY319" fmla="*/ 1424858 h 2163071"/>
                    <a:gd name="connsiteX320" fmla="*/ 209415 w 2328854"/>
                    <a:gd name="connsiteY320" fmla="*/ 1423010 h 2163071"/>
                    <a:gd name="connsiteX321" fmla="*/ 207166 w 2328854"/>
                    <a:gd name="connsiteY321" fmla="*/ 1422448 h 2163071"/>
                    <a:gd name="connsiteX322" fmla="*/ 210781 w 2328854"/>
                    <a:gd name="connsiteY322" fmla="*/ 1426063 h 2163071"/>
                    <a:gd name="connsiteX323" fmla="*/ 212869 w 2328854"/>
                    <a:gd name="connsiteY323" fmla="*/ 1424858 h 2163071"/>
                    <a:gd name="connsiteX324" fmla="*/ 2053183 w 2328854"/>
                    <a:gd name="connsiteY324" fmla="*/ 1166443 h 2163071"/>
                    <a:gd name="connsiteX325" fmla="*/ 2053906 w 2328854"/>
                    <a:gd name="connsiteY325" fmla="*/ 1166041 h 2163071"/>
                    <a:gd name="connsiteX326" fmla="*/ 2053585 w 2328854"/>
                    <a:gd name="connsiteY326" fmla="*/ 1166202 h 2163071"/>
                    <a:gd name="connsiteX327" fmla="*/ 2048042 w 2328854"/>
                    <a:gd name="connsiteY327" fmla="*/ 1169174 h 2163071"/>
                    <a:gd name="connsiteX328" fmla="*/ 2053183 w 2328854"/>
                    <a:gd name="connsiteY328" fmla="*/ 1166443 h 2163071"/>
                    <a:gd name="connsiteX329" fmla="*/ 177204 w 2328854"/>
                    <a:gd name="connsiteY329" fmla="*/ 1374492 h 2163071"/>
                    <a:gd name="connsiteX330" fmla="*/ 177444 w 2328854"/>
                    <a:gd name="connsiteY330" fmla="*/ 1374171 h 2163071"/>
                    <a:gd name="connsiteX331" fmla="*/ 177284 w 2328854"/>
                    <a:gd name="connsiteY331" fmla="*/ 1374251 h 2163071"/>
                    <a:gd name="connsiteX332" fmla="*/ 171018 w 2328854"/>
                    <a:gd name="connsiteY332" fmla="*/ 1375215 h 2163071"/>
                    <a:gd name="connsiteX333" fmla="*/ 177204 w 2328854"/>
                    <a:gd name="connsiteY333" fmla="*/ 1374492 h 2163071"/>
                    <a:gd name="connsiteX334" fmla="*/ 115271 w 2328854"/>
                    <a:gd name="connsiteY334" fmla="*/ 1346297 h 2163071"/>
                    <a:gd name="connsiteX335" fmla="*/ 115271 w 2328854"/>
                    <a:gd name="connsiteY335" fmla="*/ 1346297 h 2163071"/>
                    <a:gd name="connsiteX336" fmla="*/ 114226 w 2328854"/>
                    <a:gd name="connsiteY336" fmla="*/ 1344771 h 2163071"/>
                    <a:gd name="connsiteX337" fmla="*/ 114226 w 2328854"/>
                    <a:gd name="connsiteY337" fmla="*/ 1344851 h 2163071"/>
                    <a:gd name="connsiteX338" fmla="*/ 115271 w 2328854"/>
                    <a:gd name="connsiteY338" fmla="*/ 1346297 h 2163071"/>
                    <a:gd name="connsiteX339" fmla="*/ 433450 w 2328854"/>
                    <a:gd name="connsiteY339" fmla="*/ 1391040 h 2163071"/>
                    <a:gd name="connsiteX340" fmla="*/ 433851 w 2328854"/>
                    <a:gd name="connsiteY340" fmla="*/ 1390558 h 2163071"/>
                    <a:gd name="connsiteX341" fmla="*/ 430799 w 2328854"/>
                    <a:gd name="connsiteY341" fmla="*/ 1389353 h 2163071"/>
                    <a:gd name="connsiteX342" fmla="*/ 429112 w 2328854"/>
                    <a:gd name="connsiteY342" fmla="*/ 1389754 h 2163071"/>
                    <a:gd name="connsiteX343" fmla="*/ 433450 w 2328854"/>
                    <a:gd name="connsiteY343" fmla="*/ 1391040 h 2163071"/>
                    <a:gd name="connsiteX344" fmla="*/ 41690 w 2328854"/>
                    <a:gd name="connsiteY344" fmla="*/ 1258418 h 2163071"/>
                    <a:gd name="connsiteX345" fmla="*/ 41771 w 2328854"/>
                    <a:gd name="connsiteY345" fmla="*/ 1258258 h 2163071"/>
                    <a:gd name="connsiteX346" fmla="*/ 38879 w 2328854"/>
                    <a:gd name="connsiteY346" fmla="*/ 1254482 h 2163071"/>
                    <a:gd name="connsiteX347" fmla="*/ 36951 w 2328854"/>
                    <a:gd name="connsiteY347" fmla="*/ 1253840 h 2163071"/>
                    <a:gd name="connsiteX348" fmla="*/ 41690 w 2328854"/>
                    <a:gd name="connsiteY348" fmla="*/ 1258418 h 2163071"/>
                    <a:gd name="connsiteX349" fmla="*/ 2213357 w 2328854"/>
                    <a:gd name="connsiteY349" fmla="*/ 927547 h 2163071"/>
                    <a:gd name="connsiteX350" fmla="*/ 2213438 w 2328854"/>
                    <a:gd name="connsiteY350" fmla="*/ 927226 h 2163071"/>
                    <a:gd name="connsiteX351" fmla="*/ 2211108 w 2328854"/>
                    <a:gd name="connsiteY351" fmla="*/ 929074 h 2163071"/>
                    <a:gd name="connsiteX352" fmla="*/ 2207814 w 2328854"/>
                    <a:gd name="connsiteY352" fmla="*/ 933251 h 2163071"/>
                    <a:gd name="connsiteX353" fmla="*/ 2209421 w 2328854"/>
                    <a:gd name="connsiteY353" fmla="*/ 934054 h 2163071"/>
                    <a:gd name="connsiteX354" fmla="*/ 2207493 w 2328854"/>
                    <a:gd name="connsiteY354" fmla="*/ 949075 h 2163071"/>
                    <a:gd name="connsiteX355" fmla="*/ 2208939 w 2328854"/>
                    <a:gd name="connsiteY355" fmla="*/ 939195 h 2163071"/>
                    <a:gd name="connsiteX356" fmla="*/ 2210305 w 2328854"/>
                    <a:gd name="connsiteY356" fmla="*/ 935339 h 2163071"/>
                    <a:gd name="connsiteX357" fmla="*/ 2210947 w 2328854"/>
                    <a:gd name="connsiteY357" fmla="*/ 930439 h 2163071"/>
                    <a:gd name="connsiteX358" fmla="*/ 2212956 w 2328854"/>
                    <a:gd name="connsiteY358" fmla="*/ 929957 h 2163071"/>
                    <a:gd name="connsiteX359" fmla="*/ 2213357 w 2328854"/>
                    <a:gd name="connsiteY359" fmla="*/ 927547 h 2163071"/>
                    <a:gd name="connsiteX360" fmla="*/ 2215124 w 2328854"/>
                    <a:gd name="connsiteY360" fmla="*/ 917105 h 2163071"/>
                    <a:gd name="connsiteX361" fmla="*/ 2214482 w 2328854"/>
                    <a:gd name="connsiteY361" fmla="*/ 913490 h 2163071"/>
                    <a:gd name="connsiteX362" fmla="*/ 2211269 w 2328854"/>
                    <a:gd name="connsiteY362" fmla="*/ 908911 h 2163071"/>
                    <a:gd name="connsiteX363" fmla="*/ 2211510 w 2328854"/>
                    <a:gd name="connsiteY363" fmla="*/ 909474 h 2163071"/>
                    <a:gd name="connsiteX364" fmla="*/ 2212554 w 2328854"/>
                    <a:gd name="connsiteY364" fmla="*/ 914132 h 2163071"/>
                    <a:gd name="connsiteX365" fmla="*/ 2211429 w 2328854"/>
                    <a:gd name="connsiteY365" fmla="*/ 915418 h 2163071"/>
                    <a:gd name="connsiteX366" fmla="*/ 2211911 w 2328854"/>
                    <a:gd name="connsiteY366" fmla="*/ 914855 h 2163071"/>
                    <a:gd name="connsiteX367" fmla="*/ 2211429 w 2328854"/>
                    <a:gd name="connsiteY367" fmla="*/ 916542 h 2163071"/>
                    <a:gd name="connsiteX368" fmla="*/ 2214160 w 2328854"/>
                    <a:gd name="connsiteY368" fmla="*/ 924575 h 2163071"/>
                    <a:gd name="connsiteX369" fmla="*/ 2217213 w 2328854"/>
                    <a:gd name="connsiteY369" fmla="*/ 919916 h 2163071"/>
                    <a:gd name="connsiteX370" fmla="*/ 2215124 w 2328854"/>
                    <a:gd name="connsiteY370" fmla="*/ 917105 h 2163071"/>
                    <a:gd name="connsiteX371" fmla="*/ 88361 w 2328854"/>
                    <a:gd name="connsiteY371" fmla="*/ 1230786 h 2163071"/>
                    <a:gd name="connsiteX372" fmla="*/ 89003 w 2328854"/>
                    <a:gd name="connsiteY372" fmla="*/ 1220263 h 2163071"/>
                    <a:gd name="connsiteX373" fmla="*/ 88843 w 2328854"/>
                    <a:gd name="connsiteY373" fmla="*/ 1220263 h 2163071"/>
                    <a:gd name="connsiteX374" fmla="*/ 87477 w 2328854"/>
                    <a:gd name="connsiteY374" fmla="*/ 1220263 h 2163071"/>
                    <a:gd name="connsiteX375" fmla="*/ 86835 w 2328854"/>
                    <a:gd name="connsiteY375" fmla="*/ 1229741 h 2163071"/>
                    <a:gd name="connsiteX376" fmla="*/ 85871 w 2328854"/>
                    <a:gd name="connsiteY376" fmla="*/ 1236810 h 2163071"/>
                    <a:gd name="connsiteX377" fmla="*/ 88361 w 2328854"/>
                    <a:gd name="connsiteY377" fmla="*/ 1230786 h 2163071"/>
                    <a:gd name="connsiteX378" fmla="*/ 77115 w 2328854"/>
                    <a:gd name="connsiteY378" fmla="*/ 1196164 h 2163071"/>
                    <a:gd name="connsiteX379" fmla="*/ 75187 w 2328854"/>
                    <a:gd name="connsiteY379" fmla="*/ 1189577 h 2163071"/>
                    <a:gd name="connsiteX380" fmla="*/ 75267 w 2328854"/>
                    <a:gd name="connsiteY380" fmla="*/ 1189818 h 2163071"/>
                    <a:gd name="connsiteX381" fmla="*/ 75589 w 2328854"/>
                    <a:gd name="connsiteY381" fmla="*/ 1192228 h 2163071"/>
                    <a:gd name="connsiteX382" fmla="*/ 75348 w 2328854"/>
                    <a:gd name="connsiteY382" fmla="*/ 1193192 h 2163071"/>
                    <a:gd name="connsiteX383" fmla="*/ 75589 w 2328854"/>
                    <a:gd name="connsiteY383" fmla="*/ 1194076 h 2163071"/>
                    <a:gd name="connsiteX384" fmla="*/ 75830 w 2328854"/>
                    <a:gd name="connsiteY384" fmla="*/ 1195120 h 2163071"/>
                    <a:gd name="connsiteX385" fmla="*/ 77115 w 2328854"/>
                    <a:gd name="connsiteY385" fmla="*/ 1196164 h 2163071"/>
                    <a:gd name="connsiteX386" fmla="*/ 294322 w 2328854"/>
                    <a:gd name="connsiteY386" fmla="*/ 1247172 h 2163071"/>
                    <a:gd name="connsiteX387" fmla="*/ 294402 w 2328854"/>
                    <a:gd name="connsiteY387" fmla="*/ 1247253 h 2163071"/>
                    <a:gd name="connsiteX388" fmla="*/ 294402 w 2328854"/>
                    <a:gd name="connsiteY388" fmla="*/ 1245485 h 2163071"/>
                    <a:gd name="connsiteX389" fmla="*/ 294402 w 2328854"/>
                    <a:gd name="connsiteY389" fmla="*/ 1245405 h 2163071"/>
                    <a:gd name="connsiteX390" fmla="*/ 294081 w 2328854"/>
                    <a:gd name="connsiteY390" fmla="*/ 1244682 h 2163071"/>
                    <a:gd name="connsiteX391" fmla="*/ 293679 w 2328854"/>
                    <a:gd name="connsiteY391" fmla="*/ 1245405 h 2163071"/>
                    <a:gd name="connsiteX392" fmla="*/ 294322 w 2328854"/>
                    <a:gd name="connsiteY392" fmla="*/ 1247172 h 2163071"/>
                    <a:gd name="connsiteX393" fmla="*/ 282032 w 2328854"/>
                    <a:gd name="connsiteY393" fmla="*/ 1230866 h 2163071"/>
                    <a:gd name="connsiteX394" fmla="*/ 280505 w 2328854"/>
                    <a:gd name="connsiteY394" fmla="*/ 1227572 h 2163071"/>
                    <a:gd name="connsiteX395" fmla="*/ 280425 w 2328854"/>
                    <a:gd name="connsiteY395" fmla="*/ 1227733 h 2163071"/>
                    <a:gd name="connsiteX396" fmla="*/ 281228 w 2328854"/>
                    <a:gd name="connsiteY396" fmla="*/ 1231910 h 2163071"/>
                    <a:gd name="connsiteX397" fmla="*/ 282032 w 2328854"/>
                    <a:gd name="connsiteY397" fmla="*/ 1230866 h 2163071"/>
                    <a:gd name="connsiteX398" fmla="*/ 67395 w 2328854"/>
                    <a:gd name="connsiteY398" fmla="*/ 1151502 h 2163071"/>
                    <a:gd name="connsiteX399" fmla="*/ 67395 w 2328854"/>
                    <a:gd name="connsiteY399" fmla="*/ 1151421 h 2163071"/>
                    <a:gd name="connsiteX400" fmla="*/ 67315 w 2328854"/>
                    <a:gd name="connsiteY400" fmla="*/ 1149815 h 2163071"/>
                    <a:gd name="connsiteX401" fmla="*/ 66913 w 2328854"/>
                    <a:gd name="connsiteY401" fmla="*/ 1150618 h 2163071"/>
                    <a:gd name="connsiteX402" fmla="*/ 66833 w 2328854"/>
                    <a:gd name="connsiteY402" fmla="*/ 1150377 h 2163071"/>
                    <a:gd name="connsiteX403" fmla="*/ 65066 w 2328854"/>
                    <a:gd name="connsiteY403" fmla="*/ 1148289 h 2163071"/>
                    <a:gd name="connsiteX404" fmla="*/ 64664 w 2328854"/>
                    <a:gd name="connsiteY404" fmla="*/ 1149735 h 2163071"/>
                    <a:gd name="connsiteX405" fmla="*/ 67395 w 2328854"/>
                    <a:gd name="connsiteY405" fmla="*/ 1151502 h 2163071"/>
                    <a:gd name="connsiteX406" fmla="*/ 168930 w 2328854"/>
                    <a:gd name="connsiteY406" fmla="*/ 1188131 h 2163071"/>
                    <a:gd name="connsiteX407" fmla="*/ 168930 w 2328854"/>
                    <a:gd name="connsiteY407" fmla="*/ 1188131 h 2163071"/>
                    <a:gd name="connsiteX408" fmla="*/ 168367 w 2328854"/>
                    <a:gd name="connsiteY408" fmla="*/ 1186685 h 2163071"/>
                    <a:gd name="connsiteX409" fmla="*/ 168367 w 2328854"/>
                    <a:gd name="connsiteY409" fmla="*/ 1186685 h 2163071"/>
                    <a:gd name="connsiteX410" fmla="*/ 168930 w 2328854"/>
                    <a:gd name="connsiteY410" fmla="*/ 1188131 h 2163071"/>
                    <a:gd name="connsiteX411" fmla="*/ 2296416 w 2328854"/>
                    <a:gd name="connsiteY411" fmla="*/ 722631 h 2163071"/>
                    <a:gd name="connsiteX412" fmla="*/ 2296336 w 2328854"/>
                    <a:gd name="connsiteY412" fmla="*/ 722068 h 2163071"/>
                    <a:gd name="connsiteX413" fmla="*/ 2261474 w 2328854"/>
                    <a:gd name="connsiteY413" fmla="*/ 723514 h 2163071"/>
                    <a:gd name="connsiteX414" fmla="*/ 2261714 w 2328854"/>
                    <a:gd name="connsiteY414" fmla="*/ 721506 h 2163071"/>
                    <a:gd name="connsiteX415" fmla="*/ 2261393 w 2328854"/>
                    <a:gd name="connsiteY415" fmla="*/ 721426 h 2163071"/>
                    <a:gd name="connsiteX416" fmla="*/ 2260670 w 2328854"/>
                    <a:gd name="connsiteY416" fmla="*/ 722068 h 2163071"/>
                    <a:gd name="connsiteX417" fmla="*/ 2261072 w 2328854"/>
                    <a:gd name="connsiteY417" fmla="*/ 722470 h 2163071"/>
                    <a:gd name="connsiteX418" fmla="*/ 2263964 w 2328854"/>
                    <a:gd name="connsiteY418" fmla="*/ 738455 h 2163071"/>
                    <a:gd name="connsiteX419" fmla="*/ 2265410 w 2328854"/>
                    <a:gd name="connsiteY419" fmla="*/ 744399 h 2163071"/>
                    <a:gd name="connsiteX420" fmla="*/ 2279306 w 2328854"/>
                    <a:gd name="connsiteY420" fmla="*/ 755645 h 2163071"/>
                    <a:gd name="connsiteX421" fmla="*/ 2286054 w 2328854"/>
                    <a:gd name="connsiteY421" fmla="*/ 757814 h 2163071"/>
                    <a:gd name="connsiteX422" fmla="*/ 2297621 w 2328854"/>
                    <a:gd name="connsiteY422" fmla="*/ 774281 h 2163071"/>
                    <a:gd name="connsiteX423" fmla="*/ 2293042 w 2328854"/>
                    <a:gd name="connsiteY423" fmla="*/ 759180 h 2163071"/>
                    <a:gd name="connsiteX424" fmla="*/ 2299469 w 2328854"/>
                    <a:gd name="connsiteY424" fmla="*/ 773157 h 2163071"/>
                    <a:gd name="connsiteX425" fmla="*/ 2299951 w 2328854"/>
                    <a:gd name="connsiteY425" fmla="*/ 772675 h 2163071"/>
                    <a:gd name="connsiteX426" fmla="*/ 2300915 w 2328854"/>
                    <a:gd name="connsiteY426" fmla="*/ 775888 h 2163071"/>
                    <a:gd name="connsiteX427" fmla="*/ 2301477 w 2328854"/>
                    <a:gd name="connsiteY427" fmla="*/ 774844 h 2163071"/>
                    <a:gd name="connsiteX428" fmla="*/ 2303325 w 2328854"/>
                    <a:gd name="connsiteY428" fmla="*/ 750344 h 2163071"/>
                    <a:gd name="connsiteX429" fmla="*/ 2296416 w 2328854"/>
                    <a:gd name="connsiteY429" fmla="*/ 722631 h 2163071"/>
                    <a:gd name="connsiteX430" fmla="*/ 2255529 w 2328854"/>
                    <a:gd name="connsiteY430" fmla="*/ 729699 h 2163071"/>
                    <a:gd name="connsiteX431" fmla="*/ 2255529 w 2328854"/>
                    <a:gd name="connsiteY431" fmla="*/ 729218 h 2163071"/>
                    <a:gd name="connsiteX432" fmla="*/ 2252798 w 2328854"/>
                    <a:gd name="connsiteY432" fmla="*/ 732029 h 2163071"/>
                    <a:gd name="connsiteX433" fmla="*/ 2252236 w 2328854"/>
                    <a:gd name="connsiteY433" fmla="*/ 732591 h 2163071"/>
                    <a:gd name="connsiteX434" fmla="*/ 2252155 w 2328854"/>
                    <a:gd name="connsiteY434" fmla="*/ 732752 h 2163071"/>
                    <a:gd name="connsiteX435" fmla="*/ 2255529 w 2328854"/>
                    <a:gd name="connsiteY435" fmla="*/ 729699 h 2163071"/>
                    <a:gd name="connsiteX436" fmla="*/ 2191749 w 2328854"/>
                    <a:gd name="connsiteY436" fmla="*/ 806975 h 2163071"/>
                    <a:gd name="connsiteX437" fmla="*/ 2191749 w 2328854"/>
                    <a:gd name="connsiteY437" fmla="*/ 806975 h 2163071"/>
                    <a:gd name="connsiteX438" fmla="*/ 2190865 w 2328854"/>
                    <a:gd name="connsiteY438" fmla="*/ 807537 h 2163071"/>
                    <a:gd name="connsiteX439" fmla="*/ 2190865 w 2328854"/>
                    <a:gd name="connsiteY439" fmla="*/ 807537 h 2163071"/>
                    <a:gd name="connsiteX440" fmla="*/ 2191749 w 2328854"/>
                    <a:gd name="connsiteY440" fmla="*/ 806975 h 2163071"/>
                    <a:gd name="connsiteX441" fmla="*/ 2189500 w 2328854"/>
                    <a:gd name="connsiteY441" fmla="*/ 801834 h 2163071"/>
                    <a:gd name="connsiteX442" fmla="*/ 2189580 w 2328854"/>
                    <a:gd name="connsiteY442" fmla="*/ 801673 h 2163071"/>
                    <a:gd name="connsiteX443" fmla="*/ 2189500 w 2328854"/>
                    <a:gd name="connsiteY443" fmla="*/ 801834 h 2163071"/>
                    <a:gd name="connsiteX444" fmla="*/ 2188696 w 2328854"/>
                    <a:gd name="connsiteY444" fmla="*/ 804163 h 2163071"/>
                    <a:gd name="connsiteX445" fmla="*/ 2189500 w 2328854"/>
                    <a:gd name="connsiteY445" fmla="*/ 801834 h 2163071"/>
                    <a:gd name="connsiteX446" fmla="*/ 2189741 w 2328854"/>
                    <a:gd name="connsiteY446" fmla="*/ 801191 h 2163071"/>
                    <a:gd name="connsiteX447" fmla="*/ 2189741 w 2328854"/>
                    <a:gd name="connsiteY447" fmla="*/ 801191 h 2163071"/>
                    <a:gd name="connsiteX448" fmla="*/ 2189741 w 2328854"/>
                    <a:gd name="connsiteY448" fmla="*/ 801191 h 2163071"/>
                    <a:gd name="connsiteX449" fmla="*/ 2189741 w 2328854"/>
                    <a:gd name="connsiteY449" fmla="*/ 801191 h 2163071"/>
                    <a:gd name="connsiteX450" fmla="*/ 2182431 w 2328854"/>
                    <a:gd name="connsiteY450" fmla="*/ 787937 h 2163071"/>
                    <a:gd name="connsiteX451" fmla="*/ 2182431 w 2328854"/>
                    <a:gd name="connsiteY451" fmla="*/ 786813 h 2163071"/>
                    <a:gd name="connsiteX452" fmla="*/ 2181387 w 2328854"/>
                    <a:gd name="connsiteY452" fmla="*/ 786090 h 2163071"/>
                    <a:gd name="connsiteX453" fmla="*/ 2182431 w 2328854"/>
                    <a:gd name="connsiteY453" fmla="*/ 787937 h 2163071"/>
                    <a:gd name="connsiteX454" fmla="*/ 2229423 w 2328854"/>
                    <a:gd name="connsiteY454" fmla="*/ 732431 h 2163071"/>
                    <a:gd name="connsiteX455" fmla="*/ 2229503 w 2328854"/>
                    <a:gd name="connsiteY455" fmla="*/ 732350 h 2163071"/>
                    <a:gd name="connsiteX456" fmla="*/ 2225005 w 2328854"/>
                    <a:gd name="connsiteY456" fmla="*/ 728977 h 2163071"/>
                    <a:gd name="connsiteX457" fmla="*/ 2225085 w 2328854"/>
                    <a:gd name="connsiteY457" fmla="*/ 729378 h 2163071"/>
                    <a:gd name="connsiteX458" fmla="*/ 2229182 w 2328854"/>
                    <a:gd name="connsiteY458" fmla="*/ 732913 h 2163071"/>
                    <a:gd name="connsiteX459" fmla="*/ 2229423 w 2328854"/>
                    <a:gd name="connsiteY459" fmla="*/ 732431 h 2163071"/>
                    <a:gd name="connsiteX460" fmla="*/ 2223800 w 2328854"/>
                    <a:gd name="connsiteY460" fmla="*/ 727129 h 2163071"/>
                    <a:gd name="connsiteX461" fmla="*/ 2221872 w 2328854"/>
                    <a:gd name="connsiteY461" fmla="*/ 726004 h 2163071"/>
                    <a:gd name="connsiteX462" fmla="*/ 2222354 w 2328854"/>
                    <a:gd name="connsiteY462" fmla="*/ 728013 h 2163071"/>
                    <a:gd name="connsiteX463" fmla="*/ 2223800 w 2328854"/>
                    <a:gd name="connsiteY463" fmla="*/ 727129 h 2163071"/>
                    <a:gd name="connsiteX464" fmla="*/ 278577 w 2328854"/>
                    <a:gd name="connsiteY464" fmla="*/ 1170218 h 2163071"/>
                    <a:gd name="connsiteX465" fmla="*/ 278899 w 2328854"/>
                    <a:gd name="connsiteY465" fmla="*/ 1170299 h 2163071"/>
                    <a:gd name="connsiteX466" fmla="*/ 274320 w 2328854"/>
                    <a:gd name="connsiteY466" fmla="*/ 1164274 h 2163071"/>
                    <a:gd name="connsiteX467" fmla="*/ 274159 w 2328854"/>
                    <a:gd name="connsiteY467" fmla="*/ 1166443 h 2163071"/>
                    <a:gd name="connsiteX468" fmla="*/ 278095 w 2328854"/>
                    <a:gd name="connsiteY468" fmla="*/ 1169254 h 2163071"/>
                    <a:gd name="connsiteX469" fmla="*/ 273758 w 2328854"/>
                    <a:gd name="connsiteY469" fmla="*/ 1169495 h 2163071"/>
                    <a:gd name="connsiteX470" fmla="*/ 278577 w 2328854"/>
                    <a:gd name="connsiteY470" fmla="*/ 1170218 h 2163071"/>
                    <a:gd name="connsiteX471" fmla="*/ 2219221 w 2328854"/>
                    <a:gd name="connsiteY471" fmla="*/ 720301 h 2163071"/>
                    <a:gd name="connsiteX472" fmla="*/ 2214642 w 2328854"/>
                    <a:gd name="connsiteY472" fmla="*/ 717329 h 2163071"/>
                    <a:gd name="connsiteX473" fmla="*/ 2214803 w 2328854"/>
                    <a:gd name="connsiteY473" fmla="*/ 717891 h 2163071"/>
                    <a:gd name="connsiteX474" fmla="*/ 2219301 w 2328854"/>
                    <a:gd name="connsiteY474" fmla="*/ 723434 h 2163071"/>
                    <a:gd name="connsiteX475" fmla="*/ 2219221 w 2328854"/>
                    <a:gd name="connsiteY475" fmla="*/ 720301 h 2163071"/>
                    <a:gd name="connsiteX476" fmla="*/ 4820 w 2328854"/>
                    <a:gd name="connsiteY476" fmla="*/ 1019844 h 2163071"/>
                    <a:gd name="connsiteX477" fmla="*/ 4900 w 2328854"/>
                    <a:gd name="connsiteY477" fmla="*/ 1014462 h 2163071"/>
                    <a:gd name="connsiteX478" fmla="*/ 4900 w 2328854"/>
                    <a:gd name="connsiteY478" fmla="*/ 1014623 h 2163071"/>
                    <a:gd name="connsiteX479" fmla="*/ 4820 w 2328854"/>
                    <a:gd name="connsiteY479" fmla="*/ 1019844 h 2163071"/>
                    <a:gd name="connsiteX480" fmla="*/ 218492 w 2328854"/>
                    <a:gd name="connsiteY480" fmla="*/ 1142585 h 2163071"/>
                    <a:gd name="connsiteX481" fmla="*/ 219295 w 2328854"/>
                    <a:gd name="connsiteY481" fmla="*/ 1142585 h 2163071"/>
                    <a:gd name="connsiteX482" fmla="*/ 213030 w 2328854"/>
                    <a:gd name="connsiteY482" fmla="*/ 1137123 h 2163071"/>
                    <a:gd name="connsiteX483" fmla="*/ 209897 w 2328854"/>
                    <a:gd name="connsiteY483" fmla="*/ 1137123 h 2163071"/>
                    <a:gd name="connsiteX484" fmla="*/ 218492 w 2328854"/>
                    <a:gd name="connsiteY484" fmla="*/ 1142585 h 2163071"/>
                    <a:gd name="connsiteX485" fmla="*/ 10844 w 2328854"/>
                    <a:gd name="connsiteY485" fmla="*/ 996951 h 2163071"/>
                    <a:gd name="connsiteX486" fmla="*/ 10925 w 2328854"/>
                    <a:gd name="connsiteY486" fmla="*/ 997352 h 2163071"/>
                    <a:gd name="connsiteX487" fmla="*/ 11407 w 2328854"/>
                    <a:gd name="connsiteY487" fmla="*/ 988516 h 2163071"/>
                    <a:gd name="connsiteX488" fmla="*/ 11246 w 2328854"/>
                    <a:gd name="connsiteY488" fmla="*/ 988998 h 2163071"/>
                    <a:gd name="connsiteX489" fmla="*/ 8515 w 2328854"/>
                    <a:gd name="connsiteY489" fmla="*/ 991006 h 2163071"/>
                    <a:gd name="connsiteX490" fmla="*/ 10844 w 2328854"/>
                    <a:gd name="connsiteY490" fmla="*/ 996951 h 2163071"/>
                    <a:gd name="connsiteX491" fmla="*/ 209897 w 2328854"/>
                    <a:gd name="connsiteY491" fmla="*/ 1119451 h 2163071"/>
                    <a:gd name="connsiteX492" fmla="*/ 208210 w 2328854"/>
                    <a:gd name="connsiteY492" fmla="*/ 1103787 h 2163071"/>
                    <a:gd name="connsiteX493" fmla="*/ 208451 w 2328854"/>
                    <a:gd name="connsiteY493" fmla="*/ 1104510 h 2163071"/>
                    <a:gd name="connsiteX494" fmla="*/ 208692 w 2328854"/>
                    <a:gd name="connsiteY494" fmla="*/ 1115193 h 2163071"/>
                    <a:gd name="connsiteX495" fmla="*/ 209174 w 2328854"/>
                    <a:gd name="connsiteY495" fmla="*/ 1114471 h 2163071"/>
                    <a:gd name="connsiteX496" fmla="*/ 208612 w 2328854"/>
                    <a:gd name="connsiteY496" fmla="*/ 1119692 h 2163071"/>
                    <a:gd name="connsiteX497" fmla="*/ 209897 w 2328854"/>
                    <a:gd name="connsiteY497" fmla="*/ 1119451 h 2163071"/>
                    <a:gd name="connsiteX498" fmla="*/ 241 w 2328854"/>
                    <a:gd name="connsiteY498" fmla="*/ 951164 h 2163071"/>
                    <a:gd name="connsiteX499" fmla="*/ 321 w 2328854"/>
                    <a:gd name="connsiteY499" fmla="*/ 950762 h 2163071"/>
                    <a:gd name="connsiteX500" fmla="*/ 0 w 2328854"/>
                    <a:gd name="connsiteY500" fmla="*/ 951003 h 2163071"/>
                    <a:gd name="connsiteX501" fmla="*/ 241 w 2328854"/>
                    <a:gd name="connsiteY501" fmla="*/ 951164 h 2163071"/>
                    <a:gd name="connsiteX502" fmla="*/ 30926 w 2328854"/>
                    <a:gd name="connsiteY502" fmla="*/ 993095 h 2163071"/>
                    <a:gd name="connsiteX503" fmla="*/ 31328 w 2328854"/>
                    <a:gd name="connsiteY503" fmla="*/ 992693 h 2163071"/>
                    <a:gd name="connsiteX504" fmla="*/ 31167 w 2328854"/>
                    <a:gd name="connsiteY504" fmla="*/ 992854 h 2163071"/>
                    <a:gd name="connsiteX505" fmla="*/ 25785 w 2328854"/>
                    <a:gd name="connsiteY505" fmla="*/ 997352 h 2163071"/>
                    <a:gd name="connsiteX506" fmla="*/ 25303 w 2328854"/>
                    <a:gd name="connsiteY506" fmla="*/ 997111 h 2163071"/>
                    <a:gd name="connsiteX507" fmla="*/ 23697 w 2328854"/>
                    <a:gd name="connsiteY507" fmla="*/ 997111 h 2163071"/>
                    <a:gd name="connsiteX508" fmla="*/ 23616 w 2328854"/>
                    <a:gd name="connsiteY508" fmla="*/ 999120 h 2163071"/>
                    <a:gd name="connsiteX509" fmla="*/ 28115 w 2328854"/>
                    <a:gd name="connsiteY509" fmla="*/ 999521 h 2163071"/>
                    <a:gd name="connsiteX510" fmla="*/ 30926 w 2328854"/>
                    <a:gd name="connsiteY510" fmla="*/ 993095 h 2163071"/>
                    <a:gd name="connsiteX511" fmla="*/ 2203638 w 2328854"/>
                    <a:gd name="connsiteY511" fmla="*/ 663670 h 2163071"/>
                    <a:gd name="connsiteX512" fmla="*/ 2203638 w 2328854"/>
                    <a:gd name="connsiteY512" fmla="*/ 663670 h 2163071"/>
                    <a:gd name="connsiteX513" fmla="*/ 2194560 w 2328854"/>
                    <a:gd name="connsiteY513" fmla="*/ 659412 h 2163071"/>
                    <a:gd name="connsiteX514" fmla="*/ 2194882 w 2328854"/>
                    <a:gd name="connsiteY514" fmla="*/ 659814 h 2163071"/>
                    <a:gd name="connsiteX515" fmla="*/ 2203638 w 2328854"/>
                    <a:gd name="connsiteY515" fmla="*/ 663670 h 2163071"/>
                    <a:gd name="connsiteX516" fmla="*/ 2182752 w 2328854"/>
                    <a:gd name="connsiteY516" fmla="*/ 659894 h 2163071"/>
                    <a:gd name="connsiteX517" fmla="*/ 2182511 w 2328854"/>
                    <a:gd name="connsiteY517" fmla="*/ 658931 h 2163071"/>
                    <a:gd name="connsiteX518" fmla="*/ 2181226 w 2328854"/>
                    <a:gd name="connsiteY518" fmla="*/ 660216 h 2163071"/>
                    <a:gd name="connsiteX519" fmla="*/ 2180503 w 2328854"/>
                    <a:gd name="connsiteY519" fmla="*/ 672667 h 2163071"/>
                    <a:gd name="connsiteX520" fmla="*/ 2184600 w 2328854"/>
                    <a:gd name="connsiteY520" fmla="*/ 670257 h 2163071"/>
                    <a:gd name="connsiteX521" fmla="*/ 2182752 w 2328854"/>
                    <a:gd name="connsiteY521" fmla="*/ 659894 h 2163071"/>
                    <a:gd name="connsiteX522" fmla="*/ 7310 w 2328854"/>
                    <a:gd name="connsiteY522" fmla="*/ 922487 h 2163071"/>
                    <a:gd name="connsiteX523" fmla="*/ 7551 w 2328854"/>
                    <a:gd name="connsiteY523" fmla="*/ 921041 h 2163071"/>
                    <a:gd name="connsiteX524" fmla="*/ 7551 w 2328854"/>
                    <a:gd name="connsiteY524" fmla="*/ 921121 h 2163071"/>
                    <a:gd name="connsiteX525" fmla="*/ 7310 w 2328854"/>
                    <a:gd name="connsiteY525" fmla="*/ 922487 h 2163071"/>
                    <a:gd name="connsiteX526" fmla="*/ 7310 w 2328854"/>
                    <a:gd name="connsiteY526" fmla="*/ 922487 h 2163071"/>
                    <a:gd name="connsiteX527" fmla="*/ 2127567 w 2328854"/>
                    <a:gd name="connsiteY527" fmla="*/ 730663 h 2163071"/>
                    <a:gd name="connsiteX528" fmla="*/ 2127888 w 2328854"/>
                    <a:gd name="connsiteY528" fmla="*/ 730422 h 2163071"/>
                    <a:gd name="connsiteX529" fmla="*/ 2121462 w 2328854"/>
                    <a:gd name="connsiteY529" fmla="*/ 725683 h 2163071"/>
                    <a:gd name="connsiteX530" fmla="*/ 2121542 w 2328854"/>
                    <a:gd name="connsiteY530" fmla="*/ 726165 h 2163071"/>
                    <a:gd name="connsiteX531" fmla="*/ 2127567 w 2328854"/>
                    <a:gd name="connsiteY531" fmla="*/ 730663 h 2163071"/>
                    <a:gd name="connsiteX532" fmla="*/ 7631 w 2328854"/>
                    <a:gd name="connsiteY532" fmla="*/ 920478 h 2163071"/>
                    <a:gd name="connsiteX533" fmla="*/ 7631 w 2328854"/>
                    <a:gd name="connsiteY533" fmla="*/ 920478 h 2163071"/>
                    <a:gd name="connsiteX534" fmla="*/ 7792 w 2328854"/>
                    <a:gd name="connsiteY534" fmla="*/ 919274 h 2163071"/>
                    <a:gd name="connsiteX535" fmla="*/ 7792 w 2328854"/>
                    <a:gd name="connsiteY535" fmla="*/ 919274 h 2163071"/>
                    <a:gd name="connsiteX536" fmla="*/ 7631 w 2328854"/>
                    <a:gd name="connsiteY536" fmla="*/ 920478 h 2163071"/>
                    <a:gd name="connsiteX537" fmla="*/ 35184 w 2328854"/>
                    <a:gd name="connsiteY537" fmla="*/ 952690 h 2163071"/>
                    <a:gd name="connsiteX538" fmla="*/ 35184 w 2328854"/>
                    <a:gd name="connsiteY538" fmla="*/ 952690 h 2163071"/>
                    <a:gd name="connsiteX539" fmla="*/ 35184 w 2328854"/>
                    <a:gd name="connsiteY539" fmla="*/ 949236 h 2163071"/>
                    <a:gd name="connsiteX540" fmla="*/ 35103 w 2328854"/>
                    <a:gd name="connsiteY540" fmla="*/ 949397 h 2163071"/>
                    <a:gd name="connsiteX541" fmla="*/ 33818 w 2328854"/>
                    <a:gd name="connsiteY541" fmla="*/ 953574 h 2163071"/>
                    <a:gd name="connsiteX542" fmla="*/ 35184 w 2328854"/>
                    <a:gd name="connsiteY542" fmla="*/ 952690 h 2163071"/>
                    <a:gd name="connsiteX543" fmla="*/ 2179700 w 2328854"/>
                    <a:gd name="connsiteY543" fmla="*/ 630976 h 2163071"/>
                    <a:gd name="connsiteX544" fmla="*/ 2174478 w 2328854"/>
                    <a:gd name="connsiteY544" fmla="*/ 629771 h 2163071"/>
                    <a:gd name="connsiteX545" fmla="*/ 2174960 w 2328854"/>
                    <a:gd name="connsiteY545" fmla="*/ 630735 h 2163071"/>
                    <a:gd name="connsiteX546" fmla="*/ 2179700 w 2328854"/>
                    <a:gd name="connsiteY546" fmla="*/ 630976 h 2163071"/>
                    <a:gd name="connsiteX547" fmla="*/ 2179700 w 2328854"/>
                    <a:gd name="connsiteY547" fmla="*/ 630976 h 2163071"/>
                    <a:gd name="connsiteX548" fmla="*/ 12210 w 2328854"/>
                    <a:gd name="connsiteY548" fmla="*/ 885937 h 2163071"/>
                    <a:gd name="connsiteX549" fmla="*/ 12210 w 2328854"/>
                    <a:gd name="connsiteY549" fmla="*/ 885937 h 2163071"/>
                    <a:gd name="connsiteX550" fmla="*/ 12611 w 2328854"/>
                    <a:gd name="connsiteY550" fmla="*/ 883768 h 2163071"/>
                    <a:gd name="connsiteX551" fmla="*/ 12130 w 2328854"/>
                    <a:gd name="connsiteY551" fmla="*/ 884250 h 2163071"/>
                    <a:gd name="connsiteX552" fmla="*/ 12290 w 2328854"/>
                    <a:gd name="connsiteY552" fmla="*/ 883367 h 2163071"/>
                    <a:gd name="connsiteX553" fmla="*/ 12210 w 2328854"/>
                    <a:gd name="connsiteY553" fmla="*/ 885937 h 2163071"/>
                    <a:gd name="connsiteX554" fmla="*/ 2173595 w 2328854"/>
                    <a:gd name="connsiteY554" fmla="*/ 482932 h 2163071"/>
                    <a:gd name="connsiteX555" fmla="*/ 2173193 w 2328854"/>
                    <a:gd name="connsiteY555" fmla="*/ 482369 h 2163071"/>
                    <a:gd name="connsiteX556" fmla="*/ 2173193 w 2328854"/>
                    <a:gd name="connsiteY556" fmla="*/ 482369 h 2163071"/>
                    <a:gd name="connsiteX557" fmla="*/ 2173836 w 2328854"/>
                    <a:gd name="connsiteY557" fmla="*/ 483655 h 2163071"/>
                    <a:gd name="connsiteX558" fmla="*/ 2174800 w 2328854"/>
                    <a:gd name="connsiteY558" fmla="*/ 484779 h 2163071"/>
                    <a:gd name="connsiteX559" fmla="*/ 2173595 w 2328854"/>
                    <a:gd name="connsiteY559" fmla="*/ 482932 h 2163071"/>
                    <a:gd name="connsiteX560" fmla="*/ 36871 w 2328854"/>
                    <a:gd name="connsiteY560" fmla="*/ 941283 h 2163071"/>
                    <a:gd name="connsiteX561" fmla="*/ 37513 w 2328854"/>
                    <a:gd name="connsiteY561" fmla="*/ 934134 h 2163071"/>
                    <a:gd name="connsiteX562" fmla="*/ 37272 w 2328854"/>
                    <a:gd name="connsiteY562" fmla="*/ 928591 h 2163071"/>
                    <a:gd name="connsiteX563" fmla="*/ 34541 w 2328854"/>
                    <a:gd name="connsiteY563" fmla="*/ 939195 h 2163071"/>
                    <a:gd name="connsiteX564" fmla="*/ 35264 w 2328854"/>
                    <a:gd name="connsiteY564" fmla="*/ 937990 h 2163071"/>
                    <a:gd name="connsiteX565" fmla="*/ 36228 w 2328854"/>
                    <a:gd name="connsiteY565" fmla="*/ 941846 h 2163071"/>
                    <a:gd name="connsiteX566" fmla="*/ 36871 w 2328854"/>
                    <a:gd name="connsiteY566" fmla="*/ 941283 h 2163071"/>
                    <a:gd name="connsiteX567" fmla="*/ 19118 w 2328854"/>
                    <a:gd name="connsiteY567" fmla="*/ 879511 h 2163071"/>
                    <a:gd name="connsiteX568" fmla="*/ 19118 w 2328854"/>
                    <a:gd name="connsiteY568" fmla="*/ 879511 h 2163071"/>
                    <a:gd name="connsiteX569" fmla="*/ 19118 w 2328854"/>
                    <a:gd name="connsiteY569" fmla="*/ 879511 h 2163071"/>
                    <a:gd name="connsiteX570" fmla="*/ 19118 w 2328854"/>
                    <a:gd name="connsiteY570" fmla="*/ 879511 h 2163071"/>
                    <a:gd name="connsiteX571" fmla="*/ 19118 w 2328854"/>
                    <a:gd name="connsiteY571" fmla="*/ 879511 h 2163071"/>
                    <a:gd name="connsiteX572" fmla="*/ 19118 w 2328854"/>
                    <a:gd name="connsiteY572" fmla="*/ 879511 h 2163071"/>
                    <a:gd name="connsiteX573" fmla="*/ 19118 w 2328854"/>
                    <a:gd name="connsiteY573" fmla="*/ 879511 h 2163071"/>
                    <a:gd name="connsiteX574" fmla="*/ 19118 w 2328854"/>
                    <a:gd name="connsiteY574" fmla="*/ 879511 h 2163071"/>
                    <a:gd name="connsiteX575" fmla="*/ 19118 w 2328854"/>
                    <a:gd name="connsiteY575" fmla="*/ 879511 h 2163071"/>
                    <a:gd name="connsiteX576" fmla="*/ 19118 w 2328854"/>
                    <a:gd name="connsiteY576" fmla="*/ 879511 h 2163071"/>
                    <a:gd name="connsiteX577" fmla="*/ 19118 w 2328854"/>
                    <a:gd name="connsiteY577" fmla="*/ 879511 h 2163071"/>
                    <a:gd name="connsiteX578" fmla="*/ 19118 w 2328854"/>
                    <a:gd name="connsiteY578" fmla="*/ 879511 h 2163071"/>
                    <a:gd name="connsiteX579" fmla="*/ 19118 w 2328854"/>
                    <a:gd name="connsiteY579" fmla="*/ 879511 h 2163071"/>
                    <a:gd name="connsiteX580" fmla="*/ 19118 w 2328854"/>
                    <a:gd name="connsiteY580" fmla="*/ 879511 h 2163071"/>
                    <a:gd name="connsiteX581" fmla="*/ 19118 w 2328854"/>
                    <a:gd name="connsiteY581" fmla="*/ 879511 h 2163071"/>
                    <a:gd name="connsiteX582" fmla="*/ 19118 w 2328854"/>
                    <a:gd name="connsiteY582" fmla="*/ 879511 h 2163071"/>
                    <a:gd name="connsiteX583" fmla="*/ 19118 w 2328854"/>
                    <a:gd name="connsiteY583" fmla="*/ 879511 h 2163071"/>
                    <a:gd name="connsiteX584" fmla="*/ 19118 w 2328854"/>
                    <a:gd name="connsiteY584" fmla="*/ 879511 h 2163071"/>
                    <a:gd name="connsiteX585" fmla="*/ 19118 w 2328854"/>
                    <a:gd name="connsiteY585" fmla="*/ 879511 h 2163071"/>
                    <a:gd name="connsiteX586" fmla="*/ 19118 w 2328854"/>
                    <a:gd name="connsiteY586" fmla="*/ 879511 h 2163071"/>
                    <a:gd name="connsiteX587" fmla="*/ 19118 w 2328854"/>
                    <a:gd name="connsiteY587" fmla="*/ 879511 h 2163071"/>
                    <a:gd name="connsiteX588" fmla="*/ 19118 w 2328854"/>
                    <a:gd name="connsiteY588" fmla="*/ 879511 h 2163071"/>
                    <a:gd name="connsiteX589" fmla="*/ 19118 w 2328854"/>
                    <a:gd name="connsiteY589" fmla="*/ 879511 h 2163071"/>
                    <a:gd name="connsiteX590" fmla="*/ 19118 w 2328854"/>
                    <a:gd name="connsiteY590" fmla="*/ 879511 h 2163071"/>
                    <a:gd name="connsiteX591" fmla="*/ 19118 w 2328854"/>
                    <a:gd name="connsiteY591" fmla="*/ 879511 h 2163071"/>
                    <a:gd name="connsiteX592" fmla="*/ 19118 w 2328854"/>
                    <a:gd name="connsiteY592" fmla="*/ 879511 h 2163071"/>
                    <a:gd name="connsiteX593" fmla="*/ 19118 w 2328854"/>
                    <a:gd name="connsiteY593" fmla="*/ 879511 h 2163071"/>
                    <a:gd name="connsiteX594" fmla="*/ 19118 w 2328854"/>
                    <a:gd name="connsiteY594" fmla="*/ 879511 h 2163071"/>
                    <a:gd name="connsiteX595" fmla="*/ 19118 w 2328854"/>
                    <a:gd name="connsiteY595" fmla="*/ 879511 h 2163071"/>
                    <a:gd name="connsiteX596" fmla="*/ 19118 w 2328854"/>
                    <a:gd name="connsiteY596" fmla="*/ 879511 h 2163071"/>
                    <a:gd name="connsiteX597" fmla="*/ 19118 w 2328854"/>
                    <a:gd name="connsiteY597" fmla="*/ 879511 h 2163071"/>
                    <a:gd name="connsiteX598" fmla="*/ 19118 w 2328854"/>
                    <a:gd name="connsiteY598" fmla="*/ 879511 h 2163071"/>
                    <a:gd name="connsiteX599" fmla="*/ 19118 w 2328854"/>
                    <a:gd name="connsiteY599" fmla="*/ 879511 h 2163071"/>
                    <a:gd name="connsiteX600" fmla="*/ 19118 w 2328854"/>
                    <a:gd name="connsiteY600" fmla="*/ 879511 h 2163071"/>
                    <a:gd name="connsiteX601" fmla="*/ 19118 w 2328854"/>
                    <a:gd name="connsiteY601" fmla="*/ 879511 h 2163071"/>
                    <a:gd name="connsiteX602" fmla="*/ 19118 w 2328854"/>
                    <a:gd name="connsiteY602" fmla="*/ 879511 h 2163071"/>
                    <a:gd name="connsiteX603" fmla="*/ 19118 w 2328854"/>
                    <a:gd name="connsiteY603" fmla="*/ 879511 h 2163071"/>
                    <a:gd name="connsiteX604" fmla="*/ 19118 w 2328854"/>
                    <a:gd name="connsiteY604" fmla="*/ 879511 h 2163071"/>
                    <a:gd name="connsiteX605" fmla="*/ 19118 w 2328854"/>
                    <a:gd name="connsiteY605" fmla="*/ 879511 h 2163071"/>
                    <a:gd name="connsiteX606" fmla="*/ 19118 w 2328854"/>
                    <a:gd name="connsiteY606" fmla="*/ 879511 h 2163071"/>
                    <a:gd name="connsiteX607" fmla="*/ 19118 w 2328854"/>
                    <a:gd name="connsiteY607" fmla="*/ 879511 h 2163071"/>
                    <a:gd name="connsiteX608" fmla="*/ 19118 w 2328854"/>
                    <a:gd name="connsiteY608" fmla="*/ 879511 h 2163071"/>
                    <a:gd name="connsiteX609" fmla="*/ 19118 w 2328854"/>
                    <a:gd name="connsiteY609" fmla="*/ 879511 h 2163071"/>
                    <a:gd name="connsiteX610" fmla="*/ 19118 w 2328854"/>
                    <a:gd name="connsiteY610" fmla="*/ 879511 h 2163071"/>
                    <a:gd name="connsiteX611" fmla="*/ 19118 w 2328854"/>
                    <a:gd name="connsiteY611" fmla="*/ 879511 h 2163071"/>
                    <a:gd name="connsiteX612" fmla="*/ 19118 w 2328854"/>
                    <a:gd name="connsiteY612" fmla="*/ 879511 h 2163071"/>
                    <a:gd name="connsiteX613" fmla="*/ 19118 w 2328854"/>
                    <a:gd name="connsiteY613" fmla="*/ 879511 h 2163071"/>
                    <a:gd name="connsiteX614" fmla="*/ 19118 w 2328854"/>
                    <a:gd name="connsiteY614" fmla="*/ 879511 h 2163071"/>
                    <a:gd name="connsiteX615" fmla="*/ 19118 w 2328854"/>
                    <a:gd name="connsiteY615" fmla="*/ 879511 h 2163071"/>
                    <a:gd name="connsiteX616" fmla="*/ 19118 w 2328854"/>
                    <a:gd name="connsiteY616" fmla="*/ 879511 h 2163071"/>
                    <a:gd name="connsiteX617" fmla="*/ 19118 w 2328854"/>
                    <a:gd name="connsiteY617" fmla="*/ 879511 h 2163071"/>
                    <a:gd name="connsiteX618" fmla="*/ 19118 w 2328854"/>
                    <a:gd name="connsiteY618" fmla="*/ 879511 h 2163071"/>
                    <a:gd name="connsiteX619" fmla="*/ 19118 w 2328854"/>
                    <a:gd name="connsiteY619" fmla="*/ 879511 h 2163071"/>
                    <a:gd name="connsiteX620" fmla="*/ 19118 w 2328854"/>
                    <a:gd name="connsiteY620" fmla="*/ 879511 h 2163071"/>
                    <a:gd name="connsiteX621" fmla="*/ 19118 w 2328854"/>
                    <a:gd name="connsiteY621" fmla="*/ 879511 h 2163071"/>
                    <a:gd name="connsiteX622" fmla="*/ 19118 w 2328854"/>
                    <a:gd name="connsiteY622" fmla="*/ 879511 h 2163071"/>
                    <a:gd name="connsiteX623" fmla="*/ 19118 w 2328854"/>
                    <a:gd name="connsiteY623" fmla="*/ 879511 h 2163071"/>
                    <a:gd name="connsiteX624" fmla="*/ 19118 w 2328854"/>
                    <a:gd name="connsiteY624" fmla="*/ 879511 h 2163071"/>
                    <a:gd name="connsiteX625" fmla="*/ 19118 w 2328854"/>
                    <a:gd name="connsiteY625" fmla="*/ 879511 h 2163071"/>
                    <a:gd name="connsiteX626" fmla="*/ 19118 w 2328854"/>
                    <a:gd name="connsiteY626" fmla="*/ 879511 h 2163071"/>
                    <a:gd name="connsiteX627" fmla="*/ 19118 w 2328854"/>
                    <a:gd name="connsiteY627" fmla="*/ 879511 h 2163071"/>
                    <a:gd name="connsiteX628" fmla="*/ 19118 w 2328854"/>
                    <a:gd name="connsiteY628" fmla="*/ 879511 h 2163071"/>
                    <a:gd name="connsiteX629" fmla="*/ 19118 w 2328854"/>
                    <a:gd name="connsiteY629" fmla="*/ 879511 h 2163071"/>
                    <a:gd name="connsiteX630" fmla="*/ 19118 w 2328854"/>
                    <a:gd name="connsiteY630" fmla="*/ 879511 h 2163071"/>
                    <a:gd name="connsiteX631" fmla="*/ 19118 w 2328854"/>
                    <a:gd name="connsiteY631" fmla="*/ 879511 h 2163071"/>
                    <a:gd name="connsiteX632" fmla="*/ 19118 w 2328854"/>
                    <a:gd name="connsiteY632" fmla="*/ 879511 h 2163071"/>
                    <a:gd name="connsiteX633" fmla="*/ 19118 w 2328854"/>
                    <a:gd name="connsiteY633" fmla="*/ 879511 h 2163071"/>
                    <a:gd name="connsiteX634" fmla="*/ 19118 w 2328854"/>
                    <a:gd name="connsiteY634" fmla="*/ 879511 h 2163071"/>
                    <a:gd name="connsiteX635" fmla="*/ 19118 w 2328854"/>
                    <a:gd name="connsiteY635" fmla="*/ 879511 h 2163071"/>
                    <a:gd name="connsiteX636" fmla="*/ 19118 w 2328854"/>
                    <a:gd name="connsiteY636" fmla="*/ 879511 h 2163071"/>
                    <a:gd name="connsiteX637" fmla="*/ 19118 w 2328854"/>
                    <a:gd name="connsiteY637" fmla="*/ 879511 h 2163071"/>
                    <a:gd name="connsiteX638" fmla="*/ 19118 w 2328854"/>
                    <a:gd name="connsiteY638" fmla="*/ 879511 h 2163071"/>
                    <a:gd name="connsiteX639" fmla="*/ 19118 w 2328854"/>
                    <a:gd name="connsiteY639" fmla="*/ 879511 h 2163071"/>
                    <a:gd name="connsiteX640" fmla="*/ 19118 w 2328854"/>
                    <a:gd name="connsiteY640" fmla="*/ 879511 h 2163071"/>
                    <a:gd name="connsiteX641" fmla="*/ 19118 w 2328854"/>
                    <a:gd name="connsiteY641" fmla="*/ 879511 h 2163071"/>
                    <a:gd name="connsiteX642" fmla="*/ 19118 w 2328854"/>
                    <a:gd name="connsiteY642" fmla="*/ 879511 h 2163071"/>
                    <a:gd name="connsiteX643" fmla="*/ 19118 w 2328854"/>
                    <a:gd name="connsiteY643" fmla="*/ 879511 h 2163071"/>
                    <a:gd name="connsiteX644" fmla="*/ 19118 w 2328854"/>
                    <a:gd name="connsiteY644" fmla="*/ 879511 h 2163071"/>
                    <a:gd name="connsiteX645" fmla="*/ 19118 w 2328854"/>
                    <a:gd name="connsiteY645" fmla="*/ 879511 h 2163071"/>
                    <a:gd name="connsiteX646" fmla="*/ 19118 w 2328854"/>
                    <a:gd name="connsiteY646" fmla="*/ 879511 h 2163071"/>
                    <a:gd name="connsiteX647" fmla="*/ 19118 w 2328854"/>
                    <a:gd name="connsiteY647" fmla="*/ 879511 h 2163071"/>
                    <a:gd name="connsiteX648" fmla="*/ 19118 w 2328854"/>
                    <a:gd name="connsiteY648" fmla="*/ 879511 h 2163071"/>
                    <a:gd name="connsiteX649" fmla="*/ 19118 w 2328854"/>
                    <a:gd name="connsiteY649" fmla="*/ 879511 h 2163071"/>
                    <a:gd name="connsiteX650" fmla="*/ 19118 w 2328854"/>
                    <a:gd name="connsiteY650" fmla="*/ 879511 h 2163071"/>
                    <a:gd name="connsiteX651" fmla="*/ 19118 w 2328854"/>
                    <a:gd name="connsiteY651" fmla="*/ 879511 h 2163071"/>
                    <a:gd name="connsiteX652" fmla="*/ 19118 w 2328854"/>
                    <a:gd name="connsiteY652" fmla="*/ 879511 h 2163071"/>
                    <a:gd name="connsiteX653" fmla="*/ 19118 w 2328854"/>
                    <a:gd name="connsiteY653" fmla="*/ 879511 h 2163071"/>
                    <a:gd name="connsiteX654" fmla="*/ 19118 w 2328854"/>
                    <a:gd name="connsiteY654" fmla="*/ 879511 h 2163071"/>
                    <a:gd name="connsiteX655" fmla="*/ 19118 w 2328854"/>
                    <a:gd name="connsiteY655" fmla="*/ 879511 h 2163071"/>
                    <a:gd name="connsiteX656" fmla="*/ 19118 w 2328854"/>
                    <a:gd name="connsiteY656" fmla="*/ 879511 h 2163071"/>
                    <a:gd name="connsiteX657" fmla="*/ 19118 w 2328854"/>
                    <a:gd name="connsiteY657" fmla="*/ 879511 h 2163071"/>
                    <a:gd name="connsiteX658" fmla="*/ 19118 w 2328854"/>
                    <a:gd name="connsiteY658" fmla="*/ 879511 h 2163071"/>
                    <a:gd name="connsiteX659" fmla="*/ 19118 w 2328854"/>
                    <a:gd name="connsiteY659" fmla="*/ 879511 h 2163071"/>
                    <a:gd name="connsiteX660" fmla="*/ 19118 w 2328854"/>
                    <a:gd name="connsiteY660" fmla="*/ 879511 h 2163071"/>
                    <a:gd name="connsiteX661" fmla="*/ 19118 w 2328854"/>
                    <a:gd name="connsiteY661" fmla="*/ 879511 h 2163071"/>
                    <a:gd name="connsiteX662" fmla="*/ 19118 w 2328854"/>
                    <a:gd name="connsiteY662" fmla="*/ 879511 h 2163071"/>
                    <a:gd name="connsiteX663" fmla="*/ 19118 w 2328854"/>
                    <a:gd name="connsiteY663" fmla="*/ 879511 h 2163071"/>
                    <a:gd name="connsiteX664" fmla="*/ 19118 w 2328854"/>
                    <a:gd name="connsiteY664" fmla="*/ 879511 h 2163071"/>
                    <a:gd name="connsiteX665" fmla="*/ 19118 w 2328854"/>
                    <a:gd name="connsiteY665" fmla="*/ 879511 h 2163071"/>
                    <a:gd name="connsiteX666" fmla="*/ 19118 w 2328854"/>
                    <a:gd name="connsiteY666" fmla="*/ 879511 h 2163071"/>
                    <a:gd name="connsiteX667" fmla="*/ 19118 w 2328854"/>
                    <a:gd name="connsiteY667" fmla="*/ 879511 h 2163071"/>
                    <a:gd name="connsiteX668" fmla="*/ 19118 w 2328854"/>
                    <a:gd name="connsiteY668" fmla="*/ 879511 h 2163071"/>
                    <a:gd name="connsiteX669" fmla="*/ 19118 w 2328854"/>
                    <a:gd name="connsiteY669" fmla="*/ 879511 h 2163071"/>
                    <a:gd name="connsiteX670" fmla="*/ 19118 w 2328854"/>
                    <a:gd name="connsiteY670" fmla="*/ 879511 h 2163071"/>
                    <a:gd name="connsiteX671" fmla="*/ 19118 w 2328854"/>
                    <a:gd name="connsiteY671" fmla="*/ 879511 h 2163071"/>
                    <a:gd name="connsiteX672" fmla="*/ 19118 w 2328854"/>
                    <a:gd name="connsiteY672" fmla="*/ 879511 h 2163071"/>
                    <a:gd name="connsiteX673" fmla="*/ 19118 w 2328854"/>
                    <a:gd name="connsiteY673" fmla="*/ 879511 h 2163071"/>
                    <a:gd name="connsiteX674" fmla="*/ 19118 w 2328854"/>
                    <a:gd name="connsiteY674" fmla="*/ 879511 h 2163071"/>
                    <a:gd name="connsiteX675" fmla="*/ 19118 w 2328854"/>
                    <a:gd name="connsiteY675" fmla="*/ 879511 h 2163071"/>
                    <a:gd name="connsiteX676" fmla="*/ 19118 w 2328854"/>
                    <a:gd name="connsiteY676" fmla="*/ 879511 h 2163071"/>
                    <a:gd name="connsiteX677" fmla="*/ 19118 w 2328854"/>
                    <a:gd name="connsiteY677" fmla="*/ 879511 h 2163071"/>
                    <a:gd name="connsiteX678" fmla="*/ 19118 w 2328854"/>
                    <a:gd name="connsiteY678" fmla="*/ 879511 h 2163071"/>
                    <a:gd name="connsiteX679" fmla="*/ 19118 w 2328854"/>
                    <a:gd name="connsiteY679" fmla="*/ 879511 h 2163071"/>
                    <a:gd name="connsiteX680" fmla="*/ 19118 w 2328854"/>
                    <a:gd name="connsiteY680" fmla="*/ 879511 h 2163071"/>
                    <a:gd name="connsiteX681" fmla="*/ 19118 w 2328854"/>
                    <a:gd name="connsiteY681" fmla="*/ 879511 h 2163071"/>
                    <a:gd name="connsiteX682" fmla="*/ 19118 w 2328854"/>
                    <a:gd name="connsiteY682" fmla="*/ 879511 h 2163071"/>
                    <a:gd name="connsiteX683" fmla="*/ 19118 w 2328854"/>
                    <a:gd name="connsiteY683" fmla="*/ 879511 h 2163071"/>
                    <a:gd name="connsiteX684" fmla="*/ 19118 w 2328854"/>
                    <a:gd name="connsiteY684" fmla="*/ 879511 h 2163071"/>
                    <a:gd name="connsiteX685" fmla="*/ 19118 w 2328854"/>
                    <a:gd name="connsiteY685" fmla="*/ 879511 h 2163071"/>
                    <a:gd name="connsiteX686" fmla="*/ 19118 w 2328854"/>
                    <a:gd name="connsiteY686" fmla="*/ 879511 h 2163071"/>
                    <a:gd name="connsiteX687" fmla="*/ 19118 w 2328854"/>
                    <a:gd name="connsiteY687" fmla="*/ 879511 h 2163071"/>
                    <a:gd name="connsiteX688" fmla="*/ 19118 w 2328854"/>
                    <a:gd name="connsiteY688" fmla="*/ 879511 h 2163071"/>
                    <a:gd name="connsiteX689" fmla="*/ 19118 w 2328854"/>
                    <a:gd name="connsiteY689" fmla="*/ 879511 h 2163071"/>
                    <a:gd name="connsiteX690" fmla="*/ 19118 w 2328854"/>
                    <a:gd name="connsiteY690" fmla="*/ 879511 h 2163071"/>
                    <a:gd name="connsiteX691" fmla="*/ 19118 w 2328854"/>
                    <a:gd name="connsiteY691" fmla="*/ 879511 h 2163071"/>
                    <a:gd name="connsiteX692" fmla="*/ 19118 w 2328854"/>
                    <a:gd name="connsiteY692" fmla="*/ 879511 h 2163071"/>
                    <a:gd name="connsiteX693" fmla="*/ 19118 w 2328854"/>
                    <a:gd name="connsiteY693" fmla="*/ 879511 h 2163071"/>
                    <a:gd name="connsiteX694" fmla="*/ 19118 w 2328854"/>
                    <a:gd name="connsiteY694" fmla="*/ 879511 h 2163071"/>
                    <a:gd name="connsiteX695" fmla="*/ 19118 w 2328854"/>
                    <a:gd name="connsiteY695" fmla="*/ 879511 h 2163071"/>
                    <a:gd name="connsiteX696" fmla="*/ 19118 w 2328854"/>
                    <a:gd name="connsiteY696" fmla="*/ 879511 h 2163071"/>
                    <a:gd name="connsiteX697" fmla="*/ 19118 w 2328854"/>
                    <a:gd name="connsiteY697" fmla="*/ 879511 h 2163071"/>
                    <a:gd name="connsiteX698" fmla="*/ 19118 w 2328854"/>
                    <a:gd name="connsiteY698" fmla="*/ 879511 h 2163071"/>
                    <a:gd name="connsiteX699" fmla="*/ 19118 w 2328854"/>
                    <a:gd name="connsiteY699" fmla="*/ 879511 h 2163071"/>
                    <a:gd name="connsiteX700" fmla="*/ 19118 w 2328854"/>
                    <a:gd name="connsiteY700" fmla="*/ 879511 h 2163071"/>
                    <a:gd name="connsiteX701" fmla="*/ 19118 w 2328854"/>
                    <a:gd name="connsiteY701" fmla="*/ 879511 h 2163071"/>
                    <a:gd name="connsiteX702" fmla="*/ 19118 w 2328854"/>
                    <a:gd name="connsiteY702" fmla="*/ 879511 h 2163071"/>
                    <a:gd name="connsiteX703" fmla="*/ 19118 w 2328854"/>
                    <a:gd name="connsiteY703" fmla="*/ 879511 h 2163071"/>
                    <a:gd name="connsiteX704" fmla="*/ 19118 w 2328854"/>
                    <a:gd name="connsiteY704" fmla="*/ 879511 h 2163071"/>
                    <a:gd name="connsiteX705" fmla="*/ 19118 w 2328854"/>
                    <a:gd name="connsiteY705" fmla="*/ 879511 h 2163071"/>
                    <a:gd name="connsiteX706" fmla="*/ 19118 w 2328854"/>
                    <a:gd name="connsiteY706" fmla="*/ 879511 h 2163071"/>
                    <a:gd name="connsiteX707" fmla="*/ 19118 w 2328854"/>
                    <a:gd name="connsiteY707" fmla="*/ 879511 h 2163071"/>
                    <a:gd name="connsiteX708" fmla="*/ 19118 w 2328854"/>
                    <a:gd name="connsiteY708" fmla="*/ 879511 h 2163071"/>
                    <a:gd name="connsiteX709" fmla="*/ 19118 w 2328854"/>
                    <a:gd name="connsiteY709" fmla="*/ 879511 h 2163071"/>
                    <a:gd name="connsiteX710" fmla="*/ 19118 w 2328854"/>
                    <a:gd name="connsiteY710" fmla="*/ 879511 h 2163071"/>
                    <a:gd name="connsiteX711" fmla="*/ 19118 w 2328854"/>
                    <a:gd name="connsiteY711" fmla="*/ 879511 h 2163071"/>
                    <a:gd name="connsiteX712" fmla="*/ 19118 w 2328854"/>
                    <a:gd name="connsiteY712" fmla="*/ 879511 h 2163071"/>
                    <a:gd name="connsiteX713" fmla="*/ 19118 w 2328854"/>
                    <a:gd name="connsiteY713" fmla="*/ 879511 h 2163071"/>
                    <a:gd name="connsiteX714" fmla="*/ 19118 w 2328854"/>
                    <a:gd name="connsiteY714" fmla="*/ 879511 h 2163071"/>
                    <a:gd name="connsiteX715" fmla="*/ 19118 w 2328854"/>
                    <a:gd name="connsiteY715" fmla="*/ 879511 h 2163071"/>
                    <a:gd name="connsiteX716" fmla="*/ 19118 w 2328854"/>
                    <a:gd name="connsiteY716" fmla="*/ 879511 h 2163071"/>
                    <a:gd name="connsiteX717" fmla="*/ 19118 w 2328854"/>
                    <a:gd name="connsiteY717" fmla="*/ 879511 h 2163071"/>
                    <a:gd name="connsiteX718" fmla="*/ 19118 w 2328854"/>
                    <a:gd name="connsiteY718" fmla="*/ 879511 h 2163071"/>
                    <a:gd name="connsiteX719" fmla="*/ 19118 w 2328854"/>
                    <a:gd name="connsiteY719" fmla="*/ 879511 h 2163071"/>
                    <a:gd name="connsiteX720" fmla="*/ 19118 w 2328854"/>
                    <a:gd name="connsiteY720" fmla="*/ 879511 h 2163071"/>
                    <a:gd name="connsiteX721" fmla="*/ 19118 w 2328854"/>
                    <a:gd name="connsiteY721" fmla="*/ 879511 h 2163071"/>
                    <a:gd name="connsiteX722" fmla="*/ 19118 w 2328854"/>
                    <a:gd name="connsiteY722" fmla="*/ 879511 h 2163071"/>
                    <a:gd name="connsiteX723" fmla="*/ 19118 w 2328854"/>
                    <a:gd name="connsiteY723" fmla="*/ 879511 h 2163071"/>
                    <a:gd name="connsiteX724" fmla="*/ 19118 w 2328854"/>
                    <a:gd name="connsiteY724" fmla="*/ 879511 h 2163071"/>
                    <a:gd name="connsiteX725" fmla="*/ 19118 w 2328854"/>
                    <a:gd name="connsiteY725" fmla="*/ 879511 h 2163071"/>
                    <a:gd name="connsiteX726" fmla="*/ 19118 w 2328854"/>
                    <a:gd name="connsiteY726" fmla="*/ 879511 h 2163071"/>
                    <a:gd name="connsiteX727" fmla="*/ 19118 w 2328854"/>
                    <a:gd name="connsiteY727" fmla="*/ 879511 h 2163071"/>
                    <a:gd name="connsiteX728" fmla="*/ 19118 w 2328854"/>
                    <a:gd name="connsiteY728" fmla="*/ 879511 h 2163071"/>
                    <a:gd name="connsiteX729" fmla="*/ 19118 w 2328854"/>
                    <a:gd name="connsiteY729" fmla="*/ 879511 h 2163071"/>
                    <a:gd name="connsiteX730" fmla="*/ 19118 w 2328854"/>
                    <a:gd name="connsiteY730" fmla="*/ 879511 h 2163071"/>
                    <a:gd name="connsiteX731" fmla="*/ 19118 w 2328854"/>
                    <a:gd name="connsiteY731" fmla="*/ 879511 h 2163071"/>
                    <a:gd name="connsiteX732" fmla="*/ 19118 w 2328854"/>
                    <a:gd name="connsiteY732" fmla="*/ 879511 h 2163071"/>
                    <a:gd name="connsiteX733" fmla="*/ 19118 w 2328854"/>
                    <a:gd name="connsiteY733" fmla="*/ 879511 h 2163071"/>
                    <a:gd name="connsiteX734" fmla="*/ 19118 w 2328854"/>
                    <a:gd name="connsiteY734" fmla="*/ 879511 h 2163071"/>
                    <a:gd name="connsiteX735" fmla="*/ 19118 w 2328854"/>
                    <a:gd name="connsiteY735" fmla="*/ 879511 h 2163071"/>
                    <a:gd name="connsiteX736" fmla="*/ 19118 w 2328854"/>
                    <a:gd name="connsiteY736" fmla="*/ 879511 h 2163071"/>
                    <a:gd name="connsiteX737" fmla="*/ 19118 w 2328854"/>
                    <a:gd name="connsiteY737" fmla="*/ 879511 h 2163071"/>
                    <a:gd name="connsiteX738" fmla="*/ 19118 w 2328854"/>
                    <a:gd name="connsiteY738" fmla="*/ 879511 h 2163071"/>
                    <a:gd name="connsiteX739" fmla="*/ 19118 w 2328854"/>
                    <a:gd name="connsiteY739" fmla="*/ 879511 h 2163071"/>
                    <a:gd name="connsiteX740" fmla="*/ 19118 w 2328854"/>
                    <a:gd name="connsiteY740" fmla="*/ 879511 h 2163071"/>
                    <a:gd name="connsiteX741" fmla="*/ 19118 w 2328854"/>
                    <a:gd name="connsiteY741" fmla="*/ 879511 h 2163071"/>
                    <a:gd name="connsiteX742" fmla="*/ 19118 w 2328854"/>
                    <a:gd name="connsiteY742" fmla="*/ 879511 h 2163071"/>
                    <a:gd name="connsiteX743" fmla="*/ 19118 w 2328854"/>
                    <a:gd name="connsiteY743" fmla="*/ 879511 h 2163071"/>
                    <a:gd name="connsiteX744" fmla="*/ 19118 w 2328854"/>
                    <a:gd name="connsiteY744" fmla="*/ 879511 h 2163071"/>
                    <a:gd name="connsiteX745" fmla="*/ 19118 w 2328854"/>
                    <a:gd name="connsiteY745" fmla="*/ 879511 h 2163071"/>
                    <a:gd name="connsiteX746" fmla="*/ 19118 w 2328854"/>
                    <a:gd name="connsiteY746" fmla="*/ 879511 h 2163071"/>
                    <a:gd name="connsiteX747" fmla="*/ 19118 w 2328854"/>
                    <a:gd name="connsiteY747" fmla="*/ 879511 h 2163071"/>
                    <a:gd name="connsiteX748" fmla="*/ 19118 w 2328854"/>
                    <a:gd name="connsiteY748" fmla="*/ 879511 h 2163071"/>
                    <a:gd name="connsiteX749" fmla="*/ 19118 w 2328854"/>
                    <a:gd name="connsiteY749" fmla="*/ 879511 h 2163071"/>
                    <a:gd name="connsiteX750" fmla="*/ 19118 w 2328854"/>
                    <a:gd name="connsiteY750" fmla="*/ 879511 h 2163071"/>
                    <a:gd name="connsiteX751" fmla="*/ 19118 w 2328854"/>
                    <a:gd name="connsiteY751" fmla="*/ 879511 h 2163071"/>
                    <a:gd name="connsiteX752" fmla="*/ 19118 w 2328854"/>
                    <a:gd name="connsiteY752" fmla="*/ 879511 h 2163071"/>
                    <a:gd name="connsiteX753" fmla="*/ 19118 w 2328854"/>
                    <a:gd name="connsiteY753" fmla="*/ 879511 h 2163071"/>
                    <a:gd name="connsiteX754" fmla="*/ 19118 w 2328854"/>
                    <a:gd name="connsiteY754" fmla="*/ 879511 h 2163071"/>
                    <a:gd name="connsiteX755" fmla="*/ 19118 w 2328854"/>
                    <a:gd name="connsiteY755" fmla="*/ 879511 h 2163071"/>
                    <a:gd name="connsiteX756" fmla="*/ 45064 w 2328854"/>
                    <a:gd name="connsiteY756" fmla="*/ 927949 h 2163071"/>
                    <a:gd name="connsiteX757" fmla="*/ 45144 w 2328854"/>
                    <a:gd name="connsiteY757" fmla="*/ 927467 h 2163071"/>
                    <a:gd name="connsiteX758" fmla="*/ 44100 w 2328854"/>
                    <a:gd name="connsiteY758" fmla="*/ 928913 h 2163071"/>
                    <a:gd name="connsiteX759" fmla="*/ 43779 w 2328854"/>
                    <a:gd name="connsiteY759" fmla="*/ 930921 h 2163071"/>
                    <a:gd name="connsiteX760" fmla="*/ 45064 w 2328854"/>
                    <a:gd name="connsiteY760" fmla="*/ 927949 h 2163071"/>
                    <a:gd name="connsiteX761" fmla="*/ 2187973 w 2328854"/>
                    <a:gd name="connsiteY761" fmla="*/ 536832 h 2163071"/>
                    <a:gd name="connsiteX762" fmla="*/ 2183074 w 2328854"/>
                    <a:gd name="connsiteY762" fmla="*/ 532253 h 2163071"/>
                    <a:gd name="connsiteX763" fmla="*/ 2183074 w 2328854"/>
                    <a:gd name="connsiteY763" fmla="*/ 532494 h 2163071"/>
                    <a:gd name="connsiteX764" fmla="*/ 2187652 w 2328854"/>
                    <a:gd name="connsiteY764" fmla="*/ 540688 h 2163071"/>
                    <a:gd name="connsiteX765" fmla="*/ 2188616 w 2328854"/>
                    <a:gd name="connsiteY765" fmla="*/ 540527 h 2163071"/>
                    <a:gd name="connsiteX766" fmla="*/ 2187973 w 2328854"/>
                    <a:gd name="connsiteY766" fmla="*/ 536832 h 2163071"/>
                    <a:gd name="connsiteX767" fmla="*/ 1968357 w 2328854"/>
                    <a:gd name="connsiteY767" fmla="*/ 780547 h 2163071"/>
                    <a:gd name="connsiteX768" fmla="*/ 1968517 w 2328854"/>
                    <a:gd name="connsiteY768" fmla="*/ 780467 h 2163071"/>
                    <a:gd name="connsiteX769" fmla="*/ 1965706 w 2328854"/>
                    <a:gd name="connsiteY769" fmla="*/ 778459 h 2163071"/>
                    <a:gd name="connsiteX770" fmla="*/ 1965545 w 2328854"/>
                    <a:gd name="connsiteY770" fmla="*/ 778619 h 2163071"/>
                    <a:gd name="connsiteX771" fmla="*/ 1962814 w 2328854"/>
                    <a:gd name="connsiteY771" fmla="*/ 780226 h 2163071"/>
                    <a:gd name="connsiteX772" fmla="*/ 1968357 w 2328854"/>
                    <a:gd name="connsiteY772" fmla="*/ 780547 h 2163071"/>
                    <a:gd name="connsiteX773" fmla="*/ 19359 w 2328854"/>
                    <a:gd name="connsiteY773" fmla="*/ 866819 h 2163071"/>
                    <a:gd name="connsiteX774" fmla="*/ 19359 w 2328854"/>
                    <a:gd name="connsiteY774" fmla="*/ 867060 h 2163071"/>
                    <a:gd name="connsiteX775" fmla="*/ 20966 w 2328854"/>
                    <a:gd name="connsiteY775" fmla="*/ 861437 h 2163071"/>
                    <a:gd name="connsiteX776" fmla="*/ 20885 w 2328854"/>
                    <a:gd name="connsiteY776" fmla="*/ 861518 h 2163071"/>
                    <a:gd name="connsiteX777" fmla="*/ 19359 w 2328854"/>
                    <a:gd name="connsiteY777" fmla="*/ 866819 h 2163071"/>
                    <a:gd name="connsiteX778" fmla="*/ 369509 w 2328854"/>
                    <a:gd name="connsiteY778" fmla="*/ 1055911 h 2163071"/>
                    <a:gd name="connsiteX779" fmla="*/ 370553 w 2328854"/>
                    <a:gd name="connsiteY779" fmla="*/ 1054225 h 2163071"/>
                    <a:gd name="connsiteX780" fmla="*/ 370312 w 2328854"/>
                    <a:gd name="connsiteY780" fmla="*/ 1054064 h 2163071"/>
                    <a:gd name="connsiteX781" fmla="*/ 370232 w 2328854"/>
                    <a:gd name="connsiteY781" fmla="*/ 1054144 h 2163071"/>
                    <a:gd name="connsiteX782" fmla="*/ 368063 w 2328854"/>
                    <a:gd name="connsiteY782" fmla="*/ 1057197 h 2163071"/>
                    <a:gd name="connsiteX783" fmla="*/ 369509 w 2328854"/>
                    <a:gd name="connsiteY783" fmla="*/ 1055911 h 2163071"/>
                    <a:gd name="connsiteX784" fmla="*/ 372802 w 2328854"/>
                    <a:gd name="connsiteY784" fmla="*/ 1056956 h 2163071"/>
                    <a:gd name="connsiteX785" fmla="*/ 372481 w 2328854"/>
                    <a:gd name="connsiteY785" fmla="*/ 1050851 h 2163071"/>
                    <a:gd name="connsiteX786" fmla="*/ 372481 w 2328854"/>
                    <a:gd name="connsiteY786" fmla="*/ 1051092 h 2163071"/>
                    <a:gd name="connsiteX787" fmla="*/ 372561 w 2328854"/>
                    <a:gd name="connsiteY787" fmla="*/ 1058080 h 2163071"/>
                    <a:gd name="connsiteX788" fmla="*/ 372802 w 2328854"/>
                    <a:gd name="connsiteY788" fmla="*/ 1056956 h 2163071"/>
                    <a:gd name="connsiteX789" fmla="*/ 366537 w 2328854"/>
                    <a:gd name="connsiteY789" fmla="*/ 1052859 h 2163071"/>
                    <a:gd name="connsiteX790" fmla="*/ 368143 w 2328854"/>
                    <a:gd name="connsiteY790" fmla="*/ 1051172 h 2163071"/>
                    <a:gd name="connsiteX791" fmla="*/ 368223 w 2328854"/>
                    <a:gd name="connsiteY791" fmla="*/ 1049967 h 2163071"/>
                    <a:gd name="connsiteX792" fmla="*/ 366537 w 2328854"/>
                    <a:gd name="connsiteY792" fmla="*/ 1052859 h 2163071"/>
                    <a:gd name="connsiteX793" fmla="*/ 379148 w 2328854"/>
                    <a:gd name="connsiteY793" fmla="*/ 1053582 h 2163071"/>
                    <a:gd name="connsiteX794" fmla="*/ 379309 w 2328854"/>
                    <a:gd name="connsiteY794" fmla="*/ 1053582 h 2163071"/>
                    <a:gd name="connsiteX795" fmla="*/ 378666 w 2328854"/>
                    <a:gd name="connsiteY795" fmla="*/ 1051011 h 2163071"/>
                    <a:gd name="connsiteX796" fmla="*/ 379148 w 2328854"/>
                    <a:gd name="connsiteY796" fmla="*/ 1053582 h 2163071"/>
                    <a:gd name="connsiteX797" fmla="*/ 377461 w 2328854"/>
                    <a:gd name="connsiteY797" fmla="*/ 1057438 h 2163071"/>
                    <a:gd name="connsiteX798" fmla="*/ 377702 w 2328854"/>
                    <a:gd name="connsiteY798" fmla="*/ 1057679 h 2163071"/>
                    <a:gd name="connsiteX799" fmla="*/ 375935 w 2328854"/>
                    <a:gd name="connsiteY799" fmla="*/ 1050289 h 2163071"/>
                    <a:gd name="connsiteX800" fmla="*/ 375774 w 2328854"/>
                    <a:gd name="connsiteY800" fmla="*/ 1050529 h 2163071"/>
                    <a:gd name="connsiteX801" fmla="*/ 377461 w 2328854"/>
                    <a:gd name="connsiteY801" fmla="*/ 1057438 h 2163071"/>
                    <a:gd name="connsiteX802" fmla="*/ 380996 w 2328854"/>
                    <a:gd name="connsiteY802" fmla="*/ 1052538 h 2163071"/>
                    <a:gd name="connsiteX803" fmla="*/ 382120 w 2328854"/>
                    <a:gd name="connsiteY803" fmla="*/ 1053743 h 2163071"/>
                    <a:gd name="connsiteX804" fmla="*/ 380433 w 2328854"/>
                    <a:gd name="connsiteY804" fmla="*/ 1050690 h 2163071"/>
                    <a:gd name="connsiteX805" fmla="*/ 380996 w 2328854"/>
                    <a:gd name="connsiteY805" fmla="*/ 1052538 h 2163071"/>
                    <a:gd name="connsiteX806" fmla="*/ 345812 w 2328854"/>
                    <a:gd name="connsiteY806" fmla="*/ 1046834 h 2163071"/>
                    <a:gd name="connsiteX807" fmla="*/ 341555 w 2328854"/>
                    <a:gd name="connsiteY807" fmla="*/ 1042979 h 2163071"/>
                    <a:gd name="connsiteX808" fmla="*/ 328541 w 2328854"/>
                    <a:gd name="connsiteY808" fmla="*/ 1048360 h 2163071"/>
                    <a:gd name="connsiteX809" fmla="*/ 303158 w 2328854"/>
                    <a:gd name="connsiteY809" fmla="*/ 1048039 h 2163071"/>
                    <a:gd name="connsiteX810" fmla="*/ 303479 w 2328854"/>
                    <a:gd name="connsiteY810" fmla="*/ 1047156 h 2163071"/>
                    <a:gd name="connsiteX811" fmla="*/ 293920 w 2328854"/>
                    <a:gd name="connsiteY811" fmla="*/ 1051172 h 2163071"/>
                    <a:gd name="connsiteX812" fmla="*/ 289904 w 2328854"/>
                    <a:gd name="connsiteY812" fmla="*/ 1042336 h 2163071"/>
                    <a:gd name="connsiteX813" fmla="*/ 290145 w 2328854"/>
                    <a:gd name="connsiteY813" fmla="*/ 1056715 h 2163071"/>
                    <a:gd name="connsiteX814" fmla="*/ 285727 w 2328854"/>
                    <a:gd name="connsiteY814" fmla="*/ 1056795 h 2163071"/>
                    <a:gd name="connsiteX815" fmla="*/ 345812 w 2328854"/>
                    <a:gd name="connsiteY815" fmla="*/ 1046834 h 2163071"/>
                    <a:gd name="connsiteX816" fmla="*/ 389912 w 2328854"/>
                    <a:gd name="connsiteY816" fmla="*/ 1048601 h 2163071"/>
                    <a:gd name="connsiteX817" fmla="*/ 390876 w 2328854"/>
                    <a:gd name="connsiteY817" fmla="*/ 1048441 h 2163071"/>
                    <a:gd name="connsiteX818" fmla="*/ 386297 w 2328854"/>
                    <a:gd name="connsiteY818" fmla="*/ 1047075 h 2163071"/>
                    <a:gd name="connsiteX819" fmla="*/ 386297 w 2328854"/>
                    <a:gd name="connsiteY819" fmla="*/ 1047075 h 2163071"/>
                    <a:gd name="connsiteX820" fmla="*/ 389912 w 2328854"/>
                    <a:gd name="connsiteY820" fmla="*/ 1048601 h 2163071"/>
                    <a:gd name="connsiteX821" fmla="*/ 27713 w 2328854"/>
                    <a:gd name="connsiteY821" fmla="*/ 869711 h 2163071"/>
                    <a:gd name="connsiteX822" fmla="*/ 27713 w 2328854"/>
                    <a:gd name="connsiteY822" fmla="*/ 869791 h 2163071"/>
                    <a:gd name="connsiteX823" fmla="*/ 27793 w 2328854"/>
                    <a:gd name="connsiteY823" fmla="*/ 868104 h 2163071"/>
                    <a:gd name="connsiteX824" fmla="*/ 27713 w 2328854"/>
                    <a:gd name="connsiteY824" fmla="*/ 869711 h 2163071"/>
                    <a:gd name="connsiteX825" fmla="*/ 457950 w 2328854"/>
                    <a:gd name="connsiteY825" fmla="*/ 1050610 h 2163071"/>
                    <a:gd name="connsiteX826" fmla="*/ 455942 w 2328854"/>
                    <a:gd name="connsiteY826" fmla="*/ 1048039 h 2163071"/>
                    <a:gd name="connsiteX827" fmla="*/ 455219 w 2328854"/>
                    <a:gd name="connsiteY827" fmla="*/ 1049003 h 2163071"/>
                    <a:gd name="connsiteX828" fmla="*/ 457950 w 2328854"/>
                    <a:gd name="connsiteY828" fmla="*/ 1050610 h 2163071"/>
                    <a:gd name="connsiteX829" fmla="*/ 126517 w 2328854"/>
                    <a:gd name="connsiteY829" fmla="*/ 975101 h 2163071"/>
                    <a:gd name="connsiteX830" fmla="*/ 127320 w 2328854"/>
                    <a:gd name="connsiteY830" fmla="*/ 975503 h 2163071"/>
                    <a:gd name="connsiteX831" fmla="*/ 125151 w 2328854"/>
                    <a:gd name="connsiteY831" fmla="*/ 958072 h 2163071"/>
                    <a:gd name="connsiteX832" fmla="*/ 124910 w 2328854"/>
                    <a:gd name="connsiteY832" fmla="*/ 958554 h 2163071"/>
                    <a:gd name="connsiteX833" fmla="*/ 126517 w 2328854"/>
                    <a:gd name="connsiteY833" fmla="*/ 975101 h 2163071"/>
                    <a:gd name="connsiteX834" fmla="*/ 556111 w 2328854"/>
                    <a:gd name="connsiteY834" fmla="*/ 1047959 h 2163071"/>
                    <a:gd name="connsiteX835" fmla="*/ 556673 w 2328854"/>
                    <a:gd name="connsiteY835" fmla="*/ 1046995 h 2163071"/>
                    <a:gd name="connsiteX836" fmla="*/ 554584 w 2328854"/>
                    <a:gd name="connsiteY836" fmla="*/ 1046513 h 2163071"/>
                    <a:gd name="connsiteX837" fmla="*/ 554263 w 2328854"/>
                    <a:gd name="connsiteY837" fmla="*/ 1046674 h 2163071"/>
                    <a:gd name="connsiteX838" fmla="*/ 553701 w 2328854"/>
                    <a:gd name="connsiteY838" fmla="*/ 1048039 h 2163071"/>
                    <a:gd name="connsiteX839" fmla="*/ 556111 w 2328854"/>
                    <a:gd name="connsiteY839" fmla="*/ 1047959 h 2163071"/>
                    <a:gd name="connsiteX840" fmla="*/ 391840 w 2328854"/>
                    <a:gd name="connsiteY840" fmla="*/ 1028359 h 2163071"/>
                    <a:gd name="connsiteX841" fmla="*/ 392001 w 2328854"/>
                    <a:gd name="connsiteY841" fmla="*/ 1027957 h 2163071"/>
                    <a:gd name="connsiteX842" fmla="*/ 390635 w 2328854"/>
                    <a:gd name="connsiteY842" fmla="*/ 1027475 h 2163071"/>
                    <a:gd name="connsiteX843" fmla="*/ 376738 w 2328854"/>
                    <a:gd name="connsiteY843" fmla="*/ 1030688 h 2163071"/>
                    <a:gd name="connsiteX844" fmla="*/ 377220 w 2328854"/>
                    <a:gd name="connsiteY844" fmla="*/ 1030688 h 2163071"/>
                    <a:gd name="connsiteX845" fmla="*/ 377140 w 2328854"/>
                    <a:gd name="connsiteY845" fmla="*/ 1030688 h 2163071"/>
                    <a:gd name="connsiteX846" fmla="*/ 375292 w 2328854"/>
                    <a:gd name="connsiteY846" fmla="*/ 1030849 h 2163071"/>
                    <a:gd name="connsiteX847" fmla="*/ 375533 w 2328854"/>
                    <a:gd name="connsiteY847" fmla="*/ 1030287 h 2163071"/>
                    <a:gd name="connsiteX848" fmla="*/ 367340 w 2328854"/>
                    <a:gd name="connsiteY848" fmla="*/ 1030849 h 2163071"/>
                    <a:gd name="connsiteX849" fmla="*/ 371276 w 2328854"/>
                    <a:gd name="connsiteY849" fmla="*/ 1030528 h 2163071"/>
                    <a:gd name="connsiteX850" fmla="*/ 370874 w 2328854"/>
                    <a:gd name="connsiteY850" fmla="*/ 1031090 h 2163071"/>
                    <a:gd name="connsiteX851" fmla="*/ 371758 w 2328854"/>
                    <a:gd name="connsiteY851" fmla="*/ 1031251 h 2163071"/>
                    <a:gd name="connsiteX852" fmla="*/ 372481 w 2328854"/>
                    <a:gd name="connsiteY852" fmla="*/ 1031331 h 2163071"/>
                    <a:gd name="connsiteX853" fmla="*/ 373123 w 2328854"/>
                    <a:gd name="connsiteY853" fmla="*/ 1031411 h 2163071"/>
                    <a:gd name="connsiteX854" fmla="*/ 373686 w 2328854"/>
                    <a:gd name="connsiteY854" fmla="*/ 1031492 h 2163071"/>
                    <a:gd name="connsiteX855" fmla="*/ 374328 w 2328854"/>
                    <a:gd name="connsiteY855" fmla="*/ 1031572 h 2163071"/>
                    <a:gd name="connsiteX856" fmla="*/ 375132 w 2328854"/>
                    <a:gd name="connsiteY856" fmla="*/ 1031733 h 2163071"/>
                    <a:gd name="connsiteX857" fmla="*/ 376176 w 2328854"/>
                    <a:gd name="connsiteY857" fmla="*/ 1031893 h 2163071"/>
                    <a:gd name="connsiteX858" fmla="*/ 377542 w 2328854"/>
                    <a:gd name="connsiteY858" fmla="*/ 1032134 h 2163071"/>
                    <a:gd name="connsiteX859" fmla="*/ 374569 w 2328854"/>
                    <a:gd name="connsiteY859" fmla="*/ 1034223 h 2163071"/>
                    <a:gd name="connsiteX860" fmla="*/ 377060 w 2328854"/>
                    <a:gd name="connsiteY860" fmla="*/ 1034223 h 2163071"/>
                    <a:gd name="connsiteX861" fmla="*/ 372481 w 2328854"/>
                    <a:gd name="connsiteY861" fmla="*/ 1033821 h 2163071"/>
                    <a:gd name="connsiteX862" fmla="*/ 370955 w 2328854"/>
                    <a:gd name="connsiteY862" fmla="*/ 1033821 h 2163071"/>
                    <a:gd name="connsiteX863" fmla="*/ 371597 w 2328854"/>
                    <a:gd name="connsiteY863" fmla="*/ 1033420 h 2163071"/>
                    <a:gd name="connsiteX864" fmla="*/ 367501 w 2328854"/>
                    <a:gd name="connsiteY864" fmla="*/ 1032054 h 2163071"/>
                    <a:gd name="connsiteX865" fmla="*/ 367902 w 2328854"/>
                    <a:gd name="connsiteY865" fmla="*/ 1032054 h 2163071"/>
                    <a:gd name="connsiteX866" fmla="*/ 346294 w 2328854"/>
                    <a:gd name="connsiteY866" fmla="*/ 1031251 h 2163071"/>
                    <a:gd name="connsiteX867" fmla="*/ 386056 w 2328854"/>
                    <a:gd name="connsiteY867" fmla="*/ 1036713 h 2163071"/>
                    <a:gd name="connsiteX868" fmla="*/ 388627 w 2328854"/>
                    <a:gd name="connsiteY868" fmla="*/ 1035428 h 2163071"/>
                    <a:gd name="connsiteX869" fmla="*/ 386860 w 2328854"/>
                    <a:gd name="connsiteY869" fmla="*/ 1035106 h 2163071"/>
                    <a:gd name="connsiteX870" fmla="*/ 387341 w 2328854"/>
                    <a:gd name="connsiteY870" fmla="*/ 1034303 h 2163071"/>
                    <a:gd name="connsiteX871" fmla="*/ 387181 w 2328854"/>
                    <a:gd name="connsiteY871" fmla="*/ 1034062 h 2163071"/>
                    <a:gd name="connsiteX872" fmla="*/ 385333 w 2328854"/>
                    <a:gd name="connsiteY872" fmla="*/ 1034303 h 2163071"/>
                    <a:gd name="connsiteX873" fmla="*/ 384851 w 2328854"/>
                    <a:gd name="connsiteY873" fmla="*/ 1033179 h 2163071"/>
                    <a:gd name="connsiteX874" fmla="*/ 391840 w 2328854"/>
                    <a:gd name="connsiteY874" fmla="*/ 1028359 h 2163071"/>
                    <a:gd name="connsiteX875" fmla="*/ 60166 w 2328854"/>
                    <a:gd name="connsiteY875" fmla="*/ 899352 h 2163071"/>
                    <a:gd name="connsiteX876" fmla="*/ 60487 w 2328854"/>
                    <a:gd name="connsiteY876" fmla="*/ 901200 h 2163071"/>
                    <a:gd name="connsiteX877" fmla="*/ 60969 w 2328854"/>
                    <a:gd name="connsiteY877" fmla="*/ 897504 h 2163071"/>
                    <a:gd name="connsiteX878" fmla="*/ 59603 w 2328854"/>
                    <a:gd name="connsiteY878" fmla="*/ 898308 h 2163071"/>
                    <a:gd name="connsiteX879" fmla="*/ 60166 w 2328854"/>
                    <a:gd name="connsiteY879" fmla="*/ 898388 h 2163071"/>
                    <a:gd name="connsiteX880" fmla="*/ 60166 w 2328854"/>
                    <a:gd name="connsiteY880" fmla="*/ 899352 h 2163071"/>
                    <a:gd name="connsiteX881" fmla="*/ 346133 w 2328854"/>
                    <a:gd name="connsiteY881" fmla="*/ 1020647 h 2163071"/>
                    <a:gd name="connsiteX882" fmla="*/ 346214 w 2328854"/>
                    <a:gd name="connsiteY882" fmla="*/ 1020085 h 2163071"/>
                    <a:gd name="connsiteX883" fmla="*/ 344446 w 2328854"/>
                    <a:gd name="connsiteY883" fmla="*/ 1017113 h 2163071"/>
                    <a:gd name="connsiteX884" fmla="*/ 344205 w 2328854"/>
                    <a:gd name="connsiteY884" fmla="*/ 1017354 h 2163071"/>
                    <a:gd name="connsiteX885" fmla="*/ 341233 w 2328854"/>
                    <a:gd name="connsiteY885" fmla="*/ 1024182 h 2163071"/>
                    <a:gd name="connsiteX886" fmla="*/ 346133 w 2328854"/>
                    <a:gd name="connsiteY886" fmla="*/ 1020647 h 2163071"/>
                    <a:gd name="connsiteX887" fmla="*/ 432807 w 2328854"/>
                    <a:gd name="connsiteY887" fmla="*/ 1027716 h 2163071"/>
                    <a:gd name="connsiteX888" fmla="*/ 431602 w 2328854"/>
                    <a:gd name="connsiteY888" fmla="*/ 1024342 h 2163071"/>
                    <a:gd name="connsiteX889" fmla="*/ 430799 w 2328854"/>
                    <a:gd name="connsiteY889" fmla="*/ 1024423 h 2163071"/>
                    <a:gd name="connsiteX890" fmla="*/ 426863 w 2328854"/>
                    <a:gd name="connsiteY890" fmla="*/ 1044344 h 2163071"/>
                    <a:gd name="connsiteX891" fmla="*/ 430317 w 2328854"/>
                    <a:gd name="connsiteY891" fmla="*/ 1033821 h 2163071"/>
                    <a:gd name="connsiteX892" fmla="*/ 430397 w 2328854"/>
                    <a:gd name="connsiteY892" fmla="*/ 1033902 h 2163071"/>
                    <a:gd name="connsiteX893" fmla="*/ 432807 w 2328854"/>
                    <a:gd name="connsiteY893" fmla="*/ 1027716 h 2163071"/>
                    <a:gd name="connsiteX894" fmla="*/ 426140 w 2328854"/>
                    <a:gd name="connsiteY894" fmla="*/ 1013097 h 2163071"/>
                    <a:gd name="connsiteX895" fmla="*/ 426542 w 2328854"/>
                    <a:gd name="connsiteY895" fmla="*/ 1012856 h 2163071"/>
                    <a:gd name="connsiteX896" fmla="*/ 426301 w 2328854"/>
                    <a:gd name="connsiteY896" fmla="*/ 1012936 h 2163071"/>
                    <a:gd name="connsiteX897" fmla="*/ 417866 w 2328854"/>
                    <a:gd name="connsiteY897" fmla="*/ 1014703 h 2163071"/>
                    <a:gd name="connsiteX898" fmla="*/ 420678 w 2328854"/>
                    <a:gd name="connsiteY898" fmla="*/ 1016229 h 2163071"/>
                    <a:gd name="connsiteX899" fmla="*/ 426140 w 2328854"/>
                    <a:gd name="connsiteY899" fmla="*/ 1013097 h 2163071"/>
                    <a:gd name="connsiteX900" fmla="*/ 520204 w 2328854"/>
                    <a:gd name="connsiteY900" fmla="*/ 1023218 h 2163071"/>
                    <a:gd name="connsiteX901" fmla="*/ 520365 w 2328854"/>
                    <a:gd name="connsiteY901" fmla="*/ 1023218 h 2163071"/>
                    <a:gd name="connsiteX902" fmla="*/ 520124 w 2328854"/>
                    <a:gd name="connsiteY902" fmla="*/ 1022013 h 2163071"/>
                    <a:gd name="connsiteX903" fmla="*/ 515465 w 2328854"/>
                    <a:gd name="connsiteY903" fmla="*/ 1020406 h 2163071"/>
                    <a:gd name="connsiteX904" fmla="*/ 514340 w 2328854"/>
                    <a:gd name="connsiteY904" fmla="*/ 1020728 h 2163071"/>
                    <a:gd name="connsiteX905" fmla="*/ 520204 w 2328854"/>
                    <a:gd name="connsiteY905" fmla="*/ 1023218 h 2163071"/>
                    <a:gd name="connsiteX906" fmla="*/ 2073104 w 2328854"/>
                    <a:gd name="connsiteY906" fmla="*/ 623586 h 2163071"/>
                    <a:gd name="connsiteX907" fmla="*/ 2073104 w 2328854"/>
                    <a:gd name="connsiteY907" fmla="*/ 623506 h 2163071"/>
                    <a:gd name="connsiteX908" fmla="*/ 2073104 w 2328854"/>
                    <a:gd name="connsiteY908" fmla="*/ 623586 h 2163071"/>
                    <a:gd name="connsiteX909" fmla="*/ 2073185 w 2328854"/>
                    <a:gd name="connsiteY909" fmla="*/ 624871 h 2163071"/>
                    <a:gd name="connsiteX910" fmla="*/ 2073104 w 2328854"/>
                    <a:gd name="connsiteY910" fmla="*/ 623586 h 2163071"/>
                    <a:gd name="connsiteX911" fmla="*/ 2082583 w 2328854"/>
                    <a:gd name="connsiteY911" fmla="*/ 633145 h 2163071"/>
                    <a:gd name="connsiteX912" fmla="*/ 2082664 w 2328854"/>
                    <a:gd name="connsiteY912" fmla="*/ 632984 h 2163071"/>
                    <a:gd name="connsiteX913" fmla="*/ 2081378 w 2328854"/>
                    <a:gd name="connsiteY913" fmla="*/ 632101 h 2163071"/>
                    <a:gd name="connsiteX914" fmla="*/ 2075514 w 2328854"/>
                    <a:gd name="connsiteY914" fmla="*/ 629691 h 2163071"/>
                    <a:gd name="connsiteX915" fmla="*/ 2070855 w 2328854"/>
                    <a:gd name="connsiteY915" fmla="*/ 627040 h 2163071"/>
                    <a:gd name="connsiteX916" fmla="*/ 2065955 w 2328854"/>
                    <a:gd name="connsiteY916" fmla="*/ 628245 h 2163071"/>
                    <a:gd name="connsiteX917" fmla="*/ 2066116 w 2328854"/>
                    <a:gd name="connsiteY917" fmla="*/ 628567 h 2163071"/>
                    <a:gd name="connsiteX918" fmla="*/ 2066759 w 2328854"/>
                    <a:gd name="connsiteY918" fmla="*/ 630173 h 2163071"/>
                    <a:gd name="connsiteX919" fmla="*/ 2063947 w 2328854"/>
                    <a:gd name="connsiteY919" fmla="*/ 631940 h 2163071"/>
                    <a:gd name="connsiteX920" fmla="*/ 2069088 w 2328854"/>
                    <a:gd name="connsiteY920" fmla="*/ 632503 h 2163071"/>
                    <a:gd name="connsiteX921" fmla="*/ 2068365 w 2328854"/>
                    <a:gd name="connsiteY921" fmla="*/ 631217 h 2163071"/>
                    <a:gd name="connsiteX922" fmla="*/ 2072783 w 2328854"/>
                    <a:gd name="connsiteY922" fmla="*/ 632422 h 2163071"/>
                    <a:gd name="connsiteX923" fmla="*/ 2082583 w 2328854"/>
                    <a:gd name="connsiteY923" fmla="*/ 633145 h 2163071"/>
                    <a:gd name="connsiteX924" fmla="*/ 185477 w 2328854"/>
                    <a:gd name="connsiteY924" fmla="*/ 948754 h 2163071"/>
                    <a:gd name="connsiteX925" fmla="*/ 185477 w 2328854"/>
                    <a:gd name="connsiteY925" fmla="*/ 948915 h 2163071"/>
                    <a:gd name="connsiteX926" fmla="*/ 184995 w 2328854"/>
                    <a:gd name="connsiteY926" fmla="*/ 945942 h 2163071"/>
                    <a:gd name="connsiteX927" fmla="*/ 184995 w 2328854"/>
                    <a:gd name="connsiteY927" fmla="*/ 945942 h 2163071"/>
                    <a:gd name="connsiteX928" fmla="*/ 185477 w 2328854"/>
                    <a:gd name="connsiteY928" fmla="*/ 948754 h 2163071"/>
                    <a:gd name="connsiteX929" fmla="*/ 347419 w 2328854"/>
                    <a:gd name="connsiteY929" fmla="*/ 991408 h 2163071"/>
                    <a:gd name="connsiteX930" fmla="*/ 347499 w 2328854"/>
                    <a:gd name="connsiteY930" fmla="*/ 991328 h 2163071"/>
                    <a:gd name="connsiteX931" fmla="*/ 344848 w 2328854"/>
                    <a:gd name="connsiteY931" fmla="*/ 990444 h 2163071"/>
                    <a:gd name="connsiteX932" fmla="*/ 335610 w 2328854"/>
                    <a:gd name="connsiteY932" fmla="*/ 989320 h 2163071"/>
                    <a:gd name="connsiteX933" fmla="*/ 341073 w 2328854"/>
                    <a:gd name="connsiteY933" fmla="*/ 992292 h 2163071"/>
                    <a:gd name="connsiteX934" fmla="*/ 347419 w 2328854"/>
                    <a:gd name="connsiteY934" fmla="*/ 991408 h 2163071"/>
                    <a:gd name="connsiteX935" fmla="*/ 2072783 w 2328854"/>
                    <a:gd name="connsiteY935" fmla="*/ 620453 h 2163071"/>
                    <a:gd name="connsiteX936" fmla="*/ 2071257 w 2328854"/>
                    <a:gd name="connsiteY936" fmla="*/ 619088 h 2163071"/>
                    <a:gd name="connsiteX937" fmla="*/ 2071337 w 2328854"/>
                    <a:gd name="connsiteY937" fmla="*/ 619248 h 2163071"/>
                    <a:gd name="connsiteX938" fmla="*/ 2073024 w 2328854"/>
                    <a:gd name="connsiteY938" fmla="*/ 623506 h 2163071"/>
                    <a:gd name="connsiteX939" fmla="*/ 2072944 w 2328854"/>
                    <a:gd name="connsiteY939" fmla="*/ 620614 h 2163071"/>
                    <a:gd name="connsiteX940" fmla="*/ 2072783 w 2328854"/>
                    <a:gd name="connsiteY940" fmla="*/ 620453 h 2163071"/>
                    <a:gd name="connsiteX941" fmla="*/ 1770991 w 2328854"/>
                    <a:gd name="connsiteY941" fmla="*/ 801593 h 2163071"/>
                    <a:gd name="connsiteX942" fmla="*/ 1771312 w 2328854"/>
                    <a:gd name="connsiteY942" fmla="*/ 801513 h 2163071"/>
                    <a:gd name="connsiteX943" fmla="*/ 1765609 w 2328854"/>
                    <a:gd name="connsiteY943" fmla="*/ 802316 h 2163071"/>
                    <a:gd name="connsiteX944" fmla="*/ 1761994 w 2328854"/>
                    <a:gd name="connsiteY944" fmla="*/ 808823 h 2163071"/>
                    <a:gd name="connsiteX945" fmla="*/ 1770991 w 2328854"/>
                    <a:gd name="connsiteY945" fmla="*/ 801593 h 2163071"/>
                    <a:gd name="connsiteX946" fmla="*/ 122982 w 2328854"/>
                    <a:gd name="connsiteY946" fmla="*/ 938391 h 2163071"/>
                    <a:gd name="connsiteX947" fmla="*/ 128043 w 2328854"/>
                    <a:gd name="connsiteY947" fmla="*/ 911562 h 2163071"/>
                    <a:gd name="connsiteX948" fmla="*/ 127962 w 2328854"/>
                    <a:gd name="connsiteY948" fmla="*/ 912767 h 2163071"/>
                    <a:gd name="connsiteX949" fmla="*/ 123705 w 2328854"/>
                    <a:gd name="connsiteY949" fmla="*/ 927146 h 2163071"/>
                    <a:gd name="connsiteX950" fmla="*/ 124428 w 2328854"/>
                    <a:gd name="connsiteY950" fmla="*/ 932528 h 2163071"/>
                    <a:gd name="connsiteX951" fmla="*/ 122340 w 2328854"/>
                    <a:gd name="connsiteY951" fmla="*/ 931965 h 2163071"/>
                    <a:gd name="connsiteX952" fmla="*/ 119930 w 2328854"/>
                    <a:gd name="connsiteY952" fmla="*/ 940480 h 2163071"/>
                    <a:gd name="connsiteX953" fmla="*/ 118725 w 2328854"/>
                    <a:gd name="connsiteY953" fmla="*/ 938391 h 2163071"/>
                    <a:gd name="connsiteX954" fmla="*/ 114949 w 2328854"/>
                    <a:gd name="connsiteY954" fmla="*/ 938954 h 2163071"/>
                    <a:gd name="connsiteX955" fmla="*/ 119367 w 2328854"/>
                    <a:gd name="connsiteY955" fmla="*/ 945300 h 2163071"/>
                    <a:gd name="connsiteX956" fmla="*/ 119207 w 2328854"/>
                    <a:gd name="connsiteY956" fmla="*/ 940801 h 2163071"/>
                    <a:gd name="connsiteX957" fmla="*/ 122982 w 2328854"/>
                    <a:gd name="connsiteY957" fmla="*/ 938391 h 2163071"/>
                    <a:gd name="connsiteX958" fmla="*/ 2141624 w 2328854"/>
                    <a:gd name="connsiteY958" fmla="*/ 462368 h 2163071"/>
                    <a:gd name="connsiteX959" fmla="*/ 2137206 w 2328854"/>
                    <a:gd name="connsiteY959" fmla="*/ 460119 h 2163071"/>
                    <a:gd name="connsiteX960" fmla="*/ 2137688 w 2328854"/>
                    <a:gd name="connsiteY960" fmla="*/ 460440 h 2163071"/>
                    <a:gd name="connsiteX961" fmla="*/ 2138893 w 2328854"/>
                    <a:gd name="connsiteY961" fmla="*/ 461725 h 2163071"/>
                    <a:gd name="connsiteX962" fmla="*/ 2142347 w 2328854"/>
                    <a:gd name="connsiteY962" fmla="*/ 467027 h 2163071"/>
                    <a:gd name="connsiteX963" fmla="*/ 2149175 w 2328854"/>
                    <a:gd name="connsiteY963" fmla="*/ 479558 h 2163071"/>
                    <a:gd name="connsiteX964" fmla="*/ 2148854 w 2328854"/>
                    <a:gd name="connsiteY964" fmla="*/ 479237 h 2163071"/>
                    <a:gd name="connsiteX965" fmla="*/ 2160903 w 2328854"/>
                    <a:gd name="connsiteY965" fmla="*/ 493374 h 2163071"/>
                    <a:gd name="connsiteX966" fmla="*/ 2141624 w 2328854"/>
                    <a:gd name="connsiteY966" fmla="*/ 462368 h 2163071"/>
                    <a:gd name="connsiteX967" fmla="*/ 1913091 w 2328854"/>
                    <a:gd name="connsiteY967" fmla="*/ 722631 h 2163071"/>
                    <a:gd name="connsiteX968" fmla="*/ 1913573 w 2328854"/>
                    <a:gd name="connsiteY968" fmla="*/ 722149 h 2163071"/>
                    <a:gd name="connsiteX969" fmla="*/ 1913332 w 2328854"/>
                    <a:gd name="connsiteY969" fmla="*/ 722390 h 2163071"/>
                    <a:gd name="connsiteX970" fmla="*/ 1906585 w 2328854"/>
                    <a:gd name="connsiteY970" fmla="*/ 729539 h 2163071"/>
                    <a:gd name="connsiteX971" fmla="*/ 1913091 w 2328854"/>
                    <a:gd name="connsiteY971" fmla="*/ 722631 h 2163071"/>
                    <a:gd name="connsiteX972" fmla="*/ 2193998 w 2328854"/>
                    <a:gd name="connsiteY972" fmla="*/ 564947 h 2163071"/>
                    <a:gd name="connsiteX973" fmla="*/ 2183315 w 2328854"/>
                    <a:gd name="connsiteY973" fmla="*/ 558039 h 2163071"/>
                    <a:gd name="connsiteX974" fmla="*/ 2189339 w 2328854"/>
                    <a:gd name="connsiteY974" fmla="*/ 572738 h 2163071"/>
                    <a:gd name="connsiteX975" fmla="*/ 2168373 w 2328854"/>
                    <a:gd name="connsiteY975" fmla="*/ 556512 h 2163071"/>
                    <a:gd name="connsiteX976" fmla="*/ 2161224 w 2328854"/>
                    <a:gd name="connsiteY976" fmla="*/ 548721 h 2163071"/>
                    <a:gd name="connsiteX977" fmla="*/ 2156887 w 2328854"/>
                    <a:gd name="connsiteY977" fmla="*/ 540607 h 2163071"/>
                    <a:gd name="connsiteX978" fmla="*/ 2150942 w 2328854"/>
                    <a:gd name="connsiteY978" fmla="*/ 535386 h 2163071"/>
                    <a:gd name="connsiteX979" fmla="*/ 2151344 w 2328854"/>
                    <a:gd name="connsiteY979" fmla="*/ 520847 h 2163071"/>
                    <a:gd name="connsiteX980" fmla="*/ 2131904 w 2328854"/>
                    <a:gd name="connsiteY980" fmla="*/ 511288 h 2163071"/>
                    <a:gd name="connsiteX981" fmla="*/ 2133029 w 2328854"/>
                    <a:gd name="connsiteY981" fmla="*/ 527032 h 2163071"/>
                    <a:gd name="connsiteX982" fmla="*/ 2133351 w 2328854"/>
                    <a:gd name="connsiteY982" fmla="*/ 531450 h 2163071"/>
                    <a:gd name="connsiteX983" fmla="*/ 2137528 w 2328854"/>
                    <a:gd name="connsiteY983" fmla="*/ 551773 h 2163071"/>
                    <a:gd name="connsiteX984" fmla="*/ 2136082 w 2328854"/>
                    <a:gd name="connsiteY984" fmla="*/ 551612 h 2163071"/>
                    <a:gd name="connsiteX985" fmla="*/ 2143472 w 2328854"/>
                    <a:gd name="connsiteY985" fmla="*/ 564706 h 2163071"/>
                    <a:gd name="connsiteX986" fmla="*/ 2142669 w 2328854"/>
                    <a:gd name="connsiteY986" fmla="*/ 564465 h 2163071"/>
                    <a:gd name="connsiteX987" fmla="*/ 2156646 w 2328854"/>
                    <a:gd name="connsiteY987" fmla="*/ 578040 h 2163071"/>
                    <a:gd name="connsiteX988" fmla="*/ 2154075 w 2328854"/>
                    <a:gd name="connsiteY988" fmla="*/ 572819 h 2163071"/>
                    <a:gd name="connsiteX989" fmla="*/ 2192874 w 2328854"/>
                    <a:gd name="connsiteY989" fmla="*/ 599327 h 2163071"/>
                    <a:gd name="connsiteX990" fmla="*/ 2200505 w 2328854"/>
                    <a:gd name="connsiteY990" fmla="*/ 622542 h 2163071"/>
                    <a:gd name="connsiteX991" fmla="*/ 2199219 w 2328854"/>
                    <a:gd name="connsiteY991" fmla="*/ 621739 h 2163071"/>
                    <a:gd name="connsiteX992" fmla="*/ 2224764 w 2328854"/>
                    <a:gd name="connsiteY992" fmla="*/ 627201 h 2163071"/>
                    <a:gd name="connsiteX993" fmla="*/ 2207011 w 2328854"/>
                    <a:gd name="connsiteY993" fmla="*/ 591053 h 2163071"/>
                    <a:gd name="connsiteX994" fmla="*/ 2206208 w 2328854"/>
                    <a:gd name="connsiteY994" fmla="*/ 591134 h 2163071"/>
                    <a:gd name="connsiteX995" fmla="*/ 2205887 w 2328854"/>
                    <a:gd name="connsiteY995" fmla="*/ 593463 h 2163071"/>
                    <a:gd name="connsiteX996" fmla="*/ 2203316 w 2328854"/>
                    <a:gd name="connsiteY996" fmla="*/ 589286 h 2163071"/>
                    <a:gd name="connsiteX997" fmla="*/ 2204039 w 2328854"/>
                    <a:gd name="connsiteY997" fmla="*/ 589206 h 2163071"/>
                    <a:gd name="connsiteX998" fmla="*/ 2200746 w 2328854"/>
                    <a:gd name="connsiteY998" fmla="*/ 584707 h 2163071"/>
                    <a:gd name="connsiteX999" fmla="*/ 2201629 w 2328854"/>
                    <a:gd name="connsiteY999" fmla="*/ 588563 h 2163071"/>
                    <a:gd name="connsiteX1000" fmla="*/ 2190785 w 2328854"/>
                    <a:gd name="connsiteY1000" fmla="*/ 574104 h 2163071"/>
                    <a:gd name="connsiteX1001" fmla="*/ 2195364 w 2328854"/>
                    <a:gd name="connsiteY1001" fmla="*/ 569686 h 2163071"/>
                    <a:gd name="connsiteX1002" fmla="*/ 2193998 w 2328854"/>
                    <a:gd name="connsiteY1002" fmla="*/ 564947 h 2163071"/>
                    <a:gd name="connsiteX1003" fmla="*/ 401881 w 2328854"/>
                    <a:gd name="connsiteY1003" fmla="*/ 991488 h 2163071"/>
                    <a:gd name="connsiteX1004" fmla="*/ 402122 w 2328854"/>
                    <a:gd name="connsiteY1004" fmla="*/ 988355 h 2163071"/>
                    <a:gd name="connsiteX1005" fmla="*/ 401961 w 2328854"/>
                    <a:gd name="connsiteY1005" fmla="*/ 988436 h 2163071"/>
                    <a:gd name="connsiteX1006" fmla="*/ 397222 w 2328854"/>
                    <a:gd name="connsiteY1006" fmla="*/ 991649 h 2163071"/>
                    <a:gd name="connsiteX1007" fmla="*/ 401881 w 2328854"/>
                    <a:gd name="connsiteY1007" fmla="*/ 991488 h 2163071"/>
                    <a:gd name="connsiteX1008" fmla="*/ 183710 w 2328854"/>
                    <a:gd name="connsiteY1008" fmla="*/ 930359 h 2163071"/>
                    <a:gd name="connsiteX1009" fmla="*/ 184112 w 2328854"/>
                    <a:gd name="connsiteY1009" fmla="*/ 929716 h 2163071"/>
                    <a:gd name="connsiteX1010" fmla="*/ 183469 w 2328854"/>
                    <a:gd name="connsiteY1010" fmla="*/ 929636 h 2163071"/>
                    <a:gd name="connsiteX1011" fmla="*/ 184192 w 2328854"/>
                    <a:gd name="connsiteY1011" fmla="*/ 928029 h 2163071"/>
                    <a:gd name="connsiteX1012" fmla="*/ 183951 w 2328854"/>
                    <a:gd name="connsiteY1012" fmla="*/ 928109 h 2163071"/>
                    <a:gd name="connsiteX1013" fmla="*/ 180818 w 2328854"/>
                    <a:gd name="connsiteY1013" fmla="*/ 928029 h 2163071"/>
                    <a:gd name="connsiteX1014" fmla="*/ 180417 w 2328854"/>
                    <a:gd name="connsiteY1014" fmla="*/ 930439 h 2163071"/>
                    <a:gd name="connsiteX1015" fmla="*/ 183710 w 2328854"/>
                    <a:gd name="connsiteY1015" fmla="*/ 930359 h 2163071"/>
                    <a:gd name="connsiteX1016" fmla="*/ 45948 w 2328854"/>
                    <a:gd name="connsiteY1016" fmla="*/ 790267 h 2163071"/>
                    <a:gd name="connsiteX1017" fmla="*/ 45948 w 2328854"/>
                    <a:gd name="connsiteY1017" fmla="*/ 790267 h 2163071"/>
                    <a:gd name="connsiteX1018" fmla="*/ 46510 w 2328854"/>
                    <a:gd name="connsiteY1018" fmla="*/ 788178 h 2163071"/>
                    <a:gd name="connsiteX1019" fmla="*/ 46510 w 2328854"/>
                    <a:gd name="connsiteY1019" fmla="*/ 788178 h 2163071"/>
                    <a:gd name="connsiteX1020" fmla="*/ 45385 w 2328854"/>
                    <a:gd name="connsiteY1020" fmla="*/ 789945 h 2163071"/>
                    <a:gd name="connsiteX1021" fmla="*/ 45948 w 2328854"/>
                    <a:gd name="connsiteY1021" fmla="*/ 790267 h 2163071"/>
                    <a:gd name="connsiteX1022" fmla="*/ 386378 w 2328854"/>
                    <a:gd name="connsiteY1022" fmla="*/ 978395 h 2163071"/>
                    <a:gd name="connsiteX1023" fmla="*/ 386619 w 2328854"/>
                    <a:gd name="connsiteY1023" fmla="*/ 978555 h 2163071"/>
                    <a:gd name="connsiteX1024" fmla="*/ 382843 w 2328854"/>
                    <a:gd name="connsiteY1024" fmla="*/ 975021 h 2163071"/>
                    <a:gd name="connsiteX1025" fmla="*/ 382763 w 2328854"/>
                    <a:gd name="connsiteY1025" fmla="*/ 975262 h 2163071"/>
                    <a:gd name="connsiteX1026" fmla="*/ 382281 w 2328854"/>
                    <a:gd name="connsiteY1026" fmla="*/ 979439 h 2163071"/>
                    <a:gd name="connsiteX1027" fmla="*/ 383566 w 2328854"/>
                    <a:gd name="connsiteY1027" fmla="*/ 978636 h 2163071"/>
                    <a:gd name="connsiteX1028" fmla="*/ 386378 w 2328854"/>
                    <a:gd name="connsiteY1028" fmla="*/ 978395 h 2163071"/>
                    <a:gd name="connsiteX1029" fmla="*/ 365492 w 2328854"/>
                    <a:gd name="connsiteY1029" fmla="*/ 971487 h 2163071"/>
                    <a:gd name="connsiteX1030" fmla="*/ 365653 w 2328854"/>
                    <a:gd name="connsiteY1030" fmla="*/ 971487 h 2163071"/>
                    <a:gd name="connsiteX1031" fmla="*/ 365492 w 2328854"/>
                    <a:gd name="connsiteY1031" fmla="*/ 971487 h 2163071"/>
                    <a:gd name="connsiteX1032" fmla="*/ 362761 w 2328854"/>
                    <a:gd name="connsiteY1032" fmla="*/ 971647 h 2163071"/>
                    <a:gd name="connsiteX1033" fmla="*/ 365492 w 2328854"/>
                    <a:gd name="connsiteY1033" fmla="*/ 971487 h 2163071"/>
                    <a:gd name="connsiteX1034" fmla="*/ 2061135 w 2328854"/>
                    <a:gd name="connsiteY1034" fmla="*/ 605593 h 2163071"/>
                    <a:gd name="connsiteX1035" fmla="*/ 2061537 w 2328854"/>
                    <a:gd name="connsiteY1035" fmla="*/ 605352 h 2163071"/>
                    <a:gd name="connsiteX1036" fmla="*/ 2055432 w 2328854"/>
                    <a:gd name="connsiteY1036" fmla="*/ 606557 h 2163071"/>
                    <a:gd name="connsiteX1037" fmla="*/ 2055031 w 2328854"/>
                    <a:gd name="connsiteY1037" fmla="*/ 621176 h 2163071"/>
                    <a:gd name="connsiteX1038" fmla="*/ 2054870 w 2328854"/>
                    <a:gd name="connsiteY1038" fmla="*/ 621176 h 2163071"/>
                    <a:gd name="connsiteX1039" fmla="*/ 2056236 w 2328854"/>
                    <a:gd name="connsiteY1039" fmla="*/ 624871 h 2163071"/>
                    <a:gd name="connsiteX1040" fmla="*/ 2061135 w 2328854"/>
                    <a:gd name="connsiteY1040" fmla="*/ 605593 h 2163071"/>
                    <a:gd name="connsiteX1041" fmla="*/ 393205 w 2328854"/>
                    <a:gd name="connsiteY1041" fmla="*/ 984660 h 2163071"/>
                    <a:gd name="connsiteX1042" fmla="*/ 391438 w 2328854"/>
                    <a:gd name="connsiteY1042" fmla="*/ 978154 h 2163071"/>
                    <a:gd name="connsiteX1043" fmla="*/ 392161 w 2328854"/>
                    <a:gd name="connsiteY1043" fmla="*/ 977110 h 2163071"/>
                    <a:gd name="connsiteX1044" fmla="*/ 390394 w 2328854"/>
                    <a:gd name="connsiteY1044" fmla="*/ 977672 h 2163071"/>
                    <a:gd name="connsiteX1045" fmla="*/ 393687 w 2328854"/>
                    <a:gd name="connsiteY1045" fmla="*/ 975342 h 2163071"/>
                    <a:gd name="connsiteX1046" fmla="*/ 393205 w 2328854"/>
                    <a:gd name="connsiteY1046" fmla="*/ 975503 h 2163071"/>
                    <a:gd name="connsiteX1047" fmla="*/ 390314 w 2328854"/>
                    <a:gd name="connsiteY1047" fmla="*/ 983375 h 2163071"/>
                    <a:gd name="connsiteX1048" fmla="*/ 390153 w 2328854"/>
                    <a:gd name="connsiteY1048" fmla="*/ 982733 h 2163071"/>
                    <a:gd name="connsiteX1049" fmla="*/ 393205 w 2328854"/>
                    <a:gd name="connsiteY1049" fmla="*/ 984660 h 2163071"/>
                    <a:gd name="connsiteX1050" fmla="*/ 1790350 w 2328854"/>
                    <a:gd name="connsiteY1050" fmla="*/ 770506 h 2163071"/>
                    <a:gd name="connsiteX1051" fmla="*/ 1793724 w 2328854"/>
                    <a:gd name="connsiteY1051" fmla="*/ 768819 h 2163071"/>
                    <a:gd name="connsiteX1052" fmla="*/ 1791153 w 2328854"/>
                    <a:gd name="connsiteY1052" fmla="*/ 768418 h 2163071"/>
                    <a:gd name="connsiteX1053" fmla="*/ 1790350 w 2328854"/>
                    <a:gd name="connsiteY1053" fmla="*/ 770506 h 2163071"/>
                    <a:gd name="connsiteX1054" fmla="*/ 1803122 w 2328854"/>
                    <a:gd name="connsiteY1054" fmla="*/ 767453 h 2163071"/>
                    <a:gd name="connsiteX1055" fmla="*/ 1803122 w 2328854"/>
                    <a:gd name="connsiteY1055" fmla="*/ 767212 h 2163071"/>
                    <a:gd name="connsiteX1056" fmla="*/ 1792599 w 2328854"/>
                    <a:gd name="connsiteY1056" fmla="*/ 767453 h 2163071"/>
                    <a:gd name="connsiteX1057" fmla="*/ 1793081 w 2328854"/>
                    <a:gd name="connsiteY1057" fmla="*/ 767775 h 2163071"/>
                    <a:gd name="connsiteX1058" fmla="*/ 1803122 w 2328854"/>
                    <a:gd name="connsiteY1058" fmla="*/ 767453 h 2163071"/>
                    <a:gd name="connsiteX1059" fmla="*/ 98080 w 2328854"/>
                    <a:gd name="connsiteY1059" fmla="*/ 872041 h 2163071"/>
                    <a:gd name="connsiteX1060" fmla="*/ 98562 w 2328854"/>
                    <a:gd name="connsiteY1060" fmla="*/ 871719 h 2163071"/>
                    <a:gd name="connsiteX1061" fmla="*/ 99125 w 2328854"/>
                    <a:gd name="connsiteY1061" fmla="*/ 864490 h 2163071"/>
                    <a:gd name="connsiteX1062" fmla="*/ 95590 w 2328854"/>
                    <a:gd name="connsiteY1062" fmla="*/ 866096 h 2163071"/>
                    <a:gd name="connsiteX1063" fmla="*/ 91333 w 2328854"/>
                    <a:gd name="connsiteY1063" fmla="*/ 862883 h 2163071"/>
                    <a:gd name="connsiteX1064" fmla="*/ 89244 w 2328854"/>
                    <a:gd name="connsiteY1064" fmla="*/ 863686 h 2163071"/>
                    <a:gd name="connsiteX1065" fmla="*/ 88602 w 2328854"/>
                    <a:gd name="connsiteY1065" fmla="*/ 866498 h 2163071"/>
                    <a:gd name="connsiteX1066" fmla="*/ 95510 w 2328854"/>
                    <a:gd name="connsiteY1066" fmla="*/ 867863 h 2163071"/>
                    <a:gd name="connsiteX1067" fmla="*/ 97839 w 2328854"/>
                    <a:gd name="connsiteY1067" fmla="*/ 867542 h 2163071"/>
                    <a:gd name="connsiteX1068" fmla="*/ 99366 w 2328854"/>
                    <a:gd name="connsiteY1068" fmla="*/ 867622 h 2163071"/>
                    <a:gd name="connsiteX1069" fmla="*/ 98080 w 2328854"/>
                    <a:gd name="connsiteY1069" fmla="*/ 872041 h 2163071"/>
                    <a:gd name="connsiteX1070" fmla="*/ 128203 w 2328854"/>
                    <a:gd name="connsiteY1070" fmla="*/ 895095 h 2163071"/>
                    <a:gd name="connsiteX1071" fmla="*/ 130533 w 2328854"/>
                    <a:gd name="connsiteY1071" fmla="*/ 894693 h 2163071"/>
                    <a:gd name="connsiteX1072" fmla="*/ 125071 w 2328854"/>
                    <a:gd name="connsiteY1072" fmla="*/ 883768 h 2163071"/>
                    <a:gd name="connsiteX1073" fmla="*/ 121456 w 2328854"/>
                    <a:gd name="connsiteY1073" fmla="*/ 880234 h 2163071"/>
                    <a:gd name="connsiteX1074" fmla="*/ 121858 w 2328854"/>
                    <a:gd name="connsiteY1074" fmla="*/ 881198 h 2163071"/>
                    <a:gd name="connsiteX1075" fmla="*/ 121536 w 2328854"/>
                    <a:gd name="connsiteY1075" fmla="*/ 889633 h 2163071"/>
                    <a:gd name="connsiteX1076" fmla="*/ 128203 w 2328854"/>
                    <a:gd name="connsiteY1076" fmla="*/ 895095 h 2163071"/>
                    <a:gd name="connsiteX1077" fmla="*/ 66512 w 2328854"/>
                    <a:gd name="connsiteY1077" fmla="*/ 828664 h 2163071"/>
                    <a:gd name="connsiteX1078" fmla="*/ 67556 w 2328854"/>
                    <a:gd name="connsiteY1078" fmla="*/ 824486 h 2163071"/>
                    <a:gd name="connsiteX1079" fmla="*/ 66994 w 2328854"/>
                    <a:gd name="connsiteY1079" fmla="*/ 825209 h 2163071"/>
                    <a:gd name="connsiteX1080" fmla="*/ 65146 w 2328854"/>
                    <a:gd name="connsiteY1080" fmla="*/ 830190 h 2163071"/>
                    <a:gd name="connsiteX1081" fmla="*/ 66512 w 2328854"/>
                    <a:gd name="connsiteY1081" fmla="*/ 828664 h 2163071"/>
                    <a:gd name="connsiteX1082" fmla="*/ 117199 w 2328854"/>
                    <a:gd name="connsiteY1082" fmla="*/ 876057 h 2163071"/>
                    <a:gd name="connsiteX1083" fmla="*/ 117199 w 2328854"/>
                    <a:gd name="connsiteY1083" fmla="*/ 876057 h 2163071"/>
                    <a:gd name="connsiteX1084" fmla="*/ 116877 w 2328854"/>
                    <a:gd name="connsiteY1084" fmla="*/ 875736 h 2163071"/>
                    <a:gd name="connsiteX1085" fmla="*/ 117199 w 2328854"/>
                    <a:gd name="connsiteY1085" fmla="*/ 876057 h 2163071"/>
                    <a:gd name="connsiteX1086" fmla="*/ 52936 w 2328854"/>
                    <a:gd name="connsiteY1086" fmla="*/ 794524 h 2163071"/>
                    <a:gd name="connsiteX1087" fmla="*/ 52695 w 2328854"/>
                    <a:gd name="connsiteY1087" fmla="*/ 796372 h 2163071"/>
                    <a:gd name="connsiteX1088" fmla="*/ 54703 w 2328854"/>
                    <a:gd name="connsiteY1088" fmla="*/ 786411 h 2163071"/>
                    <a:gd name="connsiteX1089" fmla="*/ 54543 w 2328854"/>
                    <a:gd name="connsiteY1089" fmla="*/ 786893 h 2163071"/>
                    <a:gd name="connsiteX1090" fmla="*/ 52936 w 2328854"/>
                    <a:gd name="connsiteY1090" fmla="*/ 794524 h 2163071"/>
                    <a:gd name="connsiteX1091" fmla="*/ 61772 w 2328854"/>
                    <a:gd name="connsiteY1091" fmla="*/ 812196 h 2163071"/>
                    <a:gd name="connsiteX1092" fmla="*/ 62174 w 2328854"/>
                    <a:gd name="connsiteY1092" fmla="*/ 812277 h 2163071"/>
                    <a:gd name="connsiteX1093" fmla="*/ 62415 w 2328854"/>
                    <a:gd name="connsiteY1093" fmla="*/ 809064 h 2163071"/>
                    <a:gd name="connsiteX1094" fmla="*/ 61853 w 2328854"/>
                    <a:gd name="connsiteY1094" fmla="*/ 808983 h 2163071"/>
                    <a:gd name="connsiteX1095" fmla="*/ 60085 w 2328854"/>
                    <a:gd name="connsiteY1095" fmla="*/ 813321 h 2163071"/>
                    <a:gd name="connsiteX1096" fmla="*/ 61772 w 2328854"/>
                    <a:gd name="connsiteY1096" fmla="*/ 812196 h 2163071"/>
                    <a:gd name="connsiteX1097" fmla="*/ 699737 w 2328854"/>
                    <a:gd name="connsiteY1097" fmla="*/ 983295 h 2163071"/>
                    <a:gd name="connsiteX1098" fmla="*/ 699817 w 2328854"/>
                    <a:gd name="connsiteY1098" fmla="*/ 983215 h 2163071"/>
                    <a:gd name="connsiteX1099" fmla="*/ 698532 w 2328854"/>
                    <a:gd name="connsiteY1099" fmla="*/ 982652 h 2163071"/>
                    <a:gd name="connsiteX1100" fmla="*/ 695962 w 2328854"/>
                    <a:gd name="connsiteY1100" fmla="*/ 985303 h 2163071"/>
                    <a:gd name="connsiteX1101" fmla="*/ 699737 w 2328854"/>
                    <a:gd name="connsiteY1101" fmla="*/ 983295 h 2163071"/>
                    <a:gd name="connsiteX1102" fmla="*/ 306451 w 2328854"/>
                    <a:gd name="connsiteY1102" fmla="*/ 945219 h 2163071"/>
                    <a:gd name="connsiteX1103" fmla="*/ 306612 w 2328854"/>
                    <a:gd name="connsiteY1103" fmla="*/ 945059 h 2163071"/>
                    <a:gd name="connsiteX1104" fmla="*/ 306210 w 2328854"/>
                    <a:gd name="connsiteY1104" fmla="*/ 945139 h 2163071"/>
                    <a:gd name="connsiteX1105" fmla="*/ 299623 w 2328854"/>
                    <a:gd name="connsiteY1105" fmla="*/ 946826 h 2163071"/>
                    <a:gd name="connsiteX1106" fmla="*/ 306451 w 2328854"/>
                    <a:gd name="connsiteY1106" fmla="*/ 945219 h 2163071"/>
                    <a:gd name="connsiteX1107" fmla="*/ 338261 w 2328854"/>
                    <a:gd name="connsiteY1107" fmla="*/ 1015346 h 2163071"/>
                    <a:gd name="connsiteX1108" fmla="*/ 340591 w 2328854"/>
                    <a:gd name="connsiteY1108" fmla="*/ 1015185 h 2163071"/>
                    <a:gd name="connsiteX1109" fmla="*/ 340671 w 2328854"/>
                    <a:gd name="connsiteY1109" fmla="*/ 1013418 h 2163071"/>
                    <a:gd name="connsiteX1110" fmla="*/ 331674 w 2328854"/>
                    <a:gd name="connsiteY1110" fmla="*/ 996951 h 2163071"/>
                    <a:gd name="connsiteX1111" fmla="*/ 319625 w 2328854"/>
                    <a:gd name="connsiteY1111" fmla="*/ 991087 h 2163071"/>
                    <a:gd name="connsiteX1112" fmla="*/ 319063 w 2328854"/>
                    <a:gd name="connsiteY1112" fmla="*/ 989962 h 2163071"/>
                    <a:gd name="connsiteX1113" fmla="*/ 319705 w 2328854"/>
                    <a:gd name="connsiteY1113" fmla="*/ 989480 h 2163071"/>
                    <a:gd name="connsiteX1114" fmla="*/ 319304 w 2328854"/>
                    <a:gd name="connsiteY1114" fmla="*/ 988918 h 2163071"/>
                    <a:gd name="connsiteX1115" fmla="*/ 317536 w 2328854"/>
                    <a:gd name="connsiteY1115" fmla="*/ 989320 h 2163071"/>
                    <a:gd name="connsiteX1116" fmla="*/ 286530 w 2328854"/>
                    <a:gd name="connsiteY1116" fmla="*/ 971005 h 2163071"/>
                    <a:gd name="connsiteX1117" fmla="*/ 270063 w 2328854"/>
                    <a:gd name="connsiteY1117" fmla="*/ 950119 h 2163071"/>
                    <a:gd name="connsiteX1118" fmla="*/ 260905 w 2328854"/>
                    <a:gd name="connsiteY1118" fmla="*/ 937187 h 2163071"/>
                    <a:gd name="connsiteX1119" fmla="*/ 242590 w 2328854"/>
                    <a:gd name="connsiteY1119" fmla="*/ 930519 h 2163071"/>
                    <a:gd name="connsiteX1120" fmla="*/ 245563 w 2328854"/>
                    <a:gd name="connsiteY1120" fmla="*/ 927065 h 2163071"/>
                    <a:gd name="connsiteX1121" fmla="*/ 240582 w 2328854"/>
                    <a:gd name="connsiteY1121" fmla="*/ 929475 h 2163071"/>
                    <a:gd name="connsiteX1122" fmla="*/ 202427 w 2328854"/>
                    <a:gd name="connsiteY1122" fmla="*/ 944175 h 2163071"/>
                    <a:gd name="connsiteX1123" fmla="*/ 215520 w 2328854"/>
                    <a:gd name="connsiteY1123" fmla="*/ 950842 h 2163071"/>
                    <a:gd name="connsiteX1124" fmla="*/ 240020 w 2328854"/>
                    <a:gd name="connsiteY1124" fmla="*/ 955742 h 2163071"/>
                    <a:gd name="connsiteX1125" fmla="*/ 280264 w 2328854"/>
                    <a:gd name="connsiteY1125" fmla="*/ 968595 h 2163071"/>
                    <a:gd name="connsiteX1126" fmla="*/ 264038 w 2328854"/>
                    <a:gd name="connsiteY1126" fmla="*/ 982974 h 2163071"/>
                    <a:gd name="connsiteX1127" fmla="*/ 256005 w 2328854"/>
                    <a:gd name="connsiteY1127" fmla="*/ 981688 h 2163071"/>
                    <a:gd name="connsiteX1128" fmla="*/ 257692 w 2328854"/>
                    <a:gd name="connsiteY1128" fmla="*/ 977752 h 2163071"/>
                    <a:gd name="connsiteX1129" fmla="*/ 252953 w 2328854"/>
                    <a:gd name="connsiteY1129" fmla="*/ 975905 h 2163071"/>
                    <a:gd name="connsiteX1130" fmla="*/ 234879 w 2328854"/>
                    <a:gd name="connsiteY1130" fmla="*/ 1007634 h 2163071"/>
                    <a:gd name="connsiteX1131" fmla="*/ 231987 w 2328854"/>
                    <a:gd name="connsiteY1131" fmla="*/ 1039766 h 2163071"/>
                    <a:gd name="connsiteX1132" fmla="*/ 265002 w 2328854"/>
                    <a:gd name="connsiteY1132" fmla="*/ 997272 h 2163071"/>
                    <a:gd name="connsiteX1133" fmla="*/ 264440 w 2328854"/>
                    <a:gd name="connsiteY1133" fmla="*/ 997834 h 2163071"/>
                    <a:gd name="connsiteX1134" fmla="*/ 265645 w 2328854"/>
                    <a:gd name="connsiteY1134" fmla="*/ 996469 h 2163071"/>
                    <a:gd name="connsiteX1135" fmla="*/ 265484 w 2328854"/>
                    <a:gd name="connsiteY1135" fmla="*/ 996308 h 2163071"/>
                    <a:gd name="connsiteX1136" fmla="*/ 275204 w 2328854"/>
                    <a:gd name="connsiteY1136" fmla="*/ 990444 h 2163071"/>
                    <a:gd name="connsiteX1137" fmla="*/ 275927 w 2328854"/>
                    <a:gd name="connsiteY1137" fmla="*/ 984660 h 2163071"/>
                    <a:gd name="connsiteX1138" fmla="*/ 294322 w 2328854"/>
                    <a:gd name="connsiteY1138" fmla="*/ 1001128 h 2163071"/>
                    <a:gd name="connsiteX1139" fmla="*/ 289100 w 2328854"/>
                    <a:gd name="connsiteY1139" fmla="*/ 1012775 h 2163071"/>
                    <a:gd name="connsiteX1140" fmla="*/ 282594 w 2328854"/>
                    <a:gd name="connsiteY1140" fmla="*/ 1019121 h 2163071"/>
                    <a:gd name="connsiteX1141" fmla="*/ 282915 w 2328854"/>
                    <a:gd name="connsiteY1141" fmla="*/ 1019925 h 2163071"/>
                    <a:gd name="connsiteX1142" fmla="*/ 288779 w 2328854"/>
                    <a:gd name="connsiteY1142" fmla="*/ 1018478 h 2163071"/>
                    <a:gd name="connsiteX1143" fmla="*/ 299704 w 2328854"/>
                    <a:gd name="connsiteY1143" fmla="*/ 1021049 h 2163071"/>
                    <a:gd name="connsiteX1144" fmla="*/ 308379 w 2328854"/>
                    <a:gd name="connsiteY1144" fmla="*/ 1020406 h 2163071"/>
                    <a:gd name="connsiteX1145" fmla="*/ 322115 w 2328854"/>
                    <a:gd name="connsiteY1145" fmla="*/ 1011410 h 2163071"/>
                    <a:gd name="connsiteX1146" fmla="*/ 321312 w 2328854"/>
                    <a:gd name="connsiteY1146" fmla="*/ 1011490 h 2163071"/>
                    <a:gd name="connsiteX1147" fmla="*/ 323641 w 2328854"/>
                    <a:gd name="connsiteY1147" fmla="*/ 1009080 h 2163071"/>
                    <a:gd name="connsiteX1148" fmla="*/ 322356 w 2328854"/>
                    <a:gd name="connsiteY1148" fmla="*/ 1011088 h 2163071"/>
                    <a:gd name="connsiteX1149" fmla="*/ 323400 w 2328854"/>
                    <a:gd name="connsiteY1149" fmla="*/ 1014542 h 2163071"/>
                    <a:gd name="connsiteX1150" fmla="*/ 338261 w 2328854"/>
                    <a:gd name="connsiteY1150" fmla="*/ 1015346 h 2163071"/>
                    <a:gd name="connsiteX1151" fmla="*/ 428951 w 2328854"/>
                    <a:gd name="connsiteY1151" fmla="*/ 968836 h 2163071"/>
                    <a:gd name="connsiteX1152" fmla="*/ 429755 w 2328854"/>
                    <a:gd name="connsiteY1152" fmla="*/ 968755 h 2163071"/>
                    <a:gd name="connsiteX1153" fmla="*/ 421240 w 2328854"/>
                    <a:gd name="connsiteY1153" fmla="*/ 961526 h 2163071"/>
                    <a:gd name="connsiteX1154" fmla="*/ 411601 w 2328854"/>
                    <a:gd name="connsiteY1154" fmla="*/ 965301 h 2163071"/>
                    <a:gd name="connsiteX1155" fmla="*/ 414894 w 2328854"/>
                    <a:gd name="connsiteY1155" fmla="*/ 966185 h 2163071"/>
                    <a:gd name="connsiteX1156" fmla="*/ 417786 w 2328854"/>
                    <a:gd name="connsiteY1156" fmla="*/ 963213 h 2163071"/>
                    <a:gd name="connsiteX1157" fmla="*/ 414894 w 2328854"/>
                    <a:gd name="connsiteY1157" fmla="*/ 968273 h 2163071"/>
                    <a:gd name="connsiteX1158" fmla="*/ 421481 w 2328854"/>
                    <a:gd name="connsiteY1158" fmla="*/ 968032 h 2163071"/>
                    <a:gd name="connsiteX1159" fmla="*/ 428951 w 2328854"/>
                    <a:gd name="connsiteY1159" fmla="*/ 968836 h 2163071"/>
                    <a:gd name="connsiteX1160" fmla="*/ 460681 w 2328854"/>
                    <a:gd name="connsiteY1160" fmla="*/ 970201 h 2163071"/>
                    <a:gd name="connsiteX1161" fmla="*/ 460360 w 2328854"/>
                    <a:gd name="connsiteY1161" fmla="*/ 969559 h 2163071"/>
                    <a:gd name="connsiteX1162" fmla="*/ 458592 w 2328854"/>
                    <a:gd name="connsiteY1162" fmla="*/ 965542 h 2163071"/>
                    <a:gd name="connsiteX1163" fmla="*/ 458673 w 2328854"/>
                    <a:gd name="connsiteY1163" fmla="*/ 965703 h 2163071"/>
                    <a:gd name="connsiteX1164" fmla="*/ 460681 w 2328854"/>
                    <a:gd name="connsiteY1164" fmla="*/ 970201 h 2163071"/>
                    <a:gd name="connsiteX1165" fmla="*/ 360191 w 2328854"/>
                    <a:gd name="connsiteY1165" fmla="*/ 955100 h 2163071"/>
                    <a:gd name="connsiteX1166" fmla="*/ 352078 w 2328854"/>
                    <a:gd name="connsiteY1166" fmla="*/ 948593 h 2163071"/>
                    <a:gd name="connsiteX1167" fmla="*/ 349105 w 2328854"/>
                    <a:gd name="connsiteY1167" fmla="*/ 948673 h 2163071"/>
                    <a:gd name="connsiteX1168" fmla="*/ 358905 w 2328854"/>
                    <a:gd name="connsiteY1168" fmla="*/ 956787 h 2163071"/>
                    <a:gd name="connsiteX1169" fmla="*/ 360191 w 2328854"/>
                    <a:gd name="connsiteY1169" fmla="*/ 955100 h 2163071"/>
                    <a:gd name="connsiteX1170" fmla="*/ 206282 w 2328854"/>
                    <a:gd name="connsiteY1170" fmla="*/ 915257 h 2163071"/>
                    <a:gd name="connsiteX1171" fmla="*/ 206604 w 2328854"/>
                    <a:gd name="connsiteY1171" fmla="*/ 915096 h 2163071"/>
                    <a:gd name="connsiteX1172" fmla="*/ 205479 w 2328854"/>
                    <a:gd name="connsiteY1172" fmla="*/ 911562 h 2163071"/>
                    <a:gd name="connsiteX1173" fmla="*/ 202025 w 2328854"/>
                    <a:gd name="connsiteY1173" fmla="*/ 910196 h 2163071"/>
                    <a:gd name="connsiteX1174" fmla="*/ 202587 w 2328854"/>
                    <a:gd name="connsiteY1174" fmla="*/ 909474 h 2163071"/>
                    <a:gd name="connsiteX1175" fmla="*/ 201864 w 2328854"/>
                    <a:gd name="connsiteY1175" fmla="*/ 905377 h 2163071"/>
                    <a:gd name="connsiteX1176" fmla="*/ 200338 w 2328854"/>
                    <a:gd name="connsiteY1176" fmla="*/ 905296 h 2163071"/>
                    <a:gd name="connsiteX1177" fmla="*/ 200258 w 2328854"/>
                    <a:gd name="connsiteY1177" fmla="*/ 906341 h 2163071"/>
                    <a:gd name="connsiteX1178" fmla="*/ 198812 w 2328854"/>
                    <a:gd name="connsiteY1178" fmla="*/ 905859 h 2163071"/>
                    <a:gd name="connsiteX1179" fmla="*/ 198571 w 2328854"/>
                    <a:gd name="connsiteY1179" fmla="*/ 905859 h 2163071"/>
                    <a:gd name="connsiteX1180" fmla="*/ 200017 w 2328854"/>
                    <a:gd name="connsiteY1180" fmla="*/ 909233 h 2163071"/>
                    <a:gd name="connsiteX1181" fmla="*/ 200177 w 2328854"/>
                    <a:gd name="connsiteY1181" fmla="*/ 910919 h 2163071"/>
                    <a:gd name="connsiteX1182" fmla="*/ 203471 w 2328854"/>
                    <a:gd name="connsiteY1182" fmla="*/ 912365 h 2163071"/>
                    <a:gd name="connsiteX1183" fmla="*/ 205479 w 2328854"/>
                    <a:gd name="connsiteY1183" fmla="*/ 914454 h 2163071"/>
                    <a:gd name="connsiteX1184" fmla="*/ 203310 w 2328854"/>
                    <a:gd name="connsiteY1184" fmla="*/ 916221 h 2163071"/>
                    <a:gd name="connsiteX1185" fmla="*/ 206443 w 2328854"/>
                    <a:gd name="connsiteY1185" fmla="*/ 915257 h 2163071"/>
                    <a:gd name="connsiteX1186" fmla="*/ 206282 w 2328854"/>
                    <a:gd name="connsiteY1186" fmla="*/ 915257 h 2163071"/>
                    <a:gd name="connsiteX1187" fmla="*/ 206282 w 2328854"/>
                    <a:gd name="connsiteY1187" fmla="*/ 915257 h 2163071"/>
                    <a:gd name="connsiteX1188" fmla="*/ 692909 w 2328854"/>
                    <a:gd name="connsiteY1188" fmla="*/ 967711 h 2163071"/>
                    <a:gd name="connsiteX1189" fmla="*/ 693230 w 2328854"/>
                    <a:gd name="connsiteY1189" fmla="*/ 965864 h 2163071"/>
                    <a:gd name="connsiteX1190" fmla="*/ 692748 w 2328854"/>
                    <a:gd name="connsiteY1190" fmla="*/ 966265 h 2163071"/>
                    <a:gd name="connsiteX1191" fmla="*/ 675317 w 2328854"/>
                    <a:gd name="connsiteY1191" fmla="*/ 977431 h 2163071"/>
                    <a:gd name="connsiteX1192" fmla="*/ 692909 w 2328854"/>
                    <a:gd name="connsiteY1192" fmla="*/ 967711 h 2163071"/>
                    <a:gd name="connsiteX1193" fmla="*/ 2031414 w 2328854"/>
                    <a:gd name="connsiteY1193" fmla="*/ 598042 h 2163071"/>
                    <a:gd name="connsiteX1194" fmla="*/ 2030611 w 2328854"/>
                    <a:gd name="connsiteY1194" fmla="*/ 596435 h 2163071"/>
                    <a:gd name="connsiteX1195" fmla="*/ 2022177 w 2328854"/>
                    <a:gd name="connsiteY1195" fmla="*/ 592981 h 2163071"/>
                    <a:gd name="connsiteX1196" fmla="*/ 2022337 w 2328854"/>
                    <a:gd name="connsiteY1196" fmla="*/ 593624 h 2163071"/>
                    <a:gd name="connsiteX1197" fmla="*/ 2016313 w 2328854"/>
                    <a:gd name="connsiteY1197" fmla="*/ 598283 h 2163071"/>
                    <a:gd name="connsiteX1198" fmla="*/ 2031414 w 2328854"/>
                    <a:gd name="connsiteY1198" fmla="*/ 598042 h 2163071"/>
                    <a:gd name="connsiteX1199" fmla="*/ 66110 w 2328854"/>
                    <a:gd name="connsiteY1199" fmla="*/ 784965 h 2163071"/>
                    <a:gd name="connsiteX1200" fmla="*/ 66271 w 2328854"/>
                    <a:gd name="connsiteY1200" fmla="*/ 785126 h 2163071"/>
                    <a:gd name="connsiteX1201" fmla="*/ 69082 w 2328854"/>
                    <a:gd name="connsiteY1201" fmla="*/ 777013 h 2163071"/>
                    <a:gd name="connsiteX1202" fmla="*/ 68921 w 2328854"/>
                    <a:gd name="connsiteY1202" fmla="*/ 777173 h 2163071"/>
                    <a:gd name="connsiteX1203" fmla="*/ 66110 w 2328854"/>
                    <a:gd name="connsiteY1203" fmla="*/ 784965 h 2163071"/>
                    <a:gd name="connsiteX1204" fmla="*/ 195277 w 2328854"/>
                    <a:gd name="connsiteY1204" fmla="*/ 898629 h 2163071"/>
                    <a:gd name="connsiteX1205" fmla="*/ 196241 w 2328854"/>
                    <a:gd name="connsiteY1205" fmla="*/ 898790 h 2163071"/>
                    <a:gd name="connsiteX1206" fmla="*/ 192707 w 2328854"/>
                    <a:gd name="connsiteY1206" fmla="*/ 892765 h 2163071"/>
                    <a:gd name="connsiteX1207" fmla="*/ 195840 w 2328854"/>
                    <a:gd name="connsiteY1207" fmla="*/ 893970 h 2163071"/>
                    <a:gd name="connsiteX1208" fmla="*/ 196482 w 2328854"/>
                    <a:gd name="connsiteY1208" fmla="*/ 895898 h 2163071"/>
                    <a:gd name="connsiteX1209" fmla="*/ 195920 w 2328854"/>
                    <a:gd name="connsiteY1209" fmla="*/ 885696 h 2163071"/>
                    <a:gd name="connsiteX1210" fmla="*/ 191100 w 2328854"/>
                    <a:gd name="connsiteY1210" fmla="*/ 888669 h 2163071"/>
                    <a:gd name="connsiteX1211" fmla="*/ 189253 w 2328854"/>
                    <a:gd name="connsiteY1211" fmla="*/ 887945 h 2163071"/>
                    <a:gd name="connsiteX1212" fmla="*/ 188610 w 2328854"/>
                    <a:gd name="connsiteY1212" fmla="*/ 889552 h 2163071"/>
                    <a:gd name="connsiteX1213" fmla="*/ 188530 w 2328854"/>
                    <a:gd name="connsiteY1213" fmla="*/ 889633 h 2163071"/>
                    <a:gd name="connsiteX1214" fmla="*/ 187004 w 2328854"/>
                    <a:gd name="connsiteY1214" fmla="*/ 892364 h 2163071"/>
                    <a:gd name="connsiteX1215" fmla="*/ 187325 w 2328854"/>
                    <a:gd name="connsiteY1215" fmla="*/ 894854 h 2163071"/>
                    <a:gd name="connsiteX1216" fmla="*/ 195277 w 2328854"/>
                    <a:gd name="connsiteY1216" fmla="*/ 898629 h 2163071"/>
                    <a:gd name="connsiteX1217" fmla="*/ 494258 w 2328854"/>
                    <a:gd name="connsiteY1217" fmla="*/ 959036 h 2163071"/>
                    <a:gd name="connsiteX1218" fmla="*/ 494901 w 2328854"/>
                    <a:gd name="connsiteY1218" fmla="*/ 958956 h 2163071"/>
                    <a:gd name="connsiteX1219" fmla="*/ 490322 w 2328854"/>
                    <a:gd name="connsiteY1219" fmla="*/ 952047 h 2163071"/>
                    <a:gd name="connsiteX1220" fmla="*/ 487992 w 2328854"/>
                    <a:gd name="connsiteY1220" fmla="*/ 948834 h 2163071"/>
                    <a:gd name="connsiteX1221" fmla="*/ 487832 w 2328854"/>
                    <a:gd name="connsiteY1221" fmla="*/ 949959 h 2163071"/>
                    <a:gd name="connsiteX1222" fmla="*/ 480522 w 2328854"/>
                    <a:gd name="connsiteY1222" fmla="*/ 952690 h 2163071"/>
                    <a:gd name="connsiteX1223" fmla="*/ 477871 w 2328854"/>
                    <a:gd name="connsiteY1223" fmla="*/ 956224 h 2163071"/>
                    <a:gd name="connsiteX1224" fmla="*/ 481807 w 2328854"/>
                    <a:gd name="connsiteY1224" fmla="*/ 956224 h 2163071"/>
                    <a:gd name="connsiteX1225" fmla="*/ 484297 w 2328854"/>
                    <a:gd name="connsiteY1225" fmla="*/ 956787 h 2163071"/>
                    <a:gd name="connsiteX1226" fmla="*/ 490724 w 2328854"/>
                    <a:gd name="connsiteY1226" fmla="*/ 956867 h 2163071"/>
                    <a:gd name="connsiteX1227" fmla="*/ 494258 w 2328854"/>
                    <a:gd name="connsiteY1227" fmla="*/ 959036 h 2163071"/>
                    <a:gd name="connsiteX1228" fmla="*/ 258254 w 2328854"/>
                    <a:gd name="connsiteY1228" fmla="*/ 910196 h 2163071"/>
                    <a:gd name="connsiteX1229" fmla="*/ 258736 w 2328854"/>
                    <a:gd name="connsiteY1229" fmla="*/ 906260 h 2163071"/>
                    <a:gd name="connsiteX1230" fmla="*/ 260022 w 2328854"/>
                    <a:gd name="connsiteY1230" fmla="*/ 903609 h 2163071"/>
                    <a:gd name="connsiteX1231" fmla="*/ 258335 w 2328854"/>
                    <a:gd name="connsiteY1231" fmla="*/ 899834 h 2163071"/>
                    <a:gd name="connsiteX1232" fmla="*/ 258174 w 2328854"/>
                    <a:gd name="connsiteY1232" fmla="*/ 899995 h 2163071"/>
                    <a:gd name="connsiteX1233" fmla="*/ 250463 w 2328854"/>
                    <a:gd name="connsiteY1233" fmla="*/ 905055 h 2163071"/>
                    <a:gd name="connsiteX1234" fmla="*/ 248936 w 2328854"/>
                    <a:gd name="connsiteY1234" fmla="*/ 905618 h 2163071"/>
                    <a:gd name="connsiteX1235" fmla="*/ 249981 w 2328854"/>
                    <a:gd name="connsiteY1235" fmla="*/ 907224 h 2163071"/>
                    <a:gd name="connsiteX1236" fmla="*/ 248454 w 2328854"/>
                    <a:gd name="connsiteY1236" fmla="*/ 910036 h 2163071"/>
                    <a:gd name="connsiteX1237" fmla="*/ 250945 w 2328854"/>
                    <a:gd name="connsiteY1237" fmla="*/ 911723 h 2163071"/>
                    <a:gd name="connsiteX1238" fmla="*/ 251748 w 2328854"/>
                    <a:gd name="connsiteY1238" fmla="*/ 912124 h 2163071"/>
                    <a:gd name="connsiteX1239" fmla="*/ 253113 w 2328854"/>
                    <a:gd name="connsiteY1239" fmla="*/ 911964 h 2163071"/>
                    <a:gd name="connsiteX1240" fmla="*/ 256327 w 2328854"/>
                    <a:gd name="connsiteY1240" fmla="*/ 912205 h 2163071"/>
                    <a:gd name="connsiteX1241" fmla="*/ 258254 w 2328854"/>
                    <a:gd name="connsiteY1241" fmla="*/ 910196 h 2163071"/>
                    <a:gd name="connsiteX1242" fmla="*/ 440679 w 2328854"/>
                    <a:gd name="connsiteY1242" fmla="*/ 936223 h 2163071"/>
                    <a:gd name="connsiteX1243" fmla="*/ 440920 w 2328854"/>
                    <a:gd name="connsiteY1243" fmla="*/ 935098 h 2163071"/>
                    <a:gd name="connsiteX1244" fmla="*/ 440840 w 2328854"/>
                    <a:gd name="connsiteY1244" fmla="*/ 935339 h 2163071"/>
                    <a:gd name="connsiteX1245" fmla="*/ 434173 w 2328854"/>
                    <a:gd name="connsiteY1245" fmla="*/ 940159 h 2163071"/>
                    <a:gd name="connsiteX1246" fmla="*/ 440679 w 2328854"/>
                    <a:gd name="connsiteY1246" fmla="*/ 936223 h 2163071"/>
                    <a:gd name="connsiteX1247" fmla="*/ 2073908 w 2328854"/>
                    <a:gd name="connsiteY1247" fmla="*/ 366537 h 2163071"/>
                    <a:gd name="connsiteX1248" fmla="*/ 2073426 w 2328854"/>
                    <a:gd name="connsiteY1248" fmla="*/ 365974 h 2163071"/>
                    <a:gd name="connsiteX1249" fmla="*/ 2073667 w 2328854"/>
                    <a:gd name="connsiteY1249" fmla="*/ 366295 h 2163071"/>
                    <a:gd name="connsiteX1250" fmla="*/ 2078968 w 2328854"/>
                    <a:gd name="connsiteY1250" fmla="*/ 372400 h 2163071"/>
                    <a:gd name="connsiteX1251" fmla="*/ 2078968 w 2328854"/>
                    <a:gd name="connsiteY1251" fmla="*/ 372159 h 2163071"/>
                    <a:gd name="connsiteX1252" fmla="*/ 2073908 w 2328854"/>
                    <a:gd name="connsiteY1252" fmla="*/ 366537 h 2163071"/>
                    <a:gd name="connsiteX1253" fmla="*/ 240904 w 2328854"/>
                    <a:gd name="connsiteY1253" fmla="*/ 878467 h 2163071"/>
                    <a:gd name="connsiteX1254" fmla="*/ 240823 w 2328854"/>
                    <a:gd name="connsiteY1254" fmla="*/ 878386 h 2163071"/>
                    <a:gd name="connsiteX1255" fmla="*/ 232469 w 2328854"/>
                    <a:gd name="connsiteY1255" fmla="*/ 878467 h 2163071"/>
                    <a:gd name="connsiteX1256" fmla="*/ 232068 w 2328854"/>
                    <a:gd name="connsiteY1256" fmla="*/ 879110 h 2163071"/>
                    <a:gd name="connsiteX1257" fmla="*/ 240904 w 2328854"/>
                    <a:gd name="connsiteY1257" fmla="*/ 878467 h 2163071"/>
                    <a:gd name="connsiteX1258" fmla="*/ 380032 w 2328854"/>
                    <a:gd name="connsiteY1258" fmla="*/ 914614 h 2163071"/>
                    <a:gd name="connsiteX1259" fmla="*/ 380032 w 2328854"/>
                    <a:gd name="connsiteY1259" fmla="*/ 914614 h 2163071"/>
                    <a:gd name="connsiteX1260" fmla="*/ 377381 w 2328854"/>
                    <a:gd name="connsiteY1260" fmla="*/ 912124 h 2163071"/>
                    <a:gd name="connsiteX1261" fmla="*/ 377060 w 2328854"/>
                    <a:gd name="connsiteY1261" fmla="*/ 911964 h 2163071"/>
                    <a:gd name="connsiteX1262" fmla="*/ 377060 w 2328854"/>
                    <a:gd name="connsiteY1262" fmla="*/ 912124 h 2163071"/>
                    <a:gd name="connsiteX1263" fmla="*/ 380032 w 2328854"/>
                    <a:gd name="connsiteY1263" fmla="*/ 914614 h 2163071"/>
                    <a:gd name="connsiteX1264" fmla="*/ 232630 w 2328854"/>
                    <a:gd name="connsiteY1264" fmla="*/ 876619 h 2163071"/>
                    <a:gd name="connsiteX1265" fmla="*/ 232630 w 2328854"/>
                    <a:gd name="connsiteY1265" fmla="*/ 876619 h 2163071"/>
                    <a:gd name="connsiteX1266" fmla="*/ 231746 w 2328854"/>
                    <a:gd name="connsiteY1266" fmla="*/ 874370 h 2163071"/>
                    <a:gd name="connsiteX1267" fmla="*/ 230622 w 2328854"/>
                    <a:gd name="connsiteY1267" fmla="*/ 874290 h 2163071"/>
                    <a:gd name="connsiteX1268" fmla="*/ 232630 w 2328854"/>
                    <a:gd name="connsiteY1268" fmla="*/ 876619 h 2163071"/>
                    <a:gd name="connsiteX1269" fmla="*/ 459155 w 2328854"/>
                    <a:gd name="connsiteY1269" fmla="*/ 922487 h 2163071"/>
                    <a:gd name="connsiteX1270" fmla="*/ 459958 w 2328854"/>
                    <a:gd name="connsiteY1270" fmla="*/ 922085 h 2163071"/>
                    <a:gd name="connsiteX1271" fmla="*/ 454897 w 2328854"/>
                    <a:gd name="connsiteY1271" fmla="*/ 920077 h 2163071"/>
                    <a:gd name="connsiteX1272" fmla="*/ 456343 w 2328854"/>
                    <a:gd name="connsiteY1272" fmla="*/ 918872 h 2163071"/>
                    <a:gd name="connsiteX1273" fmla="*/ 455299 w 2328854"/>
                    <a:gd name="connsiteY1273" fmla="*/ 919193 h 2163071"/>
                    <a:gd name="connsiteX1274" fmla="*/ 443651 w 2328854"/>
                    <a:gd name="connsiteY1274" fmla="*/ 924896 h 2163071"/>
                    <a:gd name="connsiteX1275" fmla="*/ 436583 w 2328854"/>
                    <a:gd name="connsiteY1275" fmla="*/ 934295 h 2163071"/>
                    <a:gd name="connsiteX1276" fmla="*/ 439474 w 2328854"/>
                    <a:gd name="connsiteY1276" fmla="*/ 933732 h 2163071"/>
                    <a:gd name="connsiteX1277" fmla="*/ 441563 w 2328854"/>
                    <a:gd name="connsiteY1277" fmla="*/ 930760 h 2163071"/>
                    <a:gd name="connsiteX1278" fmla="*/ 440920 w 2328854"/>
                    <a:gd name="connsiteY1278" fmla="*/ 934777 h 2163071"/>
                    <a:gd name="connsiteX1279" fmla="*/ 441242 w 2328854"/>
                    <a:gd name="connsiteY1279" fmla="*/ 935098 h 2163071"/>
                    <a:gd name="connsiteX1280" fmla="*/ 449676 w 2328854"/>
                    <a:gd name="connsiteY1280" fmla="*/ 925459 h 2163071"/>
                    <a:gd name="connsiteX1281" fmla="*/ 451604 w 2328854"/>
                    <a:gd name="connsiteY1281" fmla="*/ 923370 h 2163071"/>
                    <a:gd name="connsiteX1282" fmla="*/ 447427 w 2328854"/>
                    <a:gd name="connsiteY1282" fmla="*/ 928672 h 2163071"/>
                    <a:gd name="connsiteX1283" fmla="*/ 459155 w 2328854"/>
                    <a:gd name="connsiteY1283" fmla="*/ 922487 h 2163071"/>
                    <a:gd name="connsiteX1284" fmla="*/ 407664 w 2328854"/>
                    <a:gd name="connsiteY1284" fmla="*/ 913249 h 2163071"/>
                    <a:gd name="connsiteX1285" fmla="*/ 407905 w 2328854"/>
                    <a:gd name="connsiteY1285" fmla="*/ 913088 h 2163071"/>
                    <a:gd name="connsiteX1286" fmla="*/ 405014 w 2328854"/>
                    <a:gd name="connsiteY1286" fmla="*/ 912044 h 2163071"/>
                    <a:gd name="connsiteX1287" fmla="*/ 401479 w 2328854"/>
                    <a:gd name="connsiteY1287" fmla="*/ 912767 h 2163071"/>
                    <a:gd name="connsiteX1288" fmla="*/ 407664 w 2328854"/>
                    <a:gd name="connsiteY1288" fmla="*/ 913249 h 2163071"/>
                    <a:gd name="connsiteX1289" fmla="*/ 170456 w 2328854"/>
                    <a:gd name="connsiteY1289" fmla="*/ 863686 h 2163071"/>
                    <a:gd name="connsiteX1290" fmla="*/ 170858 w 2328854"/>
                    <a:gd name="connsiteY1290" fmla="*/ 863686 h 2163071"/>
                    <a:gd name="connsiteX1291" fmla="*/ 171500 w 2328854"/>
                    <a:gd name="connsiteY1291" fmla="*/ 853485 h 2163071"/>
                    <a:gd name="connsiteX1292" fmla="*/ 171741 w 2328854"/>
                    <a:gd name="connsiteY1292" fmla="*/ 840632 h 2163071"/>
                    <a:gd name="connsiteX1293" fmla="*/ 170376 w 2328854"/>
                    <a:gd name="connsiteY1293" fmla="*/ 842480 h 2163071"/>
                    <a:gd name="connsiteX1294" fmla="*/ 171179 w 2328854"/>
                    <a:gd name="connsiteY1294" fmla="*/ 835009 h 2163071"/>
                    <a:gd name="connsiteX1295" fmla="*/ 170697 w 2328854"/>
                    <a:gd name="connsiteY1295" fmla="*/ 834768 h 2163071"/>
                    <a:gd name="connsiteX1296" fmla="*/ 166922 w 2328854"/>
                    <a:gd name="connsiteY1296" fmla="*/ 837419 h 2163071"/>
                    <a:gd name="connsiteX1297" fmla="*/ 168287 w 2328854"/>
                    <a:gd name="connsiteY1297" fmla="*/ 848826 h 2163071"/>
                    <a:gd name="connsiteX1298" fmla="*/ 168207 w 2328854"/>
                    <a:gd name="connsiteY1298" fmla="*/ 846255 h 2163071"/>
                    <a:gd name="connsiteX1299" fmla="*/ 170456 w 2328854"/>
                    <a:gd name="connsiteY1299" fmla="*/ 863686 h 2163071"/>
                    <a:gd name="connsiteX1300" fmla="*/ 525345 w 2328854"/>
                    <a:gd name="connsiteY1300" fmla="*/ 920318 h 2163071"/>
                    <a:gd name="connsiteX1301" fmla="*/ 525506 w 2328854"/>
                    <a:gd name="connsiteY1301" fmla="*/ 919756 h 2163071"/>
                    <a:gd name="connsiteX1302" fmla="*/ 522132 w 2328854"/>
                    <a:gd name="connsiteY1302" fmla="*/ 917185 h 2163071"/>
                    <a:gd name="connsiteX1303" fmla="*/ 521971 w 2328854"/>
                    <a:gd name="connsiteY1303" fmla="*/ 917426 h 2163071"/>
                    <a:gd name="connsiteX1304" fmla="*/ 521329 w 2328854"/>
                    <a:gd name="connsiteY1304" fmla="*/ 918068 h 2163071"/>
                    <a:gd name="connsiteX1305" fmla="*/ 518437 w 2328854"/>
                    <a:gd name="connsiteY1305" fmla="*/ 919515 h 2163071"/>
                    <a:gd name="connsiteX1306" fmla="*/ 516348 w 2328854"/>
                    <a:gd name="connsiteY1306" fmla="*/ 918792 h 2163071"/>
                    <a:gd name="connsiteX1307" fmla="*/ 513376 w 2328854"/>
                    <a:gd name="connsiteY1307" fmla="*/ 918149 h 2163071"/>
                    <a:gd name="connsiteX1308" fmla="*/ 510725 w 2328854"/>
                    <a:gd name="connsiteY1308" fmla="*/ 918792 h 2163071"/>
                    <a:gd name="connsiteX1309" fmla="*/ 514501 w 2328854"/>
                    <a:gd name="connsiteY1309" fmla="*/ 936624 h 2163071"/>
                    <a:gd name="connsiteX1310" fmla="*/ 525345 w 2328854"/>
                    <a:gd name="connsiteY1310" fmla="*/ 920318 h 2163071"/>
                    <a:gd name="connsiteX1311" fmla="*/ 232389 w 2328854"/>
                    <a:gd name="connsiteY1311" fmla="*/ 859670 h 2163071"/>
                    <a:gd name="connsiteX1312" fmla="*/ 232630 w 2328854"/>
                    <a:gd name="connsiteY1312" fmla="*/ 860634 h 2163071"/>
                    <a:gd name="connsiteX1313" fmla="*/ 233112 w 2328854"/>
                    <a:gd name="connsiteY1313" fmla="*/ 859108 h 2163071"/>
                    <a:gd name="connsiteX1314" fmla="*/ 232710 w 2328854"/>
                    <a:gd name="connsiteY1314" fmla="*/ 859349 h 2163071"/>
                    <a:gd name="connsiteX1315" fmla="*/ 232389 w 2328854"/>
                    <a:gd name="connsiteY1315" fmla="*/ 859670 h 2163071"/>
                    <a:gd name="connsiteX1316" fmla="*/ 640857 w 2328854"/>
                    <a:gd name="connsiteY1316" fmla="*/ 913329 h 2163071"/>
                    <a:gd name="connsiteX1317" fmla="*/ 641098 w 2328854"/>
                    <a:gd name="connsiteY1317" fmla="*/ 913490 h 2163071"/>
                    <a:gd name="connsiteX1318" fmla="*/ 636037 w 2328854"/>
                    <a:gd name="connsiteY1318" fmla="*/ 908992 h 2163071"/>
                    <a:gd name="connsiteX1319" fmla="*/ 631137 w 2328854"/>
                    <a:gd name="connsiteY1319" fmla="*/ 908188 h 2163071"/>
                    <a:gd name="connsiteX1320" fmla="*/ 640857 w 2328854"/>
                    <a:gd name="connsiteY1320" fmla="*/ 913329 h 2163071"/>
                    <a:gd name="connsiteX1321" fmla="*/ 86433 w 2328854"/>
                    <a:gd name="connsiteY1321" fmla="*/ 739660 h 2163071"/>
                    <a:gd name="connsiteX1322" fmla="*/ 86915 w 2328854"/>
                    <a:gd name="connsiteY1322" fmla="*/ 739018 h 2163071"/>
                    <a:gd name="connsiteX1323" fmla="*/ 89887 w 2328854"/>
                    <a:gd name="connsiteY1323" fmla="*/ 725040 h 2163071"/>
                    <a:gd name="connsiteX1324" fmla="*/ 89646 w 2328854"/>
                    <a:gd name="connsiteY1324" fmla="*/ 725603 h 2163071"/>
                    <a:gd name="connsiteX1325" fmla="*/ 86433 w 2328854"/>
                    <a:gd name="connsiteY1325" fmla="*/ 739660 h 2163071"/>
                    <a:gd name="connsiteX1326" fmla="*/ 86433 w 2328854"/>
                    <a:gd name="connsiteY1326" fmla="*/ 739660 h 2163071"/>
                    <a:gd name="connsiteX1327" fmla="*/ 82256 w 2328854"/>
                    <a:gd name="connsiteY1327" fmla="*/ 689857 h 2163071"/>
                    <a:gd name="connsiteX1328" fmla="*/ 82095 w 2328854"/>
                    <a:gd name="connsiteY1328" fmla="*/ 690339 h 2163071"/>
                    <a:gd name="connsiteX1329" fmla="*/ 87076 w 2328854"/>
                    <a:gd name="connsiteY1329" fmla="*/ 680619 h 2163071"/>
                    <a:gd name="connsiteX1330" fmla="*/ 86915 w 2328854"/>
                    <a:gd name="connsiteY1330" fmla="*/ 680780 h 2163071"/>
                    <a:gd name="connsiteX1331" fmla="*/ 82417 w 2328854"/>
                    <a:gd name="connsiteY1331" fmla="*/ 686483 h 2163071"/>
                    <a:gd name="connsiteX1332" fmla="*/ 83461 w 2328854"/>
                    <a:gd name="connsiteY1332" fmla="*/ 686483 h 2163071"/>
                    <a:gd name="connsiteX1333" fmla="*/ 82979 w 2328854"/>
                    <a:gd name="connsiteY1333" fmla="*/ 687929 h 2163071"/>
                    <a:gd name="connsiteX1334" fmla="*/ 82256 w 2328854"/>
                    <a:gd name="connsiteY1334" fmla="*/ 689857 h 2163071"/>
                    <a:gd name="connsiteX1335" fmla="*/ 2059770 w 2328854"/>
                    <a:gd name="connsiteY1335" fmla="*/ 362841 h 2163071"/>
                    <a:gd name="connsiteX1336" fmla="*/ 2058645 w 2328854"/>
                    <a:gd name="connsiteY1336" fmla="*/ 361958 h 2163071"/>
                    <a:gd name="connsiteX1337" fmla="*/ 2058806 w 2328854"/>
                    <a:gd name="connsiteY1337" fmla="*/ 362199 h 2163071"/>
                    <a:gd name="connsiteX1338" fmla="*/ 2064590 w 2328854"/>
                    <a:gd name="connsiteY1338" fmla="*/ 369027 h 2163071"/>
                    <a:gd name="connsiteX1339" fmla="*/ 2059770 w 2328854"/>
                    <a:gd name="connsiteY1339" fmla="*/ 362841 h 2163071"/>
                    <a:gd name="connsiteX1340" fmla="*/ 268697 w 2328854"/>
                    <a:gd name="connsiteY1340" fmla="*/ 851959 h 2163071"/>
                    <a:gd name="connsiteX1341" fmla="*/ 268938 w 2328854"/>
                    <a:gd name="connsiteY1341" fmla="*/ 851718 h 2163071"/>
                    <a:gd name="connsiteX1342" fmla="*/ 267010 w 2328854"/>
                    <a:gd name="connsiteY1342" fmla="*/ 850834 h 2163071"/>
                    <a:gd name="connsiteX1343" fmla="*/ 263315 w 2328854"/>
                    <a:gd name="connsiteY1343" fmla="*/ 851477 h 2163071"/>
                    <a:gd name="connsiteX1344" fmla="*/ 262512 w 2328854"/>
                    <a:gd name="connsiteY1344" fmla="*/ 851718 h 2163071"/>
                    <a:gd name="connsiteX1345" fmla="*/ 268697 w 2328854"/>
                    <a:gd name="connsiteY1345" fmla="*/ 851959 h 2163071"/>
                    <a:gd name="connsiteX1346" fmla="*/ 166279 w 2328854"/>
                    <a:gd name="connsiteY1346" fmla="*/ 835250 h 2163071"/>
                    <a:gd name="connsiteX1347" fmla="*/ 166761 w 2328854"/>
                    <a:gd name="connsiteY1347" fmla="*/ 835652 h 2163071"/>
                    <a:gd name="connsiteX1348" fmla="*/ 168126 w 2328854"/>
                    <a:gd name="connsiteY1348" fmla="*/ 831716 h 2163071"/>
                    <a:gd name="connsiteX1349" fmla="*/ 166761 w 2328854"/>
                    <a:gd name="connsiteY1349" fmla="*/ 833082 h 2163071"/>
                    <a:gd name="connsiteX1350" fmla="*/ 170697 w 2328854"/>
                    <a:gd name="connsiteY1350" fmla="*/ 807617 h 2163071"/>
                    <a:gd name="connsiteX1351" fmla="*/ 170617 w 2328854"/>
                    <a:gd name="connsiteY1351" fmla="*/ 807617 h 2163071"/>
                    <a:gd name="connsiteX1352" fmla="*/ 164672 w 2328854"/>
                    <a:gd name="connsiteY1352" fmla="*/ 832278 h 2163071"/>
                    <a:gd name="connsiteX1353" fmla="*/ 167082 w 2328854"/>
                    <a:gd name="connsiteY1353" fmla="*/ 827057 h 2163071"/>
                    <a:gd name="connsiteX1354" fmla="*/ 165476 w 2328854"/>
                    <a:gd name="connsiteY1354" fmla="*/ 832198 h 2163071"/>
                    <a:gd name="connsiteX1355" fmla="*/ 166279 w 2328854"/>
                    <a:gd name="connsiteY1355" fmla="*/ 835250 h 2163071"/>
                    <a:gd name="connsiteX1356" fmla="*/ 498435 w 2328854"/>
                    <a:gd name="connsiteY1356" fmla="*/ 894934 h 2163071"/>
                    <a:gd name="connsiteX1357" fmla="*/ 498917 w 2328854"/>
                    <a:gd name="connsiteY1357" fmla="*/ 894452 h 2163071"/>
                    <a:gd name="connsiteX1358" fmla="*/ 493294 w 2328854"/>
                    <a:gd name="connsiteY1358" fmla="*/ 892364 h 2163071"/>
                    <a:gd name="connsiteX1359" fmla="*/ 494017 w 2328854"/>
                    <a:gd name="connsiteY1359" fmla="*/ 893649 h 2163071"/>
                    <a:gd name="connsiteX1360" fmla="*/ 490242 w 2328854"/>
                    <a:gd name="connsiteY1360" fmla="*/ 895898 h 2163071"/>
                    <a:gd name="connsiteX1361" fmla="*/ 492812 w 2328854"/>
                    <a:gd name="connsiteY1361" fmla="*/ 895255 h 2163071"/>
                    <a:gd name="connsiteX1362" fmla="*/ 494499 w 2328854"/>
                    <a:gd name="connsiteY1362" fmla="*/ 898629 h 2163071"/>
                    <a:gd name="connsiteX1363" fmla="*/ 496909 w 2328854"/>
                    <a:gd name="connsiteY1363" fmla="*/ 899192 h 2163071"/>
                    <a:gd name="connsiteX1364" fmla="*/ 498435 w 2328854"/>
                    <a:gd name="connsiteY1364" fmla="*/ 894934 h 2163071"/>
                    <a:gd name="connsiteX1365" fmla="*/ 1706407 w 2328854"/>
                    <a:gd name="connsiteY1365" fmla="*/ 716526 h 2163071"/>
                    <a:gd name="connsiteX1366" fmla="*/ 1706809 w 2328854"/>
                    <a:gd name="connsiteY1366" fmla="*/ 716044 h 2163071"/>
                    <a:gd name="connsiteX1367" fmla="*/ 1701106 w 2328854"/>
                    <a:gd name="connsiteY1367" fmla="*/ 709939 h 2163071"/>
                    <a:gd name="connsiteX1368" fmla="*/ 1695242 w 2328854"/>
                    <a:gd name="connsiteY1368" fmla="*/ 708172 h 2163071"/>
                    <a:gd name="connsiteX1369" fmla="*/ 1695001 w 2328854"/>
                    <a:gd name="connsiteY1369" fmla="*/ 708895 h 2163071"/>
                    <a:gd name="connsiteX1370" fmla="*/ 1695804 w 2328854"/>
                    <a:gd name="connsiteY1370" fmla="*/ 718775 h 2163071"/>
                    <a:gd name="connsiteX1371" fmla="*/ 1701427 w 2328854"/>
                    <a:gd name="connsiteY1371" fmla="*/ 720622 h 2163071"/>
                    <a:gd name="connsiteX1372" fmla="*/ 1706407 w 2328854"/>
                    <a:gd name="connsiteY1372" fmla="*/ 716526 h 2163071"/>
                    <a:gd name="connsiteX1373" fmla="*/ 2025711 w 2328854"/>
                    <a:gd name="connsiteY1373" fmla="*/ 316573 h 2163071"/>
                    <a:gd name="connsiteX1374" fmla="*/ 2025390 w 2328854"/>
                    <a:gd name="connsiteY1374" fmla="*/ 316332 h 2163071"/>
                    <a:gd name="connsiteX1375" fmla="*/ 2025952 w 2328854"/>
                    <a:gd name="connsiteY1375" fmla="*/ 317055 h 2163071"/>
                    <a:gd name="connsiteX1376" fmla="*/ 2027719 w 2328854"/>
                    <a:gd name="connsiteY1376" fmla="*/ 318500 h 2163071"/>
                    <a:gd name="connsiteX1377" fmla="*/ 2025711 w 2328854"/>
                    <a:gd name="connsiteY1377" fmla="*/ 316573 h 2163071"/>
                    <a:gd name="connsiteX1378" fmla="*/ 417545 w 2328854"/>
                    <a:gd name="connsiteY1378" fmla="*/ 875575 h 2163071"/>
                    <a:gd name="connsiteX1379" fmla="*/ 417705 w 2328854"/>
                    <a:gd name="connsiteY1379" fmla="*/ 875334 h 2163071"/>
                    <a:gd name="connsiteX1380" fmla="*/ 415617 w 2328854"/>
                    <a:gd name="connsiteY1380" fmla="*/ 876218 h 2163071"/>
                    <a:gd name="connsiteX1381" fmla="*/ 415617 w 2328854"/>
                    <a:gd name="connsiteY1381" fmla="*/ 875334 h 2163071"/>
                    <a:gd name="connsiteX1382" fmla="*/ 412564 w 2328854"/>
                    <a:gd name="connsiteY1382" fmla="*/ 877824 h 2163071"/>
                    <a:gd name="connsiteX1383" fmla="*/ 412324 w 2328854"/>
                    <a:gd name="connsiteY1383" fmla="*/ 879029 h 2163071"/>
                    <a:gd name="connsiteX1384" fmla="*/ 412083 w 2328854"/>
                    <a:gd name="connsiteY1384" fmla="*/ 879351 h 2163071"/>
                    <a:gd name="connsiteX1385" fmla="*/ 411119 w 2328854"/>
                    <a:gd name="connsiteY1385" fmla="*/ 881760 h 2163071"/>
                    <a:gd name="connsiteX1386" fmla="*/ 412243 w 2328854"/>
                    <a:gd name="connsiteY1386" fmla="*/ 883849 h 2163071"/>
                    <a:gd name="connsiteX1387" fmla="*/ 417545 w 2328854"/>
                    <a:gd name="connsiteY1387" fmla="*/ 875575 h 2163071"/>
                    <a:gd name="connsiteX1388" fmla="*/ 493937 w 2328854"/>
                    <a:gd name="connsiteY1388" fmla="*/ 885134 h 2163071"/>
                    <a:gd name="connsiteX1389" fmla="*/ 491366 w 2328854"/>
                    <a:gd name="connsiteY1389" fmla="*/ 882323 h 2163071"/>
                    <a:gd name="connsiteX1390" fmla="*/ 491527 w 2328854"/>
                    <a:gd name="connsiteY1390" fmla="*/ 882483 h 2163071"/>
                    <a:gd name="connsiteX1391" fmla="*/ 492892 w 2328854"/>
                    <a:gd name="connsiteY1391" fmla="*/ 883929 h 2163071"/>
                    <a:gd name="connsiteX1392" fmla="*/ 493937 w 2328854"/>
                    <a:gd name="connsiteY1392" fmla="*/ 885134 h 2163071"/>
                    <a:gd name="connsiteX1393" fmla="*/ 266930 w 2328854"/>
                    <a:gd name="connsiteY1393" fmla="*/ 835813 h 2163071"/>
                    <a:gd name="connsiteX1394" fmla="*/ 267492 w 2328854"/>
                    <a:gd name="connsiteY1394" fmla="*/ 835652 h 2163071"/>
                    <a:gd name="connsiteX1395" fmla="*/ 263395 w 2328854"/>
                    <a:gd name="connsiteY1395" fmla="*/ 832359 h 2163071"/>
                    <a:gd name="connsiteX1396" fmla="*/ 260102 w 2328854"/>
                    <a:gd name="connsiteY1396" fmla="*/ 833242 h 2163071"/>
                    <a:gd name="connsiteX1397" fmla="*/ 266930 w 2328854"/>
                    <a:gd name="connsiteY1397" fmla="*/ 835813 h 2163071"/>
                    <a:gd name="connsiteX1398" fmla="*/ 525747 w 2328854"/>
                    <a:gd name="connsiteY1398" fmla="*/ 883287 h 2163071"/>
                    <a:gd name="connsiteX1399" fmla="*/ 522694 w 2328854"/>
                    <a:gd name="connsiteY1399" fmla="*/ 876539 h 2163071"/>
                    <a:gd name="connsiteX1400" fmla="*/ 520686 w 2328854"/>
                    <a:gd name="connsiteY1400" fmla="*/ 876378 h 2163071"/>
                    <a:gd name="connsiteX1401" fmla="*/ 522373 w 2328854"/>
                    <a:gd name="connsiteY1401" fmla="*/ 880796 h 2163071"/>
                    <a:gd name="connsiteX1402" fmla="*/ 523819 w 2328854"/>
                    <a:gd name="connsiteY1402" fmla="*/ 884893 h 2163071"/>
                    <a:gd name="connsiteX1403" fmla="*/ 525747 w 2328854"/>
                    <a:gd name="connsiteY1403" fmla="*/ 883287 h 2163071"/>
                    <a:gd name="connsiteX1404" fmla="*/ 445097 w 2328854"/>
                    <a:gd name="connsiteY1404" fmla="*/ 875896 h 2163071"/>
                    <a:gd name="connsiteX1405" fmla="*/ 445258 w 2328854"/>
                    <a:gd name="connsiteY1405" fmla="*/ 875736 h 2163071"/>
                    <a:gd name="connsiteX1406" fmla="*/ 435699 w 2328854"/>
                    <a:gd name="connsiteY1406" fmla="*/ 873567 h 2163071"/>
                    <a:gd name="connsiteX1407" fmla="*/ 443651 w 2328854"/>
                    <a:gd name="connsiteY1407" fmla="*/ 871157 h 2163071"/>
                    <a:gd name="connsiteX1408" fmla="*/ 416501 w 2328854"/>
                    <a:gd name="connsiteY1408" fmla="*/ 870595 h 2163071"/>
                    <a:gd name="connsiteX1409" fmla="*/ 426863 w 2328854"/>
                    <a:gd name="connsiteY1409" fmla="*/ 864650 h 2163071"/>
                    <a:gd name="connsiteX1410" fmla="*/ 425899 w 2328854"/>
                    <a:gd name="connsiteY1410" fmla="*/ 863847 h 2163071"/>
                    <a:gd name="connsiteX1411" fmla="*/ 423328 w 2328854"/>
                    <a:gd name="connsiteY1411" fmla="*/ 864088 h 2163071"/>
                    <a:gd name="connsiteX1412" fmla="*/ 404291 w 2328854"/>
                    <a:gd name="connsiteY1412" fmla="*/ 869551 h 2163071"/>
                    <a:gd name="connsiteX1413" fmla="*/ 406781 w 2328854"/>
                    <a:gd name="connsiteY1413" fmla="*/ 870755 h 2163071"/>
                    <a:gd name="connsiteX1414" fmla="*/ 429594 w 2328854"/>
                    <a:gd name="connsiteY1414" fmla="*/ 874691 h 2163071"/>
                    <a:gd name="connsiteX1415" fmla="*/ 438350 w 2328854"/>
                    <a:gd name="connsiteY1415" fmla="*/ 876539 h 2163071"/>
                    <a:gd name="connsiteX1416" fmla="*/ 445097 w 2328854"/>
                    <a:gd name="connsiteY1416" fmla="*/ 875896 h 2163071"/>
                    <a:gd name="connsiteX1417" fmla="*/ 179694 w 2328854"/>
                    <a:gd name="connsiteY1417" fmla="*/ 811072 h 2163071"/>
                    <a:gd name="connsiteX1418" fmla="*/ 180015 w 2328854"/>
                    <a:gd name="connsiteY1418" fmla="*/ 810750 h 2163071"/>
                    <a:gd name="connsiteX1419" fmla="*/ 184835 w 2328854"/>
                    <a:gd name="connsiteY1419" fmla="*/ 794203 h 2163071"/>
                    <a:gd name="connsiteX1420" fmla="*/ 180256 w 2328854"/>
                    <a:gd name="connsiteY1420" fmla="*/ 792918 h 2163071"/>
                    <a:gd name="connsiteX1421" fmla="*/ 180417 w 2328854"/>
                    <a:gd name="connsiteY1421" fmla="*/ 792275 h 2163071"/>
                    <a:gd name="connsiteX1422" fmla="*/ 184272 w 2328854"/>
                    <a:gd name="connsiteY1422" fmla="*/ 790668 h 2163071"/>
                    <a:gd name="connsiteX1423" fmla="*/ 183228 w 2328854"/>
                    <a:gd name="connsiteY1423" fmla="*/ 790026 h 2163071"/>
                    <a:gd name="connsiteX1424" fmla="*/ 178730 w 2328854"/>
                    <a:gd name="connsiteY1424" fmla="*/ 793319 h 2163071"/>
                    <a:gd name="connsiteX1425" fmla="*/ 174151 w 2328854"/>
                    <a:gd name="connsiteY1425" fmla="*/ 798380 h 2163071"/>
                    <a:gd name="connsiteX1426" fmla="*/ 174071 w 2328854"/>
                    <a:gd name="connsiteY1426" fmla="*/ 799023 h 2163071"/>
                    <a:gd name="connsiteX1427" fmla="*/ 178167 w 2328854"/>
                    <a:gd name="connsiteY1427" fmla="*/ 808983 h 2163071"/>
                    <a:gd name="connsiteX1428" fmla="*/ 179292 w 2328854"/>
                    <a:gd name="connsiteY1428" fmla="*/ 811473 h 2163071"/>
                    <a:gd name="connsiteX1429" fmla="*/ 179694 w 2328854"/>
                    <a:gd name="connsiteY1429" fmla="*/ 811072 h 2163071"/>
                    <a:gd name="connsiteX1430" fmla="*/ 185879 w 2328854"/>
                    <a:gd name="connsiteY1430" fmla="*/ 865855 h 2163071"/>
                    <a:gd name="connsiteX1431" fmla="*/ 189654 w 2328854"/>
                    <a:gd name="connsiteY1431" fmla="*/ 847701 h 2163071"/>
                    <a:gd name="connsiteX1432" fmla="*/ 198812 w 2328854"/>
                    <a:gd name="connsiteY1432" fmla="*/ 801031 h 2163071"/>
                    <a:gd name="connsiteX1433" fmla="*/ 195197 w 2328854"/>
                    <a:gd name="connsiteY1433" fmla="*/ 802316 h 2163071"/>
                    <a:gd name="connsiteX1434" fmla="*/ 198812 w 2328854"/>
                    <a:gd name="connsiteY1434" fmla="*/ 795729 h 2163071"/>
                    <a:gd name="connsiteX1435" fmla="*/ 188771 w 2328854"/>
                    <a:gd name="connsiteY1435" fmla="*/ 803681 h 2163071"/>
                    <a:gd name="connsiteX1436" fmla="*/ 186682 w 2328854"/>
                    <a:gd name="connsiteY1436" fmla="*/ 808180 h 2163071"/>
                    <a:gd name="connsiteX1437" fmla="*/ 185477 w 2328854"/>
                    <a:gd name="connsiteY1437" fmla="*/ 816213 h 2163071"/>
                    <a:gd name="connsiteX1438" fmla="*/ 181702 w 2328854"/>
                    <a:gd name="connsiteY1438" fmla="*/ 825049 h 2163071"/>
                    <a:gd name="connsiteX1439" fmla="*/ 181943 w 2328854"/>
                    <a:gd name="connsiteY1439" fmla="*/ 832278 h 2163071"/>
                    <a:gd name="connsiteX1440" fmla="*/ 185477 w 2328854"/>
                    <a:gd name="connsiteY1440" fmla="*/ 836616 h 2163071"/>
                    <a:gd name="connsiteX1441" fmla="*/ 184433 w 2328854"/>
                    <a:gd name="connsiteY1441" fmla="*/ 845532 h 2163071"/>
                    <a:gd name="connsiteX1442" fmla="*/ 184433 w 2328854"/>
                    <a:gd name="connsiteY1442" fmla="*/ 863124 h 2163071"/>
                    <a:gd name="connsiteX1443" fmla="*/ 185638 w 2328854"/>
                    <a:gd name="connsiteY1443" fmla="*/ 865695 h 2163071"/>
                    <a:gd name="connsiteX1444" fmla="*/ 185879 w 2328854"/>
                    <a:gd name="connsiteY1444" fmla="*/ 865855 h 2163071"/>
                    <a:gd name="connsiteX1445" fmla="*/ 518437 w 2328854"/>
                    <a:gd name="connsiteY1445" fmla="*/ 876218 h 2163071"/>
                    <a:gd name="connsiteX1446" fmla="*/ 518919 w 2328854"/>
                    <a:gd name="connsiteY1446" fmla="*/ 876137 h 2163071"/>
                    <a:gd name="connsiteX1447" fmla="*/ 517312 w 2328854"/>
                    <a:gd name="connsiteY1447" fmla="*/ 874611 h 2163071"/>
                    <a:gd name="connsiteX1448" fmla="*/ 514179 w 2328854"/>
                    <a:gd name="connsiteY1448" fmla="*/ 874290 h 2163071"/>
                    <a:gd name="connsiteX1449" fmla="*/ 513778 w 2328854"/>
                    <a:gd name="connsiteY1449" fmla="*/ 873326 h 2163071"/>
                    <a:gd name="connsiteX1450" fmla="*/ 514099 w 2328854"/>
                    <a:gd name="connsiteY1450" fmla="*/ 871559 h 2163071"/>
                    <a:gd name="connsiteX1451" fmla="*/ 510645 w 2328854"/>
                    <a:gd name="connsiteY1451" fmla="*/ 869390 h 2163071"/>
                    <a:gd name="connsiteX1452" fmla="*/ 508878 w 2328854"/>
                    <a:gd name="connsiteY1452" fmla="*/ 869631 h 2163071"/>
                    <a:gd name="connsiteX1453" fmla="*/ 508396 w 2328854"/>
                    <a:gd name="connsiteY1453" fmla="*/ 873326 h 2163071"/>
                    <a:gd name="connsiteX1454" fmla="*/ 507271 w 2328854"/>
                    <a:gd name="connsiteY1454" fmla="*/ 873888 h 2163071"/>
                    <a:gd name="connsiteX1455" fmla="*/ 511609 w 2328854"/>
                    <a:gd name="connsiteY1455" fmla="*/ 876137 h 2163071"/>
                    <a:gd name="connsiteX1456" fmla="*/ 510243 w 2328854"/>
                    <a:gd name="connsiteY1456" fmla="*/ 877182 h 2163071"/>
                    <a:gd name="connsiteX1457" fmla="*/ 518437 w 2328854"/>
                    <a:gd name="connsiteY1457" fmla="*/ 876218 h 2163071"/>
                    <a:gd name="connsiteX1458" fmla="*/ 150776 w 2328854"/>
                    <a:gd name="connsiteY1458" fmla="*/ 763437 h 2163071"/>
                    <a:gd name="connsiteX1459" fmla="*/ 151258 w 2328854"/>
                    <a:gd name="connsiteY1459" fmla="*/ 760465 h 2163071"/>
                    <a:gd name="connsiteX1460" fmla="*/ 151097 w 2328854"/>
                    <a:gd name="connsiteY1460" fmla="*/ 760626 h 2163071"/>
                    <a:gd name="connsiteX1461" fmla="*/ 147000 w 2328854"/>
                    <a:gd name="connsiteY1461" fmla="*/ 768096 h 2163071"/>
                    <a:gd name="connsiteX1462" fmla="*/ 150133 w 2328854"/>
                    <a:gd name="connsiteY1462" fmla="*/ 764321 h 2163071"/>
                    <a:gd name="connsiteX1463" fmla="*/ 150776 w 2328854"/>
                    <a:gd name="connsiteY1463" fmla="*/ 763437 h 2163071"/>
                    <a:gd name="connsiteX1464" fmla="*/ 581976 w 2328854"/>
                    <a:gd name="connsiteY1464" fmla="*/ 877985 h 2163071"/>
                    <a:gd name="connsiteX1465" fmla="*/ 582137 w 2328854"/>
                    <a:gd name="connsiteY1465" fmla="*/ 878226 h 2163071"/>
                    <a:gd name="connsiteX1466" fmla="*/ 579245 w 2328854"/>
                    <a:gd name="connsiteY1466" fmla="*/ 869551 h 2163071"/>
                    <a:gd name="connsiteX1467" fmla="*/ 576996 w 2328854"/>
                    <a:gd name="connsiteY1467" fmla="*/ 872121 h 2163071"/>
                    <a:gd name="connsiteX1468" fmla="*/ 581976 w 2328854"/>
                    <a:gd name="connsiteY1468" fmla="*/ 877985 h 2163071"/>
                    <a:gd name="connsiteX1469" fmla="*/ 173026 w 2328854"/>
                    <a:gd name="connsiteY1469" fmla="*/ 773317 h 2163071"/>
                    <a:gd name="connsiteX1470" fmla="*/ 173026 w 2328854"/>
                    <a:gd name="connsiteY1470" fmla="*/ 773317 h 2163071"/>
                    <a:gd name="connsiteX1471" fmla="*/ 170295 w 2328854"/>
                    <a:gd name="connsiteY1471" fmla="*/ 774603 h 2163071"/>
                    <a:gd name="connsiteX1472" fmla="*/ 173026 w 2328854"/>
                    <a:gd name="connsiteY1472" fmla="*/ 773317 h 2163071"/>
                    <a:gd name="connsiteX1473" fmla="*/ 1857343 w 2328854"/>
                    <a:gd name="connsiteY1473" fmla="*/ 597319 h 2163071"/>
                    <a:gd name="connsiteX1474" fmla="*/ 1859191 w 2328854"/>
                    <a:gd name="connsiteY1474" fmla="*/ 594025 h 2163071"/>
                    <a:gd name="connsiteX1475" fmla="*/ 1858789 w 2328854"/>
                    <a:gd name="connsiteY1475" fmla="*/ 594266 h 2163071"/>
                    <a:gd name="connsiteX1476" fmla="*/ 1851881 w 2328854"/>
                    <a:gd name="connsiteY1476" fmla="*/ 606637 h 2163071"/>
                    <a:gd name="connsiteX1477" fmla="*/ 1855335 w 2328854"/>
                    <a:gd name="connsiteY1477" fmla="*/ 602701 h 2163071"/>
                    <a:gd name="connsiteX1478" fmla="*/ 1857183 w 2328854"/>
                    <a:gd name="connsiteY1478" fmla="*/ 598042 h 2163071"/>
                    <a:gd name="connsiteX1479" fmla="*/ 1857343 w 2328854"/>
                    <a:gd name="connsiteY1479" fmla="*/ 597319 h 2163071"/>
                    <a:gd name="connsiteX1480" fmla="*/ 513135 w 2328854"/>
                    <a:gd name="connsiteY1480" fmla="*/ 867783 h 2163071"/>
                    <a:gd name="connsiteX1481" fmla="*/ 513778 w 2328854"/>
                    <a:gd name="connsiteY1481" fmla="*/ 867863 h 2163071"/>
                    <a:gd name="connsiteX1482" fmla="*/ 512171 w 2328854"/>
                    <a:gd name="connsiteY1482" fmla="*/ 863285 h 2163071"/>
                    <a:gd name="connsiteX1483" fmla="*/ 511127 w 2328854"/>
                    <a:gd name="connsiteY1483" fmla="*/ 863606 h 2163071"/>
                    <a:gd name="connsiteX1484" fmla="*/ 503335 w 2328854"/>
                    <a:gd name="connsiteY1484" fmla="*/ 867462 h 2163071"/>
                    <a:gd name="connsiteX1485" fmla="*/ 504379 w 2328854"/>
                    <a:gd name="connsiteY1485" fmla="*/ 869069 h 2163071"/>
                    <a:gd name="connsiteX1486" fmla="*/ 513135 w 2328854"/>
                    <a:gd name="connsiteY1486" fmla="*/ 867783 h 2163071"/>
                    <a:gd name="connsiteX1487" fmla="*/ 1512335 w 2328854"/>
                    <a:gd name="connsiteY1487" fmla="*/ 744319 h 2163071"/>
                    <a:gd name="connsiteX1488" fmla="*/ 1508800 w 2328854"/>
                    <a:gd name="connsiteY1488" fmla="*/ 742070 h 2163071"/>
                    <a:gd name="connsiteX1489" fmla="*/ 1508720 w 2328854"/>
                    <a:gd name="connsiteY1489" fmla="*/ 743998 h 2163071"/>
                    <a:gd name="connsiteX1490" fmla="*/ 1512335 w 2328854"/>
                    <a:gd name="connsiteY1490" fmla="*/ 744319 h 2163071"/>
                    <a:gd name="connsiteX1491" fmla="*/ 606637 w 2328854"/>
                    <a:gd name="connsiteY1491" fmla="*/ 880475 h 2163071"/>
                    <a:gd name="connsiteX1492" fmla="*/ 607039 w 2328854"/>
                    <a:gd name="connsiteY1492" fmla="*/ 879511 h 2163071"/>
                    <a:gd name="connsiteX1493" fmla="*/ 590812 w 2328854"/>
                    <a:gd name="connsiteY1493" fmla="*/ 867462 h 2163071"/>
                    <a:gd name="connsiteX1494" fmla="*/ 590009 w 2328854"/>
                    <a:gd name="connsiteY1494" fmla="*/ 869229 h 2163071"/>
                    <a:gd name="connsiteX1495" fmla="*/ 591776 w 2328854"/>
                    <a:gd name="connsiteY1495" fmla="*/ 878065 h 2163071"/>
                    <a:gd name="connsiteX1496" fmla="*/ 582057 w 2328854"/>
                    <a:gd name="connsiteY1496" fmla="*/ 878226 h 2163071"/>
                    <a:gd name="connsiteX1497" fmla="*/ 582699 w 2328854"/>
                    <a:gd name="connsiteY1497" fmla="*/ 879511 h 2163071"/>
                    <a:gd name="connsiteX1498" fmla="*/ 577478 w 2328854"/>
                    <a:gd name="connsiteY1498" fmla="*/ 879351 h 2163071"/>
                    <a:gd name="connsiteX1499" fmla="*/ 578281 w 2328854"/>
                    <a:gd name="connsiteY1499" fmla="*/ 880555 h 2163071"/>
                    <a:gd name="connsiteX1500" fmla="*/ 574265 w 2328854"/>
                    <a:gd name="connsiteY1500" fmla="*/ 880395 h 2163071"/>
                    <a:gd name="connsiteX1501" fmla="*/ 574024 w 2328854"/>
                    <a:gd name="connsiteY1501" fmla="*/ 880475 h 2163071"/>
                    <a:gd name="connsiteX1502" fmla="*/ 569847 w 2328854"/>
                    <a:gd name="connsiteY1502" fmla="*/ 876780 h 2163071"/>
                    <a:gd name="connsiteX1503" fmla="*/ 569766 w 2328854"/>
                    <a:gd name="connsiteY1503" fmla="*/ 888910 h 2163071"/>
                    <a:gd name="connsiteX1504" fmla="*/ 578522 w 2328854"/>
                    <a:gd name="connsiteY1504" fmla="*/ 890918 h 2163071"/>
                    <a:gd name="connsiteX1505" fmla="*/ 599568 w 2328854"/>
                    <a:gd name="connsiteY1505" fmla="*/ 882644 h 2163071"/>
                    <a:gd name="connsiteX1506" fmla="*/ 606637 w 2328854"/>
                    <a:gd name="connsiteY1506" fmla="*/ 880475 h 2163071"/>
                    <a:gd name="connsiteX1507" fmla="*/ 237048 w 2328854"/>
                    <a:gd name="connsiteY1507" fmla="*/ 803601 h 2163071"/>
                    <a:gd name="connsiteX1508" fmla="*/ 237449 w 2328854"/>
                    <a:gd name="connsiteY1508" fmla="*/ 803601 h 2163071"/>
                    <a:gd name="connsiteX1509" fmla="*/ 233674 w 2328854"/>
                    <a:gd name="connsiteY1509" fmla="*/ 800950 h 2163071"/>
                    <a:gd name="connsiteX1510" fmla="*/ 230461 w 2328854"/>
                    <a:gd name="connsiteY1510" fmla="*/ 800468 h 2163071"/>
                    <a:gd name="connsiteX1511" fmla="*/ 225561 w 2328854"/>
                    <a:gd name="connsiteY1511" fmla="*/ 805288 h 2163071"/>
                    <a:gd name="connsiteX1512" fmla="*/ 225079 w 2328854"/>
                    <a:gd name="connsiteY1512" fmla="*/ 806413 h 2163071"/>
                    <a:gd name="connsiteX1513" fmla="*/ 237048 w 2328854"/>
                    <a:gd name="connsiteY1513" fmla="*/ 803601 h 2163071"/>
                    <a:gd name="connsiteX1514" fmla="*/ 566071 w 2328854"/>
                    <a:gd name="connsiteY1514" fmla="*/ 873005 h 2163071"/>
                    <a:gd name="connsiteX1515" fmla="*/ 566393 w 2328854"/>
                    <a:gd name="connsiteY1515" fmla="*/ 873246 h 2163071"/>
                    <a:gd name="connsiteX1516" fmla="*/ 561493 w 2328854"/>
                    <a:gd name="connsiteY1516" fmla="*/ 859108 h 2163071"/>
                    <a:gd name="connsiteX1517" fmla="*/ 561332 w 2328854"/>
                    <a:gd name="connsiteY1517" fmla="*/ 859590 h 2163071"/>
                    <a:gd name="connsiteX1518" fmla="*/ 559966 w 2328854"/>
                    <a:gd name="connsiteY1518" fmla="*/ 868024 h 2163071"/>
                    <a:gd name="connsiteX1519" fmla="*/ 558761 w 2328854"/>
                    <a:gd name="connsiteY1519" fmla="*/ 868024 h 2163071"/>
                    <a:gd name="connsiteX1520" fmla="*/ 561252 w 2328854"/>
                    <a:gd name="connsiteY1520" fmla="*/ 877101 h 2163071"/>
                    <a:gd name="connsiteX1521" fmla="*/ 561091 w 2328854"/>
                    <a:gd name="connsiteY1521" fmla="*/ 869310 h 2163071"/>
                    <a:gd name="connsiteX1522" fmla="*/ 566071 w 2328854"/>
                    <a:gd name="connsiteY1522" fmla="*/ 873005 h 2163071"/>
                    <a:gd name="connsiteX1523" fmla="*/ 483012 w 2328854"/>
                    <a:gd name="connsiteY1523" fmla="*/ 850031 h 2163071"/>
                    <a:gd name="connsiteX1524" fmla="*/ 483976 w 2328854"/>
                    <a:gd name="connsiteY1524" fmla="*/ 849308 h 2163071"/>
                    <a:gd name="connsiteX1525" fmla="*/ 482771 w 2328854"/>
                    <a:gd name="connsiteY1525" fmla="*/ 849388 h 2163071"/>
                    <a:gd name="connsiteX1526" fmla="*/ 466465 w 2328854"/>
                    <a:gd name="connsiteY1526" fmla="*/ 852682 h 2163071"/>
                    <a:gd name="connsiteX1527" fmla="*/ 463814 w 2328854"/>
                    <a:gd name="connsiteY1527" fmla="*/ 853886 h 2163071"/>
                    <a:gd name="connsiteX1528" fmla="*/ 483012 w 2328854"/>
                    <a:gd name="connsiteY1528" fmla="*/ 850031 h 2163071"/>
                    <a:gd name="connsiteX1529" fmla="*/ 223874 w 2328854"/>
                    <a:gd name="connsiteY1529" fmla="*/ 786732 h 2163071"/>
                    <a:gd name="connsiteX1530" fmla="*/ 224115 w 2328854"/>
                    <a:gd name="connsiteY1530" fmla="*/ 786652 h 2163071"/>
                    <a:gd name="connsiteX1531" fmla="*/ 223794 w 2328854"/>
                    <a:gd name="connsiteY1531" fmla="*/ 784804 h 2163071"/>
                    <a:gd name="connsiteX1532" fmla="*/ 219215 w 2328854"/>
                    <a:gd name="connsiteY1532" fmla="*/ 785849 h 2163071"/>
                    <a:gd name="connsiteX1533" fmla="*/ 223874 w 2328854"/>
                    <a:gd name="connsiteY1533" fmla="*/ 786732 h 2163071"/>
                    <a:gd name="connsiteX1534" fmla="*/ 113102 w 2328854"/>
                    <a:gd name="connsiteY1534" fmla="*/ 624791 h 2163071"/>
                    <a:gd name="connsiteX1535" fmla="*/ 113102 w 2328854"/>
                    <a:gd name="connsiteY1535" fmla="*/ 624791 h 2163071"/>
                    <a:gd name="connsiteX1536" fmla="*/ 114387 w 2328854"/>
                    <a:gd name="connsiteY1536" fmla="*/ 621899 h 2163071"/>
                    <a:gd name="connsiteX1537" fmla="*/ 114307 w 2328854"/>
                    <a:gd name="connsiteY1537" fmla="*/ 622060 h 2163071"/>
                    <a:gd name="connsiteX1538" fmla="*/ 111335 w 2328854"/>
                    <a:gd name="connsiteY1538" fmla="*/ 626799 h 2163071"/>
                    <a:gd name="connsiteX1539" fmla="*/ 113102 w 2328854"/>
                    <a:gd name="connsiteY1539" fmla="*/ 624791 h 2163071"/>
                    <a:gd name="connsiteX1540" fmla="*/ 227087 w 2328854"/>
                    <a:gd name="connsiteY1540" fmla="*/ 782154 h 2163071"/>
                    <a:gd name="connsiteX1541" fmla="*/ 227730 w 2328854"/>
                    <a:gd name="connsiteY1541" fmla="*/ 781511 h 2163071"/>
                    <a:gd name="connsiteX1542" fmla="*/ 227569 w 2328854"/>
                    <a:gd name="connsiteY1542" fmla="*/ 781511 h 2163071"/>
                    <a:gd name="connsiteX1543" fmla="*/ 223633 w 2328854"/>
                    <a:gd name="connsiteY1543" fmla="*/ 784001 h 2163071"/>
                    <a:gd name="connsiteX1544" fmla="*/ 225561 w 2328854"/>
                    <a:gd name="connsiteY1544" fmla="*/ 783760 h 2163071"/>
                    <a:gd name="connsiteX1545" fmla="*/ 227087 w 2328854"/>
                    <a:gd name="connsiteY1545" fmla="*/ 782154 h 2163071"/>
                    <a:gd name="connsiteX1546" fmla="*/ 158005 w 2328854"/>
                    <a:gd name="connsiteY1546" fmla="*/ 737411 h 2163071"/>
                    <a:gd name="connsiteX1547" fmla="*/ 158969 w 2328854"/>
                    <a:gd name="connsiteY1547" fmla="*/ 735644 h 2163071"/>
                    <a:gd name="connsiteX1548" fmla="*/ 158808 w 2328854"/>
                    <a:gd name="connsiteY1548" fmla="*/ 735644 h 2163071"/>
                    <a:gd name="connsiteX1549" fmla="*/ 157603 w 2328854"/>
                    <a:gd name="connsiteY1549" fmla="*/ 737170 h 2163071"/>
                    <a:gd name="connsiteX1550" fmla="*/ 158005 w 2328854"/>
                    <a:gd name="connsiteY1550" fmla="*/ 737411 h 2163071"/>
                    <a:gd name="connsiteX1551" fmla="*/ 2012296 w 2328854"/>
                    <a:gd name="connsiteY1551" fmla="*/ 313038 h 2163071"/>
                    <a:gd name="connsiteX1552" fmla="*/ 2012055 w 2328854"/>
                    <a:gd name="connsiteY1552" fmla="*/ 312717 h 2163071"/>
                    <a:gd name="connsiteX1553" fmla="*/ 2012939 w 2328854"/>
                    <a:gd name="connsiteY1553" fmla="*/ 314163 h 2163071"/>
                    <a:gd name="connsiteX1554" fmla="*/ 2013019 w 2328854"/>
                    <a:gd name="connsiteY1554" fmla="*/ 314243 h 2163071"/>
                    <a:gd name="connsiteX1555" fmla="*/ 2012296 w 2328854"/>
                    <a:gd name="connsiteY1555" fmla="*/ 313038 h 2163071"/>
                    <a:gd name="connsiteX1556" fmla="*/ 2025309 w 2328854"/>
                    <a:gd name="connsiteY1556" fmla="*/ 396740 h 2163071"/>
                    <a:gd name="connsiteX1557" fmla="*/ 2024908 w 2328854"/>
                    <a:gd name="connsiteY1557" fmla="*/ 395535 h 2163071"/>
                    <a:gd name="connsiteX1558" fmla="*/ 2024988 w 2328854"/>
                    <a:gd name="connsiteY1558" fmla="*/ 398186 h 2163071"/>
                    <a:gd name="connsiteX1559" fmla="*/ 2022257 w 2328854"/>
                    <a:gd name="connsiteY1559" fmla="*/ 396177 h 2163071"/>
                    <a:gd name="connsiteX1560" fmla="*/ 2023622 w 2328854"/>
                    <a:gd name="connsiteY1560" fmla="*/ 398025 h 2163071"/>
                    <a:gd name="connsiteX1561" fmla="*/ 2022659 w 2328854"/>
                    <a:gd name="connsiteY1561" fmla="*/ 411761 h 2163071"/>
                    <a:gd name="connsiteX1562" fmla="*/ 2025550 w 2328854"/>
                    <a:gd name="connsiteY1562" fmla="*/ 414573 h 2163071"/>
                    <a:gd name="connsiteX1563" fmla="*/ 2022900 w 2328854"/>
                    <a:gd name="connsiteY1563" fmla="*/ 414332 h 2163071"/>
                    <a:gd name="connsiteX1564" fmla="*/ 2035993 w 2328854"/>
                    <a:gd name="connsiteY1564" fmla="*/ 430960 h 2163071"/>
                    <a:gd name="connsiteX1565" fmla="*/ 2037439 w 2328854"/>
                    <a:gd name="connsiteY1565" fmla="*/ 433450 h 2163071"/>
                    <a:gd name="connsiteX1566" fmla="*/ 2051817 w 2328854"/>
                    <a:gd name="connsiteY1566" fmla="*/ 442045 h 2163071"/>
                    <a:gd name="connsiteX1567" fmla="*/ 2048604 w 2328854"/>
                    <a:gd name="connsiteY1567" fmla="*/ 436422 h 2163071"/>
                    <a:gd name="connsiteX1568" fmla="*/ 2041937 w 2328854"/>
                    <a:gd name="connsiteY1568" fmla="*/ 427425 h 2163071"/>
                    <a:gd name="connsiteX1569" fmla="*/ 2039286 w 2328854"/>
                    <a:gd name="connsiteY1569" fmla="*/ 433048 h 2163071"/>
                    <a:gd name="connsiteX1570" fmla="*/ 2029486 w 2328854"/>
                    <a:gd name="connsiteY1570" fmla="*/ 417625 h 2163071"/>
                    <a:gd name="connsiteX1571" fmla="*/ 2028281 w 2328854"/>
                    <a:gd name="connsiteY1571" fmla="*/ 405737 h 2163071"/>
                    <a:gd name="connsiteX1572" fmla="*/ 2028683 w 2328854"/>
                    <a:gd name="connsiteY1572" fmla="*/ 404210 h 2163071"/>
                    <a:gd name="connsiteX1573" fmla="*/ 2025309 w 2328854"/>
                    <a:gd name="connsiteY1573" fmla="*/ 396740 h 2163071"/>
                    <a:gd name="connsiteX1574" fmla="*/ 151338 w 2328854"/>
                    <a:gd name="connsiteY1574" fmla="*/ 731386 h 2163071"/>
                    <a:gd name="connsiteX1575" fmla="*/ 153748 w 2328854"/>
                    <a:gd name="connsiteY1575" fmla="*/ 726567 h 2163071"/>
                    <a:gd name="connsiteX1576" fmla="*/ 153426 w 2328854"/>
                    <a:gd name="connsiteY1576" fmla="*/ 727209 h 2163071"/>
                    <a:gd name="connsiteX1577" fmla="*/ 151097 w 2328854"/>
                    <a:gd name="connsiteY1577" fmla="*/ 730342 h 2163071"/>
                    <a:gd name="connsiteX1578" fmla="*/ 150374 w 2328854"/>
                    <a:gd name="connsiteY1578" fmla="*/ 731386 h 2163071"/>
                    <a:gd name="connsiteX1579" fmla="*/ 146920 w 2328854"/>
                    <a:gd name="connsiteY1579" fmla="*/ 738857 h 2163071"/>
                    <a:gd name="connsiteX1580" fmla="*/ 151338 w 2328854"/>
                    <a:gd name="connsiteY1580" fmla="*/ 731386 h 2163071"/>
                    <a:gd name="connsiteX1581" fmla="*/ 157363 w 2328854"/>
                    <a:gd name="connsiteY1581" fmla="*/ 730021 h 2163071"/>
                    <a:gd name="connsiteX1582" fmla="*/ 157363 w 2328854"/>
                    <a:gd name="connsiteY1582" fmla="*/ 730021 h 2163071"/>
                    <a:gd name="connsiteX1583" fmla="*/ 156318 w 2328854"/>
                    <a:gd name="connsiteY1583" fmla="*/ 731868 h 2163071"/>
                    <a:gd name="connsiteX1584" fmla="*/ 157363 w 2328854"/>
                    <a:gd name="connsiteY1584" fmla="*/ 730021 h 2163071"/>
                    <a:gd name="connsiteX1585" fmla="*/ 151017 w 2328854"/>
                    <a:gd name="connsiteY1585" fmla="*/ 724639 h 2163071"/>
                    <a:gd name="connsiteX1586" fmla="*/ 154069 w 2328854"/>
                    <a:gd name="connsiteY1586" fmla="*/ 718373 h 2163071"/>
                    <a:gd name="connsiteX1587" fmla="*/ 153828 w 2328854"/>
                    <a:gd name="connsiteY1587" fmla="*/ 718775 h 2163071"/>
                    <a:gd name="connsiteX1588" fmla="*/ 149089 w 2328854"/>
                    <a:gd name="connsiteY1588" fmla="*/ 724157 h 2163071"/>
                    <a:gd name="connsiteX1589" fmla="*/ 149330 w 2328854"/>
                    <a:gd name="connsiteY1589" fmla="*/ 718132 h 2163071"/>
                    <a:gd name="connsiteX1590" fmla="*/ 149249 w 2328854"/>
                    <a:gd name="connsiteY1590" fmla="*/ 718132 h 2163071"/>
                    <a:gd name="connsiteX1591" fmla="*/ 146197 w 2328854"/>
                    <a:gd name="connsiteY1591" fmla="*/ 729218 h 2163071"/>
                    <a:gd name="connsiteX1592" fmla="*/ 151017 w 2328854"/>
                    <a:gd name="connsiteY1592" fmla="*/ 724639 h 2163071"/>
                    <a:gd name="connsiteX1593" fmla="*/ 463171 w 2328854"/>
                    <a:gd name="connsiteY1593" fmla="*/ 831073 h 2163071"/>
                    <a:gd name="connsiteX1594" fmla="*/ 455942 w 2328854"/>
                    <a:gd name="connsiteY1594" fmla="*/ 826414 h 2163071"/>
                    <a:gd name="connsiteX1595" fmla="*/ 455138 w 2328854"/>
                    <a:gd name="connsiteY1595" fmla="*/ 826334 h 2163071"/>
                    <a:gd name="connsiteX1596" fmla="*/ 461163 w 2328854"/>
                    <a:gd name="connsiteY1596" fmla="*/ 832841 h 2163071"/>
                    <a:gd name="connsiteX1597" fmla="*/ 460360 w 2328854"/>
                    <a:gd name="connsiteY1597" fmla="*/ 833403 h 2163071"/>
                    <a:gd name="connsiteX1598" fmla="*/ 461002 w 2328854"/>
                    <a:gd name="connsiteY1598" fmla="*/ 833804 h 2163071"/>
                    <a:gd name="connsiteX1599" fmla="*/ 463171 w 2328854"/>
                    <a:gd name="connsiteY1599" fmla="*/ 831073 h 2163071"/>
                    <a:gd name="connsiteX1600" fmla="*/ 231184 w 2328854"/>
                    <a:gd name="connsiteY1600" fmla="*/ 768498 h 2163071"/>
                    <a:gd name="connsiteX1601" fmla="*/ 231505 w 2328854"/>
                    <a:gd name="connsiteY1601" fmla="*/ 768337 h 2163071"/>
                    <a:gd name="connsiteX1602" fmla="*/ 231104 w 2328854"/>
                    <a:gd name="connsiteY1602" fmla="*/ 768337 h 2163071"/>
                    <a:gd name="connsiteX1603" fmla="*/ 225159 w 2328854"/>
                    <a:gd name="connsiteY1603" fmla="*/ 768498 h 2163071"/>
                    <a:gd name="connsiteX1604" fmla="*/ 224035 w 2328854"/>
                    <a:gd name="connsiteY1604" fmla="*/ 769863 h 2163071"/>
                    <a:gd name="connsiteX1605" fmla="*/ 227971 w 2328854"/>
                    <a:gd name="connsiteY1605" fmla="*/ 771309 h 2163071"/>
                    <a:gd name="connsiteX1606" fmla="*/ 228774 w 2328854"/>
                    <a:gd name="connsiteY1606" fmla="*/ 768980 h 2163071"/>
                    <a:gd name="connsiteX1607" fmla="*/ 231184 w 2328854"/>
                    <a:gd name="connsiteY1607" fmla="*/ 768498 h 2163071"/>
                    <a:gd name="connsiteX1608" fmla="*/ 116235 w 2328854"/>
                    <a:gd name="connsiteY1608" fmla="*/ 650898 h 2163071"/>
                    <a:gd name="connsiteX1609" fmla="*/ 118966 w 2328854"/>
                    <a:gd name="connsiteY1609" fmla="*/ 637885 h 2163071"/>
                    <a:gd name="connsiteX1610" fmla="*/ 118403 w 2328854"/>
                    <a:gd name="connsiteY1610" fmla="*/ 639009 h 2163071"/>
                    <a:gd name="connsiteX1611" fmla="*/ 116476 w 2328854"/>
                    <a:gd name="connsiteY1611" fmla="*/ 642303 h 2163071"/>
                    <a:gd name="connsiteX1612" fmla="*/ 116315 w 2328854"/>
                    <a:gd name="connsiteY1612" fmla="*/ 642303 h 2163071"/>
                    <a:gd name="connsiteX1613" fmla="*/ 116315 w 2328854"/>
                    <a:gd name="connsiteY1613" fmla="*/ 641258 h 2163071"/>
                    <a:gd name="connsiteX1614" fmla="*/ 111736 w 2328854"/>
                    <a:gd name="connsiteY1614" fmla="*/ 654191 h 2163071"/>
                    <a:gd name="connsiteX1615" fmla="*/ 115994 w 2328854"/>
                    <a:gd name="connsiteY1615" fmla="*/ 649612 h 2163071"/>
                    <a:gd name="connsiteX1616" fmla="*/ 116235 w 2328854"/>
                    <a:gd name="connsiteY1616" fmla="*/ 650898 h 2163071"/>
                    <a:gd name="connsiteX1617" fmla="*/ 439555 w 2328854"/>
                    <a:gd name="connsiteY1617" fmla="*/ 826093 h 2163071"/>
                    <a:gd name="connsiteX1618" fmla="*/ 437306 w 2328854"/>
                    <a:gd name="connsiteY1618" fmla="*/ 821755 h 2163071"/>
                    <a:gd name="connsiteX1619" fmla="*/ 437225 w 2328854"/>
                    <a:gd name="connsiteY1619" fmla="*/ 818301 h 2163071"/>
                    <a:gd name="connsiteX1620" fmla="*/ 437065 w 2328854"/>
                    <a:gd name="connsiteY1620" fmla="*/ 818783 h 2163071"/>
                    <a:gd name="connsiteX1621" fmla="*/ 432566 w 2328854"/>
                    <a:gd name="connsiteY1621" fmla="*/ 825370 h 2163071"/>
                    <a:gd name="connsiteX1622" fmla="*/ 439555 w 2328854"/>
                    <a:gd name="connsiteY1622" fmla="*/ 826093 h 2163071"/>
                    <a:gd name="connsiteX1623" fmla="*/ 533860 w 2328854"/>
                    <a:gd name="connsiteY1623" fmla="*/ 838544 h 2163071"/>
                    <a:gd name="connsiteX1624" fmla="*/ 534181 w 2328854"/>
                    <a:gd name="connsiteY1624" fmla="*/ 838785 h 2163071"/>
                    <a:gd name="connsiteX1625" fmla="*/ 532414 w 2328854"/>
                    <a:gd name="connsiteY1625" fmla="*/ 826977 h 2163071"/>
                    <a:gd name="connsiteX1626" fmla="*/ 530807 w 2328854"/>
                    <a:gd name="connsiteY1626" fmla="*/ 828503 h 2163071"/>
                    <a:gd name="connsiteX1627" fmla="*/ 533860 w 2328854"/>
                    <a:gd name="connsiteY1627" fmla="*/ 838544 h 2163071"/>
                    <a:gd name="connsiteX1628" fmla="*/ 154471 w 2328854"/>
                    <a:gd name="connsiteY1628" fmla="*/ 717088 h 2163071"/>
                    <a:gd name="connsiteX1629" fmla="*/ 154551 w 2328854"/>
                    <a:gd name="connsiteY1629" fmla="*/ 717329 h 2163071"/>
                    <a:gd name="connsiteX1630" fmla="*/ 158085 w 2328854"/>
                    <a:gd name="connsiteY1630" fmla="*/ 708814 h 2163071"/>
                    <a:gd name="connsiteX1631" fmla="*/ 158005 w 2328854"/>
                    <a:gd name="connsiteY1631" fmla="*/ 708814 h 2163071"/>
                    <a:gd name="connsiteX1632" fmla="*/ 154872 w 2328854"/>
                    <a:gd name="connsiteY1632" fmla="*/ 713794 h 2163071"/>
                    <a:gd name="connsiteX1633" fmla="*/ 154471 w 2328854"/>
                    <a:gd name="connsiteY1633" fmla="*/ 717088 h 2163071"/>
                    <a:gd name="connsiteX1634" fmla="*/ 224597 w 2328854"/>
                    <a:gd name="connsiteY1634" fmla="*/ 740383 h 2163071"/>
                    <a:gd name="connsiteX1635" fmla="*/ 225159 w 2328854"/>
                    <a:gd name="connsiteY1635" fmla="*/ 739981 h 2163071"/>
                    <a:gd name="connsiteX1636" fmla="*/ 226204 w 2328854"/>
                    <a:gd name="connsiteY1636" fmla="*/ 734117 h 2163071"/>
                    <a:gd name="connsiteX1637" fmla="*/ 225802 w 2328854"/>
                    <a:gd name="connsiteY1637" fmla="*/ 734198 h 2163071"/>
                    <a:gd name="connsiteX1638" fmla="*/ 222910 w 2328854"/>
                    <a:gd name="connsiteY1638" fmla="*/ 735001 h 2163071"/>
                    <a:gd name="connsiteX1639" fmla="*/ 223392 w 2328854"/>
                    <a:gd name="connsiteY1639" fmla="*/ 733635 h 2163071"/>
                    <a:gd name="connsiteX1640" fmla="*/ 215199 w 2328854"/>
                    <a:gd name="connsiteY1640" fmla="*/ 741668 h 2163071"/>
                    <a:gd name="connsiteX1641" fmla="*/ 214476 w 2328854"/>
                    <a:gd name="connsiteY1641" fmla="*/ 742150 h 2163071"/>
                    <a:gd name="connsiteX1642" fmla="*/ 207327 w 2328854"/>
                    <a:gd name="connsiteY1642" fmla="*/ 747693 h 2163071"/>
                    <a:gd name="connsiteX1643" fmla="*/ 224597 w 2328854"/>
                    <a:gd name="connsiteY1643" fmla="*/ 740383 h 2163071"/>
                    <a:gd name="connsiteX1644" fmla="*/ 176240 w 2328854"/>
                    <a:gd name="connsiteY1644" fmla="*/ 706163 h 2163071"/>
                    <a:gd name="connsiteX1645" fmla="*/ 176722 w 2328854"/>
                    <a:gd name="connsiteY1645" fmla="*/ 706003 h 2163071"/>
                    <a:gd name="connsiteX1646" fmla="*/ 177284 w 2328854"/>
                    <a:gd name="connsiteY1646" fmla="*/ 700460 h 2163071"/>
                    <a:gd name="connsiteX1647" fmla="*/ 172143 w 2328854"/>
                    <a:gd name="connsiteY1647" fmla="*/ 701585 h 2163071"/>
                    <a:gd name="connsiteX1648" fmla="*/ 170938 w 2328854"/>
                    <a:gd name="connsiteY1648" fmla="*/ 705681 h 2163071"/>
                    <a:gd name="connsiteX1649" fmla="*/ 176240 w 2328854"/>
                    <a:gd name="connsiteY1649" fmla="*/ 706163 h 2163071"/>
                    <a:gd name="connsiteX1650" fmla="*/ 205720 w 2328854"/>
                    <a:gd name="connsiteY1650" fmla="*/ 717409 h 2163071"/>
                    <a:gd name="connsiteX1651" fmla="*/ 206684 w 2328854"/>
                    <a:gd name="connsiteY1651" fmla="*/ 716204 h 2163071"/>
                    <a:gd name="connsiteX1652" fmla="*/ 204194 w 2328854"/>
                    <a:gd name="connsiteY1652" fmla="*/ 716526 h 2163071"/>
                    <a:gd name="connsiteX1653" fmla="*/ 206363 w 2328854"/>
                    <a:gd name="connsiteY1653" fmla="*/ 712429 h 2163071"/>
                    <a:gd name="connsiteX1654" fmla="*/ 204435 w 2328854"/>
                    <a:gd name="connsiteY1654" fmla="*/ 713714 h 2163071"/>
                    <a:gd name="connsiteX1655" fmla="*/ 205399 w 2328854"/>
                    <a:gd name="connsiteY1655" fmla="*/ 710662 h 2163071"/>
                    <a:gd name="connsiteX1656" fmla="*/ 204756 w 2328854"/>
                    <a:gd name="connsiteY1656" fmla="*/ 711063 h 2163071"/>
                    <a:gd name="connsiteX1657" fmla="*/ 201623 w 2328854"/>
                    <a:gd name="connsiteY1657" fmla="*/ 713312 h 2163071"/>
                    <a:gd name="connsiteX1658" fmla="*/ 200981 w 2328854"/>
                    <a:gd name="connsiteY1658" fmla="*/ 713794 h 2163071"/>
                    <a:gd name="connsiteX1659" fmla="*/ 200338 w 2328854"/>
                    <a:gd name="connsiteY1659" fmla="*/ 714276 h 2163071"/>
                    <a:gd name="connsiteX1660" fmla="*/ 196000 w 2328854"/>
                    <a:gd name="connsiteY1660" fmla="*/ 718213 h 2163071"/>
                    <a:gd name="connsiteX1661" fmla="*/ 193751 w 2328854"/>
                    <a:gd name="connsiteY1661" fmla="*/ 719658 h 2163071"/>
                    <a:gd name="connsiteX1662" fmla="*/ 191743 w 2328854"/>
                    <a:gd name="connsiteY1662" fmla="*/ 723434 h 2163071"/>
                    <a:gd name="connsiteX1663" fmla="*/ 188530 w 2328854"/>
                    <a:gd name="connsiteY1663" fmla="*/ 733073 h 2163071"/>
                    <a:gd name="connsiteX1664" fmla="*/ 186682 w 2328854"/>
                    <a:gd name="connsiteY1664" fmla="*/ 729699 h 2163071"/>
                    <a:gd name="connsiteX1665" fmla="*/ 183469 w 2328854"/>
                    <a:gd name="connsiteY1665" fmla="*/ 734599 h 2163071"/>
                    <a:gd name="connsiteX1666" fmla="*/ 205720 w 2328854"/>
                    <a:gd name="connsiteY1666" fmla="*/ 717409 h 2163071"/>
                    <a:gd name="connsiteX1667" fmla="*/ 1865296 w 2328854"/>
                    <a:gd name="connsiteY1667" fmla="*/ 506628 h 2163071"/>
                    <a:gd name="connsiteX1668" fmla="*/ 1863930 w 2328854"/>
                    <a:gd name="connsiteY1668" fmla="*/ 504299 h 2163071"/>
                    <a:gd name="connsiteX1669" fmla="*/ 1861280 w 2328854"/>
                    <a:gd name="connsiteY1669" fmla="*/ 503576 h 2163071"/>
                    <a:gd name="connsiteX1670" fmla="*/ 1865296 w 2328854"/>
                    <a:gd name="connsiteY1670" fmla="*/ 506628 h 2163071"/>
                    <a:gd name="connsiteX1671" fmla="*/ 1905139 w 2328854"/>
                    <a:gd name="connsiteY1671" fmla="*/ 474015 h 2163071"/>
                    <a:gd name="connsiteX1672" fmla="*/ 1905540 w 2328854"/>
                    <a:gd name="connsiteY1672" fmla="*/ 473774 h 2163071"/>
                    <a:gd name="connsiteX1673" fmla="*/ 1902407 w 2328854"/>
                    <a:gd name="connsiteY1673" fmla="*/ 471284 h 2163071"/>
                    <a:gd name="connsiteX1674" fmla="*/ 1901845 w 2328854"/>
                    <a:gd name="connsiteY1674" fmla="*/ 472168 h 2163071"/>
                    <a:gd name="connsiteX1675" fmla="*/ 1898793 w 2328854"/>
                    <a:gd name="connsiteY1675" fmla="*/ 471847 h 2163071"/>
                    <a:gd name="connsiteX1676" fmla="*/ 1898873 w 2328854"/>
                    <a:gd name="connsiteY1676" fmla="*/ 472328 h 2163071"/>
                    <a:gd name="connsiteX1677" fmla="*/ 1903934 w 2328854"/>
                    <a:gd name="connsiteY1677" fmla="*/ 475622 h 2163071"/>
                    <a:gd name="connsiteX1678" fmla="*/ 1904978 w 2328854"/>
                    <a:gd name="connsiteY1678" fmla="*/ 474176 h 2163071"/>
                    <a:gd name="connsiteX1679" fmla="*/ 1905139 w 2328854"/>
                    <a:gd name="connsiteY1679" fmla="*/ 474015 h 2163071"/>
                    <a:gd name="connsiteX1680" fmla="*/ 203712 w 2328854"/>
                    <a:gd name="connsiteY1680" fmla="*/ 700540 h 2163071"/>
                    <a:gd name="connsiteX1681" fmla="*/ 204515 w 2328854"/>
                    <a:gd name="connsiteY1681" fmla="*/ 699095 h 2163071"/>
                    <a:gd name="connsiteX1682" fmla="*/ 204194 w 2328854"/>
                    <a:gd name="connsiteY1682" fmla="*/ 698934 h 2163071"/>
                    <a:gd name="connsiteX1683" fmla="*/ 198731 w 2328854"/>
                    <a:gd name="connsiteY1683" fmla="*/ 699737 h 2163071"/>
                    <a:gd name="connsiteX1684" fmla="*/ 193189 w 2328854"/>
                    <a:gd name="connsiteY1684" fmla="*/ 712349 h 2163071"/>
                    <a:gd name="connsiteX1685" fmla="*/ 193590 w 2328854"/>
                    <a:gd name="connsiteY1685" fmla="*/ 713152 h 2163071"/>
                    <a:gd name="connsiteX1686" fmla="*/ 203712 w 2328854"/>
                    <a:gd name="connsiteY1686" fmla="*/ 700540 h 2163071"/>
                    <a:gd name="connsiteX1687" fmla="*/ 200659 w 2328854"/>
                    <a:gd name="connsiteY1687" fmla="*/ 695962 h 2163071"/>
                    <a:gd name="connsiteX1688" fmla="*/ 202266 w 2328854"/>
                    <a:gd name="connsiteY1688" fmla="*/ 694034 h 2163071"/>
                    <a:gd name="connsiteX1689" fmla="*/ 201623 w 2328854"/>
                    <a:gd name="connsiteY1689" fmla="*/ 693391 h 2163071"/>
                    <a:gd name="connsiteX1690" fmla="*/ 200659 w 2328854"/>
                    <a:gd name="connsiteY1690" fmla="*/ 695962 h 2163071"/>
                    <a:gd name="connsiteX1691" fmla="*/ 164271 w 2328854"/>
                    <a:gd name="connsiteY1691" fmla="*/ 660939 h 2163071"/>
                    <a:gd name="connsiteX1692" fmla="*/ 166118 w 2328854"/>
                    <a:gd name="connsiteY1692" fmla="*/ 655958 h 2163071"/>
                    <a:gd name="connsiteX1693" fmla="*/ 166520 w 2328854"/>
                    <a:gd name="connsiteY1693" fmla="*/ 654994 h 2163071"/>
                    <a:gd name="connsiteX1694" fmla="*/ 166279 w 2328854"/>
                    <a:gd name="connsiteY1694" fmla="*/ 654994 h 2163071"/>
                    <a:gd name="connsiteX1695" fmla="*/ 161138 w 2328854"/>
                    <a:gd name="connsiteY1695" fmla="*/ 663509 h 2163071"/>
                    <a:gd name="connsiteX1696" fmla="*/ 164271 w 2328854"/>
                    <a:gd name="connsiteY1696" fmla="*/ 660939 h 2163071"/>
                    <a:gd name="connsiteX1697" fmla="*/ 1750909 w 2328854"/>
                    <a:gd name="connsiteY1697" fmla="*/ 558119 h 2163071"/>
                    <a:gd name="connsiteX1698" fmla="*/ 1750748 w 2328854"/>
                    <a:gd name="connsiteY1698" fmla="*/ 557958 h 2163071"/>
                    <a:gd name="connsiteX1699" fmla="*/ 1750507 w 2328854"/>
                    <a:gd name="connsiteY1699" fmla="*/ 558601 h 2163071"/>
                    <a:gd name="connsiteX1700" fmla="*/ 1755327 w 2328854"/>
                    <a:gd name="connsiteY1700" fmla="*/ 580048 h 2163071"/>
                    <a:gd name="connsiteX1701" fmla="*/ 1750909 w 2328854"/>
                    <a:gd name="connsiteY1701" fmla="*/ 558119 h 2163071"/>
                    <a:gd name="connsiteX1702" fmla="*/ 197848 w 2328854"/>
                    <a:gd name="connsiteY1702" fmla="*/ 679896 h 2163071"/>
                    <a:gd name="connsiteX1703" fmla="*/ 197125 w 2328854"/>
                    <a:gd name="connsiteY1703" fmla="*/ 676121 h 2163071"/>
                    <a:gd name="connsiteX1704" fmla="*/ 197848 w 2328854"/>
                    <a:gd name="connsiteY1704" fmla="*/ 679896 h 2163071"/>
                    <a:gd name="connsiteX1705" fmla="*/ 1944660 w 2328854"/>
                    <a:gd name="connsiteY1705" fmla="*/ 431763 h 2163071"/>
                    <a:gd name="connsiteX1706" fmla="*/ 1944419 w 2328854"/>
                    <a:gd name="connsiteY1706" fmla="*/ 431281 h 2163071"/>
                    <a:gd name="connsiteX1707" fmla="*/ 1928835 w 2328854"/>
                    <a:gd name="connsiteY1707" fmla="*/ 421320 h 2163071"/>
                    <a:gd name="connsiteX1708" fmla="*/ 1928675 w 2328854"/>
                    <a:gd name="connsiteY1708" fmla="*/ 421802 h 2163071"/>
                    <a:gd name="connsiteX1709" fmla="*/ 1925301 w 2328854"/>
                    <a:gd name="connsiteY1709" fmla="*/ 425819 h 2163071"/>
                    <a:gd name="connsiteX1710" fmla="*/ 1929558 w 2328854"/>
                    <a:gd name="connsiteY1710" fmla="*/ 431281 h 2163071"/>
                    <a:gd name="connsiteX1711" fmla="*/ 1931808 w 2328854"/>
                    <a:gd name="connsiteY1711" fmla="*/ 428309 h 2163071"/>
                    <a:gd name="connsiteX1712" fmla="*/ 1933816 w 2328854"/>
                    <a:gd name="connsiteY1712" fmla="*/ 429915 h 2163071"/>
                    <a:gd name="connsiteX1713" fmla="*/ 1937270 w 2328854"/>
                    <a:gd name="connsiteY1713" fmla="*/ 432646 h 2163071"/>
                    <a:gd name="connsiteX1714" fmla="*/ 1933494 w 2328854"/>
                    <a:gd name="connsiteY1714" fmla="*/ 433691 h 2163071"/>
                    <a:gd name="connsiteX1715" fmla="*/ 1934378 w 2328854"/>
                    <a:gd name="connsiteY1715" fmla="*/ 435217 h 2163071"/>
                    <a:gd name="connsiteX1716" fmla="*/ 1931004 w 2328854"/>
                    <a:gd name="connsiteY1716" fmla="*/ 433530 h 2163071"/>
                    <a:gd name="connsiteX1717" fmla="*/ 1927711 w 2328854"/>
                    <a:gd name="connsiteY1717" fmla="*/ 433289 h 2163071"/>
                    <a:gd name="connsiteX1718" fmla="*/ 1947150 w 2328854"/>
                    <a:gd name="connsiteY1718" fmla="*/ 438430 h 2163071"/>
                    <a:gd name="connsiteX1719" fmla="*/ 1944981 w 2328854"/>
                    <a:gd name="connsiteY1719" fmla="*/ 434253 h 2163071"/>
                    <a:gd name="connsiteX1720" fmla="*/ 1947230 w 2328854"/>
                    <a:gd name="connsiteY1720" fmla="*/ 434655 h 2163071"/>
                    <a:gd name="connsiteX1721" fmla="*/ 1944660 w 2328854"/>
                    <a:gd name="connsiteY1721" fmla="*/ 431763 h 2163071"/>
                    <a:gd name="connsiteX1722" fmla="*/ 1759665 w 2328854"/>
                    <a:gd name="connsiteY1722" fmla="*/ 542615 h 2163071"/>
                    <a:gd name="connsiteX1723" fmla="*/ 1759825 w 2328854"/>
                    <a:gd name="connsiteY1723" fmla="*/ 542134 h 2163071"/>
                    <a:gd name="connsiteX1724" fmla="*/ 1757817 w 2328854"/>
                    <a:gd name="connsiteY1724" fmla="*/ 543740 h 2163071"/>
                    <a:gd name="connsiteX1725" fmla="*/ 1749222 w 2328854"/>
                    <a:gd name="connsiteY1725" fmla="*/ 548721 h 2163071"/>
                    <a:gd name="connsiteX1726" fmla="*/ 1759665 w 2328854"/>
                    <a:gd name="connsiteY1726" fmla="*/ 542615 h 2163071"/>
                    <a:gd name="connsiteX1727" fmla="*/ 1738378 w 2328854"/>
                    <a:gd name="connsiteY1727" fmla="*/ 559243 h 2163071"/>
                    <a:gd name="connsiteX1728" fmla="*/ 1737896 w 2328854"/>
                    <a:gd name="connsiteY1728" fmla="*/ 558601 h 2163071"/>
                    <a:gd name="connsiteX1729" fmla="*/ 1726810 w 2328854"/>
                    <a:gd name="connsiteY1729" fmla="*/ 557798 h 2163071"/>
                    <a:gd name="connsiteX1730" fmla="*/ 1724320 w 2328854"/>
                    <a:gd name="connsiteY1730" fmla="*/ 559324 h 2163071"/>
                    <a:gd name="connsiteX1731" fmla="*/ 1724481 w 2328854"/>
                    <a:gd name="connsiteY1731" fmla="*/ 571855 h 2163071"/>
                    <a:gd name="connsiteX1732" fmla="*/ 1721991 w 2328854"/>
                    <a:gd name="connsiteY1732" fmla="*/ 570409 h 2163071"/>
                    <a:gd name="connsiteX1733" fmla="*/ 1727534 w 2328854"/>
                    <a:gd name="connsiteY1733" fmla="*/ 580771 h 2163071"/>
                    <a:gd name="connsiteX1734" fmla="*/ 1728819 w 2328854"/>
                    <a:gd name="connsiteY1734" fmla="*/ 579727 h 2163071"/>
                    <a:gd name="connsiteX1735" fmla="*/ 1729542 w 2328854"/>
                    <a:gd name="connsiteY1735" fmla="*/ 578442 h 2163071"/>
                    <a:gd name="connsiteX1736" fmla="*/ 1730506 w 2328854"/>
                    <a:gd name="connsiteY1736" fmla="*/ 577880 h 2163071"/>
                    <a:gd name="connsiteX1737" fmla="*/ 1736129 w 2328854"/>
                    <a:gd name="connsiteY1737" fmla="*/ 571212 h 2163071"/>
                    <a:gd name="connsiteX1738" fmla="*/ 1738378 w 2328854"/>
                    <a:gd name="connsiteY1738" fmla="*/ 559243 h 2163071"/>
                    <a:gd name="connsiteX1739" fmla="*/ 193028 w 2328854"/>
                    <a:gd name="connsiteY1739" fmla="*/ 668168 h 2163071"/>
                    <a:gd name="connsiteX1740" fmla="*/ 193189 w 2328854"/>
                    <a:gd name="connsiteY1740" fmla="*/ 668168 h 2163071"/>
                    <a:gd name="connsiteX1741" fmla="*/ 184915 w 2328854"/>
                    <a:gd name="connsiteY1741" fmla="*/ 658368 h 2163071"/>
                    <a:gd name="connsiteX1742" fmla="*/ 186522 w 2328854"/>
                    <a:gd name="connsiteY1742" fmla="*/ 656440 h 2163071"/>
                    <a:gd name="connsiteX1743" fmla="*/ 185236 w 2328854"/>
                    <a:gd name="connsiteY1743" fmla="*/ 652585 h 2163071"/>
                    <a:gd name="connsiteX1744" fmla="*/ 168769 w 2328854"/>
                    <a:gd name="connsiteY1744" fmla="*/ 660296 h 2163071"/>
                    <a:gd name="connsiteX1745" fmla="*/ 168689 w 2328854"/>
                    <a:gd name="connsiteY1745" fmla="*/ 659653 h 2163071"/>
                    <a:gd name="connsiteX1746" fmla="*/ 168448 w 2328854"/>
                    <a:gd name="connsiteY1746" fmla="*/ 659573 h 2163071"/>
                    <a:gd name="connsiteX1747" fmla="*/ 166440 w 2328854"/>
                    <a:gd name="connsiteY1747" fmla="*/ 665035 h 2163071"/>
                    <a:gd name="connsiteX1748" fmla="*/ 168287 w 2328854"/>
                    <a:gd name="connsiteY1748" fmla="*/ 663429 h 2163071"/>
                    <a:gd name="connsiteX1749" fmla="*/ 168448 w 2328854"/>
                    <a:gd name="connsiteY1749" fmla="*/ 663589 h 2163071"/>
                    <a:gd name="connsiteX1750" fmla="*/ 167484 w 2328854"/>
                    <a:gd name="connsiteY1750" fmla="*/ 665919 h 2163071"/>
                    <a:gd name="connsiteX1751" fmla="*/ 191904 w 2328854"/>
                    <a:gd name="connsiteY1751" fmla="*/ 667847 h 2163071"/>
                    <a:gd name="connsiteX1752" fmla="*/ 193028 w 2328854"/>
                    <a:gd name="connsiteY1752" fmla="*/ 668168 h 2163071"/>
                    <a:gd name="connsiteX1753" fmla="*/ 1927791 w 2328854"/>
                    <a:gd name="connsiteY1753" fmla="*/ 407263 h 2163071"/>
                    <a:gd name="connsiteX1754" fmla="*/ 1927389 w 2328854"/>
                    <a:gd name="connsiteY1754" fmla="*/ 406861 h 2163071"/>
                    <a:gd name="connsiteX1755" fmla="*/ 1920321 w 2328854"/>
                    <a:gd name="connsiteY1755" fmla="*/ 407343 h 2163071"/>
                    <a:gd name="connsiteX1756" fmla="*/ 1920642 w 2328854"/>
                    <a:gd name="connsiteY1756" fmla="*/ 407504 h 2163071"/>
                    <a:gd name="connsiteX1757" fmla="*/ 1929880 w 2328854"/>
                    <a:gd name="connsiteY1757" fmla="*/ 409432 h 2163071"/>
                    <a:gd name="connsiteX1758" fmla="*/ 1927791 w 2328854"/>
                    <a:gd name="connsiteY1758" fmla="*/ 407263 h 2163071"/>
                    <a:gd name="connsiteX1759" fmla="*/ 208210 w 2328854"/>
                    <a:gd name="connsiteY1759" fmla="*/ 656360 h 2163071"/>
                    <a:gd name="connsiteX1760" fmla="*/ 208451 w 2328854"/>
                    <a:gd name="connsiteY1760" fmla="*/ 656360 h 2163071"/>
                    <a:gd name="connsiteX1761" fmla="*/ 207648 w 2328854"/>
                    <a:gd name="connsiteY1761" fmla="*/ 655155 h 2163071"/>
                    <a:gd name="connsiteX1762" fmla="*/ 204113 w 2328854"/>
                    <a:gd name="connsiteY1762" fmla="*/ 657565 h 2163071"/>
                    <a:gd name="connsiteX1763" fmla="*/ 204033 w 2328854"/>
                    <a:gd name="connsiteY1763" fmla="*/ 655476 h 2163071"/>
                    <a:gd name="connsiteX1764" fmla="*/ 202025 w 2328854"/>
                    <a:gd name="connsiteY1764" fmla="*/ 660457 h 2163071"/>
                    <a:gd name="connsiteX1765" fmla="*/ 202748 w 2328854"/>
                    <a:gd name="connsiteY1765" fmla="*/ 661099 h 2163071"/>
                    <a:gd name="connsiteX1766" fmla="*/ 205399 w 2328854"/>
                    <a:gd name="connsiteY1766" fmla="*/ 659091 h 2163071"/>
                    <a:gd name="connsiteX1767" fmla="*/ 205077 w 2328854"/>
                    <a:gd name="connsiteY1767" fmla="*/ 657645 h 2163071"/>
                    <a:gd name="connsiteX1768" fmla="*/ 208210 w 2328854"/>
                    <a:gd name="connsiteY1768" fmla="*/ 656360 h 2163071"/>
                    <a:gd name="connsiteX1769" fmla="*/ 173990 w 2328854"/>
                    <a:gd name="connsiteY1769" fmla="*/ 614991 h 2163071"/>
                    <a:gd name="connsiteX1770" fmla="*/ 174151 w 2328854"/>
                    <a:gd name="connsiteY1770" fmla="*/ 614991 h 2163071"/>
                    <a:gd name="connsiteX1771" fmla="*/ 173830 w 2328854"/>
                    <a:gd name="connsiteY1771" fmla="*/ 611296 h 2163071"/>
                    <a:gd name="connsiteX1772" fmla="*/ 172544 w 2328854"/>
                    <a:gd name="connsiteY1772" fmla="*/ 616196 h 2163071"/>
                    <a:gd name="connsiteX1773" fmla="*/ 173990 w 2328854"/>
                    <a:gd name="connsiteY1773" fmla="*/ 614991 h 2163071"/>
                    <a:gd name="connsiteX1774" fmla="*/ 1634433 w 2328854"/>
                    <a:gd name="connsiteY1774" fmla="*/ 576594 h 2163071"/>
                    <a:gd name="connsiteX1775" fmla="*/ 1634433 w 2328854"/>
                    <a:gd name="connsiteY1775" fmla="*/ 576514 h 2163071"/>
                    <a:gd name="connsiteX1776" fmla="*/ 1634433 w 2328854"/>
                    <a:gd name="connsiteY1776" fmla="*/ 576594 h 2163071"/>
                    <a:gd name="connsiteX1777" fmla="*/ 1633710 w 2328854"/>
                    <a:gd name="connsiteY1777" fmla="*/ 577880 h 2163071"/>
                    <a:gd name="connsiteX1778" fmla="*/ 1634835 w 2328854"/>
                    <a:gd name="connsiteY1778" fmla="*/ 579486 h 2163071"/>
                    <a:gd name="connsiteX1779" fmla="*/ 1634433 w 2328854"/>
                    <a:gd name="connsiteY1779" fmla="*/ 576594 h 2163071"/>
                    <a:gd name="connsiteX1780" fmla="*/ 164190 w 2328854"/>
                    <a:gd name="connsiteY1780" fmla="*/ 538599 h 2163071"/>
                    <a:gd name="connsiteX1781" fmla="*/ 174553 w 2328854"/>
                    <a:gd name="connsiteY1781" fmla="*/ 521730 h 2163071"/>
                    <a:gd name="connsiteX1782" fmla="*/ 173910 w 2328854"/>
                    <a:gd name="connsiteY1782" fmla="*/ 522774 h 2163071"/>
                    <a:gd name="connsiteX1783" fmla="*/ 164190 w 2328854"/>
                    <a:gd name="connsiteY1783" fmla="*/ 538599 h 2163071"/>
                    <a:gd name="connsiteX1784" fmla="*/ 226284 w 2328854"/>
                    <a:gd name="connsiteY1784" fmla="*/ 674594 h 2163071"/>
                    <a:gd name="connsiteX1785" fmla="*/ 226525 w 2328854"/>
                    <a:gd name="connsiteY1785" fmla="*/ 675478 h 2163071"/>
                    <a:gd name="connsiteX1786" fmla="*/ 231827 w 2328854"/>
                    <a:gd name="connsiteY1786" fmla="*/ 662224 h 2163071"/>
                    <a:gd name="connsiteX1787" fmla="*/ 231746 w 2328854"/>
                    <a:gd name="connsiteY1787" fmla="*/ 662224 h 2163071"/>
                    <a:gd name="connsiteX1788" fmla="*/ 228854 w 2328854"/>
                    <a:gd name="connsiteY1788" fmla="*/ 665437 h 2163071"/>
                    <a:gd name="connsiteX1789" fmla="*/ 227168 w 2328854"/>
                    <a:gd name="connsiteY1789" fmla="*/ 666562 h 2163071"/>
                    <a:gd name="connsiteX1790" fmla="*/ 226846 w 2328854"/>
                    <a:gd name="connsiteY1790" fmla="*/ 666642 h 2163071"/>
                    <a:gd name="connsiteX1791" fmla="*/ 225079 w 2328854"/>
                    <a:gd name="connsiteY1791" fmla="*/ 675960 h 2163071"/>
                    <a:gd name="connsiteX1792" fmla="*/ 226284 w 2328854"/>
                    <a:gd name="connsiteY1792" fmla="*/ 674594 h 2163071"/>
                    <a:gd name="connsiteX1793" fmla="*/ 168930 w 2328854"/>
                    <a:gd name="connsiteY1793" fmla="*/ 580048 h 2163071"/>
                    <a:gd name="connsiteX1794" fmla="*/ 171018 w 2328854"/>
                    <a:gd name="connsiteY1794" fmla="*/ 575711 h 2163071"/>
                    <a:gd name="connsiteX1795" fmla="*/ 170858 w 2328854"/>
                    <a:gd name="connsiteY1795" fmla="*/ 575952 h 2163071"/>
                    <a:gd name="connsiteX1796" fmla="*/ 166520 w 2328854"/>
                    <a:gd name="connsiteY1796" fmla="*/ 580611 h 2163071"/>
                    <a:gd name="connsiteX1797" fmla="*/ 167082 w 2328854"/>
                    <a:gd name="connsiteY1797" fmla="*/ 581896 h 2163071"/>
                    <a:gd name="connsiteX1798" fmla="*/ 168930 w 2328854"/>
                    <a:gd name="connsiteY1798" fmla="*/ 580048 h 2163071"/>
                    <a:gd name="connsiteX1799" fmla="*/ 1909396 w 2328854"/>
                    <a:gd name="connsiteY1799" fmla="*/ 396338 h 2163071"/>
                    <a:gd name="connsiteX1800" fmla="*/ 1904014 w 2328854"/>
                    <a:gd name="connsiteY1800" fmla="*/ 394571 h 2163071"/>
                    <a:gd name="connsiteX1801" fmla="*/ 1904255 w 2328854"/>
                    <a:gd name="connsiteY1801" fmla="*/ 394732 h 2163071"/>
                    <a:gd name="connsiteX1802" fmla="*/ 1907468 w 2328854"/>
                    <a:gd name="connsiteY1802" fmla="*/ 397302 h 2163071"/>
                    <a:gd name="connsiteX1803" fmla="*/ 1911083 w 2328854"/>
                    <a:gd name="connsiteY1803" fmla="*/ 399230 h 2163071"/>
                    <a:gd name="connsiteX1804" fmla="*/ 1911404 w 2328854"/>
                    <a:gd name="connsiteY1804" fmla="*/ 399471 h 2163071"/>
                    <a:gd name="connsiteX1805" fmla="*/ 1909396 w 2328854"/>
                    <a:gd name="connsiteY1805" fmla="*/ 396338 h 2163071"/>
                    <a:gd name="connsiteX1806" fmla="*/ 227007 w 2328854"/>
                    <a:gd name="connsiteY1806" fmla="*/ 650014 h 2163071"/>
                    <a:gd name="connsiteX1807" fmla="*/ 227649 w 2328854"/>
                    <a:gd name="connsiteY1807" fmla="*/ 649211 h 2163071"/>
                    <a:gd name="connsiteX1808" fmla="*/ 222428 w 2328854"/>
                    <a:gd name="connsiteY1808" fmla="*/ 651460 h 2163071"/>
                    <a:gd name="connsiteX1809" fmla="*/ 223874 w 2328854"/>
                    <a:gd name="connsiteY1809" fmla="*/ 650094 h 2163071"/>
                    <a:gd name="connsiteX1810" fmla="*/ 223312 w 2328854"/>
                    <a:gd name="connsiteY1810" fmla="*/ 650014 h 2163071"/>
                    <a:gd name="connsiteX1811" fmla="*/ 224999 w 2328854"/>
                    <a:gd name="connsiteY1811" fmla="*/ 645757 h 2163071"/>
                    <a:gd name="connsiteX1812" fmla="*/ 224918 w 2328854"/>
                    <a:gd name="connsiteY1812" fmla="*/ 645757 h 2163071"/>
                    <a:gd name="connsiteX1813" fmla="*/ 222348 w 2328854"/>
                    <a:gd name="connsiteY1813" fmla="*/ 647845 h 2163071"/>
                    <a:gd name="connsiteX1814" fmla="*/ 221786 w 2328854"/>
                    <a:gd name="connsiteY1814" fmla="*/ 647524 h 2163071"/>
                    <a:gd name="connsiteX1815" fmla="*/ 223071 w 2328854"/>
                    <a:gd name="connsiteY1815" fmla="*/ 648167 h 2163071"/>
                    <a:gd name="connsiteX1816" fmla="*/ 223633 w 2328854"/>
                    <a:gd name="connsiteY1816" fmla="*/ 647685 h 2163071"/>
                    <a:gd name="connsiteX1817" fmla="*/ 217930 w 2328854"/>
                    <a:gd name="connsiteY1817" fmla="*/ 659493 h 2163071"/>
                    <a:gd name="connsiteX1818" fmla="*/ 223231 w 2328854"/>
                    <a:gd name="connsiteY1818" fmla="*/ 654994 h 2163071"/>
                    <a:gd name="connsiteX1819" fmla="*/ 227007 w 2328854"/>
                    <a:gd name="connsiteY1819" fmla="*/ 650014 h 2163071"/>
                    <a:gd name="connsiteX1820" fmla="*/ 1834852 w 2328854"/>
                    <a:gd name="connsiteY1820" fmla="*/ 450961 h 2163071"/>
                    <a:gd name="connsiteX1821" fmla="*/ 1832763 w 2328854"/>
                    <a:gd name="connsiteY1821" fmla="*/ 450319 h 2163071"/>
                    <a:gd name="connsiteX1822" fmla="*/ 1833004 w 2328854"/>
                    <a:gd name="connsiteY1822" fmla="*/ 450720 h 2163071"/>
                    <a:gd name="connsiteX1823" fmla="*/ 1830835 w 2328854"/>
                    <a:gd name="connsiteY1823" fmla="*/ 452969 h 2163071"/>
                    <a:gd name="connsiteX1824" fmla="*/ 1833486 w 2328854"/>
                    <a:gd name="connsiteY1824" fmla="*/ 453451 h 2163071"/>
                    <a:gd name="connsiteX1825" fmla="*/ 1835093 w 2328854"/>
                    <a:gd name="connsiteY1825" fmla="*/ 452246 h 2163071"/>
                    <a:gd name="connsiteX1826" fmla="*/ 1835093 w 2328854"/>
                    <a:gd name="connsiteY1826" fmla="*/ 451443 h 2163071"/>
                    <a:gd name="connsiteX1827" fmla="*/ 1834852 w 2328854"/>
                    <a:gd name="connsiteY1827" fmla="*/ 450961 h 2163071"/>
                    <a:gd name="connsiteX1828" fmla="*/ 1792037 w 2328854"/>
                    <a:gd name="connsiteY1828" fmla="*/ 468633 h 2163071"/>
                    <a:gd name="connsiteX1829" fmla="*/ 1792117 w 2328854"/>
                    <a:gd name="connsiteY1829" fmla="*/ 468071 h 2163071"/>
                    <a:gd name="connsiteX1830" fmla="*/ 1791956 w 2328854"/>
                    <a:gd name="connsiteY1830" fmla="*/ 468232 h 2163071"/>
                    <a:gd name="connsiteX1831" fmla="*/ 1789948 w 2328854"/>
                    <a:gd name="connsiteY1831" fmla="*/ 475943 h 2163071"/>
                    <a:gd name="connsiteX1832" fmla="*/ 1790671 w 2328854"/>
                    <a:gd name="connsiteY1832" fmla="*/ 472328 h 2163071"/>
                    <a:gd name="connsiteX1833" fmla="*/ 1792037 w 2328854"/>
                    <a:gd name="connsiteY1833" fmla="*/ 468633 h 2163071"/>
                    <a:gd name="connsiteX1834" fmla="*/ 1798463 w 2328854"/>
                    <a:gd name="connsiteY1834" fmla="*/ 469035 h 2163071"/>
                    <a:gd name="connsiteX1835" fmla="*/ 1798624 w 2328854"/>
                    <a:gd name="connsiteY1835" fmla="*/ 469035 h 2163071"/>
                    <a:gd name="connsiteX1836" fmla="*/ 1794206 w 2328854"/>
                    <a:gd name="connsiteY1836" fmla="*/ 465983 h 2163071"/>
                    <a:gd name="connsiteX1837" fmla="*/ 1794125 w 2328854"/>
                    <a:gd name="connsiteY1837" fmla="*/ 466143 h 2163071"/>
                    <a:gd name="connsiteX1838" fmla="*/ 1793483 w 2328854"/>
                    <a:gd name="connsiteY1838" fmla="*/ 468874 h 2163071"/>
                    <a:gd name="connsiteX1839" fmla="*/ 1798463 w 2328854"/>
                    <a:gd name="connsiteY1839" fmla="*/ 469035 h 2163071"/>
                    <a:gd name="connsiteX1840" fmla="*/ 194635 w 2328854"/>
                    <a:gd name="connsiteY1840" fmla="*/ 488394 h 2163071"/>
                    <a:gd name="connsiteX1841" fmla="*/ 194394 w 2328854"/>
                    <a:gd name="connsiteY1841" fmla="*/ 488715 h 2163071"/>
                    <a:gd name="connsiteX1842" fmla="*/ 201302 w 2328854"/>
                    <a:gd name="connsiteY1842" fmla="*/ 479076 h 2163071"/>
                    <a:gd name="connsiteX1843" fmla="*/ 194635 w 2328854"/>
                    <a:gd name="connsiteY1843" fmla="*/ 488394 h 2163071"/>
                    <a:gd name="connsiteX1844" fmla="*/ 239056 w 2328854"/>
                    <a:gd name="connsiteY1844" fmla="*/ 637242 h 2163071"/>
                    <a:gd name="connsiteX1845" fmla="*/ 239377 w 2328854"/>
                    <a:gd name="connsiteY1845" fmla="*/ 636760 h 2163071"/>
                    <a:gd name="connsiteX1846" fmla="*/ 239217 w 2328854"/>
                    <a:gd name="connsiteY1846" fmla="*/ 637001 h 2163071"/>
                    <a:gd name="connsiteX1847" fmla="*/ 236325 w 2328854"/>
                    <a:gd name="connsiteY1847" fmla="*/ 639009 h 2163071"/>
                    <a:gd name="connsiteX1848" fmla="*/ 236084 w 2328854"/>
                    <a:gd name="connsiteY1848" fmla="*/ 639089 h 2163071"/>
                    <a:gd name="connsiteX1849" fmla="*/ 234236 w 2328854"/>
                    <a:gd name="connsiteY1849" fmla="*/ 642142 h 2163071"/>
                    <a:gd name="connsiteX1850" fmla="*/ 239056 w 2328854"/>
                    <a:gd name="connsiteY1850" fmla="*/ 637242 h 2163071"/>
                    <a:gd name="connsiteX1851" fmla="*/ 1873248 w 2328854"/>
                    <a:gd name="connsiteY1851" fmla="*/ 429674 h 2163071"/>
                    <a:gd name="connsiteX1852" fmla="*/ 1843688 w 2328854"/>
                    <a:gd name="connsiteY1852" fmla="*/ 423891 h 2163071"/>
                    <a:gd name="connsiteX1853" fmla="*/ 1842965 w 2328854"/>
                    <a:gd name="connsiteY1853" fmla="*/ 429514 h 2163071"/>
                    <a:gd name="connsiteX1854" fmla="*/ 1845053 w 2328854"/>
                    <a:gd name="connsiteY1854" fmla="*/ 432084 h 2163071"/>
                    <a:gd name="connsiteX1855" fmla="*/ 1846419 w 2328854"/>
                    <a:gd name="connsiteY1855" fmla="*/ 434655 h 2163071"/>
                    <a:gd name="connsiteX1856" fmla="*/ 1865778 w 2328854"/>
                    <a:gd name="connsiteY1856" fmla="*/ 444053 h 2163071"/>
                    <a:gd name="connsiteX1857" fmla="*/ 1874293 w 2328854"/>
                    <a:gd name="connsiteY1857" fmla="*/ 450078 h 2163071"/>
                    <a:gd name="connsiteX1858" fmla="*/ 1874614 w 2328854"/>
                    <a:gd name="connsiteY1858" fmla="*/ 441001 h 2163071"/>
                    <a:gd name="connsiteX1859" fmla="*/ 1873248 w 2328854"/>
                    <a:gd name="connsiteY1859" fmla="*/ 429674 h 2163071"/>
                    <a:gd name="connsiteX1860" fmla="*/ 1799829 w 2328854"/>
                    <a:gd name="connsiteY1860" fmla="*/ 457066 h 2163071"/>
                    <a:gd name="connsiteX1861" fmla="*/ 1799025 w 2328854"/>
                    <a:gd name="connsiteY1861" fmla="*/ 456102 h 2163071"/>
                    <a:gd name="connsiteX1862" fmla="*/ 1799025 w 2328854"/>
                    <a:gd name="connsiteY1862" fmla="*/ 456504 h 2163071"/>
                    <a:gd name="connsiteX1863" fmla="*/ 1798865 w 2328854"/>
                    <a:gd name="connsiteY1863" fmla="*/ 468392 h 2163071"/>
                    <a:gd name="connsiteX1864" fmla="*/ 1808343 w 2328854"/>
                    <a:gd name="connsiteY1864" fmla="*/ 469035 h 2163071"/>
                    <a:gd name="connsiteX1865" fmla="*/ 1805773 w 2328854"/>
                    <a:gd name="connsiteY1865" fmla="*/ 467830 h 2163071"/>
                    <a:gd name="connsiteX1866" fmla="*/ 1806014 w 2328854"/>
                    <a:gd name="connsiteY1866" fmla="*/ 467429 h 2163071"/>
                    <a:gd name="connsiteX1867" fmla="*/ 1802399 w 2328854"/>
                    <a:gd name="connsiteY1867" fmla="*/ 466384 h 2163071"/>
                    <a:gd name="connsiteX1868" fmla="*/ 1802881 w 2328854"/>
                    <a:gd name="connsiteY1868" fmla="*/ 465501 h 2163071"/>
                    <a:gd name="connsiteX1869" fmla="*/ 1799829 w 2328854"/>
                    <a:gd name="connsiteY1869" fmla="*/ 457066 h 2163071"/>
                    <a:gd name="connsiteX1870" fmla="*/ 1815011 w 2328854"/>
                    <a:gd name="connsiteY1870" fmla="*/ 447668 h 2163071"/>
                    <a:gd name="connsiteX1871" fmla="*/ 1815332 w 2328854"/>
                    <a:gd name="connsiteY1871" fmla="*/ 447668 h 2163071"/>
                    <a:gd name="connsiteX1872" fmla="*/ 1808424 w 2328854"/>
                    <a:gd name="connsiteY1872" fmla="*/ 447347 h 2163071"/>
                    <a:gd name="connsiteX1873" fmla="*/ 1807701 w 2328854"/>
                    <a:gd name="connsiteY1873" fmla="*/ 448070 h 2163071"/>
                    <a:gd name="connsiteX1874" fmla="*/ 1812199 w 2328854"/>
                    <a:gd name="connsiteY1874" fmla="*/ 451122 h 2163071"/>
                    <a:gd name="connsiteX1875" fmla="*/ 1811316 w 2328854"/>
                    <a:gd name="connsiteY1875" fmla="*/ 449114 h 2163071"/>
                    <a:gd name="connsiteX1876" fmla="*/ 1811396 w 2328854"/>
                    <a:gd name="connsiteY1876" fmla="*/ 449676 h 2163071"/>
                    <a:gd name="connsiteX1877" fmla="*/ 1815011 w 2328854"/>
                    <a:gd name="connsiteY1877" fmla="*/ 447668 h 2163071"/>
                    <a:gd name="connsiteX1878" fmla="*/ 1809548 w 2328854"/>
                    <a:gd name="connsiteY1878" fmla="*/ 444455 h 2163071"/>
                    <a:gd name="connsiteX1879" fmla="*/ 1808022 w 2328854"/>
                    <a:gd name="connsiteY1879" fmla="*/ 442607 h 2163071"/>
                    <a:gd name="connsiteX1880" fmla="*/ 1808022 w 2328854"/>
                    <a:gd name="connsiteY1880" fmla="*/ 442687 h 2163071"/>
                    <a:gd name="connsiteX1881" fmla="*/ 1809548 w 2328854"/>
                    <a:gd name="connsiteY1881" fmla="*/ 444455 h 2163071"/>
                    <a:gd name="connsiteX1882" fmla="*/ 1817661 w 2328854"/>
                    <a:gd name="connsiteY1882" fmla="*/ 444455 h 2163071"/>
                    <a:gd name="connsiteX1883" fmla="*/ 1817983 w 2328854"/>
                    <a:gd name="connsiteY1883" fmla="*/ 444374 h 2163071"/>
                    <a:gd name="connsiteX1884" fmla="*/ 1808263 w 2328854"/>
                    <a:gd name="connsiteY1884" fmla="*/ 440599 h 2163071"/>
                    <a:gd name="connsiteX1885" fmla="*/ 1808584 w 2328854"/>
                    <a:gd name="connsiteY1885" fmla="*/ 440679 h 2163071"/>
                    <a:gd name="connsiteX1886" fmla="*/ 1812038 w 2328854"/>
                    <a:gd name="connsiteY1886" fmla="*/ 442366 h 2163071"/>
                    <a:gd name="connsiteX1887" fmla="*/ 1809548 w 2328854"/>
                    <a:gd name="connsiteY1887" fmla="*/ 442607 h 2163071"/>
                    <a:gd name="connsiteX1888" fmla="*/ 1809548 w 2328854"/>
                    <a:gd name="connsiteY1888" fmla="*/ 444535 h 2163071"/>
                    <a:gd name="connsiteX1889" fmla="*/ 1817902 w 2328854"/>
                    <a:gd name="connsiteY1889" fmla="*/ 447507 h 2163071"/>
                    <a:gd name="connsiteX1890" fmla="*/ 1815252 w 2328854"/>
                    <a:gd name="connsiteY1890" fmla="*/ 445579 h 2163071"/>
                    <a:gd name="connsiteX1891" fmla="*/ 1817661 w 2328854"/>
                    <a:gd name="connsiteY1891" fmla="*/ 444455 h 2163071"/>
                    <a:gd name="connsiteX1892" fmla="*/ 1673633 w 2328854"/>
                    <a:gd name="connsiteY1892" fmla="*/ 520043 h 2163071"/>
                    <a:gd name="connsiteX1893" fmla="*/ 1671946 w 2328854"/>
                    <a:gd name="connsiteY1893" fmla="*/ 518999 h 2163071"/>
                    <a:gd name="connsiteX1894" fmla="*/ 1671946 w 2328854"/>
                    <a:gd name="connsiteY1894" fmla="*/ 519079 h 2163071"/>
                    <a:gd name="connsiteX1895" fmla="*/ 1673392 w 2328854"/>
                    <a:gd name="connsiteY1895" fmla="*/ 521329 h 2163071"/>
                    <a:gd name="connsiteX1896" fmla="*/ 1673633 w 2328854"/>
                    <a:gd name="connsiteY1896" fmla="*/ 520043 h 2163071"/>
                    <a:gd name="connsiteX1897" fmla="*/ 1840234 w 2328854"/>
                    <a:gd name="connsiteY1897" fmla="*/ 418669 h 2163071"/>
                    <a:gd name="connsiteX1898" fmla="*/ 1837020 w 2328854"/>
                    <a:gd name="connsiteY1898" fmla="*/ 417143 h 2163071"/>
                    <a:gd name="connsiteX1899" fmla="*/ 1837583 w 2328854"/>
                    <a:gd name="connsiteY1899" fmla="*/ 417706 h 2163071"/>
                    <a:gd name="connsiteX1900" fmla="*/ 1839430 w 2328854"/>
                    <a:gd name="connsiteY1900" fmla="*/ 418428 h 2163071"/>
                    <a:gd name="connsiteX1901" fmla="*/ 1840234 w 2328854"/>
                    <a:gd name="connsiteY1901" fmla="*/ 418669 h 2163071"/>
                    <a:gd name="connsiteX1902" fmla="*/ 1840234 w 2328854"/>
                    <a:gd name="connsiteY1902" fmla="*/ 418669 h 2163071"/>
                    <a:gd name="connsiteX1903" fmla="*/ 1792278 w 2328854"/>
                    <a:gd name="connsiteY1903" fmla="*/ 449033 h 2163071"/>
                    <a:gd name="connsiteX1904" fmla="*/ 1791394 w 2328854"/>
                    <a:gd name="connsiteY1904" fmla="*/ 447909 h 2163071"/>
                    <a:gd name="connsiteX1905" fmla="*/ 1791153 w 2328854"/>
                    <a:gd name="connsiteY1905" fmla="*/ 448230 h 2163071"/>
                    <a:gd name="connsiteX1906" fmla="*/ 1789707 w 2328854"/>
                    <a:gd name="connsiteY1906" fmla="*/ 447025 h 2163071"/>
                    <a:gd name="connsiteX1907" fmla="*/ 1789788 w 2328854"/>
                    <a:gd name="connsiteY1907" fmla="*/ 447427 h 2163071"/>
                    <a:gd name="connsiteX1908" fmla="*/ 1792197 w 2328854"/>
                    <a:gd name="connsiteY1908" fmla="*/ 450319 h 2163071"/>
                    <a:gd name="connsiteX1909" fmla="*/ 1789145 w 2328854"/>
                    <a:gd name="connsiteY1909" fmla="*/ 450720 h 2163071"/>
                    <a:gd name="connsiteX1910" fmla="*/ 1792599 w 2328854"/>
                    <a:gd name="connsiteY1910" fmla="*/ 451202 h 2163071"/>
                    <a:gd name="connsiteX1911" fmla="*/ 1787699 w 2328854"/>
                    <a:gd name="connsiteY1911" fmla="*/ 451443 h 2163071"/>
                    <a:gd name="connsiteX1912" fmla="*/ 1785852 w 2328854"/>
                    <a:gd name="connsiteY1912" fmla="*/ 452568 h 2163071"/>
                    <a:gd name="connsiteX1913" fmla="*/ 1785048 w 2328854"/>
                    <a:gd name="connsiteY1913" fmla="*/ 451122 h 2163071"/>
                    <a:gd name="connsiteX1914" fmla="*/ 1784807 w 2328854"/>
                    <a:gd name="connsiteY1914" fmla="*/ 453451 h 2163071"/>
                    <a:gd name="connsiteX1915" fmla="*/ 1791314 w 2328854"/>
                    <a:gd name="connsiteY1915" fmla="*/ 463412 h 2163071"/>
                    <a:gd name="connsiteX1916" fmla="*/ 1793643 w 2328854"/>
                    <a:gd name="connsiteY1916" fmla="*/ 464537 h 2163071"/>
                    <a:gd name="connsiteX1917" fmla="*/ 1793483 w 2328854"/>
                    <a:gd name="connsiteY1917" fmla="*/ 462127 h 2163071"/>
                    <a:gd name="connsiteX1918" fmla="*/ 1792519 w 2328854"/>
                    <a:gd name="connsiteY1918" fmla="*/ 462368 h 2163071"/>
                    <a:gd name="connsiteX1919" fmla="*/ 1789306 w 2328854"/>
                    <a:gd name="connsiteY1919" fmla="*/ 454174 h 2163071"/>
                    <a:gd name="connsiteX1920" fmla="*/ 1792438 w 2328854"/>
                    <a:gd name="connsiteY1920" fmla="*/ 453050 h 2163071"/>
                    <a:gd name="connsiteX1921" fmla="*/ 1792278 w 2328854"/>
                    <a:gd name="connsiteY1921" fmla="*/ 452889 h 2163071"/>
                    <a:gd name="connsiteX1922" fmla="*/ 1795812 w 2328854"/>
                    <a:gd name="connsiteY1922" fmla="*/ 452648 h 2163071"/>
                    <a:gd name="connsiteX1923" fmla="*/ 1792278 w 2328854"/>
                    <a:gd name="connsiteY1923" fmla="*/ 449033 h 2163071"/>
                    <a:gd name="connsiteX1924" fmla="*/ 1669778 w 2328854"/>
                    <a:gd name="connsiteY1924" fmla="*/ 512171 h 2163071"/>
                    <a:gd name="connsiteX1925" fmla="*/ 1668091 w 2328854"/>
                    <a:gd name="connsiteY1925" fmla="*/ 511529 h 2163071"/>
                    <a:gd name="connsiteX1926" fmla="*/ 1668171 w 2328854"/>
                    <a:gd name="connsiteY1926" fmla="*/ 511930 h 2163071"/>
                    <a:gd name="connsiteX1927" fmla="*/ 1674919 w 2328854"/>
                    <a:gd name="connsiteY1927" fmla="*/ 520686 h 2163071"/>
                    <a:gd name="connsiteX1928" fmla="*/ 1675401 w 2328854"/>
                    <a:gd name="connsiteY1928" fmla="*/ 520445 h 2163071"/>
                    <a:gd name="connsiteX1929" fmla="*/ 1671625 w 2328854"/>
                    <a:gd name="connsiteY1929" fmla="*/ 516268 h 2163071"/>
                    <a:gd name="connsiteX1930" fmla="*/ 1670019 w 2328854"/>
                    <a:gd name="connsiteY1930" fmla="*/ 512974 h 2163071"/>
                    <a:gd name="connsiteX1931" fmla="*/ 1669778 w 2328854"/>
                    <a:gd name="connsiteY1931" fmla="*/ 512171 h 2163071"/>
                    <a:gd name="connsiteX1932" fmla="*/ 1869473 w 2328854"/>
                    <a:gd name="connsiteY1932" fmla="*/ 383486 h 2163071"/>
                    <a:gd name="connsiteX1933" fmla="*/ 1868589 w 2328854"/>
                    <a:gd name="connsiteY1933" fmla="*/ 381558 h 2163071"/>
                    <a:gd name="connsiteX1934" fmla="*/ 1864653 w 2328854"/>
                    <a:gd name="connsiteY1934" fmla="*/ 379871 h 2163071"/>
                    <a:gd name="connsiteX1935" fmla="*/ 1869473 w 2328854"/>
                    <a:gd name="connsiteY1935" fmla="*/ 383486 h 2163071"/>
                    <a:gd name="connsiteX1936" fmla="*/ 254559 w 2328854"/>
                    <a:gd name="connsiteY1936" fmla="*/ 620855 h 2163071"/>
                    <a:gd name="connsiteX1937" fmla="*/ 256327 w 2328854"/>
                    <a:gd name="connsiteY1937" fmla="*/ 616437 h 2163071"/>
                    <a:gd name="connsiteX1938" fmla="*/ 256166 w 2328854"/>
                    <a:gd name="connsiteY1938" fmla="*/ 616598 h 2163071"/>
                    <a:gd name="connsiteX1939" fmla="*/ 251427 w 2328854"/>
                    <a:gd name="connsiteY1939" fmla="*/ 623425 h 2163071"/>
                    <a:gd name="connsiteX1940" fmla="*/ 254559 w 2328854"/>
                    <a:gd name="connsiteY1940" fmla="*/ 620855 h 2163071"/>
                    <a:gd name="connsiteX1941" fmla="*/ 222107 w 2328854"/>
                    <a:gd name="connsiteY1941" fmla="*/ 591375 h 2163071"/>
                    <a:gd name="connsiteX1942" fmla="*/ 222910 w 2328854"/>
                    <a:gd name="connsiteY1942" fmla="*/ 591294 h 2163071"/>
                    <a:gd name="connsiteX1943" fmla="*/ 220982 w 2328854"/>
                    <a:gd name="connsiteY1943" fmla="*/ 584868 h 2163071"/>
                    <a:gd name="connsiteX1944" fmla="*/ 219456 w 2328854"/>
                    <a:gd name="connsiteY1944" fmla="*/ 584788 h 2163071"/>
                    <a:gd name="connsiteX1945" fmla="*/ 204033 w 2328854"/>
                    <a:gd name="connsiteY1945" fmla="*/ 590170 h 2163071"/>
                    <a:gd name="connsiteX1946" fmla="*/ 205238 w 2328854"/>
                    <a:gd name="connsiteY1946" fmla="*/ 564063 h 2163071"/>
                    <a:gd name="connsiteX1947" fmla="*/ 200177 w 2328854"/>
                    <a:gd name="connsiteY1947" fmla="*/ 578442 h 2163071"/>
                    <a:gd name="connsiteX1948" fmla="*/ 190136 w 2328854"/>
                    <a:gd name="connsiteY1948" fmla="*/ 585430 h 2163071"/>
                    <a:gd name="connsiteX1949" fmla="*/ 187004 w 2328854"/>
                    <a:gd name="connsiteY1949" fmla="*/ 589607 h 2163071"/>
                    <a:gd name="connsiteX1950" fmla="*/ 185156 w 2328854"/>
                    <a:gd name="connsiteY1950" fmla="*/ 592740 h 2163071"/>
                    <a:gd name="connsiteX1951" fmla="*/ 184754 w 2328854"/>
                    <a:gd name="connsiteY1951" fmla="*/ 593142 h 2163071"/>
                    <a:gd name="connsiteX1952" fmla="*/ 182264 w 2328854"/>
                    <a:gd name="connsiteY1952" fmla="*/ 587278 h 2163071"/>
                    <a:gd name="connsiteX1953" fmla="*/ 182987 w 2328854"/>
                    <a:gd name="connsiteY1953" fmla="*/ 582940 h 2163071"/>
                    <a:gd name="connsiteX1954" fmla="*/ 184031 w 2328854"/>
                    <a:gd name="connsiteY1954" fmla="*/ 600532 h 2163071"/>
                    <a:gd name="connsiteX1955" fmla="*/ 197848 w 2328854"/>
                    <a:gd name="connsiteY1955" fmla="*/ 602058 h 2163071"/>
                    <a:gd name="connsiteX1956" fmla="*/ 208772 w 2328854"/>
                    <a:gd name="connsiteY1956" fmla="*/ 595552 h 2163071"/>
                    <a:gd name="connsiteX1957" fmla="*/ 208290 w 2328854"/>
                    <a:gd name="connsiteY1957" fmla="*/ 595070 h 2163071"/>
                    <a:gd name="connsiteX1958" fmla="*/ 217769 w 2328854"/>
                    <a:gd name="connsiteY1958" fmla="*/ 589286 h 2163071"/>
                    <a:gd name="connsiteX1959" fmla="*/ 222107 w 2328854"/>
                    <a:gd name="connsiteY1959" fmla="*/ 591375 h 2163071"/>
                    <a:gd name="connsiteX1960" fmla="*/ 1817340 w 2328854"/>
                    <a:gd name="connsiteY1960" fmla="*/ 414653 h 2163071"/>
                    <a:gd name="connsiteX1961" fmla="*/ 1813886 w 2328854"/>
                    <a:gd name="connsiteY1961" fmla="*/ 413448 h 2163071"/>
                    <a:gd name="connsiteX1962" fmla="*/ 1813966 w 2328854"/>
                    <a:gd name="connsiteY1962" fmla="*/ 414332 h 2163071"/>
                    <a:gd name="connsiteX1963" fmla="*/ 1817902 w 2328854"/>
                    <a:gd name="connsiteY1963" fmla="*/ 415296 h 2163071"/>
                    <a:gd name="connsiteX1964" fmla="*/ 1817340 w 2328854"/>
                    <a:gd name="connsiteY1964" fmla="*/ 414653 h 2163071"/>
                    <a:gd name="connsiteX1965" fmla="*/ 223713 w 2328854"/>
                    <a:gd name="connsiteY1965" fmla="*/ 593704 h 2163071"/>
                    <a:gd name="connsiteX1966" fmla="*/ 223794 w 2328854"/>
                    <a:gd name="connsiteY1966" fmla="*/ 594025 h 2163071"/>
                    <a:gd name="connsiteX1967" fmla="*/ 223472 w 2328854"/>
                    <a:gd name="connsiteY1967" fmla="*/ 585912 h 2163071"/>
                    <a:gd name="connsiteX1968" fmla="*/ 220902 w 2328854"/>
                    <a:gd name="connsiteY1968" fmla="*/ 584788 h 2163071"/>
                    <a:gd name="connsiteX1969" fmla="*/ 223713 w 2328854"/>
                    <a:gd name="connsiteY1969" fmla="*/ 593704 h 2163071"/>
                    <a:gd name="connsiteX1970" fmla="*/ 1882727 w 2328854"/>
                    <a:gd name="connsiteY1970" fmla="*/ 401399 h 2163071"/>
                    <a:gd name="connsiteX1971" fmla="*/ 1882084 w 2328854"/>
                    <a:gd name="connsiteY1971" fmla="*/ 398989 h 2163071"/>
                    <a:gd name="connsiteX1972" fmla="*/ 1855737 w 2328854"/>
                    <a:gd name="connsiteY1972" fmla="*/ 384851 h 2163071"/>
                    <a:gd name="connsiteX1973" fmla="*/ 1854130 w 2328854"/>
                    <a:gd name="connsiteY1973" fmla="*/ 383807 h 2163071"/>
                    <a:gd name="connsiteX1974" fmla="*/ 1853166 w 2328854"/>
                    <a:gd name="connsiteY1974" fmla="*/ 383887 h 2163071"/>
                    <a:gd name="connsiteX1975" fmla="*/ 1843527 w 2328854"/>
                    <a:gd name="connsiteY1975" fmla="*/ 384209 h 2163071"/>
                    <a:gd name="connsiteX1976" fmla="*/ 1844330 w 2328854"/>
                    <a:gd name="connsiteY1976" fmla="*/ 384932 h 2163071"/>
                    <a:gd name="connsiteX1977" fmla="*/ 1852283 w 2328854"/>
                    <a:gd name="connsiteY1977" fmla="*/ 387663 h 2163071"/>
                    <a:gd name="connsiteX1978" fmla="*/ 1859030 w 2328854"/>
                    <a:gd name="connsiteY1978" fmla="*/ 392482 h 2163071"/>
                    <a:gd name="connsiteX1979" fmla="*/ 1860075 w 2328854"/>
                    <a:gd name="connsiteY1979" fmla="*/ 392643 h 2163071"/>
                    <a:gd name="connsiteX1980" fmla="*/ 1854452 w 2328854"/>
                    <a:gd name="connsiteY1980" fmla="*/ 393687 h 2163071"/>
                    <a:gd name="connsiteX1981" fmla="*/ 1854371 w 2328854"/>
                    <a:gd name="connsiteY1981" fmla="*/ 393286 h 2163071"/>
                    <a:gd name="connsiteX1982" fmla="*/ 1855014 w 2328854"/>
                    <a:gd name="connsiteY1982" fmla="*/ 392723 h 2163071"/>
                    <a:gd name="connsiteX1983" fmla="*/ 1853568 w 2328854"/>
                    <a:gd name="connsiteY1983" fmla="*/ 396660 h 2163071"/>
                    <a:gd name="connsiteX1984" fmla="*/ 1863609 w 2328854"/>
                    <a:gd name="connsiteY1984" fmla="*/ 402363 h 2163071"/>
                    <a:gd name="connsiteX1985" fmla="*/ 1879112 w 2328854"/>
                    <a:gd name="connsiteY1985" fmla="*/ 408227 h 2163071"/>
                    <a:gd name="connsiteX1986" fmla="*/ 1883852 w 2328854"/>
                    <a:gd name="connsiteY1986" fmla="*/ 408066 h 2163071"/>
                    <a:gd name="connsiteX1987" fmla="*/ 1882727 w 2328854"/>
                    <a:gd name="connsiteY1987" fmla="*/ 401399 h 2163071"/>
                    <a:gd name="connsiteX1988" fmla="*/ 284923 w 2328854"/>
                    <a:gd name="connsiteY1988" fmla="*/ 640937 h 2163071"/>
                    <a:gd name="connsiteX1989" fmla="*/ 285164 w 2328854"/>
                    <a:gd name="connsiteY1989" fmla="*/ 640857 h 2163071"/>
                    <a:gd name="connsiteX1990" fmla="*/ 289743 w 2328854"/>
                    <a:gd name="connsiteY1990" fmla="*/ 629852 h 2163071"/>
                    <a:gd name="connsiteX1991" fmla="*/ 289341 w 2328854"/>
                    <a:gd name="connsiteY1991" fmla="*/ 630173 h 2163071"/>
                    <a:gd name="connsiteX1992" fmla="*/ 284040 w 2328854"/>
                    <a:gd name="connsiteY1992" fmla="*/ 631137 h 2163071"/>
                    <a:gd name="connsiteX1993" fmla="*/ 283718 w 2328854"/>
                    <a:gd name="connsiteY1993" fmla="*/ 631539 h 2163071"/>
                    <a:gd name="connsiteX1994" fmla="*/ 282353 w 2328854"/>
                    <a:gd name="connsiteY1994" fmla="*/ 630334 h 2163071"/>
                    <a:gd name="connsiteX1995" fmla="*/ 280264 w 2328854"/>
                    <a:gd name="connsiteY1995" fmla="*/ 635153 h 2163071"/>
                    <a:gd name="connsiteX1996" fmla="*/ 282112 w 2328854"/>
                    <a:gd name="connsiteY1996" fmla="*/ 634109 h 2163071"/>
                    <a:gd name="connsiteX1997" fmla="*/ 281871 w 2328854"/>
                    <a:gd name="connsiteY1997" fmla="*/ 637885 h 2163071"/>
                    <a:gd name="connsiteX1998" fmla="*/ 281068 w 2328854"/>
                    <a:gd name="connsiteY1998" fmla="*/ 638045 h 2163071"/>
                    <a:gd name="connsiteX1999" fmla="*/ 284923 w 2328854"/>
                    <a:gd name="connsiteY1999" fmla="*/ 640937 h 2163071"/>
                    <a:gd name="connsiteX2000" fmla="*/ 1817099 w 2328854"/>
                    <a:gd name="connsiteY2000" fmla="*/ 410958 h 2163071"/>
                    <a:gd name="connsiteX2001" fmla="*/ 1810914 w 2328854"/>
                    <a:gd name="connsiteY2001" fmla="*/ 408227 h 2163071"/>
                    <a:gd name="connsiteX2002" fmla="*/ 1811235 w 2328854"/>
                    <a:gd name="connsiteY2002" fmla="*/ 408387 h 2163071"/>
                    <a:gd name="connsiteX2003" fmla="*/ 1814609 w 2328854"/>
                    <a:gd name="connsiteY2003" fmla="*/ 411360 h 2163071"/>
                    <a:gd name="connsiteX2004" fmla="*/ 1813324 w 2328854"/>
                    <a:gd name="connsiteY2004" fmla="*/ 411279 h 2163071"/>
                    <a:gd name="connsiteX2005" fmla="*/ 1814529 w 2328854"/>
                    <a:gd name="connsiteY2005" fmla="*/ 412163 h 2163071"/>
                    <a:gd name="connsiteX2006" fmla="*/ 1818545 w 2328854"/>
                    <a:gd name="connsiteY2006" fmla="*/ 413528 h 2163071"/>
                    <a:gd name="connsiteX2007" fmla="*/ 1817099 w 2328854"/>
                    <a:gd name="connsiteY2007" fmla="*/ 410958 h 2163071"/>
                    <a:gd name="connsiteX2008" fmla="*/ 1820955 w 2328854"/>
                    <a:gd name="connsiteY2008" fmla="*/ 403166 h 2163071"/>
                    <a:gd name="connsiteX2009" fmla="*/ 1818786 w 2328854"/>
                    <a:gd name="connsiteY2009" fmla="*/ 401801 h 2163071"/>
                    <a:gd name="connsiteX2010" fmla="*/ 1818866 w 2328854"/>
                    <a:gd name="connsiteY2010" fmla="*/ 401961 h 2163071"/>
                    <a:gd name="connsiteX2011" fmla="*/ 1821838 w 2328854"/>
                    <a:gd name="connsiteY2011" fmla="*/ 407504 h 2163071"/>
                    <a:gd name="connsiteX2012" fmla="*/ 1823445 w 2328854"/>
                    <a:gd name="connsiteY2012" fmla="*/ 406942 h 2163071"/>
                    <a:gd name="connsiteX2013" fmla="*/ 1823124 w 2328854"/>
                    <a:gd name="connsiteY2013" fmla="*/ 406701 h 2163071"/>
                    <a:gd name="connsiteX2014" fmla="*/ 1820955 w 2328854"/>
                    <a:gd name="connsiteY2014" fmla="*/ 403166 h 2163071"/>
                    <a:gd name="connsiteX2015" fmla="*/ 281469 w 2328854"/>
                    <a:gd name="connsiteY2015" fmla="*/ 620212 h 2163071"/>
                    <a:gd name="connsiteX2016" fmla="*/ 281710 w 2328854"/>
                    <a:gd name="connsiteY2016" fmla="*/ 619811 h 2163071"/>
                    <a:gd name="connsiteX2017" fmla="*/ 281550 w 2328854"/>
                    <a:gd name="connsiteY2017" fmla="*/ 619891 h 2163071"/>
                    <a:gd name="connsiteX2018" fmla="*/ 276730 w 2328854"/>
                    <a:gd name="connsiteY2018" fmla="*/ 623586 h 2163071"/>
                    <a:gd name="connsiteX2019" fmla="*/ 276409 w 2328854"/>
                    <a:gd name="connsiteY2019" fmla="*/ 626719 h 2163071"/>
                    <a:gd name="connsiteX2020" fmla="*/ 281469 w 2328854"/>
                    <a:gd name="connsiteY2020" fmla="*/ 620212 h 2163071"/>
                    <a:gd name="connsiteX2021" fmla="*/ 1798061 w 2328854"/>
                    <a:gd name="connsiteY2021" fmla="*/ 424614 h 2163071"/>
                    <a:gd name="connsiteX2022" fmla="*/ 1797981 w 2328854"/>
                    <a:gd name="connsiteY2022" fmla="*/ 424453 h 2163071"/>
                    <a:gd name="connsiteX2023" fmla="*/ 1795170 w 2328854"/>
                    <a:gd name="connsiteY2023" fmla="*/ 424292 h 2163071"/>
                    <a:gd name="connsiteX2024" fmla="*/ 1795571 w 2328854"/>
                    <a:gd name="connsiteY2024" fmla="*/ 424051 h 2163071"/>
                    <a:gd name="connsiteX2025" fmla="*/ 1794366 w 2328854"/>
                    <a:gd name="connsiteY2025" fmla="*/ 421883 h 2163071"/>
                    <a:gd name="connsiteX2026" fmla="*/ 1795411 w 2328854"/>
                    <a:gd name="connsiteY2026" fmla="*/ 426541 h 2163071"/>
                    <a:gd name="connsiteX2027" fmla="*/ 1793081 w 2328854"/>
                    <a:gd name="connsiteY2027" fmla="*/ 426300 h 2163071"/>
                    <a:gd name="connsiteX2028" fmla="*/ 1799748 w 2328854"/>
                    <a:gd name="connsiteY2028" fmla="*/ 430076 h 2163071"/>
                    <a:gd name="connsiteX2029" fmla="*/ 1792278 w 2328854"/>
                    <a:gd name="connsiteY2029" fmla="*/ 428229 h 2163071"/>
                    <a:gd name="connsiteX2030" fmla="*/ 1796856 w 2328854"/>
                    <a:gd name="connsiteY2030" fmla="*/ 431442 h 2163071"/>
                    <a:gd name="connsiteX2031" fmla="*/ 1798945 w 2328854"/>
                    <a:gd name="connsiteY2031" fmla="*/ 437145 h 2163071"/>
                    <a:gd name="connsiteX2032" fmla="*/ 1793724 w 2328854"/>
                    <a:gd name="connsiteY2032" fmla="*/ 433771 h 2163071"/>
                    <a:gd name="connsiteX2033" fmla="*/ 1792117 w 2328854"/>
                    <a:gd name="connsiteY2033" fmla="*/ 432727 h 2163071"/>
                    <a:gd name="connsiteX2034" fmla="*/ 1793001 w 2328854"/>
                    <a:gd name="connsiteY2034" fmla="*/ 429996 h 2163071"/>
                    <a:gd name="connsiteX2035" fmla="*/ 1794607 w 2328854"/>
                    <a:gd name="connsiteY2035" fmla="*/ 430317 h 2163071"/>
                    <a:gd name="connsiteX2036" fmla="*/ 1787297 w 2328854"/>
                    <a:gd name="connsiteY2036" fmla="*/ 427747 h 2163071"/>
                    <a:gd name="connsiteX2037" fmla="*/ 1787940 w 2328854"/>
                    <a:gd name="connsiteY2037" fmla="*/ 427586 h 2163071"/>
                    <a:gd name="connsiteX2038" fmla="*/ 1783522 w 2328854"/>
                    <a:gd name="connsiteY2038" fmla="*/ 426300 h 2163071"/>
                    <a:gd name="connsiteX2039" fmla="*/ 1783924 w 2328854"/>
                    <a:gd name="connsiteY2039" fmla="*/ 427184 h 2163071"/>
                    <a:gd name="connsiteX2040" fmla="*/ 1780389 w 2328854"/>
                    <a:gd name="connsiteY2040" fmla="*/ 425899 h 2163071"/>
                    <a:gd name="connsiteX2041" fmla="*/ 1781273 w 2328854"/>
                    <a:gd name="connsiteY2041" fmla="*/ 427586 h 2163071"/>
                    <a:gd name="connsiteX2042" fmla="*/ 1791234 w 2328854"/>
                    <a:gd name="connsiteY2042" fmla="*/ 432968 h 2163071"/>
                    <a:gd name="connsiteX2043" fmla="*/ 1794527 w 2328854"/>
                    <a:gd name="connsiteY2043" fmla="*/ 437707 h 2163071"/>
                    <a:gd name="connsiteX2044" fmla="*/ 1798061 w 2328854"/>
                    <a:gd name="connsiteY2044" fmla="*/ 444937 h 2163071"/>
                    <a:gd name="connsiteX2045" fmla="*/ 1801275 w 2328854"/>
                    <a:gd name="connsiteY2045" fmla="*/ 450238 h 2163071"/>
                    <a:gd name="connsiteX2046" fmla="*/ 1802721 w 2328854"/>
                    <a:gd name="connsiteY2046" fmla="*/ 451604 h 2163071"/>
                    <a:gd name="connsiteX2047" fmla="*/ 1801917 w 2328854"/>
                    <a:gd name="connsiteY2047" fmla="*/ 452166 h 2163071"/>
                    <a:gd name="connsiteX2048" fmla="*/ 1812601 w 2328854"/>
                    <a:gd name="connsiteY2048" fmla="*/ 460119 h 2163071"/>
                    <a:gd name="connsiteX2049" fmla="*/ 1812360 w 2328854"/>
                    <a:gd name="connsiteY2049" fmla="*/ 459396 h 2163071"/>
                    <a:gd name="connsiteX2050" fmla="*/ 1814850 w 2328854"/>
                    <a:gd name="connsiteY2050" fmla="*/ 463412 h 2163071"/>
                    <a:gd name="connsiteX2051" fmla="*/ 1815653 w 2328854"/>
                    <a:gd name="connsiteY2051" fmla="*/ 462528 h 2163071"/>
                    <a:gd name="connsiteX2052" fmla="*/ 1817581 w 2328854"/>
                    <a:gd name="connsiteY2052" fmla="*/ 463010 h 2163071"/>
                    <a:gd name="connsiteX2053" fmla="*/ 1813886 w 2328854"/>
                    <a:gd name="connsiteY2053" fmla="*/ 458833 h 2163071"/>
                    <a:gd name="connsiteX2054" fmla="*/ 1817340 w 2328854"/>
                    <a:gd name="connsiteY2054" fmla="*/ 459074 h 2163071"/>
                    <a:gd name="connsiteX2055" fmla="*/ 1821838 w 2328854"/>
                    <a:gd name="connsiteY2055" fmla="*/ 461645 h 2163071"/>
                    <a:gd name="connsiteX2056" fmla="*/ 1817019 w 2328854"/>
                    <a:gd name="connsiteY2056" fmla="*/ 453451 h 2163071"/>
                    <a:gd name="connsiteX2057" fmla="*/ 1811557 w 2328854"/>
                    <a:gd name="connsiteY2057" fmla="*/ 456102 h 2163071"/>
                    <a:gd name="connsiteX2058" fmla="*/ 1808745 w 2328854"/>
                    <a:gd name="connsiteY2058" fmla="*/ 454335 h 2163071"/>
                    <a:gd name="connsiteX2059" fmla="*/ 1808906 w 2328854"/>
                    <a:gd name="connsiteY2059" fmla="*/ 452809 h 2163071"/>
                    <a:gd name="connsiteX2060" fmla="*/ 1805532 w 2328854"/>
                    <a:gd name="connsiteY2060" fmla="*/ 449194 h 2163071"/>
                    <a:gd name="connsiteX2061" fmla="*/ 1805452 w 2328854"/>
                    <a:gd name="connsiteY2061" fmla="*/ 450319 h 2163071"/>
                    <a:gd name="connsiteX2062" fmla="*/ 1804166 w 2328854"/>
                    <a:gd name="connsiteY2062" fmla="*/ 448391 h 2163071"/>
                    <a:gd name="connsiteX2063" fmla="*/ 1800070 w 2328854"/>
                    <a:gd name="connsiteY2063" fmla="*/ 441724 h 2163071"/>
                    <a:gd name="connsiteX2064" fmla="*/ 1801756 w 2328854"/>
                    <a:gd name="connsiteY2064" fmla="*/ 442366 h 2163071"/>
                    <a:gd name="connsiteX2065" fmla="*/ 1798142 w 2328854"/>
                    <a:gd name="connsiteY2065" fmla="*/ 438350 h 2163071"/>
                    <a:gd name="connsiteX2066" fmla="*/ 1800793 w 2328854"/>
                    <a:gd name="connsiteY2066" fmla="*/ 439153 h 2163071"/>
                    <a:gd name="connsiteX2067" fmla="*/ 1799748 w 2328854"/>
                    <a:gd name="connsiteY2067" fmla="*/ 437868 h 2163071"/>
                    <a:gd name="connsiteX2068" fmla="*/ 1800632 w 2328854"/>
                    <a:gd name="connsiteY2068" fmla="*/ 437386 h 2163071"/>
                    <a:gd name="connsiteX2069" fmla="*/ 1797740 w 2328854"/>
                    <a:gd name="connsiteY2069" fmla="*/ 433771 h 2163071"/>
                    <a:gd name="connsiteX2070" fmla="*/ 1801034 w 2328854"/>
                    <a:gd name="connsiteY2070" fmla="*/ 434735 h 2163071"/>
                    <a:gd name="connsiteX2071" fmla="*/ 1802238 w 2328854"/>
                    <a:gd name="connsiteY2071" fmla="*/ 436984 h 2163071"/>
                    <a:gd name="connsiteX2072" fmla="*/ 1799427 w 2328854"/>
                    <a:gd name="connsiteY2072" fmla="*/ 430879 h 2163071"/>
                    <a:gd name="connsiteX2073" fmla="*/ 1803363 w 2328854"/>
                    <a:gd name="connsiteY2073" fmla="*/ 432004 h 2163071"/>
                    <a:gd name="connsiteX2074" fmla="*/ 1801435 w 2328854"/>
                    <a:gd name="connsiteY2074" fmla="*/ 429192 h 2163071"/>
                    <a:gd name="connsiteX2075" fmla="*/ 1797258 w 2328854"/>
                    <a:gd name="connsiteY2075" fmla="*/ 426541 h 2163071"/>
                    <a:gd name="connsiteX2076" fmla="*/ 1797579 w 2328854"/>
                    <a:gd name="connsiteY2076" fmla="*/ 425256 h 2163071"/>
                    <a:gd name="connsiteX2077" fmla="*/ 1798061 w 2328854"/>
                    <a:gd name="connsiteY2077" fmla="*/ 424614 h 2163071"/>
                    <a:gd name="connsiteX2078" fmla="*/ 1786655 w 2328854"/>
                    <a:gd name="connsiteY2078" fmla="*/ 419151 h 2163071"/>
                    <a:gd name="connsiteX2079" fmla="*/ 1786655 w 2328854"/>
                    <a:gd name="connsiteY2079" fmla="*/ 418428 h 2163071"/>
                    <a:gd name="connsiteX2080" fmla="*/ 1786575 w 2328854"/>
                    <a:gd name="connsiteY2080" fmla="*/ 418750 h 2163071"/>
                    <a:gd name="connsiteX2081" fmla="*/ 1786494 w 2328854"/>
                    <a:gd name="connsiteY2081" fmla="*/ 420115 h 2163071"/>
                    <a:gd name="connsiteX2082" fmla="*/ 1786334 w 2328854"/>
                    <a:gd name="connsiteY2082" fmla="*/ 420919 h 2163071"/>
                    <a:gd name="connsiteX2083" fmla="*/ 1784084 w 2328854"/>
                    <a:gd name="connsiteY2083" fmla="*/ 421883 h 2163071"/>
                    <a:gd name="connsiteX2084" fmla="*/ 1792599 w 2328854"/>
                    <a:gd name="connsiteY2084" fmla="*/ 425096 h 2163071"/>
                    <a:gd name="connsiteX2085" fmla="*/ 1786655 w 2328854"/>
                    <a:gd name="connsiteY2085" fmla="*/ 419151 h 2163071"/>
                    <a:gd name="connsiteX2086" fmla="*/ 1686084 w 2328854"/>
                    <a:gd name="connsiteY2086" fmla="*/ 484619 h 2163071"/>
                    <a:gd name="connsiteX2087" fmla="*/ 1681746 w 2328854"/>
                    <a:gd name="connsiteY2087" fmla="*/ 483012 h 2163071"/>
                    <a:gd name="connsiteX2088" fmla="*/ 1676445 w 2328854"/>
                    <a:gd name="connsiteY2088" fmla="*/ 484137 h 2163071"/>
                    <a:gd name="connsiteX2089" fmla="*/ 1676927 w 2328854"/>
                    <a:gd name="connsiteY2089" fmla="*/ 484297 h 2163071"/>
                    <a:gd name="connsiteX2090" fmla="*/ 1678132 w 2328854"/>
                    <a:gd name="connsiteY2090" fmla="*/ 485181 h 2163071"/>
                    <a:gd name="connsiteX2091" fmla="*/ 1676846 w 2328854"/>
                    <a:gd name="connsiteY2091" fmla="*/ 485422 h 2163071"/>
                    <a:gd name="connsiteX2092" fmla="*/ 1678774 w 2328854"/>
                    <a:gd name="connsiteY2092" fmla="*/ 486305 h 2163071"/>
                    <a:gd name="connsiteX2093" fmla="*/ 1687450 w 2328854"/>
                    <a:gd name="connsiteY2093" fmla="*/ 487511 h 2163071"/>
                    <a:gd name="connsiteX2094" fmla="*/ 1686084 w 2328854"/>
                    <a:gd name="connsiteY2094" fmla="*/ 484619 h 2163071"/>
                    <a:gd name="connsiteX2095" fmla="*/ 1826498 w 2328854"/>
                    <a:gd name="connsiteY2095" fmla="*/ 419473 h 2163071"/>
                    <a:gd name="connsiteX2096" fmla="*/ 1817822 w 2328854"/>
                    <a:gd name="connsiteY2096" fmla="*/ 416661 h 2163071"/>
                    <a:gd name="connsiteX2097" fmla="*/ 1825534 w 2328854"/>
                    <a:gd name="connsiteY2097" fmla="*/ 423810 h 2163071"/>
                    <a:gd name="connsiteX2098" fmla="*/ 1821678 w 2328854"/>
                    <a:gd name="connsiteY2098" fmla="*/ 426541 h 2163071"/>
                    <a:gd name="connsiteX2099" fmla="*/ 1817099 w 2328854"/>
                    <a:gd name="connsiteY2099" fmla="*/ 423730 h 2163071"/>
                    <a:gd name="connsiteX2100" fmla="*/ 1816697 w 2328854"/>
                    <a:gd name="connsiteY2100" fmla="*/ 427988 h 2163071"/>
                    <a:gd name="connsiteX2101" fmla="*/ 1808343 w 2328854"/>
                    <a:gd name="connsiteY2101" fmla="*/ 423810 h 2163071"/>
                    <a:gd name="connsiteX2102" fmla="*/ 1814448 w 2328854"/>
                    <a:gd name="connsiteY2102" fmla="*/ 422445 h 2163071"/>
                    <a:gd name="connsiteX2103" fmla="*/ 1813886 w 2328854"/>
                    <a:gd name="connsiteY2103" fmla="*/ 422766 h 2163071"/>
                    <a:gd name="connsiteX2104" fmla="*/ 1818545 w 2328854"/>
                    <a:gd name="connsiteY2104" fmla="*/ 422525 h 2163071"/>
                    <a:gd name="connsiteX2105" fmla="*/ 1803283 w 2328854"/>
                    <a:gd name="connsiteY2105" fmla="*/ 414573 h 2163071"/>
                    <a:gd name="connsiteX2106" fmla="*/ 1798142 w 2328854"/>
                    <a:gd name="connsiteY2106" fmla="*/ 416661 h 2163071"/>
                    <a:gd name="connsiteX2107" fmla="*/ 1800953 w 2328854"/>
                    <a:gd name="connsiteY2107" fmla="*/ 419232 h 2163071"/>
                    <a:gd name="connsiteX2108" fmla="*/ 1798543 w 2328854"/>
                    <a:gd name="connsiteY2108" fmla="*/ 418991 h 2163071"/>
                    <a:gd name="connsiteX2109" fmla="*/ 1789306 w 2328854"/>
                    <a:gd name="connsiteY2109" fmla="*/ 414894 h 2163071"/>
                    <a:gd name="connsiteX2110" fmla="*/ 1789466 w 2328854"/>
                    <a:gd name="connsiteY2110" fmla="*/ 414974 h 2163071"/>
                    <a:gd name="connsiteX2111" fmla="*/ 1795009 w 2328854"/>
                    <a:gd name="connsiteY2111" fmla="*/ 420035 h 2163071"/>
                    <a:gd name="connsiteX2112" fmla="*/ 1803283 w 2328854"/>
                    <a:gd name="connsiteY2112" fmla="*/ 423168 h 2163071"/>
                    <a:gd name="connsiteX2113" fmla="*/ 1805211 w 2328854"/>
                    <a:gd name="connsiteY2113" fmla="*/ 428309 h 2163071"/>
                    <a:gd name="connsiteX2114" fmla="*/ 1821437 w 2328854"/>
                    <a:gd name="connsiteY2114" fmla="*/ 431201 h 2163071"/>
                    <a:gd name="connsiteX2115" fmla="*/ 1828024 w 2328854"/>
                    <a:gd name="connsiteY2115" fmla="*/ 441563 h 2163071"/>
                    <a:gd name="connsiteX2116" fmla="*/ 1819991 w 2328854"/>
                    <a:gd name="connsiteY2116" fmla="*/ 439153 h 2163071"/>
                    <a:gd name="connsiteX2117" fmla="*/ 1822079 w 2328854"/>
                    <a:gd name="connsiteY2117" fmla="*/ 442848 h 2163071"/>
                    <a:gd name="connsiteX2118" fmla="*/ 1822963 w 2328854"/>
                    <a:gd name="connsiteY2118" fmla="*/ 444455 h 2163071"/>
                    <a:gd name="connsiteX2119" fmla="*/ 1822722 w 2328854"/>
                    <a:gd name="connsiteY2119" fmla="*/ 444615 h 2163071"/>
                    <a:gd name="connsiteX2120" fmla="*/ 1819589 w 2328854"/>
                    <a:gd name="connsiteY2120" fmla="*/ 442446 h 2163071"/>
                    <a:gd name="connsiteX2121" fmla="*/ 1825373 w 2328854"/>
                    <a:gd name="connsiteY2121" fmla="*/ 448873 h 2163071"/>
                    <a:gd name="connsiteX2122" fmla="*/ 1827461 w 2328854"/>
                    <a:gd name="connsiteY2122" fmla="*/ 449194 h 2163071"/>
                    <a:gd name="connsiteX2123" fmla="*/ 1834691 w 2328854"/>
                    <a:gd name="connsiteY2123" fmla="*/ 440599 h 2163071"/>
                    <a:gd name="connsiteX2124" fmla="*/ 1832763 w 2328854"/>
                    <a:gd name="connsiteY2124" fmla="*/ 442205 h 2163071"/>
                    <a:gd name="connsiteX2125" fmla="*/ 1832844 w 2328854"/>
                    <a:gd name="connsiteY2125" fmla="*/ 438510 h 2163071"/>
                    <a:gd name="connsiteX2126" fmla="*/ 1831719 w 2328854"/>
                    <a:gd name="connsiteY2126" fmla="*/ 436261 h 2163071"/>
                    <a:gd name="connsiteX2127" fmla="*/ 1830032 w 2328854"/>
                    <a:gd name="connsiteY2127" fmla="*/ 436824 h 2163071"/>
                    <a:gd name="connsiteX2128" fmla="*/ 1834129 w 2328854"/>
                    <a:gd name="connsiteY2128" fmla="*/ 434815 h 2163071"/>
                    <a:gd name="connsiteX2129" fmla="*/ 1833325 w 2328854"/>
                    <a:gd name="connsiteY2129" fmla="*/ 426220 h 2163071"/>
                    <a:gd name="connsiteX2130" fmla="*/ 1830755 w 2328854"/>
                    <a:gd name="connsiteY2130" fmla="*/ 425096 h 2163071"/>
                    <a:gd name="connsiteX2131" fmla="*/ 1830594 w 2328854"/>
                    <a:gd name="connsiteY2131" fmla="*/ 425337 h 2163071"/>
                    <a:gd name="connsiteX2132" fmla="*/ 1826498 w 2328854"/>
                    <a:gd name="connsiteY2132" fmla="*/ 419473 h 2163071"/>
                    <a:gd name="connsiteX2133" fmla="*/ 1832763 w 2328854"/>
                    <a:gd name="connsiteY2133" fmla="*/ 380835 h 2163071"/>
                    <a:gd name="connsiteX2134" fmla="*/ 1826819 w 2328854"/>
                    <a:gd name="connsiteY2134" fmla="*/ 382602 h 2163071"/>
                    <a:gd name="connsiteX2135" fmla="*/ 1827140 w 2328854"/>
                    <a:gd name="connsiteY2135" fmla="*/ 382843 h 2163071"/>
                    <a:gd name="connsiteX2136" fmla="*/ 1829711 w 2328854"/>
                    <a:gd name="connsiteY2136" fmla="*/ 384610 h 2163071"/>
                    <a:gd name="connsiteX2137" fmla="*/ 1832763 w 2328854"/>
                    <a:gd name="connsiteY2137" fmla="*/ 380835 h 2163071"/>
                    <a:gd name="connsiteX2138" fmla="*/ 272472 w 2328854"/>
                    <a:gd name="connsiteY2138" fmla="*/ 613786 h 2163071"/>
                    <a:gd name="connsiteX2139" fmla="*/ 276810 w 2328854"/>
                    <a:gd name="connsiteY2139" fmla="*/ 606878 h 2163071"/>
                    <a:gd name="connsiteX2140" fmla="*/ 276409 w 2328854"/>
                    <a:gd name="connsiteY2140" fmla="*/ 607199 h 2163071"/>
                    <a:gd name="connsiteX2141" fmla="*/ 274159 w 2328854"/>
                    <a:gd name="connsiteY2141" fmla="*/ 606396 h 2163071"/>
                    <a:gd name="connsiteX2142" fmla="*/ 264681 w 2328854"/>
                    <a:gd name="connsiteY2142" fmla="*/ 610091 h 2163071"/>
                    <a:gd name="connsiteX2143" fmla="*/ 261468 w 2328854"/>
                    <a:gd name="connsiteY2143" fmla="*/ 622783 h 2163071"/>
                    <a:gd name="connsiteX2144" fmla="*/ 265805 w 2328854"/>
                    <a:gd name="connsiteY2144" fmla="*/ 617803 h 2163071"/>
                    <a:gd name="connsiteX2145" fmla="*/ 272472 w 2328854"/>
                    <a:gd name="connsiteY2145" fmla="*/ 613786 h 2163071"/>
                    <a:gd name="connsiteX2146" fmla="*/ 1819027 w 2328854"/>
                    <a:gd name="connsiteY2146" fmla="*/ 407986 h 2163071"/>
                    <a:gd name="connsiteX2147" fmla="*/ 1810030 w 2328854"/>
                    <a:gd name="connsiteY2147" fmla="*/ 401961 h 2163071"/>
                    <a:gd name="connsiteX2148" fmla="*/ 1809629 w 2328854"/>
                    <a:gd name="connsiteY2148" fmla="*/ 402122 h 2163071"/>
                    <a:gd name="connsiteX2149" fmla="*/ 1798463 w 2328854"/>
                    <a:gd name="connsiteY2149" fmla="*/ 401640 h 2163071"/>
                    <a:gd name="connsiteX2150" fmla="*/ 1799186 w 2328854"/>
                    <a:gd name="connsiteY2150" fmla="*/ 401881 h 2163071"/>
                    <a:gd name="connsiteX2151" fmla="*/ 1819991 w 2328854"/>
                    <a:gd name="connsiteY2151" fmla="*/ 410235 h 2163071"/>
                    <a:gd name="connsiteX2152" fmla="*/ 1821116 w 2328854"/>
                    <a:gd name="connsiteY2152" fmla="*/ 410396 h 2163071"/>
                    <a:gd name="connsiteX2153" fmla="*/ 1819027 w 2328854"/>
                    <a:gd name="connsiteY2153" fmla="*/ 407986 h 2163071"/>
                    <a:gd name="connsiteX2154" fmla="*/ 1785691 w 2328854"/>
                    <a:gd name="connsiteY2154" fmla="*/ 413609 h 2163071"/>
                    <a:gd name="connsiteX2155" fmla="*/ 1785691 w 2328854"/>
                    <a:gd name="connsiteY2155" fmla="*/ 413609 h 2163071"/>
                    <a:gd name="connsiteX2156" fmla="*/ 1783120 w 2328854"/>
                    <a:gd name="connsiteY2156" fmla="*/ 412886 h 2163071"/>
                    <a:gd name="connsiteX2157" fmla="*/ 1785530 w 2328854"/>
                    <a:gd name="connsiteY2157" fmla="*/ 413689 h 2163071"/>
                    <a:gd name="connsiteX2158" fmla="*/ 1785691 w 2328854"/>
                    <a:gd name="connsiteY2158" fmla="*/ 413609 h 2163071"/>
                    <a:gd name="connsiteX2159" fmla="*/ 1667609 w 2328854"/>
                    <a:gd name="connsiteY2159" fmla="*/ 485663 h 2163071"/>
                    <a:gd name="connsiteX2160" fmla="*/ 1667529 w 2328854"/>
                    <a:gd name="connsiteY2160" fmla="*/ 485101 h 2163071"/>
                    <a:gd name="connsiteX2161" fmla="*/ 1663030 w 2328854"/>
                    <a:gd name="connsiteY2161" fmla="*/ 480924 h 2163071"/>
                    <a:gd name="connsiteX2162" fmla="*/ 1660620 w 2328854"/>
                    <a:gd name="connsiteY2162" fmla="*/ 481325 h 2163071"/>
                    <a:gd name="connsiteX2163" fmla="*/ 1659415 w 2328854"/>
                    <a:gd name="connsiteY2163" fmla="*/ 482932 h 2163071"/>
                    <a:gd name="connsiteX2164" fmla="*/ 1667609 w 2328854"/>
                    <a:gd name="connsiteY2164" fmla="*/ 485663 h 2163071"/>
                    <a:gd name="connsiteX2165" fmla="*/ 1837422 w 2328854"/>
                    <a:gd name="connsiteY2165" fmla="*/ 371919 h 2163071"/>
                    <a:gd name="connsiteX2166" fmla="*/ 1827622 w 2328854"/>
                    <a:gd name="connsiteY2166" fmla="*/ 370071 h 2163071"/>
                    <a:gd name="connsiteX2167" fmla="*/ 1827301 w 2328854"/>
                    <a:gd name="connsiteY2167" fmla="*/ 369509 h 2163071"/>
                    <a:gd name="connsiteX2168" fmla="*/ 1824811 w 2328854"/>
                    <a:gd name="connsiteY2168" fmla="*/ 369750 h 2163071"/>
                    <a:gd name="connsiteX2169" fmla="*/ 1828425 w 2328854"/>
                    <a:gd name="connsiteY2169" fmla="*/ 374569 h 2163071"/>
                    <a:gd name="connsiteX2170" fmla="*/ 1845214 w 2328854"/>
                    <a:gd name="connsiteY2170" fmla="*/ 382441 h 2163071"/>
                    <a:gd name="connsiteX2171" fmla="*/ 1834852 w 2328854"/>
                    <a:gd name="connsiteY2171" fmla="*/ 373686 h 2163071"/>
                    <a:gd name="connsiteX2172" fmla="*/ 1837422 w 2328854"/>
                    <a:gd name="connsiteY2172" fmla="*/ 371919 h 2163071"/>
                    <a:gd name="connsiteX2173" fmla="*/ 1807379 w 2328854"/>
                    <a:gd name="connsiteY2173" fmla="*/ 387502 h 2163071"/>
                    <a:gd name="connsiteX2174" fmla="*/ 1802640 w 2328854"/>
                    <a:gd name="connsiteY2174" fmla="*/ 387101 h 2163071"/>
                    <a:gd name="connsiteX2175" fmla="*/ 1802961 w 2328854"/>
                    <a:gd name="connsiteY2175" fmla="*/ 387342 h 2163071"/>
                    <a:gd name="connsiteX2176" fmla="*/ 1804086 w 2328854"/>
                    <a:gd name="connsiteY2176" fmla="*/ 389109 h 2163071"/>
                    <a:gd name="connsiteX2177" fmla="*/ 1810593 w 2328854"/>
                    <a:gd name="connsiteY2177" fmla="*/ 390555 h 2163071"/>
                    <a:gd name="connsiteX2178" fmla="*/ 1807701 w 2328854"/>
                    <a:gd name="connsiteY2178" fmla="*/ 388466 h 2163071"/>
                    <a:gd name="connsiteX2179" fmla="*/ 1807379 w 2328854"/>
                    <a:gd name="connsiteY2179" fmla="*/ 387502 h 2163071"/>
                    <a:gd name="connsiteX2180" fmla="*/ 325168 w 2328854"/>
                    <a:gd name="connsiteY2180" fmla="*/ 616035 h 2163071"/>
                    <a:gd name="connsiteX2181" fmla="*/ 317376 w 2328854"/>
                    <a:gd name="connsiteY2181" fmla="*/ 605673 h 2163071"/>
                    <a:gd name="connsiteX2182" fmla="*/ 317697 w 2328854"/>
                    <a:gd name="connsiteY2182" fmla="*/ 606155 h 2163071"/>
                    <a:gd name="connsiteX2183" fmla="*/ 325168 w 2328854"/>
                    <a:gd name="connsiteY2183" fmla="*/ 616035 h 2163071"/>
                    <a:gd name="connsiteX2184" fmla="*/ 251587 w 2328854"/>
                    <a:gd name="connsiteY2184" fmla="*/ 574666 h 2163071"/>
                    <a:gd name="connsiteX2185" fmla="*/ 250543 w 2328854"/>
                    <a:gd name="connsiteY2185" fmla="*/ 567678 h 2163071"/>
                    <a:gd name="connsiteX2186" fmla="*/ 252953 w 2328854"/>
                    <a:gd name="connsiteY2186" fmla="*/ 563019 h 2163071"/>
                    <a:gd name="connsiteX2187" fmla="*/ 251507 w 2328854"/>
                    <a:gd name="connsiteY2187" fmla="*/ 563420 h 2163071"/>
                    <a:gd name="connsiteX2188" fmla="*/ 253595 w 2328854"/>
                    <a:gd name="connsiteY2188" fmla="*/ 560207 h 2163071"/>
                    <a:gd name="connsiteX2189" fmla="*/ 252310 w 2328854"/>
                    <a:gd name="connsiteY2189" fmla="*/ 561573 h 2163071"/>
                    <a:gd name="connsiteX2190" fmla="*/ 243635 w 2328854"/>
                    <a:gd name="connsiteY2190" fmla="*/ 563099 h 2163071"/>
                    <a:gd name="connsiteX2191" fmla="*/ 249017 w 2328854"/>
                    <a:gd name="connsiteY2191" fmla="*/ 571694 h 2163071"/>
                    <a:gd name="connsiteX2192" fmla="*/ 251587 w 2328854"/>
                    <a:gd name="connsiteY2192" fmla="*/ 574666 h 2163071"/>
                    <a:gd name="connsiteX2193" fmla="*/ 1779666 w 2328854"/>
                    <a:gd name="connsiteY2193" fmla="*/ 396660 h 2163071"/>
                    <a:gd name="connsiteX2194" fmla="*/ 1776614 w 2328854"/>
                    <a:gd name="connsiteY2194" fmla="*/ 395214 h 2163071"/>
                    <a:gd name="connsiteX2195" fmla="*/ 1775168 w 2328854"/>
                    <a:gd name="connsiteY2195" fmla="*/ 393928 h 2163071"/>
                    <a:gd name="connsiteX2196" fmla="*/ 1765770 w 2328854"/>
                    <a:gd name="connsiteY2196" fmla="*/ 398106 h 2163071"/>
                    <a:gd name="connsiteX2197" fmla="*/ 1766814 w 2328854"/>
                    <a:gd name="connsiteY2197" fmla="*/ 398989 h 2163071"/>
                    <a:gd name="connsiteX2198" fmla="*/ 1775570 w 2328854"/>
                    <a:gd name="connsiteY2198" fmla="*/ 401801 h 2163071"/>
                    <a:gd name="connsiteX2199" fmla="*/ 1779747 w 2328854"/>
                    <a:gd name="connsiteY2199" fmla="*/ 396981 h 2163071"/>
                    <a:gd name="connsiteX2200" fmla="*/ 1779666 w 2328854"/>
                    <a:gd name="connsiteY2200" fmla="*/ 396660 h 2163071"/>
                    <a:gd name="connsiteX2201" fmla="*/ 1799909 w 2328854"/>
                    <a:gd name="connsiteY2201" fmla="*/ 372320 h 2163071"/>
                    <a:gd name="connsiteX2202" fmla="*/ 1795973 w 2328854"/>
                    <a:gd name="connsiteY2202" fmla="*/ 371517 h 2163071"/>
                    <a:gd name="connsiteX2203" fmla="*/ 1796776 w 2328854"/>
                    <a:gd name="connsiteY2203" fmla="*/ 371999 h 2163071"/>
                    <a:gd name="connsiteX2204" fmla="*/ 1794768 w 2328854"/>
                    <a:gd name="connsiteY2204" fmla="*/ 374489 h 2163071"/>
                    <a:gd name="connsiteX2205" fmla="*/ 1795330 w 2328854"/>
                    <a:gd name="connsiteY2205" fmla="*/ 375212 h 2163071"/>
                    <a:gd name="connsiteX2206" fmla="*/ 1800471 w 2328854"/>
                    <a:gd name="connsiteY2206" fmla="*/ 372882 h 2163071"/>
                    <a:gd name="connsiteX2207" fmla="*/ 1799909 w 2328854"/>
                    <a:gd name="connsiteY2207" fmla="*/ 372320 h 2163071"/>
                    <a:gd name="connsiteX2208" fmla="*/ 1684558 w 2328854"/>
                    <a:gd name="connsiteY2208" fmla="*/ 466866 h 2163071"/>
                    <a:gd name="connsiteX2209" fmla="*/ 1687289 w 2328854"/>
                    <a:gd name="connsiteY2209" fmla="*/ 466947 h 2163071"/>
                    <a:gd name="connsiteX2210" fmla="*/ 1651784 w 2328854"/>
                    <a:gd name="connsiteY2210" fmla="*/ 461243 h 2163071"/>
                    <a:gd name="connsiteX2211" fmla="*/ 1653712 w 2328854"/>
                    <a:gd name="connsiteY2211" fmla="*/ 461083 h 2163071"/>
                    <a:gd name="connsiteX2212" fmla="*/ 1680220 w 2328854"/>
                    <a:gd name="connsiteY2212" fmla="*/ 465983 h 2163071"/>
                    <a:gd name="connsiteX2213" fmla="*/ 1678292 w 2328854"/>
                    <a:gd name="connsiteY2213" fmla="*/ 465983 h 2163071"/>
                    <a:gd name="connsiteX2214" fmla="*/ 1679176 w 2328854"/>
                    <a:gd name="connsiteY2214" fmla="*/ 466223 h 2163071"/>
                    <a:gd name="connsiteX2215" fmla="*/ 1684397 w 2328854"/>
                    <a:gd name="connsiteY2215" fmla="*/ 468152 h 2163071"/>
                    <a:gd name="connsiteX2216" fmla="*/ 1684558 w 2328854"/>
                    <a:gd name="connsiteY2216" fmla="*/ 466866 h 2163071"/>
                    <a:gd name="connsiteX2217" fmla="*/ 258897 w 2328854"/>
                    <a:gd name="connsiteY2217" fmla="*/ 555548 h 2163071"/>
                    <a:gd name="connsiteX2218" fmla="*/ 258977 w 2328854"/>
                    <a:gd name="connsiteY2218" fmla="*/ 555388 h 2163071"/>
                    <a:gd name="connsiteX2219" fmla="*/ 258817 w 2328854"/>
                    <a:gd name="connsiteY2219" fmla="*/ 555388 h 2163071"/>
                    <a:gd name="connsiteX2220" fmla="*/ 255604 w 2328854"/>
                    <a:gd name="connsiteY2220" fmla="*/ 556673 h 2163071"/>
                    <a:gd name="connsiteX2221" fmla="*/ 258897 w 2328854"/>
                    <a:gd name="connsiteY2221" fmla="*/ 555548 h 2163071"/>
                    <a:gd name="connsiteX2222" fmla="*/ 254479 w 2328854"/>
                    <a:gd name="connsiteY2222" fmla="*/ 555709 h 2163071"/>
                    <a:gd name="connsiteX2223" fmla="*/ 254399 w 2328854"/>
                    <a:gd name="connsiteY2223" fmla="*/ 555870 h 2163071"/>
                    <a:gd name="connsiteX2224" fmla="*/ 256246 w 2328854"/>
                    <a:gd name="connsiteY2224" fmla="*/ 551211 h 2163071"/>
                    <a:gd name="connsiteX2225" fmla="*/ 255041 w 2328854"/>
                    <a:gd name="connsiteY2225" fmla="*/ 552496 h 2163071"/>
                    <a:gd name="connsiteX2226" fmla="*/ 253997 w 2328854"/>
                    <a:gd name="connsiteY2226" fmla="*/ 553942 h 2163071"/>
                    <a:gd name="connsiteX2227" fmla="*/ 254479 w 2328854"/>
                    <a:gd name="connsiteY2227" fmla="*/ 555709 h 2163071"/>
                    <a:gd name="connsiteX2228" fmla="*/ 254077 w 2328854"/>
                    <a:gd name="connsiteY2228" fmla="*/ 552737 h 2163071"/>
                    <a:gd name="connsiteX2229" fmla="*/ 255363 w 2328854"/>
                    <a:gd name="connsiteY2229" fmla="*/ 549925 h 2163071"/>
                    <a:gd name="connsiteX2230" fmla="*/ 255282 w 2328854"/>
                    <a:gd name="connsiteY2230" fmla="*/ 550086 h 2163071"/>
                    <a:gd name="connsiteX2231" fmla="*/ 252471 w 2328854"/>
                    <a:gd name="connsiteY2231" fmla="*/ 554424 h 2163071"/>
                    <a:gd name="connsiteX2232" fmla="*/ 254077 w 2328854"/>
                    <a:gd name="connsiteY2232" fmla="*/ 552737 h 2163071"/>
                    <a:gd name="connsiteX2233" fmla="*/ 260423 w 2328854"/>
                    <a:gd name="connsiteY2233" fmla="*/ 555388 h 2163071"/>
                    <a:gd name="connsiteX2234" fmla="*/ 260343 w 2328854"/>
                    <a:gd name="connsiteY2234" fmla="*/ 554906 h 2163071"/>
                    <a:gd name="connsiteX2235" fmla="*/ 260182 w 2328854"/>
                    <a:gd name="connsiteY2235" fmla="*/ 554825 h 2163071"/>
                    <a:gd name="connsiteX2236" fmla="*/ 259620 w 2328854"/>
                    <a:gd name="connsiteY2236" fmla="*/ 555789 h 2163071"/>
                    <a:gd name="connsiteX2237" fmla="*/ 260423 w 2328854"/>
                    <a:gd name="connsiteY2237" fmla="*/ 555388 h 2163071"/>
                    <a:gd name="connsiteX2238" fmla="*/ 1650017 w 2328854"/>
                    <a:gd name="connsiteY2238" fmla="*/ 460601 h 2163071"/>
                    <a:gd name="connsiteX2239" fmla="*/ 1650097 w 2328854"/>
                    <a:gd name="connsiteY2239" fmla="*/ 460520 h 2163071"/>
                    <a:gd name="connsiteX2240" fmla="*/ 1646081 w 2328854"/>
                    <a:gd name="connsiteY2240" fmla="*/ 459797 h 2163071"/>
                    <a:gd name="connsiteX2241" fmla="*/ 1645760 w 2328854"/>
                    <a:gd name="connsiteY2241" fmla="*/ 461324 h 2163071"/>
                    <a:gd name="connsiteX2242" fmla="*/ 1645760 w 2328854"/>
                    <a:gd name="connsiteY2242" fmla="*/ 462769 h 2163071"/>
                    <a:gd name="connsiteX2243" fmla="*/ 1650017 w 2328854"/>
                    <a:gd name="connsiteY2243" fmla="*/ 460601 h 2163071"/>
                    <a:gd name="connsiteX2244" fmla="*/ 245241 w 2328854"/>
                    <a:gd name="connsiteY2244" fmla="*/ 541571 h 2163071"/>
                    <a:gd name="connsiteX2245" fmla="*/ 246446 w 2328854"/>
                    <a:gd name="connsiteY2245" fmla="*/ 540607 h 2163071"/>
                    <a:gd name="connsiteX2246" fmla="*/ 248374 w 2328854"/>
                    <a:gd name="connsiteY2246" fmla="*/ 534583 h 2163071"/>
                    <a:gd name="connsiteX2247" fmla="*/ 248294 w 2328854"/>
                    <a:gd name="connsiteY2247" fmla="*/ 534824 h 2163071"/>
                    <a:gd name="connsiteX2248" fmla="*/ 245241 w 2328854"/>
                    <a:gd name="connsiteY2248" fmla="*/ 541571 h 2163071"/>
                    <a:gd name="connsiteX2249" fmla="*/ 553620 w 2328854"/>
                    <a:gd name="connsiteY2249" fmla="*/ 647363 h 2163071"/>
                    <a:gd name="connsiteX2250" fmla="*/ 553620 w 2328854"/>
                    <a:gd name="connsiteY2250" fmla="*/ 647363 h 2163071"/>
                    <a:gd name="connsiteX2251" fmla="*/ 553620 w 2328854"/>
                    <a:gd name="connsiteY2251" fmla="*/ 647363 h 2163071"/>
                    <a:gd name="connsiteX2252" fmla="*/ 552898 w 2328854"/>
                    <a:gd name="connsiteY2252" fmla="*/ 647363 h 2163071"/>
                    <a:gd name="connsiteX2253" fmla="*/ 552898 w 2328854"/>
                    <a:gd name="connsiteY2253" fmla="*/ 647363 h 2163071"/>
                    <a:gd name="connsiteX2254" fmla="*/ 552898 w 2328854"/>
                    <a:gd name="connsiteY2254" fmla="*/ 647363 h 2163071"/>
                    <a:gd name="connsiteX2255" fmla="*/ 552898 w 2328854"/>
                    <a:gd name="connsiteY2255" fmla="*/ 647363 h 2163071"/>
                    <a:gd name="connsiteX2256" fmla="*/ 552898 w 2328854"/>
                    <a:gd name="connsiteY2256" fmla="*/ 647363 h 2163071"/>
                    <a:gd name="connsiteX2257" fmla="*/ 552898 w 2328854"/>
                    <a:gd name="connsiteY2257" fmla="*/ 647363 h 2163071"/>
                    <a:gd name="connsiteX2258" fmla="*/ 552898 w 2328854"/>
                    <a:gd name="connsiteY2258" fmla="*/ 647363 h 2163071"/>
                    <a:gd name="connsiteX2259" fmla="*/ 552898 w 2328854"/>
                    <a:gd name="connsiteY2259" fmla="*/ 647363 h 2163071"/>
                    <a:gd name="connsiteX2260" fmla="*/ 552898 w 2328854"/>
                    <a:gd name="connsiteY2260" fmla="*/ 647363 h 2163071"/>
                    <a:gd name="connsiteX2261" fmla="*/ 553138 w 2328854"/>
                    <a:gd name="connsiteY2261" fmla="*/ 647926 h 2163071"/>
                    <a:gd name="connsiteX2262" fmla="*/ 553620 w 2328854"/>
                    <a:gd name="connsiteY2262" fmla="*/ 647363 h 2163071"/>
                    <a:gd name="connsiteX2263" fmla="*/ 1780711 w 2328854"/>
                    <a:gd name="connsiteY2263" fmla="*/ 369669 h 2163071"/>
                    <a:gd name="connsiteX2264" fmla="*/ 1780711 w 2328854"/>
                    <a:gd name="connsiteY2264" fmla="*/ 369669 h 2163071"/>
                    <a:gd name="connsiteX2265" fmla="*/ 1780711 w 2328854"/>
                    <a:gd name="connsiteY2265" fmla="*/ 369669 h 2163071"/>
                    <a:gd name="connsiteX2266" fmla="*/ 1781032 w 2328854"/>
                    <a:gd name="connsiteY2266" fmla="*/ 371437 h 2163071"/>
                    <a:gd name="connsiteX2267" fmla="*/ 1780711 w 2328854"/>
                    <a:gd name="connsiteY2267" fmla="*/ 369669 h 2163071"/>
                    <a:gd name="connsiteX2268" fmla="*/ 333281 w 2328854"/>
                    <a:gd name="connsiteY2268" fmla="*/ 593463 h 2163071"/>
                    <a:gd name="connsiteX2269" fmla="*/ 333843 w 2328854"/>
                    <a:gd name="connsiteY2269" fmla="*/ 592901 h 2163071"/>
                    <a:gd name="connsiteX2270" fmla="*/ 332237 w 2328854"/>
                    <a:gd name="connsiteY2270" fmla="*/ 591937 h 2163071"/>
                    <a:gd name="connsiteX2271" fmla="*/ 327899 w 2328854"/>
                    <a:gd name="connsiteY2271" fmla="*/ 591857 h 2163071"/>
                    <a:gd name="connsiteX2272" fmla="*/ 326694 w 2328854"/>
                    <a:gd name="connsiteY2272" fmla="*/ 593865 h 2163071"/>
                    <a:gd name="connsiteX2273" fmla="*/ 327176 w 2328854"/>
                    <a:gd name="connsiteY2273" fmla="*/ 596034 h 2163071"/>
                    <a:gd name="connsiteX2274" fmla="*/ 333281 w 2328854"/>
                    <a:gd name="connsiteY2274" fmla="*/ 593463 h 2163071"/>
                    <a:gd name="connsiteX2275" fmla="*/ 237530 w 2328854"/>
                    <a:gd name="connsiteY2275" fmla="*/ 507271 h 2163071"/>
                    <a:gd name="connsiteX2276" fmla="*/ 239458 w 2328854"/>
                    <a:gd name="connsiteY2276" fmla="*/ 502211 h 2163071"/>
                    <a:gd name="connsiteX2277" fmla="*/ 235763 w 2328854"/>
                    <a:gd name="connsiteY2277" fmla="*/ 509360 h 2163071"/>
                    <a:gd name="connsiteX2278" fmla="*/ 237530 w 2328854"/>
                    <a:gd name="connsiteY2278" fmla="*/ 507271 h 2163071"/>
                    <a:gd name="connsiteX2279" fmla="*/ 1790029 w 2328854"/>
                    <a:gd name="connsiteY2279" fmla="*/ 365171 h 2163071"/>
                    <a:gd name="connsiteX2280" fmla="*/ 1790832 w 2328854"/>
                    <a:gd name="connsiteY2280" fmla="*/ 365412 h 2163071"/>
                    <a:gd name="connsiteX2281" fmla="*/ 1777176 w 2328854"/>
                    <a:gd name="connsiteY2281" fmla="*/ 366054 h 2163071"/>
                    <a:gd name="connsiteX2282" fmla="*/ 1775489 w 2328854"/>
                    <a:gd name="connsiteY2282" fmla="*/ 368545 h 2163071"/>
                    <a:gd name="connsiteX2283" fmla="*/ 1780630 w 2328854"/>
                    <a:gd name="connsiteY2283" fmla="*/ 369348 h 2163071"/>
                    <a:gd name="connsiteX2284" fmla="*/ 1790029 w 2328854"/>
                    <a:gd name="connsiteY2284" fmla="*/ 365171 h 2163071"/>
                    <a:gd name="connsiteX2285" fmla="*/ 566875 w 2328854"/>
                    <a:gd name="connsiteY2285" fmla="*/ 656360 h 2163071"/>
                    <a:gd name="connsiteX2286" fmla="*/ 567437 w 2328854"/>
                    <a:gd name="connsiteY2286" fmla="*/ 656440 h 2163071"/>
                    <a:gd name="connsiteX2287" fmla="*/ 566955 w 2328854"/>
                    <a:gd name="connsiteY2287" fmla="*/ 654834 h 2163071"/>
                    <a:gd name="connsiteX2288" fmla="*/ 559163 w 2328854"/>
                    <a:gd name="connsiteY2288" fmla="*/ 635635 h 2163071"/>
                    <a:gd name="connsiteX2289" fmla="*/ 559243 w 2328854"/>
                    <a:gd name="connsiteY2289" fmla="*/ 636599 h 2163071"/>
                    <a:gd name="connsiteX2290" fmla="*/ 554102 w 2328854"/>
                    <a:gd name="connsiteY2290" fmla="*/ 648488 h 2163071"/>
                    <a:gd name="connsiteX2291" fmla="*/ 554343 w 2328854"/>
                    <a:gd name="connsiteY2291" fmla="*/ 649371 h 2163071"/>
                    <a:gd name="connsiteX2292" fmla="*/ 554022 w 2328854"/>
                    <a:gd name="connsiteY2292" fmla="*/ 649371 h 2163071"/>
                    <a:gd name="connsiteX2293" fmla="*/ 566875 w 2328854"/>
                    <a:gd name="connsiteY2293" fmla="*/ 656360 h 2163071"/>
                    <a:gd name="connsiteX2294" fmla="*/ 253595 w 2328854"/>
                    <a:gd name="connsiteY2294" fmla="*/ 528719 h 2163071"/>
                    <a:gd name="connsiteX2295" fmla="*/ 254077 w 2328854"/>
                    <a:gd name="connsiteY2295" fmla="*/ 528317 h 2163071"/>
                    <a:gd name="connsiteX2296" fmla="*/ 254318 w 2328854"/>
                    <a:gd name="connsiteY2296" fmla="*/ 521409 h 2163071"/>
                    <a:gd name="connsiteX2297" fmla="*/ 254961 w 2328854"/>
                    <a:gd name="connsiteY2297" fmla="*/ 512091 h 2163071"/>
                    <a:gd name="connsiteX2298" fmla="*/ 256005 w 2328854"/>
                    <a:gd name="connsiteY2298" fmla="*/ 510806 h 2163071"/>
                    <a:gd name="connsiteX2299" fmla="*/ 255845 w 2328854"/>
                    <a:gd name="connsiteY2299" fmla="*/ 510565 h 2163071"/>
                    <a:gd name="connsiteX2300" fmla="*/ 254158 w 2328854"/>
                    <a:gd name="connsiteY2300" fmla="*/ 512492 h 2163071"/>
                    <a:gd name="connsiteX2301" fmla="*/ 252631 w 2328854"/>
                    <a:gd name="connsiteY2301" fmla="*/ 514099 h 2163071"/>
                    <a:gd name="connsiteX2302" fmla="*/ 253194 w 2328854"/>
                    <a:gd name="connsiteY2302" fmla="*/ 529040 h 2163071"/>
                    <a:gd name="connsiteX2303" fmla="*/ 253595 w 2328854"/>
                    <a:gd name="connsiteY2303" fmla="*/ 528719 h 2163071"/>
                    <a:gd name="connsiteX2304" fmla="*/ 1783683 w 2328854"/>
                    <a:gd name="connsiteY2304" fmla="*/ 352961 h 2163071"/>
                    <a:gd name="connsiteX2305" fmla="*/ 1784245 w 2328854"/>
                    <a:gd name="connsiteY2305" fmla="*/ 352881 h 2163071"/>
                    <a:gd name="connsiteX2306" fmla="*/ 1768581 w 2328854"/>
                    <a:gd name="connsiteY2306" fmla="*/ 349989 h 2163071"/>
                    <a:gd name="connsiteX2307" fmla="*/ 1768983 w 2328854"/>
                    <a:gd name="connsiteY2307" fmla="*/ 350230 h 2163071"/>
                    <a:gd name="connsiteX2308" fmla="*/ 1783683 w 2328854"/>
                    <a:gd name="connsiteY2308" fmla="*/ 352961 h 2163071"/>
                    <a:gd name="connsiteX2309" fmla="*/ 1776373 w 2328854"/>
                    <a:gd name="connsiteY2309" fmla="*/ 344446 h 2163071"/>
                    <a:gd name="connsiteX2310" fmla="*/ 1771152 w 2328854"/>
                    <a:gd name="connsiteY2310" fmla="*/ 340832 h 2163071"/>
                    <a:gd name="connsiteX2311" fmla="*/ 1771152 w 2328854"/>
                    <a:gd name="connsiteY2311" fmla="*/ 340912 h 2163071"/>
                    <a:gd name="connsiteX2312" fmla="*/ 1772115 w 2328854"/>
                    <a:gd name="connsiteY2312" fmla="*/ 342679 h 2163071"/>
                    <a:gd name="connsiteX2313" fmla="*/ 1773561 w 2328854"/>
                    <a:gd name="connsiteY2313" fmla="*/ 343241 h 2163071"/>
                    <a:gd name="connsiteX2314" fmla="*/ 1773722 w 2328854"/>
                    <a:gd name="connsiteY2314" fmla="*/ 343241 h 2163071"/>
                    <a:gd name="connsiteX2315" fmla="*/ 1776132 w 2328854"/>
                    <a:gd name="connsiteY2315" fmla="*/ 344446 h 2163071"/>
                    <a:gd name="connsiteX2316" fmla="*/ 1776694 w 2328854"/>
                    <a:gd name="connsiteY2316" fmla="*/ 344687 h 2163071"/>
                    <a:gd name="connsiteX2317" fmla="*/ 1776694 w 2328854"/>
                    <a:gd name="connsiteY2317" fmla="*/ 344687 h 2163071"/>
                    <a:gd name="connsiteX2318" fmla="*/ 1776373 w 2328854"/>
                    <a:gd name="connsiteY2318" fmla="*/ 344446 h 2163071"/>
                    <a:gd name="connsiteX2319" fmla="*/ 1677168 w 2328854"/>
                    <a:gd name="connsiteY2319" fmla="*/ 419071 h 2163071"/>
                    <a:gd name="connsiteX2320" fmla="*/ 1677971 w 2328854"/>
                    <a:gd name="connsiteY2320" fmla="*/ 418188 h 2163071"/>
                    <a:gd name="connsiteX2321" fmla="*/ 1666805 w 2328854"/>
                    <a:gd name="connsiteY2321" fmla="*/ 413850 h 2163071"/>
                    <a:gd name="connsiteX2322" fmla="*/ 1661183 w 2328854"/>
                    <a:gd name="connsiteY2322" fmla="*/ 413046 h 2163071"/>
                    <a:gd name="connsiteX2323" fmla="*/ 1660701 w 2328854"/>
                    <a:gd name="connsiteY2323" fmla="*/ 416420 h 2163071"/>
                    <a:gd name="connsiteX2324" fmla="*/ 1663110 w 2328854"/>
                    <a:gd name="connsiteY2324" fmla="*/ 416018 h 2163071"/>
                    <a:gd name="connsiteX2325" fmla="*/ 1677168 w 2328854"/>
                    <a:gd name="connsiteY2325" fmla="*/ 419071 h 2163071"/>
                    <a:gd name="connsiteX2326" fmla="*/ 1764966 w 2328854"/>
                    <a:gd name="connsiteY2326" fmla="*/ 350792 h 2163071"/>
                    <a:gd name="connsiteX2327" fmla="*/ 1765207 w 2328854"/>
                    <a:gd name="connsiteY2327" fmla="*/ 350632 h 2163071"/>
                    <a:gd name="connsiteX2328" fmla="*/ 1756532 w 2328854"/>
                    <a:gd name="connsiteY2328" fmla="*/ 347017 h 2163071"/>
                    <a:gd name="connsiteX2329" fmla="*/ 1756853 w 2328854"/>
                    <a:gd name="connsiteY2329" fmla="*/ 349989 h 2163071"/>
                    <a:gd name="connsiteX2330" fmla="*/ 1762637 w 2328854"/>
                    <a:gd name="connsiteY2330" fmla="*/ 351756 h 2163071"/>
                    <a:gd name="connsiteX2331" fmla="*/ 1764966 w 2328854"/>
                    <a:gd name="connsiteY2331" fmla="*/ 350792 h 2163071"/>
                    <a:gd name="connsiteX2332" fmla="*/ 1743840 w 2328854"/>
                    <a:gd name="connsiteY2332" fmla="*/ 355612 h 2163071"/>
                    <a:gd name="connsiteX2333" fmla="*/ 1743519 w 2328854"/>
                    <a:gd name="connsiteY2333" fmla="*/ 354889 h 2163071"/>
                    <a:gd name="connsiteX2334" fmla="*/ 1741029 w 2328854"/>
                    <a:gd name="connsiteY2334" fmla="*/ 355612 h 2163071"/>
                    <a:gd name="connsiteX2335" fmla="*/ 1740627 w 2328854"/>
                    <a:gd name="connsiteY2335" fmla="*/ 356094 h 2163071"/>
                    <a:gd name="connsiteX2336" fmla="*/ 1738779 w 2328854"/>
                    <a:gd name="connsiteY2336" fmla="*/ 363082 h 2163071"/>
                    <a:gd name="connsiteX2337" fmla="*/ 1743840 w 2328854"/>
                    <a:gd name="connsiteY2337" fmla="*/ 355612 h 2163071"/>
                    <a:gd name="connsiteX2338" fmla="*/ 594427 w 2328854"/>
                    <a:gd name="connsiteY2338" fmla="*/ 616116 h 2163071"/>
                    <a:gd name="connsiteX2339" fmla="*/ 594909 w 2328854"/>
                    <a:gd name="connsiteY2339" fmla="*/ 615634 h 2163071"/>
                    <a:gd name="connsiteX2340" fmla="*/ 577157 w 2328854"/>
                    <a:gd name="connsiteY2340" fmla="*/ 607601 h 2163071"/>
                    <a:gd name="connsiteX2341" fmla="*/ 577076 w 2328854"/>
                    <a:gd name="connsiteY2341" fmla="*/ 607681 h 2163071"/>
                    <a:gd name="connsiteX2342" fmla="*/ 580370 w 2328854"/>
                    <a:gd name="connsiteY2342" fmla="*/ 610653 h 2163071"/>
                    <a:gd name="connsiteX2343" fmla="*/ 582619 w 2328854"/>
                    <a:gd name="connsiteY2343" fmla="*/ 612260 h 2163071"/>
                    <a:gd name="connsiteX2344" fmla="*/ 583984 w 2328854"/>
                    <a:gd name="connsiteY2344" fmla="*/ 613143 h 2163071"/>
                    <a:gd name="connsiteX2345" fmla="*/ 590732 w 2328854"/>
                    <a:gd name="connsiteY2345" fmla="*/ 617481 h 2163071"/>
                    <a:gd name="connsiteX2346" fmla="*/ 591134 w 2328854"/>
                    <a:gd name="connsiteY2346" fmla="*/ 617963 h 2163071"/>
                    <a:gd name="connsiteX2347" fmla="*/ 594427 w 2328854"/>
                    <a:gd name="connsiteY2347" fmla="*/ 616116 h 2163071"/>
                    <a:gd name="connsiteX2348" fmla="*/ 405656 w 2328854"/>
                    <a:gd name="connsiteY2348" fmla="*/ 574265 h 2163071"/>
                    <a:gd name="connsiteX2349" fmla="*/ 405817 w 2328854"/>
                    <a:gd name="connsiteY2349" fmla="*/ 574184 h 2163071"/>
                    <a:gd name="connsiteX2350" fmla="*/ 405737 w 2328854"/>
                    <a:gd name="connsiteY2350" fmla="*/ 574184 h 2163071"/>
                    <a:gd name="connsiteX2351" fmla="*/ 403005 w 2328854"/>
                    <a:gd name="connsiteY2351" fmla="*/ 574907 h 2163071"/>
                    <a:gd name="connsiteX2352" fmla="*/ 401238 w 2328854"/>
                    <a:gd name="connsiteY2352" fmla="*/ 576996 h 2163071"/>
                    <a:gd name="connsiteX2353" fmla="*/ 405656 w 2328854"/>
                    <a:gd name="connsiteY2353" fmla="*/ 574265 h 2163071"/>
                    <a:gd name="connsiteX2354" fmla="*/ 409673 w 2328854"/>
                    <a:gd name="connsiteY2354" fmla="*/ 576755 h 2163071"/>
                    <a:gd name="connsiteX2355" fmla="*/ 411038 w 2328854"/>
                    <a:gd name="connsiteY2355" fmla="*/ 576594 h 2163071"/>
                    <a:gd name="connsiteX2356" fmla="*/ 409351 w 2328854"/>
                    <a:gd name="connsiteY2356" fmla="*/ 573140 h 2163071"/>
                    <a:gd name="connsiteX2357" fmla="*/ 406460 w 2328854"/>
                    <a:gd name="connsiteY2357" fmla="*/ 574425 h 2163071"/>
                    <a:gd name="connsiteX2358" fmla="*/ 405897 w 2328854"/>
                    <a:gd name="connsiteY2358" fmla="*/ 575791 h 2163071"/>
                    <a:gd name="connsiteX2359" fmla="*/ 409673 w 2328854"/>
                    <a:gd name="connsiteY2359" fmla="*/ 576755 h 2163071"/>
                    <a:gd name="connsiteX2360" fmla="*/ 1757014 w 2328854"/>
                    <a:gd name="connsiteY2360" fmla="*/ 334727 h 2163071"/>
                    <a:gd name="connsiteX2361" fmla="*/ 1747214 w 2328854"/>
                    <a:gd name="connsiteY2361" fmla="*/ 334325 h 2163071"/>
                    <a:gd name="connsiteX2362" fmla="*/ 1747856 w 2328854"/>
                    <a:gd name="connsiteY2362" fmla="*/ 334325 h 2163071"/>
                    <a:gd name="connsiteX2363" fmla="*/ 1757014 w 2328854"/>
                    <a:gd name="connsiteY2363" fmla="*/ 334727 h 2163071"/>
                    <a:gd name="connsiteX2364" fmla="*/ 262110 w 2328854"/>
                    <a:gd name="connsiteY2364" fmla="*/ 481888 h 2163071"/>
                    <a:gd name="connsiteX2365" fmla="*/ 264279 w 2328854"/>
                    <a:gd name="connsiteY2365" fmla="*/ 480281 h 2163071"/>
                    <a:gd name="connsiteX2366" fmla="*/ 261468 w 2328854"/>
                    <a:gd name="connsiteY2366" fmla="*/ 470320 h 2163071"/>
                    <a:gd name="connsiteX2367" fmla="*/ 270063 w 2328854"/>
                    <a:gd name="connsiteY2367" fmla="*/ 464938 h 2163071"/>
                    <a:gd name="connsiteX2368" fmla="*/ 269259 w 2328854"/>
                    <a:gd name="connsiteY2368" fmla="*/ 459958 h 2163071"/>
                    <a:gd name="connsiteX2369" fmla="*/ 262833 w 2328854"/>
                    <a:gd name="connsiteY2369" fmla="*/ 456825 h 2163071"/>
                    <a:gd name="connsiteX2370" fmla="*/ 254158 w 2328854"/>
                    <a:gd name="connsiteY2370" fmla="*/ 453291 h 2163071"/>
                    <a:gd name="connsiteX2371" fmla="*/ 248615 w 2328854"/>
                    <a:gd name="connsiteY2371" fmla="*/ 460440 h 2163071"/>
                    <a:gd name="connsiteX2372" fmla="*/ 250382 w 2328854"/>
                    <a:gd name="connsiteY2372" fmla="*/ 458833 h 2163071"/>
                    <a:gd name="connsiteX2373" fmla="*/ 250945 w 2328854"/>
                    <a:gd name="connsiteY2373" fmla="*/ 465661 h 2163071"/>
                    <a:gd name="connsiteX2374" fmla="*/ 254559 w 2328854"/>
                    <a:gd name="connsiteY2374" fmla="*/ 462047 h 2163071"/>
                    <a:gd name="connsiteX2375" fmla="*/ 251025 w 2328854"/>
                    <a:gd name="connsiteY2375" fmla="*/ 472168 h 2163071"/>
                    <a:gd name="connsiteX2376" fmla="*/ 249900 w 2328854"/>
                    <a:gd name="connsiteY2376" fmla="*/ 469437 h 2163071"/>
                    <a:gd name="connsiteX2377" fmla="*/ 235522 w 2328854"/>
                    <a:gd name="connsiteY2377" fmla="*/ 489197 h 2163071"/>
                    <a:gd name="connsiteX2378" fmla="*/ 244358 w 2328854"/>
                    <a:gd name="connsiteY2378" fmla="*/ 486627 h 2163071"/>
                    <a:gd name="connsiteX2379" fmla="*/ 230782 w 2328854"/>
                    <a:gd name="connsiteY2379" fmla="*/ 497793 h 2163071"/>
                    <a:gd name="connsiteX2380" fmla="*/ 240984 w 2328854"/>
                    <a:gd name="connsiteY2380" fmla="*/ 492812 h 2163071"/>
                    <a:gd name="connsiteX2381" fmla="*/ 243876 w 2328854"/>
                    <a:gd name="connsiteY2381" fmla="*/ 493455 h 2163071"/>
                    <a:gd name="connsiteX2382" fmla="*/ 248374 w 2328854"/>
                    <a:gd name="connsiteY2382" fmla="*/ 493856 h 2163071"/>
                    <a:gd name="connsiteX2383" fmla="*/ 253033 w 2328854"/>
                    <a:gd name="connsiteY2383" fmla="*/ 490965 h 2163071"/>
                    <a:gd name="connsiteX2384" fmla="*/ 262110 w 2328854"/>
                    <a:gd name="connsiteY2384" fmla="*/ 481888 h 2163071"/>
                    <a:gd name="connsiteX2385" fmla="*/ 363966 w 2328854"/>
                    <a:gd name="connsiteY2385" fmla="*/ 541973 h 2163071"/>
                    <a:gd name="connsiteX2386" fmla="*/ 364287 w 2328854"/>
                    <a:gd name="connsiteY2386" fmla="*/ 541571 h 2163071"/>
                    <a:gd name="connsiteX2387" fmla="*/ 364207 w 2328854"/>
                    <a:gd name="connsiteY2387" fmla="*/ 541571 h 2163071"/>
                    <a:gd name="connsiteX2388" fmla="*/ 363404 w 2328854"/>
                    <a:gd name="connsiteY2388" fmla="*/ 542053 h 2163071"/>
                    <a:gd name="connsiteX2389" fmla="*/ 359789 w 2328854"/>
                    <a:gd name="connsiteY2389" fmla="*/ 545347 h 2163071"/>
                    <a:gd name="connsiteX2390" fmla="*/ 354407 w 2328854"/>
                    <a:gd name="connsiteY2390" fmla="*/ 555066 h 2163071"/>
                    <a:gd name="connsiteX2391" fmla="*/ 363966 w 2328854"/>
                    <a:gd name="connsiteY2391" fmla="*/ 541973 h 2163071"/>
                    <a:gd name="connsiteX2392" fmla="*/ 274240 w 2328854"/>
                    <a:gd name="connsiteY2392" fmla="*/ 428871 h 2163071"/>
                    <a:gd name="connsiteX2393" fmla="*/ 274481 w 2328854"/>
                    <a:gd name="connsiteY2393" fmla="*/ 428710 h 2163071"/>
                    <a:gd name="connsiteX2394" fmla="*/ 274400 w 2328854"/>
                    <a:gd name="connsiteY2394" fmla="*/ 428710 h 2163071"/>
                    <a:gd name="connsiteX2395" fmla="*/ 273356 w 2328854"/>
                    <a:gd name="connsiteY2395" fmla="*/ 428710 h 2163071"/>
                    <a:gd name="connsiteX2396" fmla="*/ 270384 w 2328854"/>
                    <a:gd name="connsiteY2396" fmla="*/ 431522 h 2163071"/>
                    <a:gd name="connsiteX2397" fmla="*/ 270384 w 2328854"/>
                    <a:gd name="connsiteY2397" fmla="*/ 431522 h 2163071"/>
                    <a:gd name="connsiteX2398" fmla="*/ 274240 w 2328854"/>
                    <a:gd name="connsiteY2398" fmla="*/ 428871 h 2163071"/>
                    <a:gd name="connsiteX2399" fmla="*/ 350792 w 2328854"/>
                    <a:gd name="connsiteY2399" fmla="*/ 531691 h 2163071"/>
                    <a:gd name="connsiteX2400" fmla="*/ 351676 w 2328854"/>
                    <a:gd name="connsiteY2400" fmla="*/ 528157 h 2163071"/>
                    <a:gd name="connsiteX2401" fmla="*/ 350230 w 2328854"/>
                    <a:gd name="connsiteY2401" fmla="*/ 529763 h 2163071"/>
                    <a:gd name="connsiteX2402" fmla="*/ 348061 w 2328854"/>
                    <a:gd name="connsiteY2402" fmla="*/ 533779 h 2163071"/>
                    <a:gd name="connsiteX2403" fmla="*/ 350792 w 2328854"/>
                    <a:gd name="connsiteY2403" fmla="*/ 531691 h 2163071"/>
                    <a:gd name="connsiteX2404" fmla="*/ 1736450 w 2328854"/>
                    <a:gd name="connsiteY2404" fmla="*/ 319223 h 2163071"/>
                    <a:gd name="connsiteX2405" fmla="*/ 1736450 w 2328854"/>
                    <a:gd name="connsiteY2405" fmla="*/ 318982 h 2163071"/>
                    <a:gd name="connsiteX2406" fmla="*/ 1732273 w 2328854"/>
                    <a:gd name="connsiteY2406" fmla="*/ 319143 h 2163071"/>
                    <a:gd name="connsiteX2407" fmla="*/ 1731951 w 2328854"/>
                    <a:gd name="connsiteY2407" fmla="*/ 319545 h 2163071"/>
                    <a:gd name="connsiteX2408" fmla="*/ 1736450 w 2328854"/>
                    <a:gd name="connsiteY2408" fmla="*/ 319223 h 2163071"/>
                    <a:gd name="connsiteX2409" fmla="*/ 275204 w 2328854"/>
                    <a:gd name="connsiteY2409" fmla="*/ 425899 h 2163071"/>
                    <a:gd name="connsiteX2410" fmla="*/ 276569 w 2328854"/>
                    <a:gd name="connsiteY2410" fmla="*/ 424051 h 2163071"/>
                    <a:gd name="connsiteX2411" fmla="*/ 280023 w 2328854"/>
                    <a:gd name="connsiteY2411" fmla="*/ 419232 h 2163071"/>
                    <a:gd name="connsiteX2412" fmla="*/ 279863 w 2328854"/>
                    <a:gd name="connsiteY2412" fmla="*/ 419312 h 2163071"/>
                    <a:gd name="connsiteX2413" fmla="*/ 275204 w 2328854"/>
                    <a:gd name="connsiteY2413" fmla="*/ 425899 h 2163071"/>
                    <a:gd name="connsiteX2414" fmla="*/ 1641663 w 2328854"/>
                    <a:gd name="connsiteY2414" fmla="*/ 385173 h 2163071"/>
                    <a:gd name="connsiteX2415" fmla="*/ 1642627 w 2328854"/>
                    <a:gd name="connsiteY2415" fmla="*/ 385253 h 2163071"/>
                    <a:gd name="connsiteX2416" fmla="*/ 1624071 w 2328854"/>
                    <a:gd name="connsiteY2416" fmla="*/ 383968 h 2163071"/>
                    <a:gd name="connsiteX2417" fmla="*/ 1624392 w 2328854"/>
                    <a:gd name="connsiteY2417" fmla="*/ 384289 h 2163071"/>
                    <a:gd name="connsiteX2418" fmla="*/ 1628409 w 2328854"/>
                    <a:gd name="connsiteY2418" fmla="*/ 385574 h 2163071"/>
                    <a:gd name="connsiteX2419" fmla="*/ 1641663 w 2328854"/>
                    <a:gd name="connsiteY2419" fmla="*/ 385173 h 2163071"/>
                    <a:gd name="connsiteX2420" fmla="*/ 1742314 w 2328854"/>
                    <a:gd name="connsiteY2420" fmla="*/ 305568 h 2163071"/>
                    <a:gd name="connsiteX2421" fmla="*/ 1735486 w 2328854"/>
                    <a:gd name="connsiteY2421" fmla="*/ 303238 h 2163071"/>
                    <a:gd name="connsiteX2422" fmla="*/ 1735727 w 2328854"/>
                    <a:gd name="connsiteY2422" fmla="*/ 303399 h 2163071"/>
                    <a:gd name="connsiteX2423" fmla="*/ 1744161 w 2328854"/>
                    <a:gd name="connsiteY2423" fmla="*/ 308540 h 2163071"/>
                    <a:gd name="connsiteX2424" fmla="*/ 1742314 w 2328854"/>
                    <a:gd name="connsiteY2424" fmla="*/ 305568 h 2163071"/>
                    <a:gd name="connsiteX2425" fmla="*/ 1764725 w 2328854"/>
                    <a:gd name="connsiteY2425" fmla="*/ 142903 h 2163071"/>
                    <a:gd name="connsiteX2426" fmla="*/ 1764565 w 2328854"/>
                    <a:gd name="connsiteY2426" fmla="*/ 142823 h 2163071"/>
                    <a:gd name="connsiteX2427" fmla="*/ 1765850 w 2328854"/>
                    <a:gd name="connsiteY2427" fmla="*/ 143787 h 2163071"/>
                    <a:gd name="connsiteX2428" fmla="*/ 1768501 w 2328854"/>
                    <a:gd name="connsiteY2428" fmla="*/ 145233 h 2163071"/>
                    <a:gd name="connsiteX2429" fmla="*/ 1769465 w 2328854"/>
                    <a:gd name="connsiteY2429" fmla="*/ 145795 h 2163071"/>
                    <a:gd name="connsiteX2430" fmla="*/ 1764725 w 2328854"/>
                    <a:gd name="connsiteY2430" fmla="*/ 142903 h 2163071"/>
                    <a:gd name="connsiteX2431" fmla="*/ 1737494 w 2328854"/>
                    <a:gd name="connsiteY2431" fmla="*/ 296330 h 2163071"/>
                    <a:gd name="connsiteX2432" fmla="*/ 1735004 w 2328854"/>
                    <a:gd name="connsiteY2432" fmla="*/ 294723 h 2163071"/>
                    <a:gd name="connsiteX2433" fmla="*/ 1735406 w 2328854"/>
                    <a:gd name="connsiteY2433" fmla="*/ 295125 h 2163071"/>
                    <a:gd name="connsiteX2434" fmla="*/ 1739261 w 2328854"/>
                    <a:gd name="connsiteY2434" fmla="*/ 298900 h 2163071"/>
                    <a:gd name="connsiteX2435" fmla="*/ 1740788 w 2328854"/>
                    <a:gd name="connsiteY2435" fmla="*/ 300346 h 2163071"/>
                    <a:gd name="connsiteX2436" fmla="*/ 1741350 w 2328854"/>
                    <a:gd name="connsiteY2436" fmla="*/ 301310 h 2163071"/>
                    <a:gd name="connsiteX2437" fmla="*/ 1743760 w 2328854"/>
                    <a:gd name="connsiteY2437" fmla="*/ 302194 h 2163071"/>
                    <a:gd name="connsiteX2438" fmla="*/ 1737494 w 2328854"/>
                    <a:gd name="connsiteY2438" fmla="*/ 296330 h 2163071"/>
                    <a:gd name="connsiteX2439" fmla="*/ 298338 w 2328854"/>
                    <a:gd name="connsiteY2439" fmla="*/ 432084 h 2163071"/>
                    <a:gd name="connsiteX2440" fmla="*/ 306773 w 2328854"/>
                    <a:gd name="connsiteY2440" fmla="*/ 423087 h 2163071"/>
                    <a:gd name="connsiteX2441" fmla="*/ 306371 w 2328854"/>
                    <a:gd name="connsiteY2441" fmla="*/ 423328 h 2163071"/>
                    <a:gd name="connsiteX2442" fmla="*/ 302917 w 2328854"/>
                    <a:gd name="connsiteY2442" fmla="*/ 426059 h 2163071"/>
                    <a:gd name="connsiteX2443" fmla="*/ 297294 w 2328854"/>
                    <a:gd name="connsiteY2443" fmla="*/ 432968 h 2163071"/>
                    <a:gd name="connsiteX2444" fmla="*/ 298338 w 2328854"/>
                    <a:gd name="connsiteY2444" fmla="*/ 432084 h 2163071"/>
                    <a:gd name="connsiteX2445" fmla="*/ 418107 w 2328854"/>
                    <a:gd name="connsiteY2445" fmla="*/ 495142 h 2163071"/>
                    <a:gd name="connsiteX2446" fmla="*/ 418428 w 2328854"/>
                    <a:gd name="connsiteY2446" fmla="*/ 494901 h 2163071"/>
                    <a:gd name="connsiteX2447" fmla="*/ 417224 w 2328854"/>
                    <a:gd name="connsiteY2447" fmla="*/ 493696 h 2163071"/>
                    <a:gd name="connsiteX2448" fmla="*/ 416902 w 2328854"/>
                    <a:gd name="connsiteY2448" fmla="*/ 493856 h 2163071"/>
                    <a:gd name="connsiteX2449" fmla="*/ 413528 w 2328854"/>
                    <a:gd name="connsiteY2449" fmla="*/ 497712 h 2163071"/>
                    <a:gd name="connsiteX2450" fmla="*/ 418107 w 2328854"/>
                    <a:gd name="connsiteY2450" fmla="*/ 495142 h 2163071"/>
                    <a:gd name="connsiteX2451" fmla="*/ 1668974 w 2328854"/>
                    <a:gd name="connsiteY2451" fmla="*/ 301391 h 2163071"/>
                    <a:gd name="connsiteX2452" fmla="*/ 1668171 w 2328854"/>
                    <a:gd name="connsiteY2452" fmla="*/ 300587 h 2163071"/>
                    <a:gd name="connsiteX2453" fmla="*/ 1668332 w 2328854"/>
                    <a:gd name="connsiteY2453" fmla="*/ 301391 h 2163071"/>
                    <a:gd name="connsiteX2454" fmla="*/ 1669135 w 2328854"/>
                    <a:gd name="connsiteY2454" fmla="*/ 306612 h 2163071"/>
                    <a:gd name="connsiteX2455" fmla="*/ 1667448 w 2328854"/>
                    <a:gd name="connsiteY2455" fmla="*/ 305648 h 2163071"/>
                    <a:gd name="connsiteX2456" fmla="*/ 1670742 w 2328854"/>
                    <a:gd name="connsiteY2456" fmla="*/ 308218 h 2163071"/>
                    <a:gd name="connsiteX2457" fmla="*/ 1669537 w 2328854"/>
                    <a:gd name="connsiteY2457" fmla="*/ 308540 h 2163071"/>
                    <a:gd name="connsiteX2458" fmla="*/ 1671143 w 2328854"/>
                    <a:gd name="connsiteY2458" fmla="*/ 315930 h 2163071"/>
                    <a:gd name="connsiteX2459" fmla="*/ 1677007 w 2328854"/>
                    <a:gd name="connsiteY2459" fmla="*/ 320027 h 2163071"/>
                    <a:gd name="connsiteX2460" fmla="*/ 1678935 w 2328854"/>
                    <a:gd name="connsiteY2460" fmla="*/ 318018 h 2163071"/>
                    <a:gd name="connsiteX2461" fmla="*/ 1668974 w 2328854"/>
                    <a:gd name="connsiteY2461" fmla="*/ 301391 h 2163071"/>
                    <a:gd name="connsiteX2462" fmla="*/ 368705 w 2328854"/>
                    <a:gd name="connsiteY2462" fmla="*/ 453532 h 2163071"/>
                    <a:gd name="connsiteX2463" fmla="*/ 369428 w 2328854"/>
                    <a:gd name="connsiteY2463" fmla="*/ 450238 h 2163071"/>
                    <a:gd name="connsiteX2464" fmla="*/ 368705 w 2328854"/>
                    <a:gd name="connsiteY2464" fmla="*/ 449917 h 2163071"/>
                    <a:gd name="connsiteX2465" fmla="*/ 367661 w 2328854"/>
                    <a:gd name="connsiteY2465" fmla="*/ 454094 h 2163071"/>
                    <a:gd name="connsiteX2466" fmla="*/ 368705 w 2328854"/>
                    <a:gd name="connsiteY2466" fmla="*/ 453532 h 2163071"/>
                    <a:gd name="connsiteX2467" fmla="*/ 1648892 w 2328854"/>
                    <a:gd name="connsiteY2467" fmla="*/ 74946 h 2163071"/>
                    <a:gd name="connsiteX2468" fmla="*/ 1640779 w 2328854"/>
                    <a:gd name="connsiteY2468" fmla="*/ 71813 h 2163071"/>
                    <a:gd name="connsiteX2469" fmla="*/ 1649294 w 2328854"/>
                    <a:gd name="connsiteY2469" fmla="*/ 75187 h 2163071"/>
                    <a:gd name="connsiteX2470" fmla="*/ 1648892 w 2328854"/>
                    <a:gd name="connsiteY2470" fmla="*/ 74946 h 2163071"/>
                    <a:gd name="connsiteX2471" fmla="*/ 1640458 w 2328854"/>
                    <a:gd name="connsiteY2471" fmla="*/ 71733 h 2163071"/>
                    <a:gd name="connsiteX2472" fmla="*/ 1640458 w 2328854"/>
                    <a:gd name="connsiteY2472" fmla="*/ 71733 h 2163071"/>
                    <a:gd name="connsiteX2473" fmla="*/ 1640458 w 2328854"/>
                    <a:gd name="connsiteY2473" fmla="*/ 71733 h 2163071"/>
                    <a:gd name="connsiteX2474" fmla="*/ 1640458 w 2328854"/>
                    <a:gd name="connsiteY2474" fmla="*/ 71733 h 2163071"/>
                    <a:gd name="connsiteX2475" fmla="*/ 1640458 w 2328854"/>
                    <a:gd name="connsiteY2475" fmla="*/ 71733 h 2163071"/>
                    <a:gd name="connsiteX2476" fmla="*/ 1640458 w 2328854"/>
                    <a:gd name="connsiteY2476" fmla="*/ 71733 h 2163071"/>
                    <a:gd name="connsiteX2477" fmla="*/ 1640458 w 2328854"/>
                    <a:gd name="connsiteY2477" fmla="*/ 71733 h 2163071"/>
                    <a:gd name="connsiteX2478" fmla="*/ 1640378 w 2328854"/>
                    <a:gd name="connsiteY2478" fmla="*/ 71733 h 2163071"/>
                    <a:gd name="connsiteX2479" fmla="*/ 1640378 w 2328854"/>
                    <a:gd name="connsiteY2479" fmla="*/ 71733 h 2163071"/>
                    <a:gd name="connsiteX2480" fmla="*/ 1640378 w 2328854"/>
                    <a:gd name="connsiteY2480" fmla="*/ 71733 h 2163071"/>
                    <a:gd name="connsiteX2481" fmla="*/ 1640378 w 2328854"/>
                    <a:gd name="connsiteY2481" fmla="*/ 71733 h 2163071"/>
                    <a:gd name="connsiteX2482" fmla="*/ 1640378 w 2328854"/>
                    <a:gd name="connsiteY2482" fmla="*/ 71733 h 2163071"/>
                    <a:gd name="connsiteX2483" fmla="*/ 1640378 w 2328854"/>
                    <a:gd name="connsiteY2483" fmla="*/ 71733 h 2163071"/>
                    <a:gd name="connsiteX2484" fmla="*/ 1640378 w 2328854"/>
                    <a:gd name="connsiteY2484" fmla="*/ 71733 h 2163071"/>
                    <a:gd name="connsiteX2485" fmla="*/ 1640378 w 2328854"/>
                    <a:gd name="connsiteY2485" fmla="*/ 71733 h 2163071"/>
                    <a:gd name="connsiteX2486" fmla="*/ 1640378 w 2328854"/>
                    <a:gd name="connsiteY2486" fmla="*/ 71733 h 2163071"/>
                    <a:gd name="connsiteX2487" fmla="*/ 1640378 w 2328854"/>
                    <a:gd name="connsiteY2487" fmla="*/ 71733 h 2163071"/>
                    <a:gd name="connsiteX2488" fmla="*/ 1640378 w 2328854"/>
                    <a:gd name="connsiteY2488" fmla="*/ 71733 h 2163071"/>
                    <a:gd name="connsiteX2489" fmla="*/ 1640378 w 2328854"/>
                    <a:gd name="connsiteY2489" fmla="*/ 71733 h 2163071"/>
                    <a:gd name="connsiteX2490" fmla="*/ 1640458 w 2328854"/>
                    <a:gd name="connsiteY2490" fmla="*/ 71733 h 2163071"/>
                    <a:gd name="connsiteX2491" fmla="*/ 1712994 w 2328854"/>
                    <a:gd name="connsiteY2491" fmla="*/ 122821 h 2163071"/>
                    <a:gd name="connsiteX2492" fmla="*/ 1712110 w 2328854"/>
                    <a:gd name="connsiteY2492" fmla="*/ 122661 h 2163071"/>
                    <a:gd name="connsiteX2493" fmla="*/ 1712994 w 2328854"/>
                    <a:gd name="connsiteY2493" fmla="*/ 122821 h 2163071"/>
                    <a:gd name="connsiteX2494" fmla="*/ 1712994 w 2328854"/>
                    <a:gd name="connsiteY2494" fmla="*/ 122821 h 2163071"/>
                    <a:gd name="connsiteX2495" fmla="*/ 1713717 w 2328854"/>
                    <a:gd name="connsiteY2495" fmla="*/ 122982 h 2163071"/>
                    <a:gd name="connsiteX2496" fmla="*/ 1712994 w 2328854"/>
                    <a:gd name="connsiteY2496" fmla="*/ 122821 h 2163071"/>
                    <a:gd name="connsiteX2497" fmla="*/ 1713717 w 2328854"/>
                    <a:gd name="connsiteY2497" fmla="*/ 122982 h 2163071"/>
                    <a:gd name="connsiteX2498" fmla="*/ 1713717 w 2328854"/>
                    <a:gd name="connsiteY2498" fmla="*/ 122982 h 2163071"/>
                    <a:gd name="connsiteX2499" fmla="*/ 1714440 w 2328854"/>
                    <a:gd name="connsiteY2499" fmla="*/ 121857 h 2163071"/>
                    <a:gd name="connsiteX2500" fmla="*/ 1714440 w 2328854"/>
                    <a:gd name="connsiteY2500" fmla="*/ 121857 h 2163071"/>
                    <a:gd name="connsiteX2501" fmla="*/ 1709299 w 2328854"/>
                    <a:gd name="connsiteY2501" fmla="*/ 119930 h 2163071"/>
                    <a:gd name="connsiteX2502" fmla="*/ 1709460 w 2328854"/>
                    <a:gd name="connsiteY2502" fmla="*/ 120010 h 2163071"/>
                    <a:gd name="connsiteX2503" fmla="*/ 1714440 w 2328854"/>
                    <a:gd name="connsiteY2503" fmla="*/ 121857 h 2163071"/>
                    <a:gd name="connsiteX2504" fmla="*/ 1707853 w 2328854"/>
                    <a:gd name="connsiteY2504" fmla="*/ 119689 h 2163071"/>
                    <a:gd name="connsiteX2505" fmla="*/ 1707532 w 2328854"/>
                    <a:gd name="connsiteY2505" fmla="*/ 119528 h 2163071"/>
                    <a:gd name="connsiteX2506" fmla="*/ 1709138 w 2328854"/>
                    <a:gd name="connsiteY2506" fmla="*/ 121135 h 2163071"/>
                    <a:gd name="connsiteX2507" fmla="*/ 1710343 w 2328854"/>
                    <a:gd name="connsiteY2507" fmla="*/ 120974 h 2163071"/>
                    <a:gd name="connsiteX2508" fmla="*/ 1707853 w 2328854"/>
                    <a:gd name="connsiteY2508" fmla="*/ 119689 h 2163071"/>
                    <a:gd name="connsiteX2509" fmla="*/ 1654114 w 2328854"/>
                    <a:gd name="connsiteY2509" fmla="*/ 79846 h 2163071"/>
                    <a:gd name="connsiteX2510" fmla="*/ 1650017 w 2328854"/>
                    <a:gd name="connsiteY2510" fmla="*/ 78480 h 2163071"/>
                    <a:gd name="connsiteX2511" fmla="*/ 1650258 w 2328854"/>
                    <a:gd name="connsiteY2511" fmla="*/ 78561 h 2163071"/>
                    <a:gd name="connsiteX2512" fmla="*/ 1658532 w 2328854"/>
                    <a:gd name="connsiteY2512" fmla="*/ 81854 h 2163071"/>
                    <a:gd name="connsiteX2513" fmla="*/ 1654114 w 2328854"/>
                    <a:gd name="connsiteY2513" fmla="*/ 79846 h 2163071"/>
                    <a:gd name="connsiteX2514" fmla="*/ 423168 w 2328854"/>
                    <a:gd name="connsiteY2514" fmla="*/ 249097 h 2163071"/>
                    <a:gd name="connsiteX2515" fmla="*/ 423087 w 2328854"/>
                    <a:gd name="connsiteY2515" fmla="*/ 249177 h 2163071"/>
                    <a:gd name="connsiteX2516" fmla="*/ 430879 w 2328854"/>
                    <a:gd name="connsiteY2516" fmla="*/ 243072 h 2163071"/>
                    <a:gd name="connsiteX2517" fmla="*/ 431602 w 2328854"/>
                    <a:gd name="connsiteY2517" fmla="*/ 242510 h 2163071"/>
                    <a:gd name="connsiteX2518" fmla="*/ 424132 w 2328854"/>
                    <a:gd name="connsiteY2518" fmla="*/ 248374 h 2163071"/>
                    <a:gd name="connsiteX2519" fmla="*/ 424132 w 2328854"/>
                    <a:gd name="connsiteY2519" fmla="*/ 248374 h 2163071"/>
                    <a:gd name="connsiteX2520" fmla="*/ 423168 w 2328854"/>
                    <a:gd name="connsiteY2520" fmla="*/ 249097 h 2163071"/>
                    <a:gd name="connsiteX2521" fmla="*/ 510404 w 2328854"/>
                    <a:gd name="connsiteY2521" fmla="*/ 471606 h 2163071"/>
                    <a:gd name="connsiteX2522" fmla="*/ 510484 w 2328854"/>
                    <a:gd name="connsiteY2522" fmla="*/ 471686 h 2163071"/>
                    <a:gd name="connsiteX2523" fmla="*/ 511930 w 2328854"/>
                    <a:gd name="connsiteY2523" fmla="*/ 467911 h 2163071"/>
                    <a:gd name="connsiteX2524" fmla="*/ 511770 w 2328854"/>
                    <a:gd name="connsiteY2524" fmla="*/ 467991 h 2163071"/>
                    <a:gd name="connsiteX2525" fmla="*/ 510404 w 2328854"/>
                    <a:gd name="connsiteY2525" fmla="*/ 471606 h 2163071"/>
                    <a:gd name="connsiteX2526" fmla="*/ 494579 w 2328854"/>
                    <a:gd name="connsiteY2526" fmla="*/ 361878 h 2163071"/>
                    <a:gd name="connsiteX2527" fmla="*/ 494579 w 2328854"/>
                    <a:gd name="connsiteY2527" fmla="*/ 361878 h 2163071"/>
                    <a:gd name="connsiteX2528" fmla="*/ 494579 w 2328854"/>
                    <a:gd name="connsiteY2528" fmla="*/ 361878 h 2163071"/>
                    <a:gd name="connsiteX2529" fmla="*/ 494579 w 2328854"/>
                    <a:gd name="connsiteY2529" fmla="*/ 361878 h 2163071"/>
                    <a:gd name="connsiteX2530" fmla="*/ 494579 w 2328854"/>
                    <a:gd name="connsiteY2530" fmla="*/ 361878 h 2163071"/>
                    <a:gd name="connsiteX2531" fmla="*/ 494579 w 2328854"/>
                    <a:gd name="connsiteY2531" fmla="*/ 361878 h 2163071"/>
                    <a:gd name="connsiteX2532" fmla="*/ 494579 w 2328854"/>
                    <a:gd name="connsiteY2532" fmla="*/ 361878 h 2163071"/>
                    <a:gd name="connsiteX2533" fmla="*/ 494579 w 2328854"/>
                    <a:gd name="connsiteY2533" fmla="*/ 361878 h 2163071"/>
                    <a:gd name="connsiteX2534" fmla="*/ 494579 w 2328854"/>
                    <a:gd name="connsiteY2534" fmla="*/ 361878 h 2163071"/>
                    <a:gd name="connsiteX2535" fmla="*/ 494579 w 2328854"/>
                    <a:gd name="connsiteY2535" fmla="*/ 361878 h 2163071"/>
                    <a:gd name="connsiteX2536" fmla="*/ 494579 w 2328854"/>
                    <a:gd name="connsiteY2536" fmla="*/ 361878 h 2163071"/>
                    <a:gd name="connsiteX2537" fmla="*/ 494579 w 2328854"/>
                    <a:gd name="connsiteY2537" fmla="*/ 361878 h 2163071"/>
                    <a:gd name="connsiteX2538" fmla="*/ 494579 w 2328854"/>
                    <a:gd name="connsiteY2538" fmla="*/ 361878 h 2163071"/>
                    <a:gd name="connsiteX2539" fmla="*/ 494579 w 2328854"/>
                    <a:gd name="connsiteY2539" fmla="*/ 361878 h 2163071"/>
                    <a:gd name="connsiteX2540" fmla="*/ 494579 w 2328854"/>
                    <a:gd name="connsiteY2540" fmla="*/ 361878 h 2163071"/>
                    <a:gd name="connsiteX2541" fmla="*/ 494579 w 2328854"/>
                    <a:gd name="connsiteY2541" fmla="*/ 361878 h 2163071"/>
                    <a:gd name="connsiteX2542" fmla="*/ 494579 w 2328854"/>
                    <a:gd name="connsiteY2542" fmla="*/ 361878 h 2163071"/>
                    <a:gd name="connsiteX2543" fmla="*/ 494579 w 2328854"/>
                    <a:gd name="connsiteY2543" fmla="*/ 361878 h 2163071"/>
                    <a:gd name="connsiteX2544" fmla="*/ 494579 w 2328854"/>
                    <a:gd name="connsiteY2544" fmla="*/ 361878 h 2163071"/>
                    <a:gd name="connsiteX2545" fmla="*/ 494579 w 2328854"/>
                    <a:gd name="connsiteY2545" fmla="*/ 361878 h 2163071"/>
                    <a:gd name="connsiteX2546" fmla="*/ 494579 w 2328854"/>
                    <a:gd name="connsiteY2546" fmla="*/ 361878 h 2163071"/>
                    <a:gd name="connsiteX2547" fmla="*/ 494579 w 2328854"/>
                    <a:gd name="connsiteY2547" fmla="*/ 361878 h 2163071"/>
                    <a:gd name="connsiteX2548" fmla="*/ 494579 w 2328854"/>
                    <a:gd name="connsiteY2548" fmla="*/ 361878 h 2163071"/>
                    <a:gd name="connsiteX2549" fmla="*/ 494579 w 2328854"/>
                    <a:gd name="connsiteY2549" fmla="*/ 361878 h 2163071"/>
                    <a:gd name="connsiteX2550" fmla="*/ 494579 w 2328854"/>
                    <a:gd name="connsiteY2550" fmla="*/ 361878 h 2163071"/>
                    <a:gd name="connsiteX2551" fmla="*/ 494579 w 2328854"/>
                    <a:gd name="connsiteY2551" fmla="*/ 361878 h 2163071"/>
                    <a:gd name="connsiteX2552" fmla="*/ 494579 w 2328854"/>
                    <a:gd name="connsiteY2552" fmla="*/ 361878 h 2163071"/>
                    <a:gd name="connsiteX2553" fmla="*/ 494579 w 2328854"/>
                    <a:gd name="connsiteY2553" fmla="*/ 361878 h 2163071"/>
                    <a:gd name="connsiteX2554" fmla="*/ 494579 w 2328854"/>
                    <a:gd name="connsiteY2554" fmla="*/ 361878 h 2163071"/>
                    <a:gd name="connsiteX2555" fmla="*/ 494579 w 2328854"/>
                    <a:gd name="connsiteY2555" fmla="*/ 361878 h 2163071"/>
                    <a:gd name="connsiteX2556" fmla="*/ 494579 w 2328854"/>
                    <a:gd name="connsiteY2556" fmla="*/ 361878 h 2163071"/>
                    <a:gd name="connsiteX2557" fmla="*/ 494579 w 2328854"/>
                    <a:gd name="connsiteY2557" fmla="*/ 361878 h 2163071"/>
                    <a:gd name="connsiteX2558" fmla="*/ 494579 w 2328854"/>
                    <a:gd name="connsiteY2558" fmla="*/ 361878 h 2163071"/>
                    <a:gd name="connsiteX2559" fmla="*/ 494579 w 2328854"/>
                    <a:gd name="connsiteY2559" fmla="*/ 361878 h 2163071"/>
                    <a:gd name="connsiteX2560" fmla="*/ 494579 w 2328854"/>
                    <a:gd name="connsiteY2560" fmla="*/ 361878 h 2163071"/>
                    <a:gd name="connsiteX2561" fmla="*/ 494579 w 2328854"/>
                    <a:gd name="connsiteY2561" fmla="*/ 361878 h 2163071"/>
                    <a:gd name="connsiteX2562" fmla="*/ 494579 w 2328854"/>
                    <a:gd name="connsiteY2562" fmla="*/ 361878 h 2163071"/>
                    <a:gd name="connsiteX2563" fmla="*/ 494579 w 2328854"/>
                    <a:gd name="connsiteY2563" fmla="*/ 361878 h 2163071"/>
                    <a:gd name="connsiteX2564" fmla="*/ 494579 w 2328854"/>
                    <a:gd name="connsiteY2564" fmla="*/ 361878 h 2163071"/>
                    <a:gd name="connsiteX2565" fmla="*/ 494579 w 2328854"/>
                    <a:gd name="connsiteY2565" fmla="*/ 361878 h 2163071"/>
                    <a:gd name="connsiteX2566" fmla="*/ 494579 w 2328854"/>
                    <a:gd name="connsiteY2566" fmla="*/ 361878 h 2163071"/>
                    <a:gd name="connsiteX2567" fmla="*/ 494579 w 2328854"/>
                    <a:gd name="connsiteY2567" fmla="*/ 361878 h 2163071"/>
                    <a:gd name="connsiteX2568" fmla="*/ 494579 w 2328854"/>
                    <a:gd name="connsiteY2568" fmla="*/ 361878 h 2163071"/>
                    <a:gd name="connsiteX2569" fmla="*/ 494579 w 2328854"/>
                    <a:gd name="connsiteY2569" fmla="*/ 361878 h 2163071"/>
                    <a:gd name="connsiteX2570" fmla="*/ 494579 w 2328854"/>
                    <a:gd name="connsiteY2570" fmla="*/ 361878 h 2163071"/>
                    <a:gd name="connsiteX2571" fmla="*/ 494579 w 2328854"/>
                    <a:gd name="connsiteY2571" fmla="*/ 361878 h 2163071"/>
                    <a:gd name="connsiteX2572" fmla="*/ 494579 w 2328854"/>
                    <a:gd name="connsiteY2572" fmla="*/ 361878 h 2163071"/>
                    <a:gd name="connsiteX2573" fmla="*/ 494579 w 2328854"/>
                    <a:gd name="connsiteY2573" fmla="*/ 361878 h 2163071"/>
                    <a:gd name="connsiteX2574" fmla="*/ 494579 w 2328854"/>
                    <a:gd name="connsiteY2574" fmla="*/ 361878 h 2163071"/>
                    <a:gd name="connsiteX2575" fmla="*/ 494579 w 2328854"/>
                    <a:gd name="connsiteY2575" fmla="*/ 361878 h 2163071"/>
                    <a:gd name="connsiteX2576" fmla="*/ 494579 w 2328854"/>
                    <a:gd name="connsiteY2576" fmla="*/ 361878 h 2163071"/>
                    <a:gd name="connsiteX2577" fmla="*/ 494579 w 2328854"/>
                    <a:gd name="connsiteY2577" fmla="*/ 361878 h 2163071"/>
                    <a:gd name="connsiteX2578" fmla="*/ 494579 w 2328854"/>
                    <a:gd name="connsiteY2578" fmla="*/ 361878 h 2163071"/>
                    <a:gd name="connsiteX2579" fmla="*/ 494579 w 2328854"/>
                    <a:gd name="connsiteY2579" fmla="*/ 361878 h 2163071"/>
                    <a:gd name="connsiteX2580" fmla="*/ 494579 w 2328854"/>
                    <a:gd name="connsiteY2580" fmla="*/ 361878 h 2163071"/>
                    <a:gd name="connsiteX2581" fmla="*/ 494579 w 2328854"/>
                    <a:gd name="connsiteY2581" fmla="*/ 361878 h 2163071"/>
                    <a:gd name="connsiteX2582" fmla="*/ 494579 w 2328854"/>
                    <a:gd name="connsiteY2582" fmla="*/ 361878 h 2163071"/>
                    <a:gd name="connsiteX2583" fmla="*/ 494579 w 2328854"/>
                    <a:gd name="connsiteY2583" fmla="*/ 361878 h 2163071"/>
                    <a:gd name="connsiteX2584" fmla="*/ 494579 w 2328854"/>
                    <a:gd name="connsiteY2584" fmla="*/ 361878 h 2163071"/>
                    <a:gd name="connsiteX2585" fmla="*/ 494579 w 2328854"/>
                    <a:gd name="connsiteY2585" fmla="*/ 361878 h 2163071"/>
                    <a:gd name="connsiteX2586" fmla="*/ 494579 w 2328854"/>
                    <a:gd name="connsiteY2586" fmla="*/ 361878 h 2163071"/>
                    <a:gd name="connsiteX2587" fmla="*/ 494579 w 2328854"/>
                    <a:gd name="connsiteY2587" fmla="*/ 361878 h 2163071"/>
                    <a:gd name="connsiteX2588" fmla="*/ 494579 w 2328854"/>
                    <a:gd name="connsiteY2588" fmla="*/ 361878 h 2163071"/>
                    <a:gd name="connsiteX2589" fmla="*/ 494579 w 2328854"/>
                    <a:gd name="connsiteY2589" fmla="*/ 361878 h 2163071"/>
                    <a:gd name="connsiteX2590" fmla="*/ 494579 w 2328854"/>
                    <a:gd name="connsiteY2590" fmla="*/ 361878 h 2163071"/>
                    <a:gd name="connsiteX2591" fmla="*/ 494579 w 2328854"/>
                    <a:gd name="connsiteY2591" fmla="*/ 361878 h 2163071"/>
                    <a:gd name="connsiteX2592" fmla="*/ 494579 w 2328854"/>
                    <a:gd name="connsiteY2592" fmla="*/ 361878 h 2163071"/>
                    <a:gd name="connsiteX2593" fmla="*/ 494579 w 2328854"/>
                    <a:gd name="connsiteY2593" fmla="*/ 361878 h 2163071"/>
                    <a:gd name="connsiteX2594" fmla="*/ 494579 w 2328854"/>
                    <a:gd name="connsiteY2594" fmla="*/ 361878 h 2163071"/>
                    <a:gd name="connsiteX2595" fmla="*/ 494579 w 2328854"/>
                    <a:gd name="connsiteY2595" fmla="*/ 361878 h 2163071"/>
                    <a:gd name="connsiteX2596" fmla="*/ 494579 w 2328854"/>
                    <a:gd name="connsiteY2596" fmla="*/ 361878 h 2163071"/>
                    <a:gd name="connsiteX2597" fmla="*/ 494579 w 2328854"/>
                    <a:gd name="connsiteY2597" fmla="*/ 361878 h 2163071"/>
                    <a:gd name="connsiteX2598" fmla="*/ 494579 w 2328854"/>
                    <a:gd name="connsiteY2598" fmla="*/ 361878 h 2163071"/>
                    <a:gd name="connsiteX2599" fmla="*/ 494579 w 2328854"/>
                    <a:gd name="connsiteY2599" fmla="*/ 361878 h 2163071"/>
                    <a:gd name="connsiteX2600" fmla="*/ 494579 w 2328854"/>
                    <a:gd name="connsiteY2600" fmla="*/ 361878 h 2163071"/>
                    <a:gd name="connsiteX2601" fmla="*/ 494579 w 2328854"/>
                    <a:gd name="connsiteY2601" fmla="*/ 361878 h 2163071"/>
                    <a:gd name="connsiteX2602" fmla="*/ 494579 w 2328854"/>
                    <a:gd name="connsiteY2602" fmla="*/ 361878 h 2163071"/>
                    <a:gd name="connsiteX2603" fmla="*/ 494579 w 2328854"/>
                    <a:gd name="connsiteY2603" fmla="*/ 361878 h 2163071"/>
                    <a:gd name="connsiteX2604" fmla="*/ 494579 w 2328854"/>
                    <a:gd name="connsiteY2604" fmla="*/ 361878 h 2163071"/>
                    <a:gd name="connsiteX2605" fmla="*/ 494579 w 2328854"/>
                    <a:gd name="connsiteY2605" fmla="*/ 361878 h 2163071"/>
                    <a:gd name="connsiteX2606" fmla="*/ 494579 w 2328854"/>
                    <a:gd name="connsiteY2606" fmla="*/ 361878 h 2163071"/>
                    <a:gd name="connsiteX2607" fmla="*/ 494579 w 2328854"/>
                    <a:gd name="connsiteY2607" fmla="*/ 361878 h 2163071"/>
                    <a:gd name="connsiteX2608" fmla="*/ 494579 w 2328854"/>
                    <a:gd name="connsiteY2608" fmla="*/ 361878 h 2163071"/>
                    <a:gd name="connsiteX2609" fmla="*/ 494579 w 2328854"/>
                    <a:gd name="connsiteY2609" fmla="*/ 361878 h 2163071"/>
                    <a:gd name="connsiteX2610" fmla="*/ 494579 w 2328854"/>
                    <a:gd name="connsiteY2610" fmla="*/ 361878 h 2163071"/>
                    <a:gd name="connsiteX2611" fmla="*/ 494579 w 2328854"/>
                    <a:gd name="connsiteY2611" fmla="*/ 361878 h 2163071"/>
                    <a:gd name="connsiteX2612" fmla="*/ 494660 w 2328854"/>
                    <a:gd name="connsiteY2612" fmla="*/ 361878 h 2163071"/>
                    <a:gd name="connsiteX2613" fmla="*/ 494660 w 2328854"/>
                    <a:gd name="connsiteY2613" fmla="*/ 361878 h 2163071"/>
                    <a:gd name="connsiteX2614" fmla="*/ 494660 w 2328854"/>
                    <a:gd name="connsiteY2614" fmla="*/ 361878 h 2163071"/>
                    <a:gd name="connsiteX2615" fmla="*/ 494660 w 2328854"/>
                    <a:gd name="connsiteY2615" fmla="*/ 361878 h 2163071"/>
                    <a:gd name="connsiteX2616" fmla="*/ 494660 w 2328854"/>
                    <a:gd name="connsiteY2616" fmla="*/ 361878 h 2163071"/>
                    <a:gd name="connsiteX2617" fmla="*/ 494660 w 2328854"/>
                    <a:gd name="connsiteY2617" fmla="*/ 361878 h 2163071"/>
                    <a:gd name="connsiteX2618" fmla="*/ 494660 w 2328854"/>
                    <a:gd name="connsiteY2618" fmla="*/ 361878 h 2163071"/>
                    <a:gd name="connsiteX2619" fmla="*/ 494981 w 2328854"/>
                    <a:gd name="connsiteY2619" fmla="*/ 361717 h 2163071"/>
                    <a:gd name="connsiteX2620" fmla="*/ 494660 w 2328854"/>
                    <a:gd name="connsiteY2620" fmla="*/ 361878 h 2163071"/>
                    <a:gd name="connsiteX2621" fmla="*/ 494981 w 2328854"/>
                    <a:gd name="connsiteY2621" fmla="*/ 361717 h 2163071"/>
                    <a:gd name="connsiteX2622" fmla="*/ 494981 w 2328854"/>
                    <a:gd name="connsiteY2622" fmla="*/ 361717 h 2163071"/>
                    <a:gd name="connsiteX2623" fmla="*/ 1421645 w 2328854"/>
                    <a:gd name="connsiteY2623" fmla="*/ 6988 h 2163071"/>
                    <a:gd name="connsiteX2624" fmla="*/ 1382685 w 2328854"/>
                    <a:gd name="connsiteY2624" fmla="*/ 0 h 2163071"/>
                    <a:gd name="connsiteX2625" fmla="*/ 1382605 w 2328854"/>
                    <a:gd name="connsiteY2625" fmla="*/ 0 h 2163071"/>
                    <a:gd name="connsiteX2626" fmla="*/ 1409515 w 2328854"/>
                    <a:gd name="connsiteY2626" fmla="*/ 4900 h 2163071"/>
                    <a:gd name="connsiteX2627" fmla="*/ 1436184 w 2328854"/>
                    <a:gd name="connsiteY2627" fmla="*/ 9961 h 2163071"/>
                    <a:gd name="connsiteX2628" fmla="*/ 1421725 w 2328854"/>
                    <a:gd name="connsiteY2628" fmla="*/ 6988 h 2163071"/>
                    <a:gd name="connsiteX2629" fmla="*/ 1421725 w 2328854"/>
                    <a:gd name="connsiteY2629" fmla="*/ 6988 h 2163071"/>
                    <a:gd name="connsiteX2630" fmla="*/ 1420922 w 2328854"/>
                    <a:gd name="connsiteY2630" fmla="*/ 6828 h 2163071"/>
                    <a:gd name="connsiteX2631" fmla="*/ 1421645 w 2328854"/>
                    <a:gd name="connsiteY2631" fmla="*/ 6988 h 2163071"/>
                    <a:gd name="connsiteX2632" fmla="*/ 916301 w 2328854"/>
                    <a:gd name="connsiteY2632" fmla="*/ 124508 h 2163071"/>
                    <a:gd name="connsiteX2633" fmla="*/ 917024 w 2328854"/>
                    <a:gd name="connsiteY2633" fmla="*/ 124107 h 2163071"/>
                    <a:gd name="connsiteX2634" fmla="*/ 916060 w 2328854"/>
                    <a:gd name="connsiteY2634" fmla="*/ 124508 h 2163071"/>
                    <a:gd name="connsiteX2635" fmla="*/ 896300 w 2328854"/>
                    <a:gd name="connsiteY2635" fmla="*/ 133344 h 2163071"/>
                    <a:gd name="connsiteX2636" fmla="*/ 896059 w 2328854"/>
                    <a:gd name="connsiteY2636" fmla="*/ 133746 h 2163071"/>
                    <a:gd name="connsiteX2637" fmla="*/ 916301 w 2328854"/>
                    <a:gd name="connsiteY2637" fmla="*/ 124508 h 2163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  <a:cxn ang="0">
                      <a:pos x="connsiteX1605" y="connsiteY1605"/>
                    </a:cxn>
                    <a:cxn ang="0">
                      <a:pos x="connsiteX1606" y="connsiteY1606"/>
                    </a:cxn>
                    <a:cxn ang="0">
                      <a:pos x="connsiteX1607" y="connsiteY1607"/>
                    </a:cxn>
                    <a:cxn ang="0">
                      <a:pos x="connsiteX1608" y="connsiteY1608"/>
                    </a:cxn>
                    <a:cxn ang="0">
                      <a:pos x="connsiteX1609" y="connsiteY1609"/>
                    </a:cxn>
                    <a:cxn ang="0">
                      <a:pos x="connsiteX1610" y="connsiteY1610"/>
                    </a:cxn>
                    <a:cxn ang="0">
                      <a:pos x="connsiteX1611" y="connsiteY1611"/>
                    </a:cxn>
                    <a:cxn ang="0">
                      <a:pos x="connsiteX1612" y="connsiteY1612"/>
                    </a:cxn>
                    <a:cxn ang="0">
                      <a:pos x="connsiteX1613" y="connsiteY1613"/>
                    </a:cxn>
                    <a:cxn ang="0">
                      <a:pos x="connsiteX1614" y="connsiteY1614"/>
                    </a:cxn>
                    <a:cxn ang="0">
                      <a:pos x="connsiteX1615" y="connsiteY1615"/>
                    </a:cxn>
                    <a:cxn ang="0">
                      <a:pos x="connsiteX1616" y="connsiteY1616"/>
                    </a:cxn>
                    <a:cxn ang="0">
                      <a:pos x="connsiteX1617" y="connsiteY1617"/>
                    </a:cxn>
                    <a:cxn ang="0">
                      <a:pos x="connsiteX1618" y="connsiteY1618"/>
                    </a:cxn>
                    <a:cxn ang="0">
                      <a:pos x="connsiteX1619" y="connsiteY1619"/>
                    </a:cxn>
                    <a:cxn ang="0">
                      <a:pos x="connsiteX1620" y="connsiteY1620"/>
                    </a:cxn>
                    <a:cxn ang="0">
                      <a:pos x="connsiteX1621" y="connsiteY1621"/>
                    </a:cxn>
                    <a:cxn ang="0">
                      <a:pos x="connsiteX1622" y="connsiteY1622"/>
                    </a:cxn>
                    <a:cxn ang="0">
                      <a:pos x="connsiteX1623" y="connsiteY1623"/>
                    </a:cxn>
                    <a:cxn ang="0">
                      <a:pos x="connsiteX1624" y="connsiteY1624"/>
                    </a:cxn>
                    <a:cxn ang="0">
                      <a:pos x="connsiteX1625" y="connsiteY1625"/>
                    </a:cxn>
                    <a:cxn ang="0">
                      <a:pos x="connsiteX1626" y="connsiteY1626"/>
                    </a:cxn>
                    <a:cxn ang="0">
                      <a:pos x="connsiteX1627" y="connsiteY1627"/>
                    </a:cxn>
                    <a:cxn ang="0">
                      <a:pos x="connsiteX1628" y="connsiteY1628"/>
                    </a:cxn>
                    <a:cxn ang="0">
                      <a:pos x="connsiteX1629" y="connsiteY1629"/>
                    </a:cxn>
                    <a:cxn ang="0">
                      <a:pos x="connsiteX1630" y="connsiteY1630"/>
                    </a:cxn>
                    <a:cxn ang="0">
                      <a:pos x="connsiteX1631" y="connsiteY1631"/>
                    </a:cxn>
                    <a:cxn ang="0">
                      <a:pos x="connsiteX1632" y="connsiteY1632"/>
                    </a:cxn>
                    <a:cxn ang="0">
                      <a:pos x="connsiteX1633" y="connsiteY1633"/>
                    </a:cxn>
                    <a:cxn ang="0">
                      <a:pos x="connsiteX1634" y="connsiteY1634"/>
                    </a:cxn>
                    <a:cxn ang="0">
                      <a:pos x="connsiteX1635" y="connsiteY1635"/>
                    </a:cxn>
                    <a:cxn ang="0">
                      <a:pos x="connsiteX1636" y="connsiteY1636"/>
                    </a:cxn>
                    <a:cxn ang="0">
                      <a:pos x="connsiteX1637" y="connsiteY1637"/>
                    </a:cxn>
                    <a:cxn ang="0">
                      <a:pos x="connsiteX1638" y="connsiteY1638"/>
                    </a:cxn>
                    <a:cxn ang="0">
                      <a:pos x="connsiteX1639" y="connsiteY1639"/>
                    </a:cxn>
                    <a:cxn ang="0">
                      <a:pos x="connsiteX1640" y="connsiteY1640"/>
                    </a:cxn>
                    <a:cxn ang="0">
                      <a:pos x="connsiteX1641" y="connsiteY1641"/>
                    </a:cxn>
                    <a:cxn ang="0">
                      <a:pos x="connsiteX1642" y="connsiteY1642"/>
                    </a:cxn>
                    <a:cxn ang="0">
                      <a:pos x="connsiteX1643" y="connsiteY1643"/>
                    </a:cxn>
                    <a:cxn ang="0">
                      <a:pos x="connsiteX1644" y="connsiteY1644"/>
                    </a:cxn>
                    <a:cxn ang="0">
                      <a:pos x="connsiteX1645" y="connsiteY1645"/>
                    </a:cxn>
                    <a:cxn ang="0">
                      <a:pos x="connsiteX1646" y="connsiteY1646"/>
                    </a:cxn>
                    <a:cxn ang="0">
                      <a:pos x="connsiteX1647" y="connsiteY1647"/>
                    </a:cxn>
                    <a:cxn ang="0">
                      <a:pos x="connsiteX1648" y="connsiteY1648"/>
                    </a:cxn>
                    <a:cxn ang="0">
                      <a:pos x="connsiteX1649" y="connsiteY1649"/>
                    </a:cxn>
                    <a:cxn ang="0">
                      <a:pos x="connsiteX1650" y="connsiteY1650"/>
                    </a:cxn>
                    <a:cxn ang="0">
                      <a:pos x="connsiteX1651" y="connsiteY1651"/>
                    </a:cxn>
                    <a:cxn ang="0">
                      <a:pos x="connsiteX1652" y="connsiteY1652"/>
                    </a:cxn>
                    <a:cxn ang="0">
                      <a:pos x="connsiteX1653" y="connsiteY1653"/>
                    </a:cxn>
                    <a:cxn ang="0">
                      <a:pos x="connsiteX1654" y="connsiteY1654"/>
                    </a:cxn>
                    <a:cxn ang="0">
                      <a:pos x="connsiteX1655" y="connsiteY1655"/>
                    </a:cxn>
                    <a:cxn ang="0">
                      <a:pos x="connsiteX1656" y="connsiteY1656"/>
                    </a:cxn>
                    <a:cxn ang="0">
                      <a:pos x="connsiteX1657" y="connsiteY1657"/>
                    </a:cxn>
                    <a:cxn ang="0">
                      <a:pos x="connsiteX1658" y="connsiteY1658"/>
                    </a:cxn>
                    <a:cxn ang="0">
                      <a:pos x="connsiteX1659" y="connsiteY1659"/>
                    </a:cxn>
                    <a:cxn ang="0">
                      <a:pos x="connsiteX1660" y="connsiteY1660"/>
                    </a:cxn>
                    <a:cxn ang="0">
                      <a:pos x="connsiteX1661" y="connsiteY1661"/>
                    </a:cxn>
                    <a:cxn ang="0">
                      <a:pos x="connsiteX1662" y="connsiteY1662"/>
                    </a:cxn>
                    <a:cxn ang="0">
                      <a:pos x="connsiteX1663" y="connsiteY1663"/>
                    </a:cxn>
                    <a:cxn ang="0">
                      <a:pos x="connsiteX1664" y="connsiteY1664"/>
                    </a:cxn>
                    <a:cxn ang="0">
                      <a:pos x="connsiteX1665" y="connsiteY1665"/>
                    </a:cxn>
                    <a:cxn ang="0">
                      <a:pos x="connsiteX1666" y="connsiteY1666"/>
                    </a:cxn>
                    <a:cxn ang="0">
                      <a:pos x="connsiteX1667" y="connsiteY1667"/>
                    </a:cxn>
                    <a:cxn ang="0">
                      <a:pos x="connsiteX1668" y="connsiteY1668"/>
                    </a:cxn>
                    <a:cxn ang="0">
                      <a:pos x="connsiteX1669" y="connsiteY1669"/>
                    </a:cxn>
                    <a:cxn ang="0">
                      <a:pos x="connsiteX1670" y="connsiteY1670"/>
                    </a:cxn>
                    <a:cxn ang="0">
                      <a:pos x="connsiteX1671" y="connsiteY1671"/>
                    </a:cxn>
                    <a:cxn ang="0">
                      <a:pos x="connsiteX1672" y="connsiteY1672"/>
                    </a:cxn>
                    <a:cxn ang="0">
                      <a:pos x="connsiteX1673" y="connsiteY1673"/>
                    </a:cxn>
                    <a:cxn ang="0">
                      <a:pos x="connsiteX1674" y="connsiteY1674"/>
                    </a:cxn>
                    <a:cxn ang="0">
                      <a:pos x="connsiteX1675" y="connsiteY1675"/>
                    </a:cxn>
                    <a:cxn ang="0">
                      <a:pos x="connsiteX1676" y="connsiteY1676"/>
                    </a:cxn>
                    <a:cxn ang="0">
                      <a:pos x="connsiteX1677" y="connsiteY1677"/>
                    </a:cxn>
                    <a:cxn ang="0">
                      <a:pos x="connsiteX1678" y="connsiteY1678"/>
                    </a:cxn>
                    <a:cxn ang="0">
                      <a:pos x="connsiteX1679" y="connsiteY1679"/>
                    </a:cxn>
                    <a:cxn ang="0">
                      <a:pos x="connsiteX1680" y="connsiteY1680"/>
                    </a:cxn>
                    <a:cxn ang="0">
                      <a:pos x="connsiteX1681" y="connsiteY1681"/>
                    </a:cxn>
                    <a:cxn ang="0">
                      <a:pos x="connsiteX1682" y="connsiteY1682"/>
                    </a:cxn>
                    <a:cxn ang="0">
                      <a:pos x="connsiteX1683" y="connsiteY1683"/>
                    </a:cxn>
                    <a:cxn ang="0">
                      <a:pos x="connsiteX1684" y="connsiteY1684"/>
                    </a:cxn>
                    <a:cxn ang="0">
                      <a:pos x="connsiteX1685" y="connsiteY1685"/>
                    </a:cxn>
                    <a:cxn ang="0">
                      <a:pos x="connsiteX1686" y="connsiteY1686"/>
                    </a:cxn>
                    <a:cxn ang="0">
                      <a:pos x="connsiteX1687" y="connsiteY1687"/>
                    </a:cxn>
                    <a:cxn ang="0">
                      <a:pos x="connsiteX1688" y="connsiteY1688"/>
                    </a:cxn>
                    <a:cxn ang="0">
                      <a:pos x="connsiteX1689" y="connsiteY1689"/>
                    </a:cxn>
                    <a:cxn ang="0">
                      <a:pos x="connsiteX1690" y="connsiteY1690"/>
                    </a:cxn>
                    <a:cxn ang="0">
                      <a:pos x="connsiteX1691" y="connsiteY1691"/>
                    </a:cxn>
                    <a:cxn ang="0">
                      <a:pos x="connsiteX1692" y="connsiteY1692"/>
                    </a:cxn>
                    <a:cxn ang="0">
                      <a:pos x="connsiteX1693" y="connsiteY1693"/>
                    </a:cxn>
                    <a:cxn ang="0">
                      <a:pos x="connsiteX1694" y="connsiteY1694"/>
                    </a:cxn>
                    <a:cxn ang="0">
                      <a:pos x="connsiteX1695" y="connsiteY1695"/>
                    </a:cxn>
                    <a:cxn ang="0">
                      <a:pos x="connsiteX1696" y="connsiteY1696"/>
                    </a:cxn>
                    <a:cxn ang="0">
                      <a:pos x="connsiteX1697" y="connsiteY1697"/>
                    </a:cxn>
                    <a:cxn ang="0">
                      <a:pos x="connsiteX1698" y="connsiteY1698"/>
                    </a:cxn>
                    <a:cxn ang="0">
                      <a:pos x="connsiteX1699" y="connsiteY1699"/>
                    </a:cxn>
                    <a:cxn ang="0">
                      <a:pos x="connsiteX1700" y="connsiteY1700"/>
                    </a:cxn>
                    <a:cxn ang="0">
                      <a:pos x="connsiteX1701" y="connsiteY1701"/>
                    </a:cxn>
                    <a:cxn ang="0">
                      <a:pos x="connsiteX1702" y="connsiteY1702"/>
                    </a:cxn>
                    <a:cxn ang="0">
                      <a:pos x="connsiteX1703" y="connsiteY1703"/>
                    </a:cxn>
                    <a:cxn ang="0">
                      <a:pos x="connsiteX1704" y="connsiteY1704"/>
                    </a:cxn>
                    <a:cxn ang="0">
                      <a:pos x="connsiteX1705" y="connsiteY1705"/>
                    </a:cxn>
                    <a:cxn ang="0">
                      <a:pos x="connsiteX1706" y="connsiteY1706"/>
                    </a:cxn>
                    <a:cxn ang="0">
                      <a:pos x="connsiteX1707" y="connsiteY1707"/>
                    </a:cxn>
                    <a:cxn ang="0">
                      <a:pos x="connsiteX1708" y="connsiteY1708"/>
                    </a:cxn>
                    <a:cxn ang="0">
                      <a:pos x="connsiteX1709" y="connsiteY1709"/>
                    </a:cxn>
                    <a:cxn ang="0">
                      <a:pos x="connsiteX1710" y="connsiteY1710"/>
                    </a:cxn>
                    <a:cxn ang="0">
                      <a:pos x="connsiteX1711" y="connsiteY1711"/>
                    </a:cxn>
                    <a:cxn ang="0">
                      <a:pos x="connsiteX1712" y="connsiteY1712"/>
                    </a:cxn>
                    <a:cxn ang="0">
                      <a:pos x="connsiteX1713" y="connsiteY1713"/>
                    </a:cxn>
                    <a:cxn ang="0">
                      <a:pos x="connsiteX1714" y="connsiteY1714"/>
                    </a:cxn>
                    <a:cxn ang="0">
                      <a:pos x="connsiteX1715" y="connsiteY1715"/>
                    </a:cxn>
                    <a:cxn ang="0">
                      <a:pos x="connsiteX1716" y="connsiteY1716"/>
                    </a:cxn>
                    <a:cxn ang="0">
                      <a:pos x="connsiteX1717" y="connsiteY1717"/>
                    </a:cxn>
                    <a:cxn ang="0">
                      <a:pos x="connsiteX1718" y="connsiteY1718"/>
                    </a:cxn>
                    <a:cxn ang="0">
                      <a:pos x="connsiteX1719" y="connsiteY1719"/>
                    </a:cxn>
                    <a:cxn ang="0">
                      <a:pos x="connsiteX1720" y="connsiteY1720"/>
                    </a:cxn>
                    <a:cxn ang="0">
                      <a:pos x="connsiteX1721" y="connsiteY1721"/>
                    </a:cxn>
                    <a:cxn ang="0">
                      <a:pos x="connsiteX1722" y="connsiteY1722"/>
                    </a:cxn>
                    <a:cxn ang="0">
                      <a:pos x="connsiteX1723" y="connsiteY1723"/>
                    </a:cxn>
                    <a:cxn ang="0">
                      <a:pos x="connsiteX1724" y="connsiteY1724"/>
                    </a:cxn>
                    <a:cxn ang="0">
                      <a:pos x="connsiteX1725" y="connsiteY1725"/>
                    </a:cxn>
                    <a:cxn ang="0">
                      <a:pos x="connsiteX1726" y="connsiteY1726"/>
                    </a:cxn>
                    <a:cxn ang="0">
                      <a:pos x="connsiteX1727" y="connsiteY1727"/>
                    </a:cxn>
                    <a:cxn ang="0">
                      <a:pos x="connsiteX1728" y="connsiteY1728"/>
                    </a:cxn>
                    <a:cxn ang="0">
                      <a:pos x="connsiteX1729" y="connsiteY1729"/>
                    </a:cxn>
                    <a:cxn ang="0">
                      <a:pos x="connsiteX1730" y="connsiteY1730"/>
                    </a:cxn>
                    <a:cxn ang="0">
                      <a:pos x="connsiteX1731" y="connsiteY1731"/>
                    </a:cxn>
                    <a:cxn ang="0">
                      <a:pos x="connsiteX1732" y="connsiteY1732"/>
                    </a:cxn>
                    <a:cxn ang="0">
                      <a:pos x="connsiteX1733" y="connsiteY1733"/>
                    </a:cxn>
                    <a:cxn ang="0">
                      <a:pos x="connsiteX1734" y="connsiteY1734"/>
                    </a:cxn>
                    <a:cxn ang="0">
                      <a:pos x="connsiteX1735" y="connsiteY1735"/>
                    </a:cxn>
                    <a:cxn ang="0">
                      <a:pos x="connsiteX1736" y="connsiteY1736"/>
                    </a:cxn>
                    <a:cxn ang="0">
                      <a:pos x="connsiteX1737" y="connsiteY1737"/>
                    </a:cxn>
                    <a:cxn ang="0">
                      <a:pos x="connsiteX1738" y="connsiteY1738"/>
                    </a:cxn>
                    <a:cxn ang="0">
                      <a:pos x="connsiteX1739" y="connsiteY1739"/>
                    </a:cxn>
                    <a:cxn ang="0">
                      <a:pos x="connsiteX1740" y="connsiteY1740"/>
                    </a:cxn>
                    <a:cxn ang="0">
                      <a:pos x="connsiteX1741" y="connsiteY1741"/>
                    </a:cxn>
                    <a:cxn ang="0">
                      <a:pos x="connsiteX1742" y="connsiteY1742"/>
                    </a:cxn>
                    <a:cxn ang="0">
                      <a:pos x="connsiteX1743" y="connsiteY1743"/>
                    </a:cxn>
                    <a:cxn ang="0">
                      <a:pos x="connsiteX1744" y="connsiteY1744"/>
                    </a:cxn>
                    <a:cxn ang="0">
                      <a:pos x="connsiteX1745" y="connsiteY1745"/>
                    </a:cxn>
                    <a:cxn ang="0">
                      <a:pos x="connsiteX1746" y="connsiteY1746"/>
                    </a:cxn>
                    <a:cxn ang="0">
                      <a:pos x="connsiteX1747" y="connsiteY1747"/>
                    </a:cxn>
                    <a:cxn ang="0">
                      <a:pos x="connsiteX1748" y="connsiteY1748"/>
                    </a:cxn>
                    <a:cxn ang="0">
                      <a:pos x="connsiteX1749" y="connsiteY1749"/>
                    </a:cxn>
                    <a:cxn ang="0">
                      <a:pos x="connsiteX1750" y="connsiteY1750"/>
                    </a:cxn>
                    <a:cxn ang="0">
                      <a:pos x="connsiteX1751" y="connsiteY1751"/>
                    </a:cxn>
                    <a:cxn ang="0">
                      <a:pos x="connsiteX1752" y="connsiteY1752"/>
                    </a:cxn>
                    <a:cxn ang="0">
                      <a:pos x="connsiteX1753" y="connsiteY1753"/>
                    </a:cxn>
                    <a:cxn ang="0">
                      <a:pos x="connsiteX1754" y="connsiteY1754"/>
                    </a:cxn>
                    <a:cxn ang="0">
                      <a:pos x="connsiteX1755" y="connsiteY1755"/>
                    </a:cxn>
                    <a:cxn ang="0">
                      <a:pos x="connsiteX1756" y="connsiteY1756"/>
                    </a:cxn>
                    <a:cxn ang="0">
                      <a:pos x="connsiteX1757" y="connsiteY1757"/>
                    </a:cxn>
                    <a:cxn ang="0">
                      <a:pos x="connsiteX1758" y="connsiteY1758"/>
                    </a:cxn>
                    <a:cxn ang="0">
                      <a:pos x="connsiteX1759" y="connsiteY1759"/>
                    </a:cxn>
                    <a:cxn ang="0">
                      <a:pos x="connsiteX1760" y="connsiteY1760"/>
                    </a:cxn>
                    <a:cxn ang="0">
                      <a:pos x="connsiteX1761" y="connsiteY1761"/>
                    </a:cxn>
                    <a:cxn ang="0">
                      <a:pos x="connsiteX1762" y="connsiteY1762"/>
                    </a:cxn>
                    <a:cxn ang="0">
                      <a:pos x="connsiteX1763" y="connsiteY1763"/>
                    </a:cxn>
                    <a:cxn ang="0">
                      <a:pos x="connsiteX1764" y="connsiteY1764"/>
                    </a:cxn>
                    <a:cxn ang="0">
                      <a:pos x="connsiteX1765" y="connsiteY1765"/>
                    </a:cxn>
                    <a:cxn ang="0">
                      <a:pos x="connsiteX1766" y="connsiteY1766"/>
                    </a:cxn>
                    <a:cxn ang="0">
                      <a:pos x="connsiteX1767" y="connsiteY1767"/>
                    </a:cxn>
                    <a:cxn ang="0">
                      <a:pos x="connsiteX1768" y="connsiteY1768"/>
                    </a:cxn>
                    <a:cxn ang="0">
                      <a:pos x="connsiteX1769" y="connsiteY1769"/>
                    </a:cxn>
                    <a:cxn ang="0">
                      <a:pos x="connsiteX1770" y="connsiteY1770"/>
                    </a:cxn>
                    <a:cxn ang="0">
                      <a:pos x="connsiteX1771" y="connsiteY1771"/>
                    </a:cxn>
                    <a:cxn ang="0">
                      <a:pos x="connsiteX1772" y="connsiteY1772"/>
                    </a:cxn>
                    <a:cxn ang="0">
                      <a:pos x="connsiteX1773" y="connsiteY1773"/>
                    </a:cxn>
                    <a:cxn ang="0">
                      <a:pos x="connsiteX1774" y="connsiteY1774"/>
                    </a:cxn>
                    <a:cxn ang="0">
                      <a:pos x="connsiteX1775" y="connsiteY1775"/>
                    </a:cxn>
                    <a:cxn ang="0">
                      <a:pos x="connsiteX1776" y="connsiteY1776"/>
                    </a:cxn>
                    <a:cxn ang="0">
                      <a:pos x="connsiteX1777" y="connsiteY1777"/>
                    </a:cxn>
                    <a:cxn ang="0">
                      <a:pos x="connsiteX1778" y="connsiteY1778"/>
                    </a:cxn>
                    <a:cxn ang="0">
                      <a:pos x="connsiteX1779" y="connsiteY1779"/>
                    </a:cxn>
                    <a:cxn ang="0">
                      <a:pos x="connsiteX1780" y="connsiteY1780"/>
                    </a:cxn>
                    <a:cxn ang="0">
                      <a:pos x="connsiteX1781" y="connsiteY1781"/>
                    </a:cxn>
                    <a:cxn ang="0">
                      <a:pos x="connsiteX1782" y="connsiteY1782"/>
                    </a:cxn>
                    <a:cxn ang="0">
                      <a:pos x="connsiteX1783" y="connsiteY1783"/>
                    </a:cxn>
                    <a:cxn ang="0">
                      <a:pos x="connsiteX1784" y="connsiteY1784"/>
                    </a:cxn>
                    <a:cxn ang="0">
                      <a:pos x="connsiteX1785" y="connsiteY1785"/>
                    </a:cxn>
                    <a:cxn ang="0">
                      <a:pos x="connsiteX1786" y="connsiteY1786"/>
                    </a:cxn>
                    <a:cxn ang="0">
                      <a:pos x="connsiteX1787" y="connsiteY1787"/>
                    </a:cxn>
                    <a:cxn ang="0">
                      <a:pos x="connsiteX1788" y="connsiteY1788"/>
                    </a:cxn>
                    <a:cxn ang="0">
                      <a:pos x="connsiteX1789" y="connsiteY1789"/>
                    </a:cxn>
                    <a:cxn ang="0">
                      <a:pos x="connsiteX1790" y="connsiteY1790"/>
                    </a:cxn>
                    <a:cxn ang="0">
                      <a:pos x="connsiteX1791" y="connsiteY1791"/>
                    </a:cxn>
                    <a:cxn ang="0">
                      <a:pos x="connsiteX1792" y="connsiteY1792"/>
                    </a:cxn>
                    <a:cxn ang="0">
                      <a:pos x="connsiteX1793" y="connsiteY1793"/>
                    </a:cxn>
                    <a:cxn ang="0">
                      <a:pos x="connsiteX1794" y="connsiteY1794"/>
                    </a:cxn>
                    <a:cxn ang="0">
                      <a:pos x="connsiteX1795" y="connsiteY1795"/>
                    </a:cxn>
                    <a:cxn ang="0">
                      <a:pos x="connsiteX1796" y="connsiteY1796"/>
                    </a:cxn>
                    <a:cxn ang="0">
                      <a:pos x="connsiteX1797" y="connsiteY1797"/>
                    </a:cxn>
                    <a:cxn ang="0">
                      <a:pos x="connsiteX1798" y="connsiteY1798"/>
                    </a:cxn>
                    <a:cxn ang="0">
                      <a:pos x="connsiteX1799" y="connsiteY1799"/>
                    </a:cxn>
                    <a:cxn ang="0">
                      <a:pos x="connsiteX1800" y="connsiteY1800"/>
                    </a:cxn>
                    <a:cxn ang="0">
                      <a:pos x="connsiteX1801" y="connsiteY1801"/>
                    </a:cxn>
                    <a:cxn ang="0">
                      <a:pos x="connsiteX1802" y="connsiteY1802"/>
                    </a:cxn>
                    <a:cxn ang="0">
                      <a:pos x="connsiteX1803" y="connsiteY1803"/>
                    </a:cxn>
                    <a:cxn ang="0">
                      <a:pos x="connsiteX1804" y="connsiteY1804"/>
                    </a:cxn>
                    <a:cxn ang="0">
                      <a:pos x="connsiteX1805" y="connsiteY1805"/>
                    </a:cxn>
                    <a:cxn ang="0">
                      <a:pos x="connsiteX1806" y="connsiteY1806"/>
                    </a:cxn>
                    <a:cxn ang="0">
                      <a:pos x="connsiteX1807" y="connsiteY1807"/>
                    </a:cxn>
                    <a:cxn ang="0">
                      <a:pos x="connsiteX1808" y="connsiteY1808"/>
                    </a:cxn>
                    <a:cxn ang="0">
                      <a:pos x="connsiteX1809" y="connsiteY1809"/>
                    </a:cxn>
                    <a:cxn ang="0">
                      <a:pos x="connsiteX1810" y="connsiteY1810"/>
                    </a:cxn>
                    <a:cxn ang="0">
                      <a:pos x="connsiteX1811" y="connsiteY1811"/>
                    </a:cxn>
                    <a:cxn ang="0">
                      <a:pos x="connsiteX1812" y="connsiteY1812"/>
                    </a:cxn>
                    <a:cxn ang="0">
                      <a:pos x="connsiteX1813" y="connsiteY1813"/>
                    </a:cxn>
                    <a:cxn ang="0">
                      <a:pos x="connsiteX1814" y="connsiteY1814"/>
                    </a:cxn>
                    <a:cxn ang="0">
                      <a:pos x="connsiteX1815" y="connsiteY1815"/>
                    </a:cxn>
                    <a:cxn ang="0">
                      <a:pos x="connsiteX1816" y="connsiteY1816"/>
                    </a:cxn>
                    <a:cxn ang="0">
                      <a:pos x="connsiteX1817" y="connsiteY1817"/>
                    </a:cxn>
                    <a:cxn ang="0">
                      <a:pos x="connsiteX1818" y="connsiteY1818"/>
                    </a:cxn>
                    <a:cxn ang="0">
                      <a:pos x="connsiteX1819" y="connsiteY1819"/>
                    </a:cxn>
                    <a:cxn ang="0">
                      <a:pos x="connsiteX1820" y="connsiteY1820"/>
                    </a:cxn>
                    <a:cxn ang="0">
                      <a:pos x="connsiteX1821" y="connsiteY1821"/>
                    </a:cxn>
                    <a:cxn ang="0">
                      <a:pos x="connsiteX1822" y="connsiteY1822"/>
                    </a:cxn>
                    <a:cxn ang="0">
                      <a:pos x="connsiteX1823" y="connsiteY1823"/>
                    </a:cxn>
                    <a:cxn ang="0">
                      <a:pos x="connsiteX1824" y="connsiteY1824"/>
                    </a:cxn>
                    <a:cxn ang="0">
                      <a:pos x="connsiteX1825" y="connsiteY1825"/>
                    </a:cxn>
                    <a:cxn ang="0">
                      <a:pos x="connsiteX1826" y="connsiteY1826"/>
                    </a:cxn>
                    <a:cxn ang="0">
                      <a:pos x="connsiteX1827" y="connsiteY1827"/>
                    </a:cxn>
                    <a:cxn ang="0">
                      <a:pos x="connsiteX1828" y="connsiteY1828"/>
                    </a:cxn>
                    <a:cxn ang="0">
                      <a:pos x="connsiteX1829" y="connsiteY1829"/>
                    </a:cxn>
                    <a:cxn ang="0">
                      <a:pos x="connsiteX1830" y="connsiteY1830"/>
                    </a:cxn>
                    <a:cxn ang="0">
                      <a:pos x="connsiteX1831" y="connsiteY1831"/>
                    </a:cxn>
                    <a:cxn ang="0">
                      <a:pos x="connsiteX1832" y="connsiteY1832"/>
                    </a:cxn>
                    <a:cxn ang="0">
                      <a:pos x="connsiteX1833" y="connsiteY1833"/>
                    </a:cxn>
                    <a:cxn ang="0">
                      <a:pos x="connsiteX1834" y="connsiteY1834"/>
                    </a:cxn>
                    <a:cxn ang="0">
                      <a:pos x="connsiteX1835" y="connsiteY1835"/>
                    </a:cxn>
                    <a:cxn ang="0">
                      <a:pos x="connsiteX1836" y="connsiteY1836"/>
                    </a:cxn>
                    <a:cxn ang="0">
                      <a:pos x="connsiteX1837" y="connsiteY1837"/>
                    </a:cxn>
                    <a:cxn ang="0">
                      <a:pos x="connsiteX1838" y="connsiteY1838"/>
                    </a:cxn>
                    <a:cxn ang="0">
                      <a:pos x="connsiteX1839" y="connsiteY1839"/>
                    </a:cxn>
                    <a:cxn ang="0">
                      <a:pos x="connsiteX1840" y="connsiteY1840"/>
                    </a:cxn>
                    <a:cxn ang="0">
                      <a:pos x="connsiteX1841" y="connsiteY1841"/>
                    </a:cxn>
                    <a:cxn ang="0">
                      <a:pos x="connsiteX1842" y="connsiteY1842"/>
                    </a:cxn>
                    <a:cxn ang="0">
                      <a:pos x="connsiteX1843" y="connsiteY1843"/>
                    </a:cxn>
                    <a:cxn ang="0">
                      <a:pos x="connsiteX1844" y="connsiteY1844"/>
                    </a:cxn>
                    <a:cxn ang="0">
                      <a:pos x="connsiteX1845" y="connsiteY1845"/>
                    </a:cxn>
                    <a:cxn ang="0">
                      <a:pos x="connsiteX1846" y="connsiteY1846"/>
                    </a:cxn>
                    <a:cxn ang="0">
                      <a:pos x="connsiteX1847" y="connsiteY1847"/>
                    </a:cxn>
                    <a:cxn ang="0">
                      <a:pos x="connsiteX1848" y="connsiteY1848"/>
                    </a:cxn>
                    <a:cxn ang="0">
                      <a:pos x="connsiteX1849" y="connsiteY1849"/>
                    </a:cxn>
                    <a:cxn ang="0">
                      <a:pos x="connsiteX1850" y="connsiteY1850"/>
                    </a:cxn>
                    <a:cxn ang="0">
                      <a:pos x="connsiteX1851" y="connsiteY1851"/>
                    </a:cxn>
                    <a:cxn ang="0">
                      <a:pos x="connsiteX1852" y="connsiteY1852"/>
                    </a:cxn>
                    <a:cxn ang="0">
                      <a:pos x="connsiteX1853" y="connsiteY1853"/>
                    </a:cxn>
                    <a:cxn ang="0">
                      <a:pos x="connsiteX1854" y="connsiteY1854"/>
                    </a:cxn>
                    <a:cxn ang="0">
                      <a:pos x="connsiteX1855" y="connsiteY1855"/>
                    </a:cxn>
                    <a:cxn ang="0">
                      <a:pos x="connsiteX1856" y="connsiteY1856"/>
                    </a:cxn>
                    <a:cxn ang="0">
                      <a:pos x="connsiteX1857" y="connsiteY1857"/>
                    </a:cxn>
                    <a:cxn ang="0">
                      <a:pos x="connsiteX1858" y="connsiteY1858"/>
                    </a:cxn>
                    <a:cxn ang="0">
                      <a:pos x="connsiteX1859" y="connsiteY1859"/>
                    </a:cxn>
                    <a:cxn ang="0">
                      <a:pos x="connsiteX1860" y="connsiteY1860"/>
                    </a:cxn>
                    <a:cxn ang="0">
                      <a:pos x="connsiteX1861" y="connsiteY1861"/>
                    </a:cxn>
                    <a:cxn ang="0">
                      <a:pos x="connsiteX1862" y="connsiteY1862"/>
                    </a:cxn>
                    <a:cxn ang="0">
                      <a:pos x="connsiteX1863" y="connsiteY1863"/>
                    </a:cxn>
                    <a:cxn ang="0">
                      <a:pos x="connsiteX1864" y="connsiteY1864"/>
                    </a:cxn>
                    <a:cxn ang="0">
                      <a:pos x="connsiteX1865" y="connsiteY1865"/>
                    </a:cxn>
                    <a:cxn ang="0">
                      <a:pos x="connsiteX1866" y="connsiteY1866"/>
                    </a:cxn>
                    <a:cxn ang="0">
                      <a:pos x="connsiteX1867" y="connsiteY1867"/>
                    </a:cxn>
                    <a:cxn ang="0">
                      <a:pos x="connsiteX1868" y="connsiteY1868"/>
                    </a:cxn>
                    <a:cxn ang="0">
                      <a:pos x="connsiteX1869" y="connsiteY1869"/>
                    </a:cxn>
                    <a:cxn ang="0">
                      <a:pos x="connsiteX1870" y="connsiteY1870"/>
                    </a:cxn>
                    <a:cxn ang="0">
                      <a:pos x="connsiteX1871" y="connsiteY1871"/>
                    </a:cxn>
                    <a:cxn ang="0">
                      <a:pos x="connsiteX1872" y="connsiteY1872"/>
                    </a:cxn>
                    <a:cxn ang="0">
                      <a:pos x="connsiteX1873" y="connsiteY1873"/>
                    </a:cxn>
                    <a:cxn ang="0">
                      <a:pos x="connsiteX1874" y="connsiteY1874"/>
                    </a:cxn>
                    <a:cxn ang="0">
                      <a:pos x="connsiteX1875" y="connsiteY1875"/>
                    </a:cxn>
                    <a:cxn ang="0">
                      <a:pos x="connsiteX1876" y="connsiteY1876"/>
                    </a:cxn>
                    <a:cxn ang="0">
                      <a:pos x="connsiteX1877" y="connsiteY1877"/>
                    </a:cxn>
                    <a:cxn ang="0">
                      <a:pos x="connsiteX1878" y="connsiteY1878"/>
                    </a:cxn>
                    <a:cxn ang="0">
                      <a:pos x="connsiteX1879" y="connsiteY1879"/>
                    </a:cxn>
                    <a:cxn ang="0">
                      <a:pos x="connsiteX1880" y="connsiteY1880"/>
                    </a:cxn>
                    <a:cxn ang="0">
                      <a:pos x="connsiteX1881" y="connsiteY1881"/>
                    </a:cxn>
                    <a:cxn ang="0">
                      <a:pos x="connsiteX1882" y="connsiteY1882"/>
                    </a:cxn>
                    <a:cxn ang="0">
                      <a:pos x="connsiteX1883" y="connsiteY1883"/>
                    </a:cxn>
                    <a:cxn ang="0">
                      <a:pos x="connsiteX1884" y="connsiteY1884"/>
                    </a:cxn>
                    <a:cxn ang="0">
                      <a:pos x="connsiteX1885" y="connsiteY1885"/>
                    </a:cxn>
                    <a:cxn ang="0">
                      <a:pos x="connsiteX1886" y="connsiteY1886"/>
                    </a:cxn>
                    <a:cxn ang="0">
                      <a:pos x="connsiteX1887" y="connsiteY1887"/>
                    </a:cxn>
                    <a:cxn ang="0">
                      <a:pos x="connsiteX1888" y="connsiteY1888"/>
                    </a:cxn>
                    <a:cxn ang="0">
                      <a:pos x="connsiteX1889" y="connsiteY1889"/>
                    </a:cxn>
                    <a:cxn ang="0">
                      <a:pos x="connsiteX1890" y="connsiteY1890"/>
                    </a:cxn>
                    <a:cxn ang="0">
                      <a:pos x="connsiteX1891" y="connsiteY1891"/>
                    </a:cxn>
                    <a:cxn ang="0">
                      <a:pos x="connsiteX1892" y="connsiteY1892"/>
                    </a:cxn>
                    <a:cxn ang="0">
                      <a:pos x="connsiteX1893" y="connsiteY1893"/>
                    </a:cxn>
                    <a:cxn ang="0">
                      <a:pos x="connsiteX1894" y="connsiteY1894"/>
                    </a:cxn>
                    <a:cxn ang="0">
                      <a:pos x="connsiteX1895" y="connsiteY1895"/>
                    </a:cxn>
                    <a:cxn ang="0">
                      <a:pos x="connsiteX1896" y="connsiteY1896"/>
                    </a:cxn>
                    <a:cxn ang="0">
                      <a:pos x="connsiteX1897" y="connsiteY1897"/>
                    </a:cxn>
                    <a:cxn ang="0">
                      <a:pos x="connsiteX1898" y="connsiteY1898"/>
                    </a:cxn>
                    <a:cxn ang="0">
                      <a:pos x="connsiteX1899" y="connsiteY1899"/>
                    </a:cxn>
                    <a:cxn ang="0">
                      <a:pos x="connsiteX1900" y="connsiteY1900"/>
                    </a:cxn>
                    <a:cxn ang="0">
                      <a:pos x="connsiteX1901" y="connsiteY1901"/>
                    </a:cxn>
                    <a:cxn ang="0">
                      <a:pos x="connsiteX1902" y="connsiteY1902"/>
                    </a:cxn>
                    <a:cxn ang="0">
                      <a:pos x="connsiteX1903" y="connsiteY1903"/>
                    </a:cxn>
                    <a:cxn ang="0">
                      <a:pos x="connsiteX1904" y="connsiteY1904"/>
                    </a:cxn>
                    <a:cxn ang="0">
                      <a:pos x="connsiteX1905" y="connsiteY1905"/>
                    </a:cxn>
                    <a:cxn ang="0">
                      <a:pos x="connsiteX1906" y="connsiteY1906"/>
                    </a:cxn>
                    <a:cxn ang="0">
                      <a:pos x="connsiteX1907" y="connsiteY1907"/>
                    </a:cxn>
                    <a:cxn ang="0">
                      <a:pos x="connsiteX1908" y="connsiteY1908"/>
                    </a:cxn>
                    <a:cxn ang="0">
                      <a:pos x="connsiteX1909" y="connsiteY1909"/>
                    </a:cxn>
                    <a:cxn ang="0">
                      <a:pos x="connsiteX1910" y="connsiteY1910"/>
                    </a:cxn>
                    <a:cxn ang="0">
                      <a:pos x="connsiteX1911" y="connsiteY1911"/>
                    </a:cxn>
                    <a:cxn ang="0">
                      <a:pos x="connsiteX1912" y="connsiteY1912"/>
                    </a:cxn>
                    <a:cxn ang="0">
                      <a:pos x="connsiteX1913" y="connsiteY1913"/>
                    </a:cxn>
                    <a:cxn ang="0">
                      <a:pos x="connsiteX1914" y="connsiteY1914"/>
                    </a:cxn>
                    <a:cxn ang="0">
                      <a:pos x="connsiteX1915" y="connsiteY1915"/>
                    </a:cxn>
                    <a:cxn ang="0">
                      <a:pos x="connsiteX1916" y="connsiteY1916"/>
                    </a:cxn>
                    <a:cxn ang="0">
                      <a:pos x="connsiteX1917" y="connsiteY1917"/>
                    </a:cxn>
                    <a:cxn ang="0">
                      <a:pos x="connsiteX1918" y="connsiteY1918"/>
                    </a:cxn>
                    <a:cxn ang="0">
                      <a:pos x="connsiteX1919" y="connsiteY1919"/>
                    </a:cxn>
                    <a:cxn ang="0">
                      <a:pos x="connsiteX1920" y="connsiteY1920"/>
                    </a:cxn>
                    <a:cxn ang="0">
                      <a:pos x="connsiteX1921" y="connsiteY1921"/>
                    </a:cxn>
                    <a:cxn ang="0">
                      <a:pos x="connsiteX1922" y="connsiteY1922"/>
                    </a:cxn>
                    <a:cxn ang="0">
                      <a:pos x="connsiteX1923" y="connsiteY1923"/>
                    </a:cxn>
                    <a:cxn ang="0">
                      <a:pos x="connsiteX1924" y="connsiteY1924"/>
                    </a:cxn>
                    <a:cxn ang="0">
                      <a:pos x="connsiteX1925" y="connsiteY1925"/>
                    </a:cxn>
                    <a:cxn ang="0">
                      <a:pos x="connsiteX1926" y="connsiteY1926"/>
                    </a:cxn>
                    <a:cxn ang="0">
                      <a:pos x="connsiteX1927" y="connsiteY1927"/>
                    </a:cxn>
                    <a:cxn ang="0">
                      <a:pos x="connsiteX1928" y="connsiteY1928"/>
                    </a:cxn>
                    <a:cxn ang="0">
                      <a:pos x="connsiteX1929" y="connsiteY1929"/>
                    </a:cxn>
                    <a:cxn ang="0">
                      <a:pos x="connsiteX1930" y="connsiteY1930"/>
                    </a:cxn>
                    <a:cxn ang="0">
                      <a:pos x="connsiteX1931" y="connsiteY1931"/>
                    </a:cxn>
                    <a:cxn ang="0">
                      <a:pos x="connsiteX1932" y="connsiteY1932"/>
                    </a:cxn>
                    <a:cxn ang="0">
                      <a:pos x="connsiteX1933" y="connsiteY1933"/>
                    </a:cxn>
                    <a:cxn ang="0">
                      <a:pos x="connsiteX1934" y="connsiteY1934"/>
                    </a:cxn>
                    <a:cxn ang="0">
                      <a:pos x="connsiteX1935" y="connsiteY1935"/>
                    </a:cxn>
                    <a:cxn ang="0">
                      <a:pos x="connsiteX1936" y="connsiteY1936"/>
                    </a:cxn>
                    <a:cxn ang="0">
                      <a:pos x="connsiteX1937" y="connsiteY1937"/>
                    </a:cxn>
                    <a:cxn ang="0">
                      <a:pos x="connsiteX1938" y="connsiteY1938"/>
                    </a:cxn>
                    <a:cxn ang="0">
                      <a:pos x="connsiteX1939" y="connsiteY1939"/>
                    </a:cxn>
                    <a:cxn ang="0">
                      <a:pos x="connsiteX1940" y="connsiteY1940"/>
                    </a:cxn>
                    <a:cxn ang="0">
                      <a:pos x="connsiteX1941" y="connsiteY1941"/>
                    </a:cxn>
                    <a:cxn ang="0">
                      <a:pos x="connsiteX1942" y="connsiteY1942"/>
                    </a:cxn>
                    <a:cxn ang="0">
                      <a:pos x="connsiteX1943" y="connsiteY1943"/>
                    </a:cxn>
                    <a:cxn ang="0">
                      <a:pos x="connsiteX1944" y="connsiteY1944"/>
                    </a:cxn>
                    <a:cxn ang="0">
                      <a:pos x="connsiteX1945" y="connsiteY1945"/>
                    </a:cxn>
                    <a:cxn ang="0">
                      <a:pos x="connsiteX1946" y="connsiteY1946"/>
                    </a:cxn>
                    <a:cxn ang="0">
                      <a:pos x="connsiteX1947" y="connsiteY1947"/>
                    </a:cxn>
                    <a:cxn ang="0">
                      <a:pos x="connsiteX1948" y="connsiteY1948"/>
                    </a:cxn>
                    <a:cxn ang="0">
                      <a:pos x="connsiteX1949" y="connsiteY1949"/>
                    </a:cxn>
                    <a:cxn ang="0">
                      <a:pos x="connsiteX1950" y="connsiteY1950"/>
                    </a:cxn>
                    <a:cxn ang="0">
                      <a:pos x="connsiteX1951" y="connsiteY1951"/>
                    </a:cxn>
                    <a:cxn ang="0">
                      <a:pos x="connsiteX1952" y="connsiteY1952"/>
                    </a:cxn>
                    <a:cxn ang="0">
                      <a:pos x="connsiteX1953" y="connsiteY1953"/>
                    </a:cxn>
                    <a:cxn ang="0">
                      <a:pos x="connsiteX1954" y="connsiteY1954"/>
                    </a:cxn>
                    <a:cxn ang="0">
                      <a:pos x="connsiteX1955" y="connsiteY1955"/>
                    </a:cxn>
                    <a:cxn ang="0">
                      <a:pos x="connsiteX1956" y="connsiteY1956"/>
                    </a:cxn>
                    <a:cxn ang="0">
                      <a:pos x="connsiteX1957" y="connsiteY1957"/>
                    </a:cxn>
                    <a:cxn ang="0">
                      <a:pos x="connsiteX1958" y="connsiteY1958"/>
                    </a:cxn>
                    <a:cxn ang="0">
                      <a:pos x="connsiteX1959" y="connsiteY1959"/>
                    </a:cxn>
                    <a:cxn ang="0">
                      <a:pos x="connsiteX1960" y="connsiteY1960"/>
                    </a:cxn>
                    <a:cxn ang="0">
                      <a:pos x="connsiteX1961" y="connsiteY1961"/>
                    </a:cxn>
                    <a:cxn ang="0">
                      <a:pos x="connsiteX1962" y="connsiteY1962"/>
                    </a:cxn>
                    <a:cxn ang="0">
                      <a:pos x="connsiteX1963" y="connsiteY1963"/>
                    </a:cxn>
                    <a:cxn ang="0">
                      <a:pos x="connsiteX1964" y="connsiteY1964"/>
                    </a:cxn>
                    <a:cxn ang="0">
                      <a:pos x="connsiteX1965" y="connsiteY1965"/>
                    </a:cxn>
                    <a:cxn ang="0">
                      <a:pos x="connsiteX1966" y="connsiteY1966"/>
                    </a:cxn>
                    <a:cxn ang="0">
                      <a:pos x="connsiteX1967" y="connsiteY1967"/>
                    </a:cxn>
                    <a:cxn ang="0">
                      <a:pos x="connsiteX1968" y="connsiteY1968"/>
                    </a:cxn>
                    <a:cxn ang="0">
                      <a:pos x="connsiteX1969" y="connsiteY1969"/>
                    </a:cxn>
                    <a:cxn ang="0">
                      <a:pos x="connsiteX1970" y="connsiteY1970"/>
                    </a:cxn>
                    <a:cxn ang="0">
                      <a:pos x="connsiteX1971" y="connsiteY1971"/>
                    </a:cxn>
                    <a:cxn ang="0">
                      <a:pos x="connsiteX1972" y="connsiteY1972"/>
                    </a:cxn>
                    <a:cxn ang="0">
                      <a:pos x="connsiteX1973" y="connsiteY1973"/>
                    </a:cxn>
                    <a:cxn ang="0">
                      <a:pos x="connsiteX1974" y="connsiteY1974"/>
                    </a:cxn>
                    <a:cxn ang="0">
                      <a:pos x="connsiteX1975" y="connsiteY1975"/>
                    </a:cxn>
                    <a:cxn ang="0">
                      <a:pos x="connsiteX1976" y="connsiteY1976"/>
                    </a:cxn>
                    <a:cxn ang="0">
                      <a:pos x="connsiteX1977" y="connsiteY1977"/>
                    </a:cxn>
                    <a:cxn ang="0">
                      <a:pos x="connsiteX1978" y="connsiteY1978"/>
                    </a:cxn>
                    <a:cxn ang="0">
                      <a:pos x="connsiteX1979" y="connsiteY1979"/>
                    </a:cxn>
                    <a:cxn ang="0">
                      <a:pos x="connsiteX1980" y="connsiteY1980"/>
                    </a:cxn>
                    <a:cxn ang="0">
                      <a:pos x="connsiteX1981" y="connsiteY1981"/>
                    </a:cxn>
                    <a:cxn ang="0">
                      <a:pos x="connsiteX1982" y="connsiteY1982"/>
                    </a:cxn>
                    <a:cxn ang="0">
                      <a:pos x="connsiteX1983" y="connsiteY1983"/>
                    </a:cxn>
                    <a:cxn ang="0">
                      <a:pos x="connsiteX1984" y="connsiteY1984"/>
                    </a:cxn>
                    <a:cxn ang="0">
                      <a:pos x="connsiteX1985" y="connsiteY1985"/>
                    </a:cxn>
                    <a:cxn ang="0">
                      <a:pos x="connsiteX1986" y="connsiteY1986"/>
                    </a:cxn>
                    <a:cxn ang="0">
                      <a:pos x="connsiteX1987" y="connsiteY1987"/>
                    </a:cxn>
                    <a:cxn ang="0">
                      <a:pos x="connsiteX1988" y="connsiteY1988"/>
                    </a:cxn>
                    <a:cxn ang="0">
                      <a:pos x="connsiteX1989" y="connsiteY1989"/>
                    </a:cxn>
                    <a:cxn ang="0">
                      <a:pos x="connsiteX1990" y="connsiteY1990"/>
                    </a:cxn>
                    <a:cxn ang="0">
                      <a:pos x="connsiteX1991" y="connsiteY1991"/>
                    </a:cxn>
                    <a:cxn ang="0">
                      <a:pos x="connsiteX1992" y="connsiteY1992"/>
                    </a:cxn>
                    <a:cxn ang="0">
                      <a:pos x="connsiteX1993" y="connsiteY1993"/>
                    </a:cxn>
                    <a:cxn ang="0">
                      <a:pos x="connsiteX1994" y="connsiteY1994"/>
                    </a:cxn>
                    <a:cxn ang="0">
                      <a:pos x="connsiteX1995" y="connsiteY1995"/>
                    </a:cxn>
                    <a:cxn ang="0">
                      <a:pos x="connsiteX1996" y="connsiteY1996"/>
                    </a:cxn>
                    <a:cxn ang="0">
                      <a:pos x="connsiteX1997" y="connsiteY1997"/>
                    </a:cxn>
                    <a:cxn ang="0">
                      <a:pos x="connsiteX1998" y="connsiteY1998"/>
                    </a:cxn>
                    <a:cxn ang="0">
                      <a:pos x="connsiteX1999" y="connsiteY1999"/>
                    </a:cxn>
                    <a:cxn ang="0">
                      <a:pos x="connsiteX2000" y="connsiteY2000"/>
                    </a:cxn>
                    <a:cxn ang="0">
                      <a:pos x="connsiteX2001" y="connsiteY2001"/>
                    </a:cxn>
                    <a:cxn ang="0">
                      <a:pos x="connsiteX2002" y="connsiteY2002"/>
                    </a:cxn>
                    <a:cxn ang="0">
                      <a:pos x="connsiteX2003" y="connsiteY2003"/>
                    </a:cxn>
                    <a:cxn ang="0">
                      <a:pos x="connsiteX2004" y="connsiteY2004"/>
                    </a:cxn>
                    <a:cxn ang="0">
                      <a:pos x="connsiteX2005" y="connsiteY2005"/>
                    </a:cxn>
                    <a:cxn ang="0">
                      <a:pos x="connsiteX2006" y="connsiteY2006"/>
                    </a:cxn>
                    <a:cxn ang="0">
                      <a:pos x="connsiteX2007" y="connsiteY2007"/>
                    </a:cxn>
                    <a:cxn ang="0">
                      <a:pos x="connsiteX2008" y="connsiteY2008"/>
                    </a:cxn>
                    <a:cxn ang="0">
                      <a:pos x="connsiteX2009" y="connsiteY2009"/>
                    </a:cxn>
                    <a:cxn ang="0">
                      <a:pos x="connsiteX2010" y="connsiteY2010"/>
                    </a:cxn>
                    <a:cxn ang="0">
                      <a:pos x="connsiteX2011" y="connsiteY2011"/>
                    </a:cxn>
                    <a:cxn ang="0">
                      <a:pos x="connsiteX2012" y="connsiteY2012"/>
                    </a:cxn>
                    <a:cxn ang="0">
                      <a:pos x="connsiteX2013" y="connsiteY2013"/>
                    </a:cxn>
                    <a:cxn ang="0">
                      <a:pos x="connsiteX2014" y="connsiteY2014"/>
                    </a:cxn>
                    <a:cxn ang="0">
                      <a:pos x="connsiteX2015" y="connsiteY2015"/>
                    </a:cxn>
                    <a:cxn ang="0">
                      <a:pos x="connsiteX2016" y="connsiteY2016"/>
                    </a:cxn>
                    <a:cxn ang="0">
                      <a:pos x="connsiteX2017" y="connsiteY2017"/>
                    </a:cxn>
                    <a:cxn ang="0">
                      <a:pos x="connsiteX2018" y="connsiteY2018"/>
                    </a:cxn>
                    <a:cxn ang="0">
                      <a:pos x="connsiteX2019" y="connsiteY2019"/>
                    </a:cxn>
                    <a:cxn ang="0">
                      <a:pos x="connsiteX2020" y="connsiteY2020"/>
                    </a:cxn>
                    <a:cxn ang="0">
                      <a:pos x="connsiteX2021" y="connsiteY2021"/>
                    </a:cxn>
                    <a:cxn ang="0">
                      <a:pos x="connsiteX2022" y="connsiteY2022"/>
                    </a:cxn>
                    <a:cxn ang="0">
                      <a:pos x="connsiteX2023" y="connsiteY2023"/>
                    </a:cxn>
                    <a:cxn ang="0">
                      <a:pos x="connsiteX2024" y="connsiteY2024"/>
                    </a:cxn>
                    <a:cxn ang="0">
                      <a:pos x="connsiteX2025" y="connsiteY2025"/>
                    </a:cxn>
                    <a:cxn ang="0">
                      <a:pos x="connsiteX2026" y="connsiteY2026"/>
                    </a:cxn>
                    <a:cxn ang="0">
                      <a:pos x="connsiteX2027" y="connsiteY2027"/>
                    </a:cxn>
                    <a:cxn ang="0">
                      <a:pos x="connsiteX2028" y="connsiteY2028"/>
                    </a:cxn>
                    <a:cxn ang="0">
                      <a:pos x="connsiteX2029" y="connsiteY2029"/>
                    </a:cxn>
                    <a:cxn ang="0">
                      <a:pos x="connsiteX2030" y="connsiteY2030"/>
                    </a:cxn>
                    <a:cxn ang="0">
                      <a:pos x="connsiteX2031" y="connsiteY2031"/>
                    </a:cxn>
                    <a:cxn ang="0">
                      <a:pos x="connsiteX2032" y="connsiteY2032"/>
                    </a:cxn>
                    <a:cxn ang="0">
                      <a:pos x="connsiteX2033" y="connsiteY2033"/>
                    </a:cxn>
                    <a:cxn ang="0">
                      <a:pos x="connsiteX2034" y="connsiteY2034"/>
                    </a:cxn>
                    <a:cxn ang="0">
                      <a:pos x="connsiteX2035" y="connsiteY2035"/>
                    </a:cxn>
                    <a:cxn ang="0">
                      <a:pos x="connsiteX2036" y="connsiteY2036"/>
                    </a:cxn>
                    <a:cxn ang="0">
                      <a:pos x="connsiteX2037" y="connsiteY2037"/>
                    </a:cxn>
                    <a:cxn ang="0">
                      <a:pos x="connsiteX2038" y="connsiteY2038"/>
                    </a:cxn>
                    <a:cxn ang="0">
                      <a:pos x="connsiteX2039" y="connsiteY2039"/>
                    </a:cxn>
                    <a:cxn ang="0">
                      <a:pos x="connsiteX2040" y="connsiteY2040"/>
                    </a:cxn>
                    <a:cxn ang="0">
                      <a:pos x="connsiteX2041" y="connsiteY2041"/>
                    </a:cxn>
                    <a:cxn ang="0">
                      <a:pos x="connsiteX2042" y="connsiteY2042"/>
                    </a:cxn>
                    <a:cxn ang="0">
                      <a:pos x="connsiteX2043" y="connsiteY2043"/>
                    </a:cxn>
                    <a:cxn ang="0">
                      <a:pos x="connsiteX2044" y="connsiteY2044"/>
                    </a:cxn>
                    <a:cxn ang="0">
                      <a:pos x="connsiteX2045" y="connsiteY2045"/>
                    </a:cxn>
                    <a:cxn ang="0">
                      <a:pos x="connsiteX2046" y="connsiteY2046"/>
                    </a:cxn>
                    <a:cxn ang="0">
                      <a:pos x="connsiteX2047" y="connsiteY2047"/>
                    </a:cxn>
                    <a:cxn ang="0">
                      <a:pos x="connsiteX2048" y="connsiteY2048"/>
                    </a:cxn>
                    <a:cxn ang="0">
                      <a:pos x="connsiteX2049" y="connsiteY2049"/>
                    </a:cxn>
                    <a:cxn ang="0">
                      <a:pos x="connsiteX2050" y="connsiteY2050"/>
                    </a:cxn>
                    <a:cxn ang="0">
                      <a:pos x="connsiteX2051" y="connsiteY2051"/>
                    </a:cxn>
                    <a:cxn ang="0">
                      <a:pos x="connsiteX2052" y="connsiteY2052"/>
                    </a:cxn>
                    <a:cxn ang="0">
                      <a:pos x="connsiteX2053" y="connsiteY2053"/>
                    </a:cxn>
                    <a:cxn ang="0">
                      <a:pos x="connsiteX2054" y="connsiteY2054"/>
                    </a:cxn>
                    <a:cxn ang="0">
                      <a:pos x="connsiteX2055" y="connsiteY2055"/>
                    </a:cxn>
                    <a:cxn ang="0">
                      <a:pos x="connsiteX2056" y="connsiteY2056"/>
                    </a:cxn>
                    <a:cxn ang="0">
                      <a:pos x="connsiteX2057" y="connsiteY2057"/>
                    </a:cxn>
                    <a:cxn ang="0">
                      <a:pos x="connsiteX2058" y="connsiteY2058"/>
                    </a:cxn>
                    <a:cxn ang="0">
                      <a:pos x="connsiteX2059" y="connsiteY2059"/>
                    </a:cxn>
                    <a:cxn ang="0">
                      <a:pos x="connsiteX2060" y="connsiteY2060"/>
                    </a:cxn>
                    <a:cxn ang="0">
                      <a:pos x="connsiteX2061" y="connsiteY2061"/>
                    </a:cxn>
                    <a:cxn ang="0">
                      <a:pos x="connsiteX2062" y="connsiteY2062"/>
                    </a:cxn>
                    <a:cxn ang="0">
                      <a:pos x="connsiteX2063" y="connsiteY2063"/>
                    </a:cxn>
                    <a:cxn ang="0">
                      <a:pos x="connsiteX2064" y="connsiteY2064"/>
                    </a:cxn>
                    <a:cxn ang="0">
                      <a:pos x="connsiteX2065" y="connsiteY2065"/>
                    </a:cxn>
                    <a:cxn ang="0">
                      <a:pos x="connsiteX2066" y="connsiteY2066"/>
                    </a:cxn>
                    <a:cxn ang="0">
                      <a:pos x="connsiteX2067" y="connsiteY2067"/>
                    </a:cxn>
                    <a:cxn ang="0">
                      <a:pos x="connsiteX2068" y="connsiteY2068"/>
                    </a:cxn>
                    <a:cxn ang="0">
                      <a:pos x="connsiteX2069" y="connsiteY2069"/>
                    </a:cxn>
                    <a:cxn ang="0">
                      <a:pos x="connsiteX2070" y="connsiteY2070"/>
                    </a:cxn>
                    <a:cxn ang="0">
                      <a:pos x="connsiteX2071" y="connsiteY2071"/>
                    </a:cxn>
                    <a:cxn ang="0">
                      <a:pos x="connsiteX2072" y="connsiteY2072"/>
                    </a:cxn>
                    <a:cxn ang="0">
                      <a:pos x="connsiteX2073" y="connsiteY2073"/>
                    </a:cxn>
                    <a:cxn ang="0">
                      <a:pos x="connsiteX2074" y="connsiteY2074"/>
                    </a:cxn>
                    <a:cxn ang="0">
                      <a:pos x="connsiteX2075" y="connsiteY2075"/>
                    </a:cxn>
                    <a:cxn ang="0">
                      <a:pos x="connsiteX2076" y="connsiteY2076"/>
                    </a:cxn>
                    <a:cxn ang="0">
                      <a:pos x="connsiteX2077" y="connsiteY2077"/>
                    </a:cxn>
                    <a:cxn ang="0">
                      <a:pos x="connsiteX2078" y="connsiteY2078"/>
                    </a:cxn>
                    <a:cxn ang="0">
                      <a:pos x="connsiteX2079" y="connsiteY2079"/>
                    </a:cxn>
                    <a:cxn ang="0">
                      <a:pos x="connsiteX2080" y="connsiteY2080"/>
                    </a:cxn>
                    <a:cxn ang="0">
                      <a:pos x="connsiteX2081" y="connsiteY2081"/>
                    </a:cxn>
                    <a:cxn ang="0">
                      <a:pos x="connsiteX2082" y="connsiteY2082"/>
                    </a:cxn>
                    <a:cxn ang="0">
                      <a:pos x="connsiteX2083" y="connsiteY2083"/>
                    </a:cxn>
                    <a:cxn ang="0">
                      <a:pos x="connsiteX2084" y="connsiteY2084"/>
                    </a:cxn>
                    <a:cxn ang="0">
                      <a:pos x="connsiteX2085" y="connsiteY2085"/>
                    </a:cxn>
                    <a:cxn ang="0">
                      <a:pos x="connsiteX2086" y="connsiteY2086"/>
                    </a:cxn>
                    <a:cxn ang="0">
                      <a:pos x="connsiteX2087" y="connsiteY2087"/>
                    </a:cxn>
                    <a:cxn ang="0">
                      <a:pos x="connsiteX2088" y="connsiteY2088"/>
                    </a:cxn>
                    <a:cxn ang="0">
                      <a:pos x="connsiteX2089" y="connsiteY2089"/>
                    </a:cxn>
                    <a:cxn ang="0">
                      <a:pos x="connsiteX2090" y="connsiteY2090"/>
                    </a:cxn>
                    <a:cxn ang="0">
                      <a:pos x="connsiteX2091" y="connsiteY2091"/>
                    </a:cxn>
                    <a:cxn ang="0">
                      <a:pos x="connsiteX2092" y="connsiteY2092"/>
                    </a:cxn>
                    <a:cxn ang="0">
                      <a:pos x="connsiteX2093" y="connsiteY2093"/>
                    </a:cxn>
                    <a:cxn ang="0">
                      <a:pos x="connsiteX2094" y="connsiteY2094"/>
                    </a:cxn>
                    <a:cxn ang="0">
                      <a:pos x="connsiteX2095" y="connsiteY2095"/>
                    </a:cxn>
                    <a:cxn ang="0">
                      <a:pos x="connsiteX2096" y="connsiteY2096"/>
                    </a:cxn>
                    <a:cxn ang="0">
                      <a:pos x="connsiteX2097" y="connsiteY2097"/>
                    </a:cxn>
                    <a:cxn ang="0">
                      <a:pos x="connsiteX2098" y="connsiteY2098"/>
                    </a:cxn>
                    <a:cxn ang="0">
                      <a:pos x="connsiteX2099" y="connsiteY2099"/>
                    </a:cxn>
                    <a:cxn ang="0">
                      <a:pos x="connsiteX2100" y="connsiteY2100"/>
                    </a:cxn>
                    <a:cxn ang="0">
                      <a:pos x="connsiteX2101" y="connsiteY2101"/>
                    </a:cxn>
                    <a:cxn ang="0">
                      <a:pos x="connsiteX2102" y="connsiteY2102"/>
                    </a:cxn>
                    <a:cxn ang="0">
                      <a:pos x="connsiteX2103" y="connsiteY2103"/>
                    </a:cxn>
                    <a:cxn ang="0">
                      <a:pos x="connsiteX2104" y="connsiteY2104"/>
                    </a:cxn>
                    <a:cxn ang="0">
                      <a:pos x="connsiteX2105" y="connsiteY2105"/>
                    </a:cxn>
                    <a:cxn ang="0">
                      <a:pos x="connsiteX2106" y="connsiteY2106"/>
                    </a:cxn>
                    <a:cxn ang="0">
                      <a:pos x="connsiteX2107" y="connsiteY2107"/>
                    </a:cxn>
                    <a:cxn ang="0">
                      <a:pos x="connsiteX2108" y="connsiteY2108"/>
                    </a:cxn>
                    <a:cxn ang="0">
                      <a:pos x="connsiteX2109" y="connsiteY2109"/>
                    </a:cxn>
                    <a:cxn ang="0">
                      <a:pos x="connsiteX2110" y="connsiteY2110"/>
                    </a:cxn>
                    <a:cxn ang="0">
                      <a:pos x="connsiteX2111" y="connsiteY2111"/>
                    </a:cxn>
                    <a:cxn ang="0">
                      <a:pos x="connsiteX2112" y="connsiteY2112"/>
                    </a:cxn>
                    <a:cxn ang="0">
                      <a:pos x="connsiteX2113" y="connsiteY2113"/>
                    </a:cxn>
                    <a:cxn ang="0">
                      <a:pos x="connsiteX2114" y="connsiteY2114"/>
                    </a:cxn>
                    <a:cxn ang="0">
                      <a:pos x="connsiteX2115" y="connsiteY2115"/>
                    </a:cxn>
                    <a:cxn ang="0">
                      <a:pos x="connsiteX2116" y="connsiteY2116"/>
                    </a:cxn>
                    <a:cxn ang="0">
                      <a:pos x="connsiteX2117" y="connsiteY2117"/>
                    </a:cxn>
                    <a:cxn ang="0">
                      <a:pos x="connsiteX2118" y="connsiteY2118"/>
                    </a:cxn>
                    <a:cxn ang="0">
                      <a:pos x="connsiteX2119" y="connsiteY2119"/>
                    </a:cxn>
                    <a:cxn ang="0">
                      <a:pos x="connsiteX2120" y="connsiteY2120"/>
                    </a:cxn>
                    <a:cxn ang="0">
                      <a:pos x="connsiteX2121" y="connsiteY2121"/>
                    </a:cxn>
                    <a:cxn ang="0">
                      <a:pos x="connsiteX2122" y="connsiteY2122"/>
                    </a:cxn>
                    <a:cxn ang="0">
                      <a:pos x="connsiteX2123" y="connsiteY2123"/>
                    </a:cxn>
                    <a:cxn ang="0">
                      <a:pos x="connsiteX2124" y="connsiteY2124"/>
                    </a:cxn>
                    <a:cxn ang="0">
                      <a:pos x="connsiteX2125" y="connsiteY2125"/>
                    </a:cxn>
                    <a:cxn ang="0">
                      <a:pos x="connsiteX2126" y="connsiteY2126"/>
                    </a:cxn>
                    <a:cxn ang="0">
                      <a:pos x="connsiteX2127" y="connsiteY2127"/>
                    </a:cxn>
                    <a:cxn ang="0">
                      <a:pos x="connsiteX2128" y="connsiteY2128"/>
                    </a:cxn>
                    <a:cxn ang="0">
                      <a:pos x="connsiteX2129" y="connsiteY2129"/>
                    </a:cxn>
                    <a:cxn ang="0">
                      <a:pos x="connsiteX2130" y="connsiteY2130"/>
                    </a:cxn>
                    <a:cxn ang="0">
                      <a:pos x="connsiteX2131" y="connsiteY2131"/>
                    </a:cxn>
                    <a:cxn ang="0">
                      <a:pos x="connsiteX2132" y="connsiteY2132"/>
                    </a:cxn>
                    <a:cxn ang="0">
                      <a:pos x="connsiteX2133" y="connsiteY2133"/>
                    </a:cxn>
                    <a:cxn ang="0">
                      <a:pos x="connsiteX2134" y="connsiteY2134"/>
                    </a:cxn>
                    <a:cxn ang="0">
                      <a:pos x="connsiteX2135" y="connsiteY2135"/>
                    </a:cxn>
                    <a:cxn ang="0">
                      <a:pos x="connsiteX2136" y="connsiteY2136"/>
                    </a:cxn>
                    <a:cxn ang="0">
                      <a:pos x="connsiteX2137" y="connsiteY2137"/>
                    </a:cxn>
                    <a:cxn ang="0">
                      <a:pos x="connsiteX2138" y="connsiteY2138"/>
                    </a:cxn>
                    <a:cxn ang="0">
                      <a:pos x="connsiteX2139" y="connsiteY2139"/>
                    </a:cxn>
                    <a:cxn ang="0">
                      <a:pos x="connsiteX2140" y="connsiteY2140"/>
                    </a:cxn>
                    <a:cxn ang="0">
                      <a:pos x="connsiteX2141" y="connsiteY2141"/>
                    </a:cxn>
                    <a:cxn ang="0">
                      <a:pos x="connsiteX2142" y="connsiteY2142"/>
                    </a:cxn>
                    <a:cxn ang="0">
                      <a:pos x="connsiteX2143" y="connsiteY2143"/>
                    </a:cxn>
                    <a:cxn ang="0">
                      <a:pos x="connsiteX2144" y="connsiteY2144"/>
                    </a:cxn>
                    <a:cxn ang="0">
                      <a:pos x="connsiteX2145" y="connsiteY2145"/>
                    </a:cxn>
                    <a:cxn ang="0">
                      <a:pos x="connsiteX2146" y="connsiteY2146"/>
                    </a:cxn>
                    <a:cxn ang="0">
                      <a:pos x="connsiteX2147" y="connsiteY2147"/>
                    </a:cxn>
                    <a:cxn ang="0">
                      <a:pos x="connsiteX2148" y="connsiteY2148"/>
                    </a:cxn>
                    <a:cxn ang="0">
                      <a:pos x="connsiteX2149" y="connsiteY2149"/>
                    </a:cxn>
                    <a:cxn ang="0">
                      <a:pos x="connsiteX2150" y="connsiteY2150"/>
                    </a:cxn>
                    <a:cxn ang="0">
                      <a:pos x="connsiteX2151" y="connsiteY2151"/>
                    </a:cxn>
                    <a:cxn ang="0">
                      <a:pos x="connsiteX2152" y="connsiteY2152"/>
                    </a:cxn>
                    <a:cxn ang="0">
                      <a:pos x="connsiteX2153" y="connsiteY2153"/>
                    </a:cxn>
                    <a:cxn ang="0">
                      <a:pos x="connsiteX2154" y="connsiteY2154"/>
                    </a:cxn>
                    <a:cxn ang="0">
                      <a:pos x="connsiteX2155" y="connsiteY2155"/>
                    </a:cxn>
                    <a:cxn ang="0">
                      <a:pos x="connsiteX2156" y="connsiteY2156"/>
                    </a:cxn>
                    <a:cxn ang="0">
                      <a:pos x="connsiteX2157" y="connsiteY2157"/>
                    </a:cxn>
                    <a:cxn ang="0">
                      <a:pos x="connsiteX2158" y="connsiteY2158"/>
                    </a:cxn>
                    <a:cxn ang="0">
                      <a:pos x="connsiteX2159" y="connsiteY2159"/>
                    </a:cxn>
                    <a:cxn ang="0">
                      <a:pos x="connsiteX2160" y="connsiteY2160"/>
                    </a:cxn>
                    <a:cxn ang="0">
                      <a:pos x="connsiteX2161" y="connsiteY2161"/>
                    </a:cxn>
                    <a:cxn ang="0">
                      <a:pos x="connsiteX2162" y="connsiteY2162"/>
                    </a:cxn>
                    <a:cxn ang="0">
                      <a:pos x="connsiteX2163" y="connsiteY2163"/>
                    </a:cxn>
                    <a:cxn ang="0">
                      <a:pos x="connsiteX2164" y="connsiteY2164"/>
                    </a:cxn>
                    <a:cxn ang="0">
                      <a:pos x="connsiteX2165" y="connsiteY2165"/>
                    </a:cxn>
                    <a:cxn ang="0">
                      <a:pos x="connsiteX2166" y="connsiteY2166"/>
                    </a:cxn>
                    <a:cxn ang="0">
                      <a:pos x="connsiteX2167" y="connsiteY2167"/>
                    </a:cxn>
                    <a:cxn ang="0">
                      <a:pos x="connsiteX2168" y="connsiteY2168"/>
                    </a:cxn>
                    <a:cxn ang="0">
                      <a:pos x="connsiteX2169" y="connsiteY2169"/>
                    </a:cxn>
                    <a:cxn ang="0">
                      <a:pos x="connsiteX2170" y="connsiteY2170"/>
                    </a:cxn>
                    <a:cxn ang="0">
                      <a:pos x="connsiteX2171" y="connsiteY2171"/>
                    </a:cxn>
                    <a:cxn ang="0">
                      <a:pos x="connsiteX2172" y="connsiteY2172"/>
                    </a:cxn>
                    <a:cxn ang="0">
                      <a:pos x="connsiteX2173" y="connsiteY2173"/>
                    </a:cxn>
                    <a:cxn ang="0">
                      <a:pos x="connsiteX2174" y="connsiteY2174"/>
                    </a:cxn>
                    <a:cxn ang="0">
                      <a:pos x="connsiteX2175" y="connsiteY2175"/>
                    </a:cxn>
                    <a:cxn ang="0">
                      <a:pos x="connsiteX2176" y="connsiteY2176"/>
                    </a:cxn>
                    <a:cxn ang="0">
                      <a:pos x="connsiteX2177" y="connsiteY2177"/>
                    </a:cxn>
                    <a:cxn ang="0">
                      <a:pos x="connsiteX2178" y="connsiteY2178"/>
                    </a:cxn>
                    <a:cxn ang="0">
                      <a:pos x="connsiteX2179" y="connsiteY2179"/>
                    </a:cxn>
                    <a:cxn ang="0">
                      <a:pos x="connsiteX2180" y="connsiteY2180"/>
                    </a:cxn>
                    <a:cxn ang="0">
                      <a:pos x="connsiteX2181" y="connsiteY2181"/>
                    </a:cxn>
                    <a:cxn ang="0">
                      <a:pos x="connsiteX2182" y="connsiteY2182"/>
                    </a:cxn>
                    <a:cxn ang="0">
                      <a:pos x="connsiteX2183" y="connsiteY2183"/>
                    </a:cxn>
                    <a:cxn ang="0">
                      <a:pos x="connsiteX2184" y="connsiteY2184"/>
                    </a:cxn>
                    <a:cxn ang="0">
                      <a:pos x="connsiteX2185" y="connsiteY2185"/>
                    </a:cxn>
                    <a:cxn ang="0">
                      <a:pos x="connsiteX2186" y="connsiteY2186"/>
                    </a:cxn>
                    <a:cxn ang="0">
                      <a:pos x="connsiteX2187" y="connsiteY2187"/>
                    </a:cxn>
                    <a:cxn ang="0">
                      <a:pos x="connsiteX2188" y="connsiteY2188"/>
                    </a:cxn>
                    <a:cxn ang="0">
                      <a:pos x="connsiteX2189" y="connsiteY2189"/>
                    </a:cxn>
                    <a:cxn ang="0">
                      <a:pos x="connsiteX2190" y="connsiteY2190"/>
                    </a:cxn>
                    <a:cxn ang="0">
                      <a:pos x="connsiteX2191" y="connsiteY2191"/>
                    </a:cxn>
                    <a:cxn ang="0">
                      <a:pos x="connsiteX2192" y="connsiteY2192"/>
                    </a:cxn>
                    <a:cxn ang="0">
                      <a:pos x="connsiteX2193" y="connsiteY2193"/>
                    </a:cxn>
                    <a:cxn ang="0">
                      <a:pos x="connsiteX2194" y="connsiteY2194"/>
                    </a:cxn>
                    <a:cxn ang="0">
                      <a:pos x="connsiteX2195" y="connsiteY2195"/>
                    </a:cxn>
                    <a:cxn ang="0">
                      <a:pos x="connsiteX2196" y="connsiteY2196"/>
                    </a:cxn>
                    <a:cxn ang="0">
                      <a:pos x="connsiteX2197" y="connsiteY2197"/>
                    </a:cxn>
                    <a:cxn ang="0">
                      <a:pos x="connsiteX2198" y="connsiteY2198"/>
                    </a:cxn>
                    <a:cxn ang="0">
                      <a:pos x="connsiteX2199" y="connsiteY2199"/>
                    </a:cxn>
                    <a:cxn ang="0">
                      <a:pos x="connsiteX2200" y="connsiteY2200"/>
                    </a:cxn>
                    <a:cxn ang="0">
                      <a:pos x="connsiteX2201" y="connsiteY2201"/>
                    </a:cxn>
                    <a:cxn ang="0">
                      <a:pos x="connsiteX2202" y="connsiteY2202"/>
                    </a:cxn>
                    <a:cxn ang="0">
                      <a:pos x="connsiteX2203" y="connsiteY2203"/>
                    </a:cxn>
                    <a:cxn ang="0">
                      <a:pos x="connsiteX2204" y="connsiteY2204"/>
                    </a:cxn>
                    <a:cxn ang="0">
                      <a:pos x="connsiteX2205" y="connsiteY2205"/>
                    </a:cxn>
                    <a:cxn ang="0">
                      <a:pos x="connsiteX2206" y="connsiteY2206"/>
                    </a:cxn>
                    <a:cxn ang="0">
                      <a:pos x="connsiteX2207" y="connsiteY2207"/>
                    </a:cxn>
                    <a:cxn ang="0">
                      <a:pos x="connsiteX2208" y="connsiteY2208"/>
                    </a:cxn>
                    <a:cxn ang="0">
                      <a:pos x="connsiteX2209" y="connsiteY2209"/>
                    </a:cxn>
                    <a:cxn ang="0">
                      <a:pos x="connsiteX2210" y="connsiteY2210"/>
                    </a:cxn>
                    <a:cxn ang="0">
                      <a:pos x="connsiteX2211" y="connsiteY2211"/>
                    </a:cxn>
                    <a:cxn ang="0">
                      <a:pos x="connsiteX2212" y="connsiteY2212"/>
                    </a:cxn>
                    <a:cxn ang="0">
                      <a:pos x="connsiteX2213" y="connsiteY2213"/>
                    </a:cxn>
                    <a:cxn ang="0">
                      <a:pos x="connsiteX2214" y="connsiteY2214"/>
                    </a:cxn>
                    <a:cxn ang="0">
                      <a:pos x="connsiteX2215" y="connsiteY2215"/>
                    </a:cxn>
                    <a:cxn ang="0">
                      <a:pos x="connsiteX2216" y="connsiteY2216"/>
                    </a:cxn>
                    <a:cxn ang="0">
                      <a:pos x="connsiteX2217" y="connsiteY2217"/>
                    </a:cxn>
                    <a:cxn ang="0">
                      <a:pos x="connsiteX2218" y="connsiteY2218"/>
                    </a:cxn>
                    <a:cxn ang="0">
                      <a:pos x="connsiteX2219" y="connsiteY2219"/>
                    </a:cxn>
                    <a:cxn ang="0">
                      <a:pos x="connsiteX2220" y="connsiteY2220"/>
                    </a:cxn>
                    <a:cxn ang="0">
                      <a:pos x="connsiteX2221" y="connsiteY2221"/>
                    </a:cxn>
                    <a:cxn ang="0">
                      <a:pos x="connsiteX2222" y="connsiteY2222"/>
                    </a:cxn>
                    <a:cxn ang="0">
                      <a:pos x="connsiteX2223" y="connsiteY2223"/>
                    </a:cxn>
                    <a:cxn ang="0">
                      <a:pos x="connsiteX2224" y="connsiteY2224"/>
                    </a:cxn>
                    <a:cxn ang="0">
                      <a:pos x="connsiteX2225" y="connsiteY2225"/>
                    </a:cxn>
                    <a:cxn ang="0">
                      <a:pos x="connsiteX2226" y="connsiteY2226"/>
                    </a:cxn>
                    <a:cxn ang="0">
                      <a:pos x="connsiteX2227" y="connsiteY2227"/>
                    </a:cxn>
                    <a:cxn ang="0">
                      <a:pos x="connsiteX2228" y="connsiteY2228"/>
                    </a:cxn>
                    <a:cxn ang="0">
                      <a:pos x="connsiteX2229" y="connsiteY2229"/>
                    </a:cxn>
                    <a:cxn ang="0">
                      <a:pos x="connsiteX2230" y="connsiteY2230"/>
                    </a:cxn>
                    <a:cxn ang="0">
                      <a:pos x="connsiteX2231" y="connsiteY2231"/>
                    </a:cxn>
                    <a:cxn ang="0">
                      <a:pos x="connsiteX2232" y="connsiteY2232"/>
                    </a:cxn>
                    <a:cxn ang="0">
                      <a:pos x="connsiteX2233" y="connsiteY2233"/>
                    </a:cxn>
                    <a:cxn ang="0">
                      <a:pos x="connsiteX2234" y="connsiteY2234"/>
                    </a:cxn>
                    <a:cxn ang="0">
                      <a:pos x="connsiteX2235" y="connsiteY2235"/>
                    </a:cxn>
                    <a:cxn ang="0">
                      <a:pos x="connsiteX2236" y="connsiteY2236"/>
                    </a:cxn>
                    <a:cxn ang="0">
                      <a:pos x="connsiteX2237" y="connsiteY2237"/>
                    </a:cxn>
                    <a:cxn ang="0">
                      <a:pos x="connsiteX2238" y="connsiteY2238"/>
                    </a:cxn>
                    <a:cxn ang="0">
                      <a:pos x="connsiteX2239" y="connsiteY2239"/>
                    </a:cxn>
                    <a:cxn ang="0">
                      <a:pos x="connsiteX2240" y="connsiteY2240"/>
                    </a:cxn>
                    <a:cxn ang="0">
                      <a:pos x="connsiteX2241" y="connsiteY2241"/>
                    </a:cxn>
                    <a:cxn ang="0">
                      <a:pos x="connsiteX2242" y="connsiteY2242"/>
                    </a:cxn>
                    <a:cxn ang="0">
                      <a:pos x="connsiteX2243" y="connsiteY2243"/>
                    </a:cxn>
                    <a:cxn ang="0">
                      <a:pos x="connsiteX2244" y="connsiteY2244"/>
                    </a:cxn>
                    <a:cxn ang="0">
                      <a:pos x="connsiteX2245" y="connsiteY2245"/>
                    </a:cxn>
                    <a:cxn ang="0">
                      <a:pos x="connsiteX2246" y="connsiteY2246"/>
                    </a:cxn>
                    <a:cxn ang="0">
                      <a:pos x="connsiteX2247" y="connsiteY2247"/>
                    </a:cxn>
                    <a:cxn ang="0">
                      <a:pos x="connsiteX2248" y="connsiteY2248"/>
                    </a:cxn>
                    <a:cxn ang="0">
                      <a:pos x="connsiteX2249" y="connsiteY2249"/>
                    </a:cxn>
                    <a:cxn ang="0">
                      <a:pos x="connsiteX2250" y="connsiteY2250"/>
                    </a:cxn>
                    <a:cxn ang="0">
                      <a:pos x="connsiteX2251" y="connsiteY2251"/>
                    </a:cxn>
                    <a:cxn ang="0">
                      <a:pos x="connsiteX2252" y="connsiteY2252"/>
                    </a:cxn>
                    <a:cxn ang="0">
                      <a:pos x="connsiteX2253" y="connsiteY2253"/>
                    </a:cxn>
                    <a:cxn ang="0">
                      <a:pos x="connsiteX2254" y="connsiteY2254"/>
                    </a:cxn>
                    <a:cxn ang="0">
                      <a:pos x="connsiteX2255" y="connsiteY2255"/>
                    </a:cxn>
                    <a:cxn ang="0">
                      <a:pos x="connsiteX2256" y="connsiteY2256"/>
                    </a:cxn>
                    <a:cxn ang="0">
                      <a:pos x="connsiteX2257" y="connsiteY2257"/>
                    </a:cxn>
                    <a:cxn ang="0">
                      <a:pos x="connsiteX2258" y="connsiteY2258"/>
                    </a:cxn>
                    <a:cxn ang="0">
                      <a:pos x="connsiteX2259" y="connsiteY2259"/>
                    </a:cxn>
                    <a:cxn ang="0">
                      <a:pos x="connsiteX2260" y="connsiteY2260"/>
                    </a:cxn>
                    <a:cxn ang="0">
                      <a:pos x="connsiteX2261" y="connsiteY2261"/>
                    </a:cxn>
                    <a:cxn ang="0">
                      <a:pos x="connsiteX2262" y="connsiteY2262"/>
                    </a:cxn>
                    <a:cxn ang="0">
                      <a:pos x="connsiteX2263" y="connsiteY2263"/>
                    </a:cxn>
                    <a:cxn ang="0">
                      <a:pos x="connsiteX2264" y="connsiteY2264"/>
                    </a:cxn>
                    <a:cxn ang="0">
                      <a:pos x="connsiteX2265" y="connsiteY2265"/>
                    </a:cxn>
                    <a:cxn ang="0">
                      <a:pos x="connsiteX2266" y="connsiteY2266"/>
                    </a:cxn>
                    <a:cxn ang="0">
                      <a:pos x="connsiteX2267" y="connsiteY2267"/>
                    </a:cxn>
                    <a:cxn ang="0">
                      <a:pos x="connsiteX2268" y="connsiteY2268"/>
                    </a:cxn>
                    <a:cxn ang="0">
                      <a:pos x="connsiteX2269" y="connsiteY2269"/>
                    </a:cxn>
                    <a:cxn ang="0">
                      <a:pos x="connsiteX2270" y="connsiteY2270"/>
                    </a:cxn>
                    <a:cxn ang="0">
                      <a:pos x="connsiteX2271" y="connsiteY2271"/>
                    </a:cxn>
                    <a:cxn ang="0">
                      <a:pos x="connsiteX2272" y="connsiteY2272"/>
                    </a:cxn>
                    <a:cxn ang="0">
                      <a:pos x="connsiteX2273" y="connsiteY2273"/>
                    </a:cxn>
                    <a:cxn ang="0">
                      <a:pos x="connsiteX2274" y="connsiteY2274"/>
                    </a:cxn>
                    <a:cxn ang="0">
                      <a:pos x="connsiteX2275" y="connsiteY2275"/>
                    </a:cxn>
                    <a:cxn ang="0">
                      <a:pos x="connsiteX2276" y="connsiteY2276"/>
                    </a:cxn>
                    <a:cxn ang="0">
                      <a:pos x="connsiteX2277" y="connsiteY2277"/>
                    </a:cxn>
                    <a:cxn ang="0">
                      <a:pos x="connsiteX2278" y="connsiteY2278"/>
                    </a:cxn>
                    <a:cxn ang="0">
                      <a:pos x="connsiteX2279" y="connsiteY2279"/>
                    </a:cxn>
                    <a:cxn ang="0">
                      <a:pos x="connsiteX2280" y="connsiteY2280"/>
                    </a:cxn>
                    <a:cxn ang="0">
                      <a:pos x="connsiteX2281" y="connsiteY2281"/>
                    </a:cxn>
                    <a:cxn ang="0">
                      <a:pos x="connsiteX2282" y="connsiteY2282"/>
                    </a:cxn>
                    <a:cxn ang="0">
                      <a:pos x="connsiteX2283" y="connsiteY2283"/>
                    </a:cxn>
                    <a:cxn ang="0">
                      <a:pos x="connsiteX2284" y="connsiteY2284"/>
                    </a:cxn>
                    <a:cxn ang="0">
                      <a:pos x="connsiteX2285" y="connsiteY2285"/>
                    </a:cxn>
                    <a:cxn ang="0">
                      <a:pos x="connsiteX2286" y="connsiteY2286"/>
                    </a:cxn>
                    <a:cxn ang="0">
                      <a:pos x="connsiteX2287" y="connsiteY2287"/>
                    </a:cxn>
                    <a:cxn ang="0">
                      <a:pos x="connsiteX2288" y="connsiteY2288"/>
                    </a:cxn>
                    <a:cxn ang="0">
                      <a:pos x="connsiteX2289" y="connsiteY2289"/>
                    </a:cxn>
                    <a:cxn ang="0">
                      <a:pos x="connsiteX2290" y="connsiteY2290"/>
                    </a:cxn>
                    <a:cxn ang="0">
                      <a:pos x="connsiteX2291" y="connsiteY2291"/>
                    </a:cxn>
                    <a:cxn ang="0">
                      <a:pos x="connsiteX2292" y="connsiteY2292"/>
                    </a:cxn>
                    <a:cxn ang="0">
                      <a:pos x="connsiteX2293" y="connsiteY2293"/>
                    </a:cxn>
                    <a:cxn ang="0">
                      <a:pos x="connsiteX2294" y="connsiteY2294"/>
                    </a:cxn>
                    <a:cxn ang="0">
                      <a:pos x="connsiteX2295" y="connsiteY2295"/>
                    </a:cxn>
                    <a:cxn ang="0">
                      <a:pos x="connsiteX2296" y="connsiteY2296"/>
                    </a:cxn>
                    <a:cxn ang="0">
                      <a:pos x="connsiteX2297" y="connsiteY2297"/>
                    </a:cxn>
                    <a:cxn ang="0">
                      <a:pos x="connsiteX2298" y="connsiteY2298"/>
                    </a:cxn>
                    <a:cxn ang="0">
                      <a:pos x="connsiteX2299" y="connsiteY2299"/>
                    </a:cxn>
                    <a:cxn ang="0">
                      <a:pos x="connsiteX2300" y="connsiteY2300"/>
                    </a:cxn>
                    <a:cxn ang="0">
                      <a:pos x="connsiteX2301" y="connsiteY2301"/>
                    </a:cxn>
                    <a:cxn ang="0">
                      <a:pos x="connsiteX2302" y="connsiteY2302"/>
                    </a:cxn>
                    <a:cxn ang="0">
                      <a:pos x="connsiteX2303" y="connsiteY2303"/>
                    </a:cxn>
                    <a:cxn ang="0">
                      <a:pos x="connsiteX2304" y="connsiteY2304"/>
                    </a:cxn>
                    <a:cxn ang="0">
                      <a:pos x="connsiteX2305" y="connsiteY2305"/>
                    </a:cxn>
                    <a:cxn ang="0">
                      <a:pos x="connsiteX2306" y="connsiteY2306"/>
                    </a:cxn>
                    <a:cxn ang="0">
                      <a:pos x="connsiteX2307" y="connsiteY2307"/>
                    </a:cxn>
                    <a:cxn ang="0">
                      <a:pos x="connsiteX2308" y="connsiteY2308"/>
                    </a:cxn>
                    <a:cxn ang="0">
                      <a:pos x="connsiteX2309" y="connsiteY2309"/>
                    </a:cxn>
                    <a:cxn ang="0">
                      <a:pos x="connsiteX2310" y="connsiteY2310"/>
                    </a:cxn>
                    <a:cxn ang="0">
                      <a:pos x="connsiteX2311" y="connsiteY2311"/>
                    </a:cxn>
                    <a:cxn ang="0">
                      <a:pos x="connsiteX2312" y="connsiteY2312"/>
                    </a:cxn>
                    <a:cxn ang="0">
                      <a:pos x="connsiteX2313" y="connsiteY2313"/>
                    </a:cxn>
                    <a:cxn ang="0">
                      <a:pos x="connsiteX2314" y="connsiteY2314"/>
                    </a:cxn>
                    <a:cxn ang="0">
                      <a:pos x="connsiteX2315" y="connsiteY2315"/>
                    </a:cxn>
                    <a:cxn ang="0">
                      <a:pos x="connsiteX2316" y="connsiteY2316"/>
                    </a:cxn>
                    <a:cxn ang="0">
                      <a:pos x="connsiteX2317" y="connsiteY2317"/>
                    </a:cxn>
                    <a:cxn ang="0">
                      <a:pos x="connsiteX2318" y="connsiteY2318"/>
                    </a:cxn>
                    <a:cxn ang="0">
                      <a:pos x="connsiteX2319" y="connsiteY2319"/>
                    </a:cxn>
                    <a:cxn ang="0">
                      <a:pos x="connsiteX2320" y="connsiteY2320"/>
                    </a:cxn>
                    <a:cxn ang="0">
                      <a:pos x="connsiteX2321" y="connsiteY2321"/>
                    </a:cxn>
                    <a:cxn ang="0">
                      <a:pos x="connsiteX2322" y="connsiteY2322"/>
                    </a:cxn>
                    <a:cxn ang="0">
                      <a:pos x="connsiteX2323" y="connsiteY2323"/>
                    </a:cxn>
                    <a:cxn ang="0">
                      <a:pos x="connsiteX2324" y="connsiteY2324"/>
                    </a:cxn>
                    <a:cxn ang="0">
                      <a:pos x="connsiteX2325" y="connsiteY2325"/>
                    </a:cxn>
                    <a:cxn ang="0">
                      <a:pos x="connsiteX2326" y="connsiteY2326"/>
                    </a:cxn>
                    <a:cxn ang="0">
                      <a:pos x="connsiteX2327" y="connsiteY2327"/>
                    </a:cxn>
                    <a:cxn ang="0">
                      <a:pos x="connsiteX2328" y="connsiteY2328"/>
                    </a:cxn>
                    <a:cxn ang="0">
                      <a:pos x="connsiteX2329" y="connsiteY2329"/>
                    </a:cxn>
                    <a:cxn ang="0">
                      <a:pos x="connsiteX2330" y="connsiteY2330"/>
                    </a:cxn>
                    <a:cxn ang="0">
                      <a:pos x="connsiteX2331" y="connsiteY2331"/>
                    </a:cxn>
                    <a:cxn ang="0">
                      <a:pos x="connsiteX2332" y="connsiteY2332"/>
                    </a:cxn>
                    <a:cxn ang="0">
                      <a:pos x="connsiteX2333" y="connsiteY2333"/>
                    </a:cxn>
                    <a:cxn ang="0">
                      <a:pos x="connsiteX2334" y="connsiteY2334"/>
                    </a:cxn>
                    <a:cxn ang="0">
                      <a:pos x="connsiteX2335" y="connsiteY2335"/>
                    </a:cxn>
                    <a:cxn ang="0">
                      <a:pos x="connsiteX2336" y="connsiteY2336"/>
                    </a:cxn>
                    <a:cxn ang="0">
                      <a:pos x="connsiteX2337" y="connsiteY2337"/>
                    </a:cxn>
                    <a:cxn ang="0">
                      <a:pos x="connsiteX2338" y="connsiteY2338"/>
                    </a:cxn>
                    <a:cxn ang="0">
                      <a:pos x="connsiteX2339" y="connsiteY2339"/>
                    </a:cxn>
                    <a:cxn ang="0">
                      <a:pos x="connsiteX2340" y="connsiteY2340"/>
                    </a:cxn>
                    <a:cxn ang="0">
                      <a:pos x="connsiteX2341" y="connsiteY2341"/>
                    </a:cxn>
                    <a:cxn ang="0">
                      <a:pos x="connsiteX2342" y="connsiteY2342"/>
                    </a:cxn>
                    <a:cxn ang="0">
                      <a:pos x="connsiteX2343" y="connsiteY2343"/>
                    </a:cxn>
                    <a:cxn ang="0">
                      <a:pos x="connsiteX2344" y="connsiteY2344"/>
                    </a:cxn>
                    <a:cxn ang="0">
                      <a:pos x="connsiteX2345" y="connsiteY2345"/>
                    </a:cxn>
                    <a:cxn ang="0">
                      <a:pos x="connsiteX2346" y="connsiteY2346"/>
                    </a:cxn>
                    <a:cxn ang="0">
                      <a:pos x="connsiteX2347" y="connsiteY2347"/>
                    </a:cxn>
                    <a:cxn ang="0">
                      <a:pos x="connsiteX2348" y="connsiteY2348"/>
                    </a:cxn>
                    <a:cxn ang="0">
                      <a:pos x="connsiteX2349" y="connsiteY2349"/>
                    </a:cxn>
                    <a:cxn ang="0">
                      <a:pos x="connsiteX2350" y="connsiteY2350"/>
                    </a:cxn>
                    <a:cxn ang="0">
                      <a:pos x="connsiteX2351" y="connsiteY2351"/>
                    </a:cxn>
                    <a:cxn ang="0">
                      <a:pos x="connsiteX2352" y="connsiteY2352"/>
                    </a:cxn>
                    <a:cxn ang="0">
                      <a:pos x="connsiteX2353" y="connsiteY2353"/>
                    </a:cxn>
                    <a:cxn ang="0">
                      <a:pos x="connsiteX2354" y="connsiteY2354"/>
                    </a:cxn>
                    <a:cxn ang="0">
                      <a:pos x="connsiteX2355" y="connsiteY2355"/>
                    </a:cxn>
                    <a:cxn ang="0">
                      <a:pos x="connsiteX2356" y="connsiteY2356"/>
                    </a:cxn>
                    <a:cxn ang="0">
                      <a:pos x="connsiteX2357" y="connsiteY2357"/>
                    </a:cxn>
                    <a:cxn ang="0">
                      <a:pos x="connsiteX2358" y="connsiteY2358"/>
                    </a:cxn>
                    <a:cxn ang="0">
                      <a:pos x="connsiteX2359" y="connsiteY2359"/>
                    </a:cxn>
                    <a:cxn ang="0">
                      <a:pos x="connsiteX2360" y="connsiteY2360"/>
                    </a:cxn>
                    <a:cxn ang="0">
                      <a:pos x="connsiteX2361" y="connsiteY2361"/>
                    </a:cxn>
                    <a:cxn ang="0">
                      <a:pos x="connsiteX2362" y="connsiteY2362"/>
                    </a:cxn>
                    <a:cxn ang="0">
                      <a:pos x="connsiteX2363" y="connsiteY2363"/>
                    </a:cxn>
                    <a:cxn ang="0">
                      <a:pos x="connsiteX2364" y="connsiteY2364"/>
                    </a:cxn>
                    <a:cxn ang="0">
                      <a:pos x="connsiteX2365" y="connsiteY2365"/>
                    </a:cxn>
                    <a:cxn ang="0">
                      <a:pos x="connsiteX2366" y="connsiteY2366"/>
                    </a:cxn>
                    <a:cxn ang="0">
                      <a:pos x="connsiteX2367" y="connsiteY2367"/>
                    </a:cxn>
                    <a:cxn ang="0">
                      <a:pos x="connsiteX2368" y="connsiteY2368"/>
                    </a:cxn>
                    <a:cxn ang="0">
                      <a:pos x="connsiteX2369" y="connsiteY2369"/>
                    </a:cxn>
                    <a:cxn ang="0">
                      <a:pos x="connsiteX2370" y="connsiteY2370"/>
                    </a:cxn>
                    <a:cxn ang="0">
                      <a:pos x="connsiteX2371" y="connsiteY2371"/>
                    </a:cxn>
                    <a:cxn ang="0">
                      <a:pos x="connsiteX2372" y="connsiteY2372"/>
                    </a:cxn>
                    <a:cxn ang="0">
                      <a:pos x="connsiteX2373" y="connsiteY2373"/>
                    </a:cxn>
                    <a:cxn ang="0">
                      <a:pos x="connsiteX2374" y="connsiteY2374"/>
                    </a:cxn>
                    <a:cxn ang="0">
                      <a:pos x="connsiteX2375" y="connsiteY2375"/>
                    </a:cxn>
                    <a:cxn ang="0">
                      <a:pos x="connsiteX2376" y="connsiteY2376"/>
                    </a:cxn>
                    <a:cxn ang="0">
                      <a:pos x="connsiteX2377" y="connsiteY2377"/>
                    </a:cxn>
                    <a:cxn ang="0">
                      <a:pos x="connsiteX2378" y="connsiteY2378"/>
                    </a:cxn>
                    <a:cxn ang="0">
                      <a:pos x="connsiteX2379" y="connsiteY2379"/>
                    </a:cxn>
                    <a:cxn ang="0">
                      <a:pos x="connsiteX2380" y="connsiteY2380"/>
                    </a:cxn>
                    <a:cxn ang="0">
                      <a:pos x="connsiteX2381" y="connsiteY2381"/>
                    </a:cxn>
                    <a:cxn ang="0">
                      <a:pos x="connsiteX2382" y="connsiteY2382"/>
                    </a:cxn>
                    <a:cxn ang="0">
                      <a:pos x="connsiteX2383" y="connsiteY2383"/>
                    </a:cxn>
                    <a:cxn ang="0">
                      <a:pos x="connsiteX2384" y="connsiteY2384"/>
                    </a:cxn>
                    <a:cxn ang="0">
                      <a:pos x="connsiteX2385" y="connsiteY2385"/>
                    </a:cxn>
                    <a:cxn ang="0">
                      <a:pos x="connsiteX2386" y="connsiteY2386"/>
                    </a:cxn>
                    <a:cxn ang="0">
                      <a:pos x="connsiteX2387" y="connsiteY2387"/>
                    </a:cxn>
                    <a:cxn ang="0">
                      <a:pos x="connsiteX2388" y="connsiteY2388"/>
                    </a:cxn>
                    <a:cxn ang="0">
                      <a:pos x="connsiteX2389" y="connsiteY2389"/>
                    </a:cxn>
                    <a:cxn ang="0">
                      <a:pos x="connsiteX2390" y="connsiteY2390"/>
                    </a:cxn>
                    <a:cxn ang="0">
                      <a:pos x="connsiteX2391" y="connsiteY2391"/>
                    </a:cxn>
                    <a:cxn ang="0">
                      <a:pos x="connsiteX2392" y="connsiteY2392"/>
                    </a:cxn>
                    <a:cxn ang="0">
                      <a:pos x="connsiteX2393" y="connsiteY2393"/>
                    </a:cxn>
                    <a:cxn ang="0">
                      <a:pos x="connsiteX2394" y="connsiteY2394"/>
                    </a:cxn>
                    <a:cxn ang="0">
                      <a:pos x="connsiteX2395" y="connsiteY2395"/>
                    </a:cxn>
                    <a:cxn ang="0">
                      <a:pos x="connsiteX2396" y="connsiteY2396"/>
                    </a:cxn>
                    <a:cxn ang="0">
                      <a:pos x="connsiteX2397" y="connsiteY2397"/>
                    </a:cxn>
                    <a:cxn ang="0">
                      <a:pos x="connsiteX2398" y="connsiteY2398"/>
                    </a:cxn>
                    <a:cxn ang="0">
                      <a:pos x="connsiteX2399" y="connsiteY2399"/>
                    </a:cxn>
                    <a:cxn ang="0">
                      <a:pos x="connsiteX2400" y="connsiteY2400"/>
                    </a:cxn>
                    <a:cxn ang="0">
                      <a:pos x="connsiteX2401" y="connsiteY2401"/>
                    </a:cxn>
                    <a:cxn ang="0">
                      <a:pos x="connsiteX2402" y="connsiteY2402"/>
                    </a:cxn>
                    <a:cxn ang="0">
                      <a:pos x="connsiteX2403" y="connsiteY2403"/>
                    </a:cxn>
                    <a:cxn ang="0">
                      <a:pos x="connsiteX2404" y="connsiteY2404"/>
                    </a:cxn>
                    <a:cxn ang="0">
                      <a:pos x="connsiteX2405" y="connsiteY2405"/>
                    </a:cxn>
                    <a:cxn ang="0">
                      <a:pos x="connsiteX2406" y="connsiteY2406"/>
                    </a:cxn>
                    <a:cxn ang="0">
                      <a:pos x="connsiteX2407" y="connsiteY2407"/>
                    </a:cxn>
                    <a:cxn ang="0">
                      <a:pos x="connsiteX2408" y="connsiteY2408"/>
                    </a:cxn>
                    <a:cxn ang="0">
                      <a:pos x="connsiteX2409" y="connsiteY2409"/>
                    </a:cxn>
                    <a:cxn ang="0">
                      <a:pos x="connsiteX2410" y="connsiteY2410"/>
                    </a:cxn>
                    <a:cxn ang="0">
                      <a:pos x="connsiteX2411" y="connsiteY2411"/>
                    </a:cxn>
                    <a:cxn ang="0">
                      <a:pos x="connsiteX2412" y="connsiteY2412"/>
                    </a:cxn>
                    <a:cxn ang="0">
                      <a:pos x="connsiteX2413" y="connsiteY2413"/>
                    </a:cxn>
                    <a:cxn ang="0">
                      <a:pos x="connsiteX2414" y="connsiteY2414"/>
                    </a:cxn>
                    <a:cxn ang="0">
                      <a:pos x="connsiteX2415" y="connsiteY2415"/>
                    </a:cxn>
                    <a:cxn ang="0">
                      <a:pos x="connsiteX2416" y="connsiteY2416"/>
                    </a:cxn>
                    <a:cxn ang="0">
                      <a:pos x="connsiteX2417" y="connsiteY2417"/>
                    </a:cxn>
                    <a:cxn ang="0">
                      <a:pos x="connsiteX2418" y="connsiteY2418"/>
                    </a:cxn>
                    <a:cxn ang="0">
                      <a:pos x="connsiteX2419" y="connsiteY2419"/>
                    </a:cxn>
                    <a:cxn ang="0">
                      <a:pos x="connsiteX2420" y="connsiteY2420"/>
                    </a:cxn>
                    <a:cxn ang="0">
                      <a:pos x="connsiteX2421" y="connsiteY2421"/>
                    </a:cxn>
                    <a:cxn ang="0">
                      <a:pos x="connsiteX2422" y="connsiteY2422"/>
                    </a:cxn>
                    <a:cxn ang="0">
                      <a:pos x="connsiteX2423" y="connsiteY2423"/>
                    </a:cxn>
                    <a:cxn ang="0">
                      <a:pos x="connsiteX2424" y="connsiteY2424"/>
                    </a:cxn>
                    <a:cxn ang="0">
                      <a:pos x="connsiteX2425" y="connsiteY2425"/>
                    </a:cxn>
                    <a:cxn ang="0">
                      <a:pos x="connsiteX2426" y="connsiteY2426"/>
                    </a:cxn>
                    <a:cxn ang="0">
                      <a:pos x="connsiteX2427" y="connsiteY2427"/>
                    </a:cxn>
                    <a:cxn ang="0">
                      <a:pos x="connsiteX2428" y="connsiteY2428"/>
                    </a:cxn>
                    <a:cxn ang="0">
                      <a:pos x="connsiteX2429" y="connsiteY2429"/>
                    </a:cxn>
                    <a:cxn ang="0">
                      <a:pos x="connsiteX2430" y="connsiteY2430"/>
                    </a:cxn>
                    <a:cxn ang="0">
                      <a:pos x="connsiteX2431" y="connsiteY2431"/>
                    </a:cxn>
                    <a:cxn ang="0">
                      <a:pos x="connsiteX2432" y="connsiteY2432"/>
                    </a:cxn>
                    <a:cxn ang="0">
                      <a:pos x="connsiteX2433" y="connsiteY2433"/>
                    </a:cxn>
                    <a:cxn ang="0">
                      <a:pos x="connsiteX2434" y="connsiteY2434"/>
                    </a:cxn>
                    <a:cxn ang="0">
                      <a:pos x="connsiteX2435" y="connsiteY2435"/>
                    </a:cxn>
                    <a:cxn ang="0">
                      <a:pos x="connsiteX2436" y="connsiteY2436"/>
                    </a:cxn>
                    <a:cxn ang="0">
                      <a:pos x="connsiteX2437" y="connsiteY2437"/>
                    </a:cxn>
                    <a:cxn ang="0">
                      <a:pos x="connsiteX2438" y="connsiteY2438"/>
                    </a:cxn>
                    <a:cxn ang="0">
                      <a:pos x="connsiteX2439" y="connsiteY2439"/>
                    </a:cxn>
                    <a:cxn ang="0">
                      <a:pos x="connsiteX2440" y="connsiteY2440"/>
                    </a:cxn>
                    <a:cxn ang="0">
                      <a:pos x="connsiteX2441" y="connsiteY2441"/>
                    </a:cxn>
                    <a:cxn ang="0">
                      <a:pos x="connsiteX2442" y="connsiteY2442"/>
                    </a:cxn>
                    <a:cxn ang="0">
                      <a:pos x="connsiteX2443" y="connsiteY2443"/>
                    </a:cxn>
                    <a:cxn ang="0">
                      <a:pos x="connsiteX2444" y="connsiteY2444"/>
                    </a:cxn>
                    <a:cxn ang="0">
                      <a:pos x="connsiteX2445" y="connsiteY2445"/>
                    </a:cxn>
                    <a:cxn ang="0">
                      <a:pos x="connsiteX2446" y="connsiteY2446"/>
                    </a:cxn>
                    <a:cxn ang="0">
                      <a:pos x="connsiteX2447" y="connsiteY2447"/>
                    </a:cxn>
                    <a:cxn ang="0">
                      <a:pos x="connsiteX2448" y="connsiteY2448"/>
                    </a:cxn>
                    <a:cxn ang="0">
                      <a:pos x="connsiteX2449" y="connsiteY2449"/>
                    </a:cxn>
                    <a:cxn ang="0">
                      <a:pos x="connsiteX2450" y="connsiteY2450"/>
                    </a:cxn>
                    <a:cxn ang="0">
                      <a:pos x="connsiteX2451" y="connsiteY2451"/>
                    </a:cxn>
                    <a:cxn ang="0">
                      <a:pos x="connsiteX2452" y="connsiteY2452"/>
                    </a:cxn>
                    <a:cxn ang="0">
                      <a:pos x="connsiteX2453" y="connsiteY2453"/>
                    </a:cxn>
                    <a:cxn ang="0">
                      <a:pos x="connsiteX2454" y="connsiteY2454"/>
                    </a:cxn>
                    <a:cxn ang="0">
                      <a:pos x="connsiteX2455" y="connsiteY2455"/>
                    </a:cxn>
                    <a:cxn ang="0">
                      <a:pos x="connsiteX2456" y="connsiteY2456"/>
                    </a:cxn>
                    <a:cxn ang="0">
                      <a:pos x="connsiteX2457" y="connsiteY2457"/>
                    </a:cxn>
                    <a:cxn ang="0">
                      <a:pos x="connsiteX2458" y="connsiteY2458"/>
                    </a:cxn>
                    <a:cxn ang="0">
                      <a:pos x="connsiteX2459" y="connsiteY2459"/>
                    </a:cxn>
                    <a:cxn ang="0">
                      <a:pos x="connsiteX2460" y="connsiteY2460"/>
                    </a:cxn>
                    <a:cxn ang="0">
                      <a:pos x="connsiteX2461" y="connsiteY2461"/>
                    </a:cxn>
                    <a:cxn ang="0">
                      <a:pos x="connsiteX2462" y="connsiteY2462"/>
                    </a:cxn>
                    <a:cxn ang="0">
                      <a:pos x="connsiteX2463" y="connsiteY2463"/>
                    </a:cxn>
                    <a:cxn ang="0">
                      <a:pos x="connsiteX2464" y="connsiteY2464"/>
                    </a:cxn>
                    <a:cxn ang="0">
                      <a:pos x="connsiteX2465" y="connsiteY2465"/>
                    </a:cxn>
                    <a:cxn ang="0">
                      <a:pos x="connsiteX2466" y="connsiteY2466"/>
                    </a:cxn>
                    <a:cxn ang="0">
                      <a:pos x="connsiteX2467" y="connsiteY2467"/>
                    </a:cxn>
                    <a:cxn ang="0">
                      <a:pos x="connsiteX2468" y="connsiteY2468"/>
                    </a:cxn>
                    <a:cxn ang="0">
                      <a:pos x="connsiteX2469" y="connsiteY2469"/>
                    </a:cxn>
                    <a:cxn ang="0">
                      <a:pos x="connsiteX2470" y="connsiteY2470"/>
                    </a:cxn>
                    <a:cxn ang="0">
                      <a:pos x="connsiteX2471" y="connsiteY2471"/>
                    </a:cxn>
                    <a:cxn ang="0">
                      <a:pos x="connsiteX2472" y="connsiteY2472"/>
                    </a:cxn>
                    <a:cxn ang="0">
                      <a:pos x="connsiteX2473" y="connsiteY2473"/>
                    </a:cxn>
                    <a:cxn ang="0">
                      <a:pos x="connsiteX2474" y="connsiteY2474"/>
                    </a:cxn>
                    <a:cxn ang="0">
                      <a:pos x="connsiteX2475" y="connsiteY2475"/>
                    </a:cxn>
                    <a:cxn ang="0">
                      <a:pos x="connsiteX2476" y="connsiteY2476"/>
                    </a:cxn>
                    <a:cxn ang="0">
                      <a:pos x="connsiteX2477" y="connsiteY2477"/>
                    </a:cxn>
                    <a:cxn ang="0">
                      <a:pos x="connsiteX2478" y="connsiteY2478"/>
                    </a:cxn>
                    <a:cxn ang="0">
                      <a:pos x="connsiteX2479" y="connsiteY2479"/>
                    </a:cxn>
                    <a:cxn ang="0">
                      <a:pos x="connsiteX2480" y="connsiteY2480"/>
                    </a:cxn>
                    <a:cxn ang="0">
                      <a:pos x="connsiteX2481" y="connsiteY2481"/>
                    </a:cxn>
                    <a:cxn ang="0">
                      <a:pos x="connsiteX2482" y="connsiteY2482"/>
                    </a:cxn>
                    <a:cxn ang="0">
                      <a:pos x="connsiteX2483" y="connsiteY2483"/>
                    </a:cxn>
                    <a:cxn ang="0">
                      <a:pos x="connsiteX2484" y="connsiteY2484"/>
                    </a:cxn>
                    <a:cxn ang="0">
                      <a:pos x="connsiteX2485" y="connsiteY2485"/>
                    </a:cxn>
                    <a:cxn ang="0">
                      <a:pos x="connsiteX2486" y="connsiteY2486"/>
                    </a:cxn>
                    <a:cxn ang="0">
                      <a:pos x="connsiteX2487" y="connsiteY2487"/>
                    </a:cxn>
                    <a:cxn ang="0">
                      <a:pos x="connsiteX2488" y="connsiteY2488"/>
                    </a:cxn>
                    <a:cxn ang="0">
                      <a:pos x="connsiteX2489" y="connsiteY2489"/>
                    </a:cxn>
                    <a:cxn ang="0">
                      <a:pos x="connsiteX2490" y="connsiteY2490"/>
                    </a:cxn>
                    <a:cxn ang="0">
                      <a:pos x="connsiteX2491" y="connsiteY2491"/>
                    </a:cxn>
                    <a:cxn ang="0">
                      <a:pos x="connsiteX2492" y="connsiteY2492"/>
                    </a:cxn>
                    <a:cxn ang="0">
                      <a:pos x="connsiteX2493" y="connsiteY2493"/>
                    </a:cxn>
                    <a:cxn ang="0">
                      <a:pos x="connsiteX2494" y="connsiteY2494"/>
                    </a:cxn>
                    <a:cxn ang="0">
                      <a:pos x="connsiteX2495" y="connsiteY2495"/>
                    </a:cxn>
                    <a:cxn ang="0">
                      <a:pos x="connsiteX2496" y="connsiteY2496"/>
                    </a:cxn>
                    <a:cxn ang="0">
                      <a:pos x="connsiteX2497" y="connsiteY2497"/>
                    </a:cxn>
                    <a:cxn ang="0">
                      <a:pos x="connsiteX2498" y="connsiteY2498"/>
                    </a:cxn>
                    <a:cxn ang="0">
                      <a:pos x="connsiteX2499" y="connsiteY2499"/>
                    </a:cxn>
                    <a:cxn ang="0">
                      <a:pos x="connsiteX2500" y="connsiteY2500"/>
                    </a:cxn>
                    <a:cxn ang="0">
                      <a:pos x="connsiteX2501" y="connsiteY2501"/>
                    </a:cxn>
                    <a:cxn ang="0">
                      <a:pos x="connsiteX2502" y="connsiteY2502"/>
                    </a:cxn>
                    <a:cxn ang="0">
                      <a:pos x="connsiteX2503" y="connsiteY2503"/>
                    </a:cxn>
                    <a:cxn ang="0">
                      <a:pos x="connsiteX2504" y="connsiteY2504"/>
                    </a:cxn>
                    <a:cxn ang="0">
                      <a:pos x="connsiteX2505" y="connsiteY2505"/>
                    </a:cxn>
                    <a:cxn ang="0">
                      <a:pos x="connsiteX2506" y="connsiteY2506"/>
                    </a:cxn>
                    <a:cxn ang="0">
                      <a:pos x="connsiteX2507" y="connsiteY2507"/>
                    </a:cxn>
                    <a:cxn ang="0">
                      <a:pos x="connsiteX2508" y="connsiteY2508"/>
                    </a:cxn>
                    <a:cxn ang="0">
                      <a:pos x="connsiteX2509" y="connsiteY2509"/>
                    </a:cxn>
                    <a:cxn ang="0">
                      <a:pos x="connsiteX2510" y="connsiteY2510"/>
                    </a:cxn>
                    <a:cxn ang="0">
                      <a:pos x="connsiteX2511" y="connsiteY2511"/>
                    </a:cxn>
                    <a:cxn ang="0">
                      <a:pos x="connsiteX2512" y="connsiteY2512"/>
                    </a:cxn>
                    <a:cxn ang="0">
                      <a:pos x="connsiteX2513" y="connsiteY2513"/>
                    </a:cxn>
                    <a:cxn ang="0">
                      <a:pos x="connsiteX2514" y="connsiteY2514"/>
                    </a:cxn>
                    <a:cxn ang="0">
                      <a:pos x="connsiteX2515" y="connsiteY2515"/>
                    </a:cxn>
                    <a:cxn ang="0">
                      <a:pos x="connsiteX2516" y="connsiteY2516"/>
                    </a:cxn>
                    <a:cxn ang="0">
                      <a:pos x="connsiteX2517" y="connsiteY2517"/>
                    </a:cxn>
                    <a:cxn ang="0">
                      <a:pos x="connsiteX2518" y="connsiteY2518"/>
                    </a:cxn>
                    <a:cxn ang="0">
                      <a:pos x="connsiteX2519" y="connsiteY2519"/>
                    </a:cxn>
                    <a:cxn ang="0">
                      <a:pos x="connsiteX2520" y="connsiteY2520"/>
                    </a:cxn>
                    <a:cxn ang="0">
                      <a:pos x="connsiteX2521" y="connsiteY2521"/>
                    </a:cxn>
                    <a:cxn ang="0">
                      <a:pos x="connsiteX2522" y="connsiteY2522"/>
                    </a:cxn>
                    <a:cxn ang="0">
                      <a:pos x="connsiteX2523" y="connsiteY2523"/>
                    </a:cxn>
                    <a:cxn ang="0">
                      <a:pos x="connsiteX2524" y="connsiteY2524"/>
                    </a:cxn>
                    <a:cxn ang="0">
                      <a:pos x="connsiteX2525" y="connsiteY2525"/>
                    </a:cxn>
                    <a:cxn ang="0">
                      <a:pos x="connsiteX2526" y="connsiteY2526"/>
                    </a:cxn>
                    <a:cxn ang="0">
                      <a:pos x="connsiteX2527" y="connsiteY2527"/>
                    </a:cxn>
                    <a:cxn ang="0">
                      <a:pos x="connsiteX2528" y="connsiteY2528"/>
                    </a:cxn>
                    <a:cxn ang="0">
                      <a:pos x="connsiteX2529" y="connsiteY2529"/>
                    </a:cxn>
                    <a:cxn ang="0">
                      <a:pos x="connsiteX2530" y="connsiteY2530"/>
                    </a:cxn>
                    <a:cxn ang="0">
                      <a:pos x="connsiteX2531" y="connsiteY2531"/>
                    </a:cxn>
                    <a:cxn ang="0">
                      <a:pos x="connsiteX2532" y="connsiteY2532"/>
                    </a:cxn>
                    <a:cxn ang="0">
                      <a:pos x="connsiteX2533" y="connsiteY2533"/>
                    </a:cxn>
                    <a:cxn ang="0">
                      <a:pos x="connsiteX2534" y="connsiteY2534"/>
                    </a:cxn>
                    <a:cxn ang="0">
                      <a:pos x="connsiteX2535" y="connsiteY2535"/>
                    </a:cxn>
                    <a:cxn ang="0">
                      <a:pos x="connsiteX2536" y="connsiteY2536"/>
                    </a:cxn>
                    <a:cxn ang="0">
                      <a:pos x="connsiteX2537" y="connsiteY2537"/>
                    </a:cxn>
                    <a:cxn ang="0">
                      <a:pos x="connsiteX2538" y="connsiteY2538"/>
                    </a:cxn>
                    <a:cxn ang="0">
                      <a:pos x="connsiteX2539" y="connsiteY2539"/>
                    </a:cxn>
                    <a:cxn ang="0">
                      <a:pos x="connsiteX2540" y="connsiteY2540"/>
                    </a:cxn>
                    <a:cxn ang="0">
                      <a:pos x="connsiteX2541" y="connsiteY2541"/>
                    </a:cxn>
                    <a:cxn ang="0">
                      <a:pos x="connsiteX2542" y="connsiteY2542"/>
                    </a:cxn>
                    <a:cxn ang="0">
                      <a:pos x="connsiteX2543" y="connsiteY2543"/>
                    </a:cxn>
                    <a:cxn ang="0">
                      <a:pos x="connsiteX2544" y="connsiteY2544"/>
                    </a:cxn>
                    <a:cxn ang="0">
                      <a:pos x="connsiteX2545" y="connsiteY2545"/>
                    </a:cxn>
                    <a:cxn ang="0">
                      <a:pos x="connsiteX2546" y="connsiteY2546"/>
                    </a:cxn>
                    <a:cxn ang="0">
                      <a:pos x="connsiteX2547" y="connsiteY2547"/>
                    </a:cxn>
                    <a:cxn ang="0">
                      <a:pos x="connsiteX2548" y="connsiteY2548"/>
                    </a:cxn>
                    <a:cxn ang="0">
                      <a:pos x="connsiteX2549" y="connsiteY2549"/>
                    </a:cxn>
                    <a:cxn ang="0">
                      <a:pos x="connsiteX2550" y="connsiteY2550"/>
                    </a:cxn>
                    <a:cxn ang="0">
                      <a:pos x="connsiteX2551" y="connsiteY2551"/>
                    </a:cxn>
                    <a:cxn ang="0">
                      <a:pos x="connsiteX2552" y="connsiteY2552"/>
                    </a:cxn>
                    <a:cxn ang="0">
                      <a:pos x="connsiteX2553" y="connsiteY2553"/>
                    </a:cxn>
                    <a:cxn ang="0">
                      <a:pos x="connsiteX2554" y="connsiteY2554"/>
                    </a:cxn>
                    <a:cxn ang="0">
                      <a:pos x="connsiteX2555" y="connsiteY2555"/>
                    </a:cxn>
                    <a:cxn ang="0">
                      <a:pos x="connsiteX2556" y="connsiteY2556"/>
                    </a:cxn>
                    <a:cxn ang="0">
                      <a:pos x="connsiteX2557" y="connsiteY2557"/>
                    </a:cxn>
                    <a:cxn ang="0">
                      <a:pos x="connsiteX2558" y="connsiteY2558"/>
                    </a:cxn>
                    <a:cxn ang="0">
                      <a:pos x="connsiteX2559" y="connsiteY2559"/>
                    </a:cxn>
                    <a:cxn ang="0">
                      <a:pos x="connsiteX2560" y="connsiteY2560"/>
                    </a:cxn>
                    <a:cxn ang="0">
                      <a:pos x="connsiteX2561" y="connsiteY2561"/>
                    </a:cxn>
                    <a:cxn ang="0">
                      <a:pos x="connsiteX2562" y="connsiteY2562"/>
                    </a:cxn>
                    <a:cxn ang="0">
                      <a:pos x="connsiteX2563" y="connsiteY2563"/>
                    </a:cxn>
                    <a:cxn ang="0">
                      <a:pos x="connsiteX2564" y="connsiteY2564"/>
                    </a:cxn>
                    <a:cxn ang="0">
                      <a:pos x="connsiteX2565" y="connsiteY2565"/>
                    </a:cxn>
                    <a:cxn ang="0">
                      <a:pos x="connsiteX2566" y="connsiteY2566"/>
                    </a:cxn>
                    <a:cxn ang="0">
                      <a:pos x="connsiteX2567" y="connsiteY2567"/>
                    </a:cxn>
                    <a:cxn ang="0">
                      <a:pos x="connsiteX2568" y="connsiteY2568"/>
                    </a:cxn>
                    <a:cxn ang="0">
                      <a:pos x="connsiteX2569" y="connsiteY2569"/>
                    </a:cxn>
                    <a:cxn ang="0">
                      <a:pos x="connsiteX2570" y="connsiteY2570"/>
                    </a:cxn>
                    <a:cxn ang="0">
                      <a:pos x="connsiteX2571" y="connsiteY2571"/>
                    </a:cxn>
                    <a:cxn ang="0">
                      <a:pos x="connsiteX2572" y="connsiteY2572"/>
                    </a:cxn>
                    <a:cxn ang="0">
                      <a:pos x="connsiteX2573" y="connsiteY2573"/>
                    </a:cxn>
                    <a:cxn ang="0">
                      <a:pos x="connsiteX2574" y="connsiteY2574"/>
                    </a:cxn>
                    <a:cxn ang="0">
                      <a:pos x="connsiteX2575" y="connsiteY2575"/>
                    </a:cxn>
                    <a:cxn ang="0">
                      <a:pos x="connsiteX2576" y="connsiteY2576"/>
                    </a:cxn>
                    <a:cxn ang="0">
                      <a:pos x="connsiteX2577" y="connsiteY2577"/>
                    </a:cxn>
                    <a:cxn ang="0">
                      <a:pos x="connsiteX2578" y="connsiteY2578"/>
                    </a:cxn>
                    <a:cxn ang="0">
                      <a:pos x="connsiteX2579" y="connsiteY2579"/>
                    </a:cxn>
                    <a:cxn ang="0">
                      <a:pos x="connsiteX2580" y="connsiteY2580"/>
                    </a:cxn>
                    <a:cxn ang="0">
                      <a:pos x="connsiteX2581" y="connsiteY2581"/>
                    </a:cxn>
                    <a:cxn ang="0">
                      <a:pos x="connsiteX2582" y="connsiteY2582"/>
                    </a:cxn>
                    <a:cxn ang="0">
                      <a:pos x="connsiteX2583" y="connsiteY2583"/>
                    </a:cxn>
                    <a:cxn ang="0">
                      <a:pos x="connsiteX2584" y="connsiteY2584"/>
                    </a:cxn>
                    <a:cxn ang="0">
                      <a:pos x="connsiteX2585" y="connsiteY2585"/>
                    </a:cxn>
                    <a:cxn ang="0">
                      <a:pos x="connsiteX2586" y="connsiteY2586"/>
                    </a:cxn>
                    <a:cxn ang="0">
                      <a:pos x="connsiteX2587" y="connsiteY2587"/>
                    </a:cxn>
                    <a:cxn ang="0">
                      <a:pos x="connsiteX2588" y="connsiteY2588"/>
                    </a:cxn>
                    <a:cxn ang="0">
                      <a:pos x="connsiteX2589" y="connsiteY2589"/>
                    </a:cxn>
                    <a:cxn ang="0">
                      <a:pos x="connsiteX2590" y="connsiteY2590"/>
                    </a:cxn>
                    <a:cxn ang="0">
                      <a:pos x="connsiteX2591" y="connsiteY2591"/>
                    </a:cxn>
                    <a:cxn ang="0">
                      <a:pos x="connsiteX2592" y="connsiteY2592"/>
                    </a:cxn>
                    <a:cxn ang="0">
                      <a:pos x="connsiteX2593" y="connsiteY2593"/>
                    </a:cxn>
                    <a:cxn ang="0">
                      <a:pos x="connsiteX2594" y="connsiteY2594"/>
                    </a:cxn>
                    <a:cxn ang="0">
                      <a:pos x="connsiteX2595" y="connsiteY2595"/>
                    </a:cxn>
                    <a:cxn ang="0">
                      <a:pos x="connsiteX2596" y="connsiteY2596"/>
                    </a:cxn>
                    <a:cxn ang="0">
                      <a:pos x="connsiteX2597" y="connsiteY2597"/>
                    </a:cxn>
                    <a:cxn ang="0">
                      <a:pos x="connsiteX2598" y="connsiteY2598"/>
                    </a:cxn>
                    <a:cxn ang="0">
                      <a:pos x="connsiteX2599" y="connsiteY2599"/>
                    </a:cxn>
                    <a:cxn ang="0">
                      <a:pos x="connsiteX2600" y="connsiteY2600"/>
                    </a:cxn>
                    <a:cxn ang="0">
                      <a:pos x="connsiteX2601" y="connsiteY2601"/>
                    </a:cxn>
                    <a:cxn ang="0">
                      <a:pos x="connsiteX2602" y="connsiteY2602"/>
                    </a:cxn>
                    <a:cxn ang="0">
                      <a:pos x="connsiteX2603" y="connsiteY2603"/>
                    </a:cxn>
                    <a:cxn ang="0">
                      <a:pos x="connsiteX2604" y="connsiteY2604"/>
                    </a:cxn>
                    <a:cxn ang="0">
                      <a:pos x="connsiteX2605" y="connsiteY2605"/>
                    </a:cxn>
                    <a:cxn ang="0">
                      <a:pos x="connsiteX2606" y="connsiteY2606"/>
                    </a:cxn>
                    <a:cxn ang="0">
                      <a:pos x="connsiteX2607" y="connsiteY2607"/>
                    </a:cxn>
                    <a:cxn ang="0">
                      <a:pos x="connsiteX2608" y="connsiteY2608"/>
                    </a:cxn>
                    <a:cxn ang="0">
                      <a:pos x="connsiteX2609" y="connsiteY2609"/>
                    </a:cxn>
                    <a:cxn ang="0">
                      <a:pos x="connsiteX2610" y="connsiteY2610"/>
                    </a:cxn>
                    <a:cxn ang="0">
                      <a:pos x="connsiteX2611" y="connsiteY2611"/>
                    </a:cxn>
                    <a:cxn ang="0">
                      <a:pos x="connsiteX2612" y="connsiteY2612"/>
                    </a:cxn>
                    <a:cxn ang="0">
                      <a:pos x="connsiteX2613" y="connsiteY2613"/>
                    </a:cxn>
                    <a:cxn ang="0">
                      <a:pos x="connsiteX2614" y="connsiteY2614"/>
                    </a:cxn>
                    <a:cxn ang="0">
                      <a:pos x="connsiteX2615" y="connsiteY2615"/>
                    </a:cxn>
                    <a:cxn ang="0">
                      <a:pos x="connsiteX2616" y="connsiteY2616"/>
                    </a:cxn>
                    <a:cxn ang="0">
                      <a:pos x="connsiteX2617" y="connsiteY2617"/>
                    </a:cxn>
                    <a:cxn ang="0">
                      <a:pos x="connsiteX2618" y="connsiteY2618"/>
                    </a:cxn>
                    <a:cxn ang="0">
                      <a:pos x="connsiteX2619" y="connsiteY2619"/>
                    </a:cxn>
                    <a:cxn ang="0">
                      <a:pos x="connsiteX2620" y="connsiteY2620"/>
                    </a:cxn>
                    <a:cxn ang="0">
                      <a:pos x="connsiteX2621" y="connsiteY2621"/>
                    </a:cxn>
                    <a:cxn ang="0">
                      <a:pos x="connsiteX2622" y="connsiteY2622"/>
                    </a:cxn>
                    <a:cxn ang="0">
                      <a:pos x="connsiteX2623" y="connsiteY2623"/>
                    </a:cxn>
                    <a:cxn ang="0">
                      <a:pos x="connsiteX2624" y="connsiteY2624"/>
                    </a:cxn>
                    <a:cxn ang="0">
                      <a:pos x="connsiteX2625" y="connsiteY2625"/>
                    </a:cxn>
                    <a:cxn ang="0">
                      <a:pos x="connsiteX2626" y="connsiteY2626"/>
                    </a:cxn>
                    <a:cxn ang="0">
                      <a:pos x="connsiteX2627" y="connsiteY2627"/>
                    </a:cxn>
                    <a:cxn ang="0">
                      <a:pos x="connsiteX2628" y="connsiteY2628"/>
                    </a:cxn>
                    <a:cxn ang="0">
                      <a:pos x="connsiteX2629" y="connsiteY2629"/>
                    </a:cxn>
                    <a:cxn ang="0">
                      <a:pos x="connsiteX2630" y="connsiteY2630"/>
                    </a:cxn>
                    <a:cxn ang="0">
                      <a:pos x="connsiteX2631" y="connsiteY2631"/>
                    </a:cxn>
                    <a:cxn ang="0">
                      <a:pos x="connsiteX2632" y="connsiteY2632"/>
                    </a:cxn>
                    <a:cxn ang="0">
                      <a:pos x="connsiteX2633" y="connsiteY2633"/>
                    </a:cxn>
                    <a:cxn ang="0">
                      <a:pos x="connsiteX2634" y="connsiteY2634"/>
                    </a:cxn>
                    <a:cxn ang="0">
                      <a:pos x="connsiteX2635" y="connsiteY2635"/>
                    </a:cxn>
                    <a:cxn ang="0">
                      <a:pos x="connsiteX2636" y="connsiteY2636"/>
                    </a:cxn>
                    <a:cxn ang="0">
                      <a:pos x="connsiteX2637" y="connsiteY2637"/>
                    </a:cxn>
                  </a:cxnLst>
                  <a:rect l="l" t="t" r="r" b="b"/>
                  <a:pathLst>
                    <a:path w="2328854" h="2163071">
                      <a:moveTo>
                        <a:pt x="623024" y="2160180"/>
                      </a:moveTo>
                      <a:cubicBezTo>
                        <a:pt x="623104" y="2160180"/>
                        <a:pt x="623184" y="2160180"/>
                        <a:pt x="623184" y="2160180"/>
                      </a:cubicBezTo>
                      <a:cubicBezTo>
                        <a:pt x="621819" y="2159458"/>
                        <a:pt x="621337" y="2158976"/>
                        <a:pt x="621417" y="2158333"/>
                      </a:cubicBezTo>
                      <a:cubicBezTo>
                        <a:pt x="621417" y="2158333"/>
                        <a:pt x="621337" y="2158413"/>
                        <a:pt x="621337" y="2158413"/>
                      </a:cubicBezTo>
                      <a:cubicBezTo>
                        <a:pt x="620453" y="2159297"/>
                        <a:pt x="619811" y="2160582"/>
                        <a:pt x="619489" y="2161225"/>
                      </a:cubicBezTo>
                      <a:cubicBezTo>
                        <a:pt x="620534" y="2161867"/>
                        <a:pt x="621658" y="2162430"/>
                        <a:pt x="622702" y="2163072"/>
                      </a:cubicBezTo>
                      <a:cubicBezTo>
                        <a:pt x="620453" y="2160823"/>
                        <a:pt x="622221" y="2160261"/>
                        <a:pt x="623024" y="2160180"/>
                      </a:cubicBezTo>
                      <a:moveTo>
                        <a:pt x="641580" y="2158011"/>
                      </a:moveTo>
                      <a:cubicBezTo>
                        <a:pt x="641740" y="2158011"/>
                        <a:pt x="642062" y="2158092"/>
                        <a:pt x="642222" y="2158092"/>
                      </a:cubicBezTo>
                      <a:cubicBezTo>
                        <a:pt x="639491" y="2157771"/>
                        <a:pt x="632181" y="2156646"/>
                        <a:pt x="624068" y="2153353"/>
                      </a:cubicBezTo>
                      <a:cubicBezTo>
                        <a:pt x="623988" y="2153433"/>
                        <a:pt x="623907" y="2153513"/>
                        <a:pt x="623827" y="2153593"/>
                      </a:cubicBezTo>
                      <a:cubicBezTo>
                        <a:pt x="623425" y="2154316"/>
                        <a:pt x="623506" y="2154798"/>
                        <a:pt x="624389" y="2155843"/>
                      </a:cubicBezTo>
                      <a:cubicBezTo>
                        <a:pt x="627843" y="2156003"/>
                        <a:pt x="628084" y="2156244"/>
                        <a:pt x="628325" y="2156485"/>
                      </a:cubicBezTo>
                      <a:cubicBezTo>
                        <a:pt x="628165" y="2156807"/>
                        <a:pt x="627683" y="2156967"/>
                        <a:pt x="625675" y="2157369"/>
                      </a:cubicBezTo>
                      <a:cubicBezTo>
                        <a:pt x="628727" y="2157931"/>
                        <a:pt x="630655" y="2158895"/>
                        <a:pt x="632502" y="2161064"/>
                      </a:cubicBezTo>
                      <a:cubicBezTo>
                        <a:pt x="632824" y="2160582"/>
                        <a:pt x="633225" y="2159940"/>
                        <a:pt x="633547" y="2159458"/>
                      </a:cubicBezTo>
                      <a:cubicBezTo>
                        <a:pt x="632743" y="2159056"/>
                        <a:pt x="631057" y="2158172"/>
                        <a:pt x="632342" y="2157771"/>
                      </a:cubicBezTo>
                      <a:cubicBezTo>
                        <a:pt x="633627" y="2157289"/>
                        <a:pt x="637804" y="2157690"/>
                        <a:pt x="641580" y="2158011"/>
                      </a:cubicBezTo>
                      <a:moveTo>
                        <a:pt x="635314" y="2151023"/>
                      </a:moveTo>
                      <a:cubicBezTo>
                        <a:pt x="635234" y="2151023"/>
                        <a:pt x="635073" y="2151023"/>
                        <a:pt x="634993" y="2150943"/>
                      </a:cubicBezTo>
                      <a:cubicBezTo>
                        <a:pt x="631298" y="2150621"/>
                        <a:pt x="627683" y="2150300"/>
                        <a:pt x="623988" y="2149978"/>
                      </a:cubicBezTo>
                      <a:cubicBezTo>
                        <a:pt x="623988" y="2150059"/>
                        <a:pt x="624068" y="2150059"/>
                        <a:pt x="624068" y="2150139"/>
                      </a:cubicBezTo>
                      <a:cubicBezTo>
                        <a:pt x="632021" y="2150782"/>
                        <a:pt x="635314" y="2151023"/>
                        <a:pt x="635314" y="2151023"/>
                      </a:cubicBezTo>
                      <a:moveTo>
                        <a:pt x="627763" y="2118008"/>
                      </a:moveTo>
                      <a:cubicBezTo>
                        <a:pt x="628004" y="2118088"/>
                        <a:pt x="628406" y="2118169"/>
                        <a:pt x="628647" y="2118169"/>
                      </a:cubicBezTo>
                      <a:cubicBezTo>
                        <a:pt x="624068" y="2116321"/>
                        <a:pt x="620293" y="2115197"/>
                        <a:pt x="614429" y="2114715"/>
                      </a:cubicBezTo>
                      <a:cubicBezTo>
                        <a:pt x="610894" y="2114554"/>
                        <a:pt x="608886" y="2114634"/>
                        <a:pt x="605753" y="2115197"/>
                      </a:cubicBezTo>
                      <a:cubicBezTo>
                        <a:pt x="607199" y="2117285"/>
                        <a:pt x="607360" y="2118570"/>
                        <a:pt x="606235" y="2120579"/>
                      </a:cubicBezTo>
                      <a:cubicBezTo>
                        <a:pt x="609609" y="2116723"/>
                        <a:pt x="616839" y="2115839"/>
                        <a:pt x="627763" y="2118008"/>
                      </a:cubicBezTo>
                      <a:moveTo>
                        <a:pt x="570570" y="2050693"/>
                      </a:moveTo>
                      <a:lnTo>
                        <a:pt x="574345" y="2051175"/>
                      </a:lnTo>
                      <a:cubicBezTo>
                        <a:pt x="573943" y="2050934"/>
                        <a:pt x="573301" y="2050452"/>
                        <a:pt x="572257" y="2050372"/>
                      </a:cubicBezTo>
                      <a:cubicBezTo>
                        <a:pt x="571614" y="2050372"/>
                        <a:pt x="571132" y="2050452"/>
                        <a:pt x="570570" y="2050693"/>
                      </a:cubicBezTo>
                      <a:moveTo>
                        <a:pt x="572738" y="2047159"/>
                      </a:moveTo>
                      <a:cubicBezTo>
                        <a:pt x="572819" y="2047159"/>
                        <a:pt x="572819" y="2047239"/>
                        <a:pt x="572899" y="2047239"/>
                      </a:cubicBezTo>
                      <a:cubicBezTo>
                        <a:pt x="572176" y="2046677"/>
                        <a:pt x="571614" y="2046034"/>
                        <a:pt x="570811" y="2045552"/>
                      </a:cubicBezTo>
                      <a:cubicBezTo>
                        <a:pt x="571453" y="2046114"/>
                        <a:pt x="572096" y="2046596"/>
                        <a:pt x="572738" y="2047159"/>
                      </a:cubicBezTo>
                      <a:moveTo>
                        <a:pt x="869791" y="1976631"/>
                      </a:moveTo>
                      <a:cubicBezTo>
                        <a:pt x="869872" y="1976551"/>
                        <a:pt x="870032" y="1976551"/>
                        <a:pt x="870193" y="1976470"/>
                      </a:cubicBezTo>
                      <a:cubicBezTo>
                        <a:pt x="870032" y="1976551"/>
                        <a:pt x="869872" y="1976631"/>
                        <a:pt x="869791" y="1976631"/>
                      </a:cubicBezTo>
                      <a:cubicBezTo>
                        <a:pt x="867301" y="1977514"/>
                        <a:pt x="864811" y="1978238"/>
                        <a:pt x="862321" y="1979201"/>
                      </a:cubicBezTo>
                      <a:cubicBezTo>
                        <a:pt x="862642" y="1979201"/>
                        <a:pt x="866659" y="1977755"/>
                        <a:pt x="869791" y="1976631"/>
                      </a:cubicBezTo>
                      <a:moveTo>
                        <a:pt x="879270" y="1973337"/>
                      </a:moveTo>
                      <a:lnTo>
                        <a:pt x="879270" y="1973337"/>
                      </a:lnTo>
                      <a:cubicBezTo>
                        <a:pt x="876941" y="1974060"/>
                        <a:pt x="874691" y="1974944"/>
                        <a:pt x="872442" y="1975747"/>
                      </a:cubicBezTo>
                      <a:cubicBezTo>
                        <a:pt x="874772" y="1974944"/>
                        <a:pt x="877021" y="1974221"/>
                        <a:pt x="879270" y="1973337"/>
                      </a:cubicBezTo>
                      <a:moveTo>
                        <a:pt x="694998" y="1953978"/>
                      </a:moveTo>
                      <a:cubicBezTo>
                        <a:pt x="694917" y="1953978"/>
                        <a:pt x="694837" y="1953978"/>
                        <a:pt x="694757" y="1953978"/>
                      </a:cubicBezTo>
                      <a:cubicBezTo>
                        <a:pt x="694757" y="1953978"/>
                        <a:pt x="694757" y="1953978"/>
                        <a:pt x="694757" y="1953978"/>
                      </a:cubicBezTo>
                      <a:cubicBezTo>
                        <a:pt x="694837" y="1953978"/>
                        <a:pt x="694917" y="1953978"/>
                        <a:pt x="694998" y="1953978"/>
                      </a:cubicBezTo>
                      <a:moveTo>
                        <a:pt x="686242" y="1953255"/>
                      </a:moveTo>
                      <a:cubicBezTo>
                        <a:pt x="686242" y="1953255"/>
                        <a:pt x="686242" y="1953255"/>
                        <a:pt x="686242" y="1953255"/>
                      </a:cubicBezTo>
                      <a:cubicBezTo>
                        <a:pt x="685840" y="1953255"/>
                        <a:pt x="685439" y="1953175"/>
                        <a:pt x="685037" y="1953175"/>
                      </a:cubicBezTo>
                      <a:cubicBezTo>
                        <a:pt x="685037" y="1953175"/>
                        <a:pt x="685037" y="1953175"/>
                        <a:pt x="685037" y="1953175"/>
                      </a:cubicBezTo>
                      <a:cubicBezTo>
                        <a:pt x="685439" y="1953175"/>
                        <a:pt x="685840" y="1953175"/>
                        <a:pt x="686242" y="1953255"/>
                      </a:cubicBezTo>
                      <a:moveTo>
                        <a:pt x="825129" y="1889555"/>
                      </a:moveTo>
                      <a:cubicBezTo>
                        <a:pt x="825370" y="1889475"/>
                        <a:pt x="825691" y="1889394"/>
                        <a:pt x="826013" y="1889314"/>
                      </a:cubicBezTo>
                      <a:cubicBezTo>
                        <a:pt x="824647" y="1887869"/>
                        <a:pt x="822880" y="1885458"/>
                        <a:pt x="822639" y="1882486"/>
                      </a:cubicBezTo>
                      <a:cubicBezTo>
                        <a:pt x="822639" y="1882647"/>
                        <a:pt x="822639" y="1882808"/>
                        <a:pt x="822639" y="1882968"/>
                      </a:cubicBezTo>
                      <a:cubicBezTo>
                        <a:pt x="822317" y="1885700"/>
                        <a:pt x="821434" y="1887788"/>
                        <a:pt x="819747" y="1889957"/>
                      </a:cubicBezTo>
                      <a:cubicBezTo>
                        <a:pt x="820309" y="1890599"/>
                        <a:pt x="821354" y="1891644"/>
                        <a:pt x="817418" y="1891483"/>
                      </a:cubicBezTo>
                      <a:cubicBezTo>
                        <a:pt x="816614" y="1891483"/>
                        <a:pt x="815891" y="1891323"/>
                        <a:pt x="815088" y="1891483"/>
                      </a:cubicBezTo>
                      <a:cubicBezTo>
                        <a:pt x="819024" y="1891885"/>
                        <a:pt x="820390" y="1892206"/>
                        <a:pt x="820470" y="1892608"/>
                      </a:cubicBezTo>
                      <a:cubicBezTo>
                        <a:pt x="820149" y="1892929"/>
                        <a:pt x="819104" y="1893170"/>
                        <a:pt x="816293" y="1893491"/>
                      </a:cubicBezTo>
                      <a:cubicBezTo>
                        <a:pt x="817337" y="1893652"/>
                        <a:pt x="818783" y="1893813"/>
                        <a:pt x="819827" y="1893893"/>
                      </a:cubicBezTo>
                      <a:cubicBezTo>
                        <a:pt x="819104" y="1895741"/>
                        <a:pt x="818703" y="1897668"/>
                        <a:pt x="823924" y="1896544"/>
                      </a:cubicBezTo>
                      <a:cubicBezTo>
                        <a:pt x="823683" y="1896303"/>
                        <a:pt x="823281" y="1896062"/>
                        <a:pt x="823040" y="1895901"/>
                      </a:cubicBezTo>
                      <a:lnTo>
                        <a:pt x="827217" y="1895098"/>
                      </a:lnTo>
                      <a:cubicBezTo>
                        <a:pt x="825852" y="1894616"/>
                        <a:pt x="821836" y="1893250"/>
                        <a:pt x="824165" y="1892126"/>
                      </a:cubicBezTo>
                      <a:cubicBezTo>
                        <a:pt x="824647" y="1891885"/>
                        <a:pt x="825370" y="1891724"/>
                        <a:pt x="825932" y="1891644"/>
                      </a:cubicBezTo>
                      <a:cubicBezTo>
                        <a:pt x="824808" y="1891162"/>
                        <a:pt x="823281" y="1890439"/>
                        <a:pt x="824567" y="1889796"/>
                      </a:cubicBezTo>
                      <a:cubicBezTo>
                        <a:pt x="824727" y="1889636"/>
                        <a:pt x="824968" y="1889555"/>
                        <a:pt x="825129" y="1889555"/>
                      </a:cubicBezTo>
                      <a:moveTo>
                        <a:pt x="881600" y="1834129"/>
                      </a:moveTo>
                      <a:cubicBezTo>
                        <a:pt x="881841" y="1834049"/>
                        <a:pt x="882162" y="1833888"/>
                        <a:pt x="882403" y="1833808"/>
                      </a:cubicBezTo>
                      <a:cubicBezTo>
                        <a:pt x="880154" y="1834531"/>
                        <a:pt x="877904" y="1835253"/>
                        <a:pt x="875655" y="1835977"/>
                      </a:cubicBezTo>
                      <a:cubicBezTo>
                        <a:pt x="875334" y="1834691"/>
                        <a:pt x="874932" y="1833888"/>
                        <a:pt x="873968" y="1832603"/>
                      </a:cubicBezTo>
                      <a:cubicBezTo>
                        <a:pt x="873968" y="1832844"/>
                        <a:pt x="874049" y="1833165"/>
                        <a:pt x="874049" y="1833406"/>
                      </a:cubicBezTo>
                      <a:cubicBezTo>
                        <a:pt x="874049" y="1836699"/>
                        <a:pt x="873085" y="1837422"/>
                        <a:pt x="872041" y="1837904"/>
                      </a:cubicBezTo>
                      <a:cubicBezTo>
                        <a:pt x="871960" y="1838386"/>
                        <a:pt x="871719" y="1839913"/>
                        <a:pt x="866980" y="1839350"/>
                      </a:cubicBezTo>
                      <a:cubicBezTo>
                        <a:pt x="867462" y="1841439"/>
                        <a:pt x="869631" y="1842162"/>
                        <a:pt x="874772" y="1842001"/>
                      </a:cubicBezTo>
                      <a:cubicBezTo>
                        <a:pt x="873647" y="1841600"/>
                        <a:pt x="872121" y="1841118"/>
                        <a:pt x="870996" y="1840716"/>
                      </a:cubicBezTo>
                      <a:cubicBezTo>
                        <a:pt x="871880" y="1840394"/>
                        <a:pt x="873808" y="1839672"/>
                        <a:pt x="877262" y="1839591"/>
                      </a:cubicBezTo>
                      <a:cubicBezTo>
                        <a:pt x="876619" y="1838788"/>
                        <a:pt x="875173" y="1836539"/>
                        <a:pt x="881600" y="1834129"/>
                      </a:cubicBezTo>
                      <a:moveTo>
                        <a:pt x="991809" y="1815734"/>
                      </a:moveTo>
                      <a:cubicBezTo>
                        <a:pt x="991890" y="1815734"/>
                        <a:pt x="992050" y="1815734"/>
                        <a:pt x="992131" y="1815734"/>
                      </a:cubicBezTo>
                      <a:cubicBezTo>
                        <a:pt x="991328" y="1815413"/>
                        <a:pt x="990364" y="1815011"/>
                        <a:pt x="989560" y="1814609"/>
                      </a:cubicBezTo>
                      <a:cubicBezTo>
                        <a:pt x="988757" y="1814850"/>
                        <a:pt x="986588" y="1815413"/>
                        <a:pt x="985785" y="1813244"/>
                      </a:cubicBezTo>
                      <a:cubicBezTo>
                        <a:pt x="985062" y="1811235"/>
                        <a:pt x="984339" y="1809950"/>
                        <a:pt x="982090" y="1810111"/>
                      </a:cubicBezTo>
                      <a:cubicBezTo>
                        <a:pt x="981849" y="1810111"/>
                        <a:pt x="981528" y="1810191"/>
                        <a:pt x="981287" y="1810272"/>
                      </a:cubicBezTo>
                      <a:cubicBezTo>
                        <a:pt x="982331" y="1811075"/>
                        <a:pt x="982250" y="1811798"/>
                        <a:pt x="979439" y="1813485"/>
                      </a:cubicBezTo>
                      <a:cubicBezTo>
                        <a:pt x="979439" y="1813645"/>
                        <a:pt x="979359" y="1813806"/>
                        <a:pt x="979359" y="1813967"/>
                      </a:cubicBezTo>
                      <a:cubicBezTo>
                        <a:pt x="980483" y="1813485"/>
                        <a:pt x="983536" y="1812039"/>
                        <a:pt x="982893" y="1813806"/>
                      </a:cubicBezTo>
                      <a:cubicBezTo>
                        <a:pt x="982813" y="1814047"/>
                        <a:pt x="982652" y="1814368"/>
                        <a:pt x="982491" y="1814529"/>
                      </a:cubicBezTo>
                      <a:cubicBezTo>
                        <a:pt x="983134" y="1814368"/>
                        <a:pt x="983937" y="1814127"/>
                        <a:pt x="984500" y="1813886"/>
                      </a:cubicBezTo>
                      <a:cubicBezTo>
                        <a:pt x="983777" y="1815493"/>
                        <a:pt x="983696" y="1815895"/>
                        <a:pt x="983857" y="1816216"/>
                      </a:cubicBezTo>
                      <a:cubicBezTo>
                        <a:pt x="984098" y="1816296"/>
                        <a:pt x="984339" y="1816296"/>
                        <a:pt x="985705" y="1815252"/>
                      </a:cubicBezTo>
                      <a:cubicBezTo>
                        <a:pt x="985303" y="1816778"/>
                        <a:pt x="984580" y="1817421"/>
                        <a:pt x="982572" y="1818304"/>
                      </a:cubicBezTo>
                      <a:cubicBezTo>
                        <a:pt x="986106" y="1816858"/>
                        <a:pt x="987713" y="1817421"/>
                        <a:pt x="988837" y="1818224"/>
                      </a:cubicBezTo>
                      <a:cubicBezTo>
                        <a:pt x="987954" y="1817340"/>
                        <a:pt x="986187" y="1815493"/>
                        <a:pt x="991167" y="1815573"/>
                      </a:cubicBezTo>
                      <a:cubicBezTo>
                        <a:pt x="991328" y="1815734"/>
                        <a:pt x="991569" y="1815734"/>
                        <a:pt x="991809" y="1815734"/>
                      </a:cubicBezTo>
                      <a:moveTo>
                        <a:pt x="2279467" y="1397305"/>
                      </a:moveTo>
                      <a:lnTo>
                        <a:pt x="2279628" y="1396984"/>
                      </a:lnTo>
                      <a:cubicBezTo>
                        <a:pt x="2278583" y="1397386"/>
                        <a:pt x="2277218" y="1397868"/>
                        <a:pt x="2274969" y="1399635"/>
                      </a:cubicBezTo>
                      <a:cubicBezTo>
                        <a:pt x="2273121" y="1401161"/>
                        <a:pt x="2273121" y="1401161"/>
                        <a:pt x="2271836" y="1403571"/>
                      </a:cubicBezTo>
                      <a:cubicBezTo>
                        <a:pt x="2266454" y="1411202"/>
                        <a:pt x="2261072" y="1424778"/>
                        <a:pt x="2261072" y="1425099"/>
                      </a:cubicBezTo>
                      <a:cubicBezTo>
                        <a:pt x="2261393" y="1424938"/>
                        <a:pt x="2261714" y="1424697"/>
                        <a:pt x="2265088" y="1419235"/>
                      </a:cubicBezTo>
                      <a:cubicBezTo>
                        <a:pt x="2265008" y="1419235"/>
                        <a:pt x="2264928" y="1419315"/>
                        <a:pt x="2264847" y="1419315"/>
                      </a:cubicBezTo>
                      <a:cubicBezTo>
                        <a:pt x="2265490" y="1417709"/>
                        <a:pt x="2267579" y="1412969"/>
                        <a:pt x="2270149" y="1409194"/>
                      </a:cubicBezTo>
                      <a:cubicBezTo>
                        <a:pt x="2270551" y="1408632"/>
                        <a:pt x="2271033" y="1407909"/>
                        <a:pt x="2271434" y="1407427"/>
                      </a:cubicBezTo>
                      <a:cubicBezTo>
                        <a:pt x="2271595" y="1407186"/>
                        <a:pt x="2271916" y="1406864"/>
                        <a:pt x="2272077" y="1406623"/>
                      </a:cubicBezTo>
                      <a:cubicBezTo>
                        <a:pt x="2272880" y="1405659"/>
                        <a:pt x="2273924" y="1404856"/>
                        <a:pt x="2274728" y="1403892"/>
                      </a:cubicBezTo>
                      <a:cubicBezTo>
                        <a:pt x="2275772" y="1402607"/>
                        <a:pt x="2276495" y="1401161"/>
                        <a:pt x="2277539" y="1399876"/>
                      </a:cubicBezTo>
                      <a:cubicBezTo>
                        <a:pt x="2278503" y="1398751"/>
                        <a:pt x="2278503" y="1398751"/>
                        <a:pt x="2279226" y="1398430"/>
                      </a:cubicBezTo>
                      <a:lnTo>
                        <a:pt x="2279467" y="1397305"/>
                      </a:lnTo>
                      <a:moveTo>
                        <a:pt x="533137" y="1793644"/>
                      </a:moveTo>
                      <a:cubicBezTo>
                        <a:pt x="533056" y="1793403"/>
                        <a:pt x="533056" y="1793242"/>
                        <a:pt x="532976" y="1793001"/>
                      </a:cubicBezTo>
                      <a:cubicBezTo>
                        <a:pt x="532976" y="1793001"/>
                        <a:pt x="532896" y="1793081"/>
                        <a:pt x="532896" y="1793081"/>
                      </a:cubicBezTo>
                      <a:cubicBezTo>
                        <a:pt x="532253" y="1794206"/>
                        <a:pt x="531691" y="1795170"/>
                        <a:pt x="532253" y="1795009"/>
                      </a:cubicBezTo>
                      <a:cubicBezTo>
                        <a:pt x="532574" y="1794929"/>
                        <a:pt x="533056" y="1794607"/>
                        <a:pt x="533297" y="1794367"/>
                      </a:cubicBezTo>
                      <a:cubicBezTo>
                        <a:pt x="533297" y="1794125"/>
                        <a:pt x="533217" y="1793885"/>
                        <a:pt x="533137" y="1793644"/>
                      </a:cubicBezTo>
                      <a:moveTo>
                        <a:pt x="532012" y="1791957"/>
                      </a:moveTo>
                      <a:cubicBezTo>
                        <a:pt x="532173" y="1791957"/>
                        <a:pt x="532494" y="1792037"/>
                        <a:pt x="532655" y="1792037"/>
                      </a:cubicBezTo>
                      <a:cubicBezTo>
                        <a:pt x="529843" y="1786173"/>
                        <a:pt x="523658" y="1784888"/>
                        <a:pt x="520284" y="1784727"/>
                      </a:cubicBezTo>
                      <a:cubicBezTo>
                        <a:pt x="519963" y="1784727"/>
                        <a:pt x="519481" y="1784727"/>
                        <a:pt x="519160" y="1784727"/>
                      </a:cubicBezTo>
                      <a:cubicBezTo>
                        <a:pt x="518115" y="1784727"/>
                        <a:pt x="517071" y="1785290"/>
                        <a:pt x="516027" y="1784808"/>
                      </a:cubicBezTo>
                      <a:cubicBezTo>
                        <a:pt x="514902" y="1784326"/>
                        <a:pt x="514340" y="1784245"/>
                        <a:pt x="514019" y="1784326"/>
                      </a:cubicBezTo>
                      <a:cubicBezTo>
                        <a:pt x="513215" y="1784326"/>
                        <a:pt x="512894" y="1784727"/>
                        <a:pt x="512653" y="1785129"/>
                      </a:cubicBezTo>
                      <a:cubicBezTo>
                        <a:pt x="520847" y="1789788"/>
                        <a:pt x="528879" y="1791475"/>
                        <a:pt x="532012" y="1791957"/>
                      </a:cubicBezTo>
                      <a:moveTo>
                        <a:pt x="2285090" y="1327099"/>
                      </a:moveTo>
                      <a:cubicBezTo>
                        <a:pt x="2285170" y="1327018"/>
                        <a:pt x="2285251" y="1326858"/>
                        <a:pt x="2285331" y="1326777"/>
                      </a:cubicBezTo>
                      <a:cubicBezTo>
                        <a:pt x="2285331" y="1326777"/>
                        <a:pt x="2285251" y="1326858"/>
                        <a:pt x="2285251" y="1326858"/>
                      </a:cubicBezTo>
                      <a:cubicBezTo>
                        <a:pt x="2284046" y="1328304"/>
                        <a:pt x="2282841" y="1329830"/>
                        <a:pt x="2281636" y="1331276"/>
                      </a:cubicBezTo>
                      <a:cubicBezTo>
                        <a:pt x="2282841" y="1329910"/>
                        <a:pt x="2283885" y="1328464"/>
                        <a:pt x="2285090" y="1327099"/>
                      </a:cubicBezTo>
                      <a:moveTo>
                        <a:pt x="2327503" y="1284927"/>
                      </a:moveTo>
                      <a:cubicBezTo>
                        <a:pt x="2327503" y="1283400"/>
                        <a:pt x="2327343" y="1283079"/>
                        <a:pt x="2327182" y="1282758"/>
                      </a:cubicBezTo>
                      <a:cubicBezTo>
                        <a:pt x="2327102" y="1282838"/>
                        <a:pt x="2326941" y="1282918"/>
                        <a:pt x="2326780" y="1282999"/>
                      </a:cubicBezTo>
                      <a:cubicBezTo>
                        <a:pt x="2325977" y="1284605"/>
                        <a:pt x="2321559" y="1303322"/>
                        <a:pt x="2327584" y="1327741"/>
                      </a:cubicBezTo>
                      <a:cubicBezTo>
                        <a:pt x="2329351" y="1323243"/>
                        <a:pt x="2329351" y="1323243"/>
                        <a:pt x="2327102" y="1314166"/>
                      </a:cubicBezTo>
                      <a:cubicBezTo>
                        <a:pt x="2324692" y="1304446"/>
                        <a:pt x="2327503" y="1294727"/>
                        <a:pt x="2327503" y="1284927"/>
                      </a:cubicBezTo>
                      <a:moveTo>
                        <a:pt x="1044505" y="1706648"/>
                      </a:moveTo>
                      <a:cubicBezTo>
                        <a:pt x="1044987" y="1706086"/>
                        <a:pt x="1045629" y="1705363"/>
                        <a:pt x="1046111" y="1704801"/>
                      </a:cubicBezTo>
                      <a:cubicBezTo>
                        <a:pt x="1045870" y="1704962"/>
                        <a:pt x="1045549" y="1705202"/>
                        <a:pt x="1045308" y="1705363"/>
                      </a:cubicBezTo>
                      <a:cubicBezTo>
                        <a:pt x="1042336" y="1707131"/>
                        <a:pt x="1036873" y="1709701"/>
                        <a:pt x="1024101" y="1711147"/>
                      </a:cubicBezTo>
                      <a:cubicBezTo>
                        <a:pt x="1024824" y="1711870"/>
                        <a:pt x="1027154" y="1714039"/>
                        <a:pt x="1021932" y="1714199"/>
                      </a:cubicBezTo>
                      <a:cubicBezTo>
                        <a:pt x="1021852" y="1714199"/>
                        <a:pt x="1021692" y="1714199"/>
                        <a:pt x="1021531" y="1714199"/>
                      </a:cubicBezTo>
                      <a:cubicBezTo>
                        <a:pt x="1021611" y="1716047"/>
                        <a:pt x="1019844" y="1715645"/>
                        <a:pt x="1016952" y="1714279"/>
                      </a:cubicBezTo>
                      <a:cubicBezTo>
                        <a:pt x="1016872" y="1714440"/>
                        <a:pt x="1016711" y="1714601"/>
                        <a:pt x="1016631" y="1714681"/>
                      </a:cubicBezTo>
                      <a:lnTo>
                        <a:pt x="1015346" y="1714922"/>
                      </a:lnTo>
                      <a:cubicBezTo>
                        <a:pt x="1021531" y="1716609"/>
                        <a:pt x="1021932" y="1717011"/>
                        <a:pt x="1022093" y="1717573"/>
                      </a:cubicBezTo>
                      <a:cubicBezTo>
                        <a:pt x="1021451" y="1717894"/>
                        <a:pt x="1021129" y="1718055"/>
                        <a:pt x="1018880" y="1718215"/>
                      </a:cubicBezTo>
                      <a:cubicBezTo>
                        <a:pt x="1019764" y="1719260"/>
                        <a:pt x="1021290" y="1721108"/>
                        <a:pt x="1017515" y="1720786"/>
                      </a:cubicBezTo>
                      <a:cubicBezTo>
                        <a:pt x="1016872" y="1720706"/>
                        <a:pt x="1016229" y="1720626"/>
                        <a:pt x="1015587" y="1720545"/>
                      </a:cubicBezTo>
                      <a:cubicBezTo>
                        <a:pt x="1016711" y="1721509"/>
                        <a:pt x="1018398" y="1722955"/>
                        <a:pt x="1017354" y="1723196"/>
                      </a:cubicBezTo>
                      <a:cubicBezTo>
                        <a:pt x="1016631" y="1723276"/>
                        <a:pt x="1014623" y="1722553"/>
                        <a:pt x="1013739" y="1722232"/>
                      </a:cubicBezTo>
                      <a:cubicBezTo>
                        <a:pt x="1014141" y="1722875"/>
                        <a:pt x="1015105" y="1724240"/>
                        <a:pt x="1012454" y="1726248"/>
                      </a:cubicBezTo>
                      <a:cubicBezTo>
                        <a:pt x="1011731" y="1726730"/>
                        <a:pt x="1011169" y="1727855"/>
                        <a:pt x="1010928" y="1728658"/>
                      </a:cubicBezTo>
                      <a:cubicBezTo>
                        <a:pt x="1013578" y="1728658"/>
                        <a:pt x="1015185" y="1728738"/>
                        <a:pt x="1017836" y="1729221"/>
                      </a:cubicBezTo>
                      <a:cubicBezTo>
                        <a:pt x="1020567" y="1723035"/>
                        <a:pt x="1023700" y="1716850"/>
                        <a:pt x="1025869" y="1722072"/>
                      </a:cubicBezTo>
                      <a:cubicBezTo>
                        <a:pt x="1026351" y="1723116"/>
                        <a:pt x="1026592" y="1724481"/>
                        <a:pt x="1026913" y="1725606"/>
                      </a:cubicBezTo>
                      <a:cubicBezTo>
                        <a:pt x="1029564" y="1722553"/>
                        <a:pt x="1030287" y="1719822"/>
                        <a:pt x="1025467" y="1715565"/>
                      </a:cubicBezTo>
                      <a:cubicBezTo>
                        <a:pt x="1029483" y="1715565"/>
                        <a:pt x="1031893" y="1715886"/>
                        <a:pt x="1035106" y="1716850"/>
                      </a:cubicBezTo>
                      <a:cubicBezTo>
                        <a:pt x="1037597" y="1714279"/>
                        <a:pt x="1043139" y="1708095"/>
                        <a:pt x="1044505" y="1706648"/>
                      </a:cubicBezTo>
                      <a:moveTo>
                        <a:pt x="2303887" y="1274002"/>
                      </a:moveTo>
                      <a:cubicBezTo>
                        <a:pt x="2303967" y="1274002"/>
                        <a:pt x="2304128" y="1274002"/>
                        <a:pt x="2304208" y="1273922"/>
                      </a:cubicBezTo>
                      <a:cubicBezTo>
                        <a:pt x="2302682" y="1274163"/>
                        <a:pt x="2301236" y="1274404"/>
                        <a:pt x="2299710" y="1274645"/>
                      </a:cubicBezTo>
                      <a:cubicBezTo>
                        <a:pt x="2299308" y="1274725"/>
                        <a:pt x="2298987" y="1274725"/>
                        <a:pt x="2298585" y="1274805"/>
                      </a:cubicBezTo>
                      <a:cubicBezTo>
                        <a:pt x="2298505" y="1274805"/>
                        <a:pt x="2298344" y="1274725"/>
                        <a:pt x="2298264" y="1274886"/>
                      </a:cubicBezTo>
                      <a:cubicBezTo>
                        <a:pt x="2300111" y="1274645"/>
                        <a:pt x="2301959" y="1274243"/>
                        <a:pt x="2303887" y="1274002"/>
                      </a:cubicBezTo>
                      <a:moveTo>
                        <a:pt x="882483" y="1672589"/>
                      </a:moveTo>
                      <a:cubicBezTo>
                        <a:pt x="882724" y="1672589"/>
                        <a:pt x="882965" y="1672589"/>
                        <a:pt x="883126" y="1672589"/>
                      </a:cubicBezTo>
                      <a:cubicBezTo>
                        <a:pt x="874852" y="1663673"/>
                        <a:pt x="871800" y="1660299"/>
                        <a:pt x="866659" y="1660781"/>
                      </a:cubicBezTo>
                      <a:cubicBezTo>
                        <a:pt x="865213" y="1661022"/>
                        <a:pt x="864329" y="1661344"/>
                        <a:pt x="862963" y="1662307"/>
                      </a:cubicBezTo>
                      <a:cubicBezTo>
                        <a:pt x="866257" y="1663191"/>
                        <a:pt x="866980" y="1663914"/>
                        <a:pt x="866337" y="1665440"/>
                      </a:cubicBezTo>
                      <a:cubicBezTo>
                        <a:pt x="871639" y="1671385"/>
                        <a:pt x="878065" y="1672589"/>
                        <a:pt x="882483" y="1672589"/>
                      </a:cubicBezTo>
                      <a:moveTo>
                        <a:pt x="2292962" y="1291192"/>
                      </a:moveTo>
                      <a:cubicBezTo>
                        <a:pt x="2293123" y="1291112"/>
                        <a:pt x="2293364" y="1291032"/>
                        <a:pt x="2293525" y="1290951"/>
                      </a:cubicBezTo>
                      <a:cubicBezTo>
                        <a:pt x="2269828" y="1252153"/>
                        <a:pt x="2269828" y="1252153"/>
                        <a:pt x="2268382" y="1250707"/>
                      </a:cubicBezTo>
                      <a:cubicBezTo>
                        <a:pt x="2268382" y="1250707"/>
                        <a:pt x="2268301" y="1250707"/>
                        <a:pt x="2268221" y="1250707"/>
                      </a:cubicBezTo>
                      <a:cubicBezTo>
                        <a:pt x="2269346" y="1256972"/>
                        <a:pt x="2269346" y="1263399"/>
                        <a:pt x="2271033" y="1269584"/>
                      </a:cubicBezTo>
                      <a:cubicBezTo>
                        <a:pt x="2273282" y="1277777"/>
                        <a:pt x="2275451" y="1278821"/>
                        <a:pt x="2276093" y="1279223"/>
                      </a:cubicBezTo>
                      <a:cubicBezTo>
                        <a:pt x="2276415" y="1279384"/>
                        <a:pt x="2284929" y="1283722"/>
                        <a:pt x="2287500" y="1294084"/>
                      </a:cubicBezTo>
                      <a:cubicBezTo>
                        <a:pt x="2290231" y="1292397"/>
                        <a:pt x="2292560" y="1291433"/>
                        <a:pt x="2292962" y="1291192"/>
                      </a:cubicBezTo>
                      <a:moveTo>
                        <a:pt x="2323648" y="1196646"/>
                      </a:moveTo>
                      <a:lnTo>
                        <a:pt x="2323648" y="1196646"/>
                      </a:lnTo>
                      <a:cubicBezTo>
                        <a:pt x="2323246" y="1197690"/>
                        <a:pt x="2323005" y="1198734"/>
                        <a:pt x="2322603" y="1199779"/>
                      </a:cubicBezTo>
                      <a:cubicBezTo>
                        <a:pt x="2323005" y="1198734"/>
                        <a:pt x="2323407" y="1197771"/>
                        <a:pt x="2323648" y="1196646"/>
                      </a:cubicBezTo>
                      <a:moveTo>
                        <a:pt x="2264767" y="1227412"/>
                      </a:moveTo>
                      <a:lnTo>
                        <a:pt x="2264767" y="1227412"/>
                      </a:lnTo>
                      <a:cubicBezTo>
                        <a:pt x="2264526" y="1227974"/>
                        <a:pt x="2262277" y="1236007"/>
                        <a:pt x="2262277" y="1236087"/>
                      </a:cubicBezTo>
                      <a:cubicBezTo>
                        <a:pt x="2262196" y="1236328"/>
                        <a:pt x="2262277" y="1236730"/>
                        <a:pt x="2262357" y="1236971"/>
                      </a:cubicBezTo>
                      <a:cubicBezTo>
                        <a:pt x="2264044" y="1230384"/>
                        <a:pt x="2264687" y="1227653"/>
                        <a:pt x="2264767" y="1227412"/>
                      </a:cubicBezTo>
                      <a:moveTo>
                        <a:pt x="2136644" y="1299064"/>
                      </a:moveTo>
                      <a:cubicBezTo>
                        <a:pt x="2136403" y="1296895"/>
                        <a:pt x="2134636" y="1297618"/>
                        <a:pt x="2133270" y="1298422"/>
                      </a:cubicBezTo>
                      <a:cubicBezTo>
                        <a:pt x="2132869" y="1298663"/>
                        <a:pt x="2132386" y="1298984"/>
                        <a:pt x="2131985" y="1299225"/>
                      </a:cubicBezTo>
                      <a:cubicBezTo>
                        <a:pt x="2133351" y="1299948"/>
                        <a:pt x="2134716" y="1300430"/>
                        <a:pt x="2136564" y="1300671"/>
                      </a:cubicBezTo>
                      <a:cubicBezTo>
                        <a:pt x="2136644" y="1300350"/>
                        <a:pt x="2136724" y="1299707"/>
                        <a:pt x="2136644" y="1299064"/>
                      </a:cubicBezTo>
                      <a:moveTo>
                        <a:pt x="2307180" y="1172628"/>
                      </a:moveTo>
                      <a:cubicBezTo>
                        <a:pt x="2306779" y="1167005"/>
                        <a:pt x="2302521" y="1169093"/>
                        <a:pt x="2299951" y="1170861"/>
                      </a:cubicBezTo>
                      <a:cubicBezTo>
                        <a:pt x="2299228" y="1171343"/>
                        <a:pt x="2298183" y="1171985"/>
                        <a:pt x="2297380" y="1171905"/>
                      </a:cubicBezTo>
                      <a:lnTo>
                        <a:pt x="2296336" y="1170218"/>
                      </a:lnTo>
                      <a:lnTo>
                        <a:pt x="2294970" y="1172066"/>
                      </a:lnTo>
                      <a:cubicBezTo>
                        <a:pt x="2294810" y="1174716"/>
                        <a:pt x="2294328" y="1177528"/>
                        <a:pt x="2291356" y="1179456"/>
                      </a:cubicBezTo>
                      <a:cubicBezTo>
                        <a:pt x="2291436" y="1179134"/>
                        <a:pt x="2291516" y="1178733"/>
                        <a:pt x="2291597" y="1178412"/>
                      </a:cubicBezTo>
                      <a:lnTo>
                        <a:pt x="2290793" y="1178010"/>
                      </a:lnTo>
                      <a:cubicBezTo>
                        <a:pt x="2284849" y="1191666"/>
                        <a:pt x="2284447" y="1204036"/>
                        <a:pt x="2289508" y="1216889"/>
                      </a:cubicBezTo>
                      <a:cubicBezTo>
                        <a:pt x="2289508" y="1217049"/>
                        <a:pt x="2289588" y="1217130"/>
                        <a:pt x="2289588" y="1217290"/>
                      </a:cubicBezTo>
                      <a:cubicBezTo>
                        <a:pt x="2289669" y="1217853"/>
                        <a:pt x="2289749" y="1218335"/>
                        <a:pt x="2289829" y="1218897"/>
                      </a:cubicBezTo>
                      <a:cubicBezTo>
                        <a:pt x="2289990" y="1217049"/>
                        <a:pt x="2290392" y="1216487"/>
                        <a:pt x="2291356" y="1216969"/>
                      </a:cubicBezTo>
                      <a:cubicBezTo>
                        <a:pt x="2291034" y="1211667"/>
                        <a:pt x="2292239" y="1209659"/>
                        <a:pt x="2295533" y="1210061"/>
                      </a:cubicBezTo>
                      <a:cubicBezTo>
                        <a:pt x="2296175" y="1209338"/>
                        <a:pt x="2298264" y="1207169"/>
                        <a:pt x="2298344" y="1211266"/>
                      </a:cubicBezTo>
                      <a:cubicBezTo>
                        <a:pt x="2298344" y="1212069"/>
                        <a:pt x="2298264" y="1213113"/>
                        <a:pt x="2298183" y="1213917"/>
                      </a:cubicBezTo>
                      <a:cubicBezTo>
                        <a:pt x="2298585" y="1212953"/>
                        <a:pt x="2299228" y="1211748"/>
                        <a:pt x="2299629" y="1210784"/>
                      </a:cubicBezTo>
                      <a:cubicBezTo>
                        <a:pt x="2298987" y="1209016"/>
                        <a:pt x="2297461" y="1205000"/>
                        <a:pt x="2302360" y="1203072"/>
                      </a:cubicBezTo>
                      <a:cubicBezTo>
                        <a:pt x="2303083" y="1202831"/>
                        <a:pt x="2304851" y="1198413"/>
                        <a:pt x="2304770" y="1197128"/>
                      </a:cubicBezTo>
                      <a:cubicBezTo>
                        <a:pt x="2304690" y="1197048"/>
                        <a:pt x="2304529" y="1197048"/>
                        <a:pt x="2304449" y="1196967"/>
                      </a:cubicBezTo>
                      <a:cubicBezTo>
                        <a:pt x="2303646" y="1197289"/>
                        <a:pt x="2303083" y="1197530"/>
                        <a:pt x="2300352" y="1200261"/>
                      </a:cubicBezTo>
                      <a:cubicBezTo>
                        <a:pt x="2300834" y="1198975"/>
                        <a:pt x="2301397" y="1197931"/>
                        <a:pt x="2302521" y="1196967"/>
                      </a:cubicBezTo>
                      <a:cubicBezTo>
                        <a:pt x="2302280" y="1196646"/>
                        <a:pt x="2301878" y="1196003"/>
                        <a:pt x="2300593" y="1197690"/>
                      </a:cubicBezTo>
                      <a:cubicBezTo>
                        <a:pt x="2302039" y="1192790"/>
                        <a:pt x="2302842" y="1191103"/>
                        <a:pt x="2304851" y="1188453"/>
                      </a:cubicBezTo>
                      <a:cubicBezTo>
                        <a:pt x="2304369" y="1188372"/>
                        <a:pt x="2303164" y="1188051"/>
                        <a:pt x="2304369" y="1186525"/>
                      </a:cubicBezTo>
                      <a:cubicBezTo>
                        <a:pt x="2305654" y="1185159"/>
                        <a:pt x="2307341" y="1175520"/>
                        <a:pt x="2307180" y="1172628"/>
                      </a:cubicBezTo>
                      <a:moveTo>
                        <a:pt x="2294488" y="1156482"/>
                      </a:moveTo>
                      <a:cubicBezTo>
                        <a:pt x="2294569" y="1156402"/>
                        <a:pt x="2294649" y="1156241"/>
                        <a:pt x="2294729" y="1156161"/>
                      </a:cubicBezTo>
                      <a:cubicBezTo>
                        <a:pt x="2294247" y="1156161"/>
                        <a:pt x="2293846" y="1156402"/>
                        <a:pt x="2293123" y="1157044"/>
                      </a:cubicBezTo>
                      <a:cubicBezTo>
                        <a:pt x="2291918" y="1158330"/>
                        <a:pt x="2291516" y="1159293"/>
                        <a:pt x="2291356" y="1159695"/>
                      </a:cubicBezTo>
                      <a:lnTo>
                        <a:pt x="2289267" y="1161944"/>
                      </a:lnTo>
                      <a:lnTo>
                        <a:pt x="2287259" y="1164435"/>
                      </a:lnTo>
                      <a:cubicBezTo>
                        <a:pt x="2287580" y="1165398"/>
                        <a:pt x="2287982" y="1165880"/>
                        <a:pt x="2289347" y="1165077"/>
                      </a:cubicBezTo>
                      <a:cubicBezTo>
                        <a:pt x="2289508" y="1163872"/>
                        <a:pt x="2289829" y="1163631"/>
                        <a:pt x="2290633" y="1164274"/>
                      </a:cubicBezTo>
                      <a:cubicBezTo>
                        <a:pt x="2290231" y="1161944"/>
                        <a:pt x="2291516" y="1161864"/>
                        <a:pt x="2293846" y="1162587"/>
                      </a:cubicBezTo>
                      <a:cubicBezTo>
                        <a:pt x="2293846" y="1161784"/>
                        <a:pt x="2293926" y="1160740"/>
                        <a:pt x="2293926" y="1159936"/>
                      </a:cubicBezTo>
                      <a:lnTo>
                        <a:pt x="2292962" y="1161061"/>
                      </a:lnTo>
                      <a:lnTo>
                        <a:pt x="2293284" y="1159776"/>
                      </a:lnTo>
                      <a:cubicBezTo>
                        <a:pt x="2292721" y="1159936"/>
                        <a:pt x="2291837" y="1160097"/>
                        <a:pt x="2292641" y="1158811"/>
                      </a:cubicBezTo>
                      <a:cubicBezTo>
                        <a:pt x="2293042" y="1158169"/>
                        <a:pt x="2293846" y="1157205"/>
                        <a:pt x="2294488" y="1156482"/>
                      </a:cubicBezTo>
                      <a:moveTo>
                        <a:pt x="2276093" y="1162667"/>
                      </a:moveTo>
                      <a:cubicBezTo>
                        <a:pt x="2276093" y="1162587"/>
                        <a:pt x="2276093" y="1162507"/>
                        <a:pt x="2276013" y="1162426"/>
                      </a:cubicBezTo>
                      <a:lnTo>
                        <a:pt x="2275692" y="1163069"/>
                      </a:lnTo>
                      <a:cubicBezTo>
                        <a:pt x="2272880" y="1169334"/>
                        <a:pt x="2269908" y="1178251"/>
                        <a:pt x="2270069" y="1183151"/>
                      </a:cubicBezTo>
                      <a:cubicBezTo>
                        <a:pt x="2274808" y="1178893"/>
                        <a:pt x="2276415" y="1165961"/>
                        <a:pt x="2276093" y="1162667"/>
                      </a:cubicBezTo>
                      <a:moveTo>
                        <a:pt x="2316016" y="1116800"/>
                      </a:moveTo>
                      <a:cubicBezTo>
                        <a:pt x="2315615" y="1116639"/>
                        <a:pt x="2315213" y="1116479"/>
                        <a:pt x="2314811" y="1116318"/>
                      </a:cubicBezTo>
                      <a:cubicBezTo>
                        <a:pt x="2314811" y="1116318"/>
                        <a:pt x="2314892" y="1116318"/>
                        <a:pt x="2314892" y="1116318"/>
                      </a:cubicBezTo>
                      <a:cubicBezTo>
                        <a:pt x="2315293" y="1116479"/>
                        <a:pt x="2315695" y="1116639"/>
                        <a:pt x="2316016" y="1116800"/>
                      </a:cubicBezTo>
                      <a:moveTo>
                        <a:pt x="748898" y="1562138"/>
                      </a:moveTo>
                      <a:lnTo>
                        <a:pt x="748898" y="1562138"/>
                      </a:lnTo>
                      <a:cubicBezTo>
                        <a:pt x="748175" y="1562299"/>
                        <a:pt x="746006" y="1563022"/>
                        <a:pt x="740463" y="1564950"/>
                      </a:cubicBezTo>
                      <a:cubicBezTo>
                        <a:pt x="740463" y="1565110"/>
                        <a:pt x="740383" y="1565271"/>
                        <a:pt x="740383" y="1565432"/>
                      </a:cubicBezTo>
                      <a:cubicBezTo>
                        <a:pt x="747612" y="1562701"/>
                        <a:pt x="748817" y="1562219"/>
                        <a:pt x="748898" y="1562138"/>
                      </a:cubicBezTo>
                      <a:moveTo>
                        <a:pt x="2315936" y="1066756"/>
                      </a:moveTo>
                      <a:cubicBezTo>
                        <a:pt x="2315936" y="1066675"/>
                        <a:pt x="2315936" y="1066515"/>
                        <a:pt x="2315936" y="1066434"/>
                      </a:cubicBezTo>
                      <a:cubicBezTo>
                        <a:pt x="2315936" y="1066515"/>
                        <a:pt x="2315856" y="1066595"/>
                        <a:pt x="2315775" y="1066675"/>
                      </a:cubicBezTo>
                      <a:cubicBezTo>
                        <a:pt x="2314570" y="1069326"/>
                        <a:pt x="2314410" y="1071575"/>
                        <a:pt x="2314490" y="1075029"/>
                      </a:cubicBezTo>
                      <a:cubicBezTo>
                        <a:pt x="2315454" y="1074146"/>
                        <a:pt x="2316097" y="1070451"/>
                        <a:pt x="2315936" y="1066756"/>
                      </a:cubicBezTo>
                      <a:moveTo>
                        <a:pt x="1834530" y="1333284"/>
                      </a:moveTo>
                      <a:lnTo>
                        <a:pt x="1834450" y="1330392"/>
                      </a:lnTo>
                      <a:lnTo>
                        <a:pt x="1833325" y="1331436"/>
                      </a:lnTo>
                      <a:lnTo>
                        <a:pt x="1833727" y="1330231"/>
                      </a:lnTo>
                      <a:cubicBezTo>
                        <a:pt x="1833004" y="1328705"/>
                        <a:pt x="1832763" y="1327982"/>
                        <a:pt x="1832442" y="1326697"/>
                      </a:cubicBezTo>
                      <a:cubicBezTo>
                        <a:pt x="1830434" y="1326617"/>
                        <a:pt x="1830112" y="1325813"/>
                        <a:pt x="1830755" y="1322199"/>
                      </a:cubicBezTo>
                      <a:cubicBezTo>
                        <a:pt x="1831157" y="1322038"/>
                        <a:pt x="1831639" y="1321717"/>
                        <a:pt x="1831960" y="1321556"/>
                      </a:cubicBezTo>
                      <a:cubicBezTo>
                        <a:pt x="1828184" y="1321877"/>
                        <a:pt x="1827622" y="1320914"/>
                        <a:pt x="1829309" y="1317459"/>
                      </a:cubicBezTo>
                      <a:cubicBezTo>
                        <a:pt x="1827140" y="1320512"/>
                        <a:pt x="1827461" y="1321556"/>
                        <a:pt x="1830594" y="1321717"/>
                      </a:cubicBezTo>
                      <a:cubicBezTo>
                        <a:pt x="1830032" y="1322359"/>
                        <a:pt x="1829389" y="1323243"/>
                        <a:pt x="1828827" y="1323886"/>
                      </a:cubicBezTo>
                      <a:cubicBezTo>
                        <a:pt x="1830675" y="1328866"/>
                        <a:pt x="1828425" y="1329990"/>
                        <a:pt x="1821196" y="1327581"/>
                      </a:cubicBezTo>
                      <a:cubicBezTo>
                        <a:pt x="1821919" y="1327179"/>
                        <a:pt x="1822963" y="1326697"/>
                        <a:pt x="1823686" y="1326376"/>
                      </a:cubicBezTo>
                      <a:cubicBezTo>
                        <a:pt x="1816617" y="1328545"/>
                        <a:pt x="1813966" y="1328063"/>
                        <a:pt x="1813243" y="1324448"/>
                      </a:cubicBezTo>
                      <a:cubicBezTo>
                        <a:pt x="1809307" y="1326697"/>
                        <a:pt x="1805612" y="1323323"/>
                        <a:pt x="1804006" y="1321797"/>
                      </a:cubicBezTo>
                      <a:cubicBezTo>
                        <a:pt x="1804006" y="1322038"/>
                        <a:pt x="1803925" y="1322279"/>
                        <a:pt x="1803925" y="1322520"/>
                      </a:cubicBezTo>
                      <a:cubicBezTo>
                        <a:pt x="1804006" y="1324046"/>
                        <a:pt x="1804488" y="1325010"/>
                        <a:pt x="1806657" y="1325813"/>
                      </a:cubicBezTo>
                      <a:cubicBezTo>
                        <a:pt x="1802158" y="1326295"/>
                        <a:pt x="1798945" y="1327741"/>
                        <a:pt x="1795089" y="1330955"/>
                      </a:cubicBezTo>
                      <a:cubicBezTo>
                        <a:pt x="1798061" y="1328786"/>
                        <a:pt x="1800150" y="1327902"/>
                        <a:pt x="1802721" y="1327822"/>
                      </a:cubicBezTo>
                      <a:cubicBezTo>
                        <a:pt x="1803122" y="1327822"/>
                        <a:pt x="1803684" y="1327902"/>
                        <a:pt x="1804166" y="1327982"/>
                      </a:cubicBezTo>
                      <a:cubicBezTo>
                        <a:pt x="1804568" y="1328063"/>
                        <a:pt x="1805130" y="1328384"/>
                        <a:pt x="1805532" y="1328464"/>
                      </a:cubicBezTo>
                      <a:cubicBezTo>
                        <a:pt x="1808986" y="1329107"/>
                        <a:pt x="1812922" y="1327018"/>
                        <a:pt x="1815975" y="1330231"/>
                      </a:cubicBezTo>
                      <a:cubicBezTo>
                        <a:pt x="1815975" y="1330312"/>
                        <a:pt x="1815975" y="1330392"/>
                        <a:pt x="1816055" y="1330392"/>
                      </a:cubicBezTo>
                      <a:lnTo>
                        <a:pt x="1817661" y="1328946"/>
                      </a:lnTo>
                      <a:cubicBezTo>
                        <a:pt x="1819670" y="1329187"/>
                        <a:pt x="1819911" y="1329348"/>
                        <a:pt x="1820393" y="1330231"/>
                      </a:cubicBezTo>
                      <a:cubicBezTo>
                        <a:pt x="1823686" y="1328223"/>
                        <a:pt x="1825453" y="1329428"/>
                        <a:pt x="1826738" y="1330794"/>
                      </a:cubicBezTo>
                      <a:cubicBezTo>
                        <a:pt x="1825855" y="1331196"/>
                        <a:pt x="1824811" y="1331758"/>
                        <a:pt x="1823927" y="1332159"/>
                      </a:cubicBezTo>
                      <a:cubicBezTo>
                        <a:pt x="1822642" y="1333123"/>
                        <a:pt x="1821517" y="1333846"/>
                        <a:pt x="1819509" y="1335212"/>
                      </a:cubicBezTo>
                      <a:cubicBezTo>
                        <a:pt x="1824007" y="1332802"/>
                        <a:pt x="1827060" y="1332481"/>
                        <a:pt x="1829229" y="1332481"/>
                      </a:cubicBezTo>
                      <a:cubicBezTo>
                        <a:pt x="1827863" y="1333043"/>
                        <a:pt x="1826016" y="1333846"/>
                        <a:pt x="1824650" y="1334489"/>
                      </a:cubicBezTo>
                      <a:lnTo>
                        <a:pt x="1828024" y="1334168"/>
                      </a:lnTo>
                      <a:lnTo>
                        <a:pt x="1828024" y="1333364"/>
                      </a:lnTo>
                      <a:cubicBezTo>
                        <a:pt x="1831157" y="1333525"/>
                        <a:pt x="1831879" y="1333686"/>
                        <a:pt x="1832281" y="1334409"/>
                      </a:cubicBezTo>
                      <a:cubicBezTo>
                        <a:pt x="1831960" y="1335212"/>
                        <a:pt x="1831558" y="1335372"/>
                        <a:pt x="1829871" y="1336336"/>
                      </a:cubicBezTo>
                      <a:cubicBezTo>
                        <a:pt x="1830353" y="1336417"/>
                        <a:pt x="1830996" y="1336497"/>
                        <a:pt x="1831478" y="1336497"/>
                      </a:cubicBezTo>
                      <a:cubicBezTo>
                        <a:pt x="1832602" y="1337622"/>
                        <a:pt x="1832522" y="1338184"/>
                        <a:pt x="1831157" y="1339148"/>
                      </a:cubicBezTo>
                      <a:cubicBezTo>
                        <a:pt x="1831558" y="1339228"/>
                        <a:pt x="1832120" y="1339228"/>
                        <a:pt x="1832602" y="1339308"/>
                      </a:cubicBezTo>
                      <a:cubicBezTo>
                        <a:pt x="1830353" y="1343164"/>
                        <a:pt x="1828024" y="1344289"/>
                        <a:pt x="1823847" y="1343325"/>
                      </a:cubicBezTo>
                      <a:cubicBezTo>
                        <a:pt x="1822883" y="1344932"/>
                        <a:pt x="1821517" y="1345413"/>
                        <a:pt x="1818545" y="1345092"/>
                      </a:cubicBezTo>
                      <a:cubicBezTo>
                        <a:pt x="1828988" y="1347582"/>
                        <a:pt x="1834048" y="1346056"/>
                        <a:pt x="1836699" y="1339790"/>
                      </a:cubicBezTo>
                      <a:cubicBezTo>
                        <a:pt x="1836378" y="1340112"/>
                        <a:pt x="1836057" y="1340594"/>
                        <a:pt x="1835735" y="1340915"/>
                      </a:cubicBezTo>
                      <a:cubicBezTo>
                        <a:pt x="1835012" y="1337782"/>
                        <a:pt x="1834611" y="1333284"/>
                        <a:pt x="1834530" y="1333284"/>
                      </a:cubicBezTo>
                      <a:moveTo>
                        <a:pt x="574988" y="1494823"/>
                      </a:moveTo>
                      <a:cubicBezTo>
                        <a:pt x="575068" y="1494823"/>
                        <a:pt x="575148" y="1494823"/>
                        <a:pt x="575148" y="1494823"/>
                      </a:cubicBezTo>
                      <a:cubicBezTo>
                        <a:pt x="573301" y="1494181"/>
                        <a:pt x="571614" y="149385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71293" y="1494181"/>
                        <a:pt x="573140" y="1494502"/>
                        <a:pt x="574988" y="1494823"/>
                      </a:cubicBezTo>
                      <a:moveTo>
                        <a:pt x="2324692" y="978796"/>
                      </a:moveTo>
                      <a:cubicBezTo>
                        <a:pt x="2324611" y="978555"/>
                        <a:pt x="2324451" y="978395"/>
                        <a:pt x="2324370" y="978234"/>
                      </a:cubicBezTo>
                      <a:cubicBezTo>
                        <a:pt x="2324370" y="978314"/>
                        <a:pt x="2324370" y="978395"/>
                        <a:pt x="2324370" y="978475"/>
                      </a:cubicBezTo>
                      <a:cubicBezTo>
                        <a:pt x="2324451" y="978555"/>
                        <a:pt x="2324531" y="978636"/>
                        <a:pt x="2324611" y="978796"/>
                      </a:cubicBezTo>
                      <a:cubicBezTo>
                        <a:pt x="2324611" y="978716"/>
                        <a:pt x="2324611" y="978796"/>
                        <a:pt x="2324692" y="978796"/>
                      </a:cubicBezTo>
                      <a:lnTo>
                        <a:pt x="2324692" y="978796"/>
                      </a:lnTo>
                      <a:moveTo>
                        <a:pt x="2294569" y="1010847"/>
                      </a:moveTo>
                      <a:lnTo>
                        <a:pt x="2294569" y="1010847"/>
                      </a:lnTo>
                      <a:cubicBezTo>
                        <a:pt x="2293525" y="1012052"/>
                        <a:pt x="2292480" y="1013338"/>
                        <a:pt x="2291516" y="1014542"/>
                      </a:cubicBezTo>
                      <a:cubicBezTo>
                        <a:pt x="2292078" y="1013900"/>
                        <a:pt x="2292641" y="1013257"/>
                        <a:pt x="2293203" y="1012534"/>
                      </a:cubicBezTo>
                      <a:cubicBezTo>
                        <a:pt x="2293525" y="1012213"/>
                        <a:pt x="2293766" y="1011811"/>
                        <a:pt x="2294087" y="1011490"/>
                      </a:cubicBezTo>
                      <a:cubicBezTo>
                        <a:pt x="2294247" y="1011249"/>
                        <a:pt x="2294488" y="1011088"/>
                        <a:pt x="2294569" y="1010847"/>
                      </a:cubicBezTo>
                      <a:moveTo>
                        <a:pt x="212869" y="1424858"/>
                      </a:moveTo>
                      <a:cubicBezTo>
                        <a:pt x="213030" y="1424055"/>
                        <a:pt x="211102" y="1423412"/>
                        <a:pt x="209415" y="1423010"/>
                      </a:cubicBezTo>
                      <a:cubicBezTo>
                        <a:pt x="208692" y="1422850"/>
                        <a:pt x="207889" y="1422609"/>
                        <a:pt x="207166" y="1422448"/>
                      </a:cubicBezTo>
                      <a:cubicBezTo>
                        <a:pt x="209576" y="1424537"/>
                        <a:pt x="210379" y="1425500"/>
                        <a:pt x="210781" y="1426063"/>
                      </a:cubicBezTo>
                      <a:cubicBezTo>
                        <a:pt x="211423" y="1425822"/>
                        <a:pt x="212789" y="1425420"/>
                        <a:pt x="212869" y="1424858"/>
                      </a:cubicBezTo>
                      <a:moveTo>
                        <a:pt x="2053183" y="1166443"/>
                      </a:moveTo>
                      <a:cubicBezTo>
                        <a:pt x="2053424" y="1166362"/>
                        <a:pt x="2053665" y="1166202"/>
                        <a:pt x="2053906" y="1166041"/>
                      </a:cubicBezTo>
                      <a:cubicBezTo>
                        <a:pt x="2053826" y="1166121"/>
                        <a:pt x="2053665" y="1166202"/>
                        <a:pt x="2053585" y="1166202"/>
                      </a:cubicBezTo>
                      <a:cubicBezTo>
                        <a:pt x="2051737" y="1167166"/>
                        <a:pt x="2049890" y="1168130"/>
                        <a:pt x="2048042" y="1169174"/>
                      </a:cubicBezTo>
                      <a:cubicBezTo>
                        <a:pt x="2049729" y="1168371"/>
                        <a:pt x="2051496" y="1167407"/>
                        <a:pt x="2053183" y="1166443"/>
                      </a:cubicBezTo>
                      <a:moveTo>
                        <a:pt x="177204" y="1374492"/>
                      </a:moveTo>
                      <a:cubicBezTo>
                        <a:pt x="177284" y="1374412"/>
                        <a:pt x="177364" y="1374251"/>
                        <a:pt x="177444" y="1374171"/>
                      </a:cubicBezTo>
                      <a:cubicBezTo>
                        <a:pt x="177364" y="1374171"/>
                        <a:pt x="177284" y="1374251"/>
                        <a:pt x="177284" y="1374251"/>
                      </a:cubicBezTo>
                      <a:cubicBezTo>
                        <a:pt x="175356" y="1374894"/>
                        <a:pt x="173348" y="1375215"/>
                        <a:pt x="171018" y="1375215"/>
                      </a:cubicBezTo>
                      <a:cubicBezTo>
                        <a:pt x="172384" y="1376661"/>
                        <a:pt x="174472" y="1378187"/>
                        <a:pt x="177204" y="1374492"/>
                      </a:cubicBezTo>
                      <a:moveTo>
                        <a:pt x="115271" y="1346297"/>
                      </a:moveTo>
                      <a:cubicBezTo>
                        <a:pt x="115271" y="1346297"/>
                        <a:pt x="115271" y="1346297"/>
                        <a:pt x="115271" y="1346297"/>
                      </a:cubicBezTo>
                      <a:cubicBezTo>
                        <a:pt x="114949" y="1345815"/>
                        <a:pt x="114548" y="1345253"/>
                        <a:pt x="114226" y="1344771"/>
                      </a:cubicBezTo>
                      <a:cubicBezTo>
                        <a:pt x="114226" y="1344771"/>
                        <a:pt x="114226" y="1344771"/>
                        <a:pt x="114226" y="1344851"/>
                      </a:cubicBezTo>
                      <a:cubicBezTo>
                        <a:pt x="114307" y="1344932"/>
                        <a:pt x="114628" y="1345413"/>
                        <a:pt x="115271" y="1346297"/>
                      </a:cubicBezTo>
                      <a:moveTo>
                        <a:pt x="433450" y="1391040"/>
                      </a:moveTo>
                      <a:lnTo>
                        <a:pt x="433851" y="1390558"/>
                      </a:lnTo>
                      <a:cubicBezTo>
                        <a:pt x="432486" y="1389674"/>
                        <a:pt x="431683" y="1389433"/>
                        <a:pt x="430799" y="1389353"/>
                      </a:cubicBezTo>
                      <a:cubicBezTo>
                        <a:pt x="430156" y="1389353"/>
                        <a:pt x="429755" y="1389433"/>
                        <a:pt x="429112" y="1389754"/>
                      </a:cubicBezTo>
                      <a:cubicBezTo>
                        <a:pt x="431361" y="1391441"/>
                        <a:pt x="433369" y="1391040"/>
                        <a:pt x="433450" y="1391040"/>
                      </a:cubicBezTo>
                      <a:moveTo>
                        <a:pt x="41690" y="1258418"/>
                      </a:moveTo>
                      <a:lnTo>
                        <a:pt x="41771" y="1258258"/>
                      </a:lnTo>
                      <a:cubicBezTo>
                        <a:pt x="40887" y="1256410"/>
                        <a:pt x="40084" y="1255285"/>
                        <a:pt x="38879" y="1254482"/>
                      </a:cubicBezTo>
                      <a:cubicBezTo>
                        <a:pt x="38156" y="1254081"/>
                        <a:pt x="37754" y="1253920"/>
                        <a:pt x="36951" y="1253840"/>
                      </a:cubicBezTo>
                      <a:cubicBezTo>
                        <a:pt x="38397" y="1256169"/>
                        <a:pt x="40084" y="1257776"/>
                        <a:pt x="41690" y="1258418"/>
                      </a:cubicBezTo>
                      <a:moveTo>
                        <a:pt x="2213357" y="927547"/>
                      </a:moveTo>
                      <a:cubicBezTo>
                        <a:pt x="2213357" y="927467"/>
                        <a:pt x="2213438" y="927306"/>
                        <a:pt x="2213438" y="927226"/>
                      </a:cubicBezTo>
                      <a:cubicBezTo>
                        <a:pt x="2212393" y="927949"/>
                        <a:pt x="2211831" y="928431"/>
                        <a:pt x="2211108" y="929074"/>
                      </a:cubicBezTo>
                      <a:cubicBezTo>
                        <a:pt x="2209742" y="930519"/>
                        <a:pt x="2208939" y="931483"/>
                        <a:pt x="2207814" y="933251"/>
                      </a:cubicBezTo>
                      <a:cubicBezTo>
                        <a:pt x="2208296" y="933492"/>
                        <a:pt x="2208939" y="933813"/>
                        <a:pt x="2209421" y="934054"/>
                      </a:cubicBezTo>
                      <a:cubicBezTo>
                        <a:pt x="2207895" y="938954"/>
                        <a:pt x="2207333" y="943613"/>
                        <a:pt x="2207493" y="949075"/>
                      </a:cubicBezTo>
                      <a:cubicBezTo>
                        <a:pt x="2207654" y="944657"/>
                        <a:pt x="2208377" y="941283"/>
                        <a:pt x="2208939" y="939195"/>
                      </a:cubicBezTo>
                      <a:cubicBezTo>
                        <a:pt x="2209341" y="937909"/>
                        <a:pt x="2209983" y="936624"/>
                        <a:pt x="2210305" y="935339"/>
                      </a:cubicBezTo>
                      <a:cubicBezTo>
                        <a:pt x="2210706" y="933732"/>
                        <a:pt x="2210224" y="932046"/>
                        <a:pt x="2210947" y="930439"/>
                      </a:cubicBezTo>
                      <a:cubicBezTo>
                        <a:pt x="2211510" y="929154"/>
                        <a:pt x="2212152" y="929315"/>
                        <a:pt x="2212956" y="929957"/>
                      </a:cubicBezTo>
                      <a:cubicBezTo>
                        <a:pt x="2213116" y="929154"/>
                        <a:pt x="2213197" y="928350"/>
                        <a:pt x="2213357" y="927547"/>
                      </a:cubicBezTo>
                      <a:moveTo>
                        <a:pt x="2215124" y="917105"/>
                      </a:moveTo>
                      <a:lnTo>
                        <a:pt x="2214482" y="913490"/>
                      </a:lnTo>
                      <a:cubicBezTo>
                        <a:pt x="2213036" y="912205"/>
                        <a:pt x="2212393" y="911321"/>
                        <a:pt x="2211269" y="908911"/>
                      </a:cubicBezTo>
                      <a:cubicBezTo>
                        <a:pt x="2211349" y="909072"/>
                        <a:pt x="2211429" y="909313"/>
                        <a:pt x="2211510" y="909474"/>
                      </a:cubicBezTo>
                      <a:cubicBezTo>
                        <a:pt x="2212072" y="911160"/>
                        <a:pt x="2212313" y="912205"/>
                        <a:pt x="2212554" y="914132"/>
                      </a:cubicBezTo>
                      <a:cubicBezTo>
                        <a:pt x="2210867" y="914052"/>
                        <a:pt x="2211269" y="915096"/>
                        <a:pt x="2211429" y="915418"/>
                      </a:cubicBezTo>
                      <a:cubicBezTo>
                        <a:pt x="2211590" y="915257"/>
                        <a:pt x="2211750" y="915016"/>
                        <a:pt x="2211911" y="914855"/>
                      </a:cubicBezTo>
                      <a:lnTo>
                        <a:pt x="2211429" y="916542"/>
                      </a:lnTo>
                      <a:cubicBezTo>
                        <a:pt x="2213197" y="916141"/>
                        <a:pt x="2215365" y="916462"/>
                        <a:pt x="2214160" y="924575"/>
                      </a:cubicBezTo>
                      <a:cubicBezTo>
                        <a:pt x="2214642" y="923210"/>
                        <a:pt x="2215526" y="921201"/>
                        <a:pt x="2217213" y="919916"/>
                      </a:cubicBezTo>
                      <a:cubicBezTo>
                        <a:pt x="2215285" y="919595"/>
                        <a:pt x="2215285" y="919033"/>
                        <a:pt x="2215124" y="917105"/>
                      </a:cubicBezTo>
                      <a:moveTo>
                        <a:pt x="88361" y="1230786"/>
                      </a:moveTo>
                      <a:cubicBezTo>
                        <a:pt x="88521" y="1230384"/>
                        <a:pt x="88521" y="1230384"/>
                        <a:pt x="89003" y="1220263"/>
                      </a:cubicBezTo>
                      <a:cubicBezTo>
                        <a:pt x="88923" y="1220263"/>
                        <a:pt x="88923" y="1220263"/>
                        <a:pt x="88843" y="1220263"/>
                      </a:cubicBezTo>
                      <a:cubicBezTo>
                        <a:pt x="88361" y="1220182"/>
                        <a:pt x="88120" y="1220182"/>
                        <a:pt x="87477" y="1220263"/>
                      </a:cubicBezTo>
                      <a:cubicBezTo>
                        <a:pt x="88039" y="1223636"/>
                        <a:pt x="88039" y="1223636"/>
                        <a:pt x="86835" y="1229741"/>
                      </a:cubicBezTo>
                      <a:cubicBezTo>
                        <a:pt x="86513" y="1229821"/>
                        <a:pt x="85549" y="1230063"/>
                        <a:pt x="85871" y="1236810"/>
                      </a:cubicBezTo>
                      <a:cubicBezTo>
                        <a:pt x="86754" y="1234882"/>
                        <a:pt x="87638" y="1232874"/>
                        <a:pt x="88361" y="1230786"/>
                      </a:cubicBezTo>
                      <a:moveTo>
                        <a:pt x="77115" y="1196164"/>
                      </a:moveTo>
                      <a:cubicBezTo>
                        <a:pt x="77115" y="1196164"/>
                        <a:pt x="77757" y="1193513"/>
                        <a:pt x="75187" y="1189577"/>
                      </a:cubicBezTo>
                      <a:cubicBezTo>
                        <a:pt x="75187" y="1189657"/>
                        <a:pt x="75267" y="1189738"/>
                        <a:pt x="75267" y="1189818"/>
                      </a:cubicBezTo>
                      <a:cubicBezTo>
                        <a:pt x="75348" y="1190220"/>
                        <a:pt x="75669" y="1191264"/>
                        <a:pt x="75589" y="1192228"/>
                      </a:cubicBezTo>
                      <a:cubicBezTo>
                        <a:pt x="75589" y="1192549"/>
                        <a:pt x="75348" y="1192871"/>
                        <a:pt x="75348" y="1193192"/>
                      </a:cubicBezTo>
                      <a:cubicBezTo>
                        <a:pt x="75348" y="1193513"/>
                        <a:pt x="75508" y="1193835"/>
                        <a:pt x="75589" y="1194076"/>
                      </a:cubicBezTo>
                      <a:cubicBezTo>
                        <a:pt x="75669" y="1194397"/>
                        <a:pt x="75749" y="1194798"/>
                        <a:pt x="75830" y="1195120"/>
                      </a:cubicBezTo>
                      <a:cubicBezTo>
                        <a:pt x="76553" y="1197690"/>
                        <a:pt x="77115" y="1196244"/>
                        <a:pt x="77115" y="1196164"/>
                      </a:cubicBezTo>
                      <a:moveTo>
                        <a:pt x="294322" y="1247172"/>
                      </a:moveTo>
                      <a:cubicBezTo>
                        <a:pt x="294322" y="1247172"/>
                        <a:pt x="294322" y="1247253"/>
                        <a:pt x="294402" y="1247253"/>
                      </a:cubicBezTo>
                      <a:cubicBezTo>
                        <a:pt x="294402" y="1247012"/>
                        <a:pt x="294322" y="1246289"/>
                        <a:pt x="294402" y="1245485"/>
                      </a:cubicBezTo>
                      <a:cubicBezTo>
                        <a:pt x="294402" y="1245485"/>
                        <a:pt x="294402" y="1245405"/>
                        <a:pt x="294402" y="1245405"/>
                      </a:cubicBezTo>
                      <a:cubicBezTo>
                        <a:pt x="294402" y="1245164"/>
                        <a:pt x="294241" y="1244923"/>
                        <a:pt x="294081" y="1244682"/>
                      </a:cubicBezTo>
                      <a:cubicBezTo>
                        <a:pt x="293920" y="1244923"/>
                        <a:pt x="293759" y="1245164"/>
                        <a:pt x="293679" y="1245405"/>
                      </a:cubicBezTo>
                      <a:cubicBezTo>
                        <a:pt x="293840" y="1245967"/>
                        <a:pt x="294081" y="1246610"/>
                        <a:pt x="294322" y="1247172"/>
                      </a:cubicBezTo>
                      <a:moveTo>
                        <a:pt x="282032" y="1230866"/>
                      </a:moveTo>
                      <a:cubicBezTo>
                        <a:pt x="282192" y="1229821"/>
                        <a:pt x="281228" y="1228456"/>
                        <a:pt x="280505" y="1227572"/>
                      </a:cubicBezTo>
                      <a:cubicBezTo>
                        <a:pt x="280505" y="1227653"/>
                        <a:pt x="280505" y="1227653"/>
                        <a:pt x="280425" y="1227733"/>
                      </a:cubicBezTo>
                      <a:cubicBezTo>
                        <a:pt x="280023" y="1229098"/>
                        <a:pt x="280264" y="1230384"/>
                        <a:pt x="281228" y="1231910"/>
                      </a:cubicBezTo>
                      <a:cubicBezTo>
                        <a:pt x="281550" y="1231749"/>
                        <a:pt x="281951" y="1231428"/>
                        <a:pt x="282032" y="1230866"/>
                      </a:cubicBezTo>
                      <a:moveTo>
                        <a:pt x="67395" y="1151502"/>
                      </a:moveTo>
                      <a:cubicBezTo>
                        <a:pt x="67395" y="1151502"/>
                        <a:pt x="67395" y="1151421"/>
                        <a:pt x="67395" y="1151421"/>
                      </a:cubicBezTo>
                      <a:lnTo>
                        <a:pt x="67315" y="1149815"/>
                      </a:lnTo>
                      <a:lnTo>
                        <a:pt x="66913" y="1150618"/>
                      </a:lnTo>
                      <a:lnTo>
                        <a:pt x="66833" y="1150377"/>
                      </a:lnTo>
                      <a:cubicBezTo>
                        <a:pt x="65949" y="1149011"/>
                        <a:pt x="65548" y="1148449"/>
                        <a:pt x="65066" y="1148289"/>
                      </a:cubicBezTo>
                      <a:cubicBezTo>
                        <a:pt x="64664" y="1148208"/>
                        <a:pt x="64262" y="1149172"/>
                        <a:pt x="64664" y="1149735"/>
                      </a:cubicBezTo>
                      <a:cubicBezTo>
                        <a:pt x="65949" y="1151261"/>
                        <a:pt x="66994" y="1151421"/>
                        <a:pt x="67395" y="1151502"/>
                      </a:cubicBezTo>
                      <a:moveTo>
                        <a:pt x="168930" y="1188131"/>
                      </a:moveTo>
                      <a:cubicBezTo>
                        <a:pt x="168930" y="1188131"/>
                        <a:pt x="168930" y="1188212"/>
                        <a:pt x="168930" y="1188131"/>
                      </a:cubicBezTo>
                      <a:cubicBezTo>
                        <a:pt x="168769" y="1187649"/>
                        <a:pt x="168608" y="1187167"/>
                        <a:pt x="168367" y="1186685"/>
                      </a:cubicBezTo>
                      <a:lnTo>
                        <a:pt x="168367" y="1186685"/>
                      </a:lnTo>
                      <a:cubicBezTo>
                        <a:pt x="168528" y="1187167"/>
                        <a:pt x="168689" y="1187649"/>
                        <a:pt x="168930" y="1188131"/>
                      </a:cubicBezTo>
                      <a:moveTo>
                        <a:pt x="2296416" y="722631"/>
                      </a:moveTo>
                      <a:lnTo>
                        <a:pt x="2296336" y="722068"/>
                      </a:lnTo>
                      <a:cubicBezTo>
                        <a:pt x="2289829" y="729458"/>
                        <a:pt x="2279387" y="729940"/>
                        <a:pt x="2261474" y="723514"/>
                      </a:cubicBezTo>
                      <a:cubicBezTo>
                        <a:pt x="2261795" y="722229"/>
                        <a:pt x="2261795" y="721988"/>
                        <a:pt x="2261714" y="721506"/>
                      </a:cubicBezTo>
                      <a:cubicBezTo>
                        <a:pt x="2261634" y="721506"/>
                        <a:pt x="2261474" y="721426"/>
                        <a:pt x="2261393" y="721426"/>
                      </a:cubicBezTo>
                      <a:cubicBezTo>
                        <a:pt x="2261152" y="721586"/>
                        <a:pt x="2260911" y="721827"/>
                        <a:pt x="2260670" y="722068"/>
                      </a:cubicBezTo>
                      <a:cubicBezTo>
                        <a:pt x="2260831" y="722149"/>
                        <a:pt x="2260992" y="722309"/>
                        <a:pt x="2261072" y="722470"/>
                      </a:cubicBezTo>
                      <a:cubicBezTo>
                        <a:pt x="2261554" y="731467"/>
                        <a:pt x="2261875" y="733555"/>
                        <a:pt x="2263964" y="738455"/>
                      </a:cubicBezTo>
                      <a:cubicBezTo>
                        <a:pt x="2263964" y="738455"/>
                        <a:pt x="2261152" y="741668"/>
                        <a:pt x="2265410" y="744399"/>
                      </a:cubicBezTo>
                      <a:cubicBezTo>
                        <a:pt x="2269506" y="747050"/>
                        <a:pt x="2278985" y="753396"/>
                        <a:pt x="2279306" y="755645"/>
                      </a:cubicBezTo>
                      <a:cubicBezTo>
                        <a:pt x="2281957" y="756850"/>
                        <a:pt x="2283484" y="757332"/>
                        <a:pt x="2286054" y="757814"/>
                      </a:cubicBezTo>
                      <a:cubicBezTo>
                        <a:pt x="2288705" y="764481"/>
                        <a:pt x="2291918" y="769141"/>
                        <a:pt x="2297621" y="774281"/>
                      </a:cubicBezTo>
                      <a:cubicBezTo>
                        <a:pt x="2294087" y="763517"/>
                        <a:pt x="2293123" y="760385"/>
                        <a:pt x="2293042" y="759180"/>
                      </a:cubicBezTo>
                      <a:cubicBezTo>
                        <a:pt x="2293685" y="759903"/>
                        <a:pt x="2294328" y="760626"/>
                        <a:pt x="2299469" y="773157"/>
                      </a:cubicBezTo>
                      <a:cubicBezTo>
                        <a:pt x="2299629" y="772996"/>
                        <a:pt x="2299790" y="772836"/>
                        <a:pt x="2299951" y="772675"/>
                      </a:cubicBezTo>
                      <a:lnTo>
                        <a:pt x="2300915" y="775888"/>
                      </a:lnTo>
                      <a:cubicBezTo>
                        <a:pt x="2301156" y="775727"/>
                        <a:pt x="2301397" y="775567"/>
                        <a:pt x="2301477" y="774844"/>
                      </a:cubicBezTo>
                      <a:lnTo>
                        <a:pt x="2303325" y="750344"/>
                      </a:lnTo>
                      <a:cubicBezTo>
                        <a:pt x="2303325" y="747693"/>
                        <a:pt x="2303325" y="747693"/>
                        <a:pt x="2296416" y="722631"/>
                      </a:cubicBezTo>
                      <a:moveTo>
                        <a:pt x="2255529" y="729699"/>
                      </a:moveTo>
                      <a:lnTo>
                        <a:pt x="2255529" y="729218"/>
                      </a:lnTo>
                      <a:cubicBezTo>
                        <a:pt x="2254646" y="730181"/>
                        <a:pt x="2253682" y="731065"/>
                        <a:pt x="2252798" y="732029"/>
                      </a:cubicBezTo>
                      <a:cubicBezTo>
                        <a:pt x="2252637" y="732190"/>
                        <a:pt x="2252396" y="732431"/>
                        <a:pt x="2252236" y="732591"/>
                      </a:cubicBezTo>
                      <a:cubicBezTo>
                        <a:pt x="2252236" y="732672"/>
                        <a:pt x="2252155" y="732672"/>
                        <a:pt x="2252155" y="732752"/>
                      </a:cubicBezTo>
                      <a:cubicBezTo>
                        <a:pt x="2252236" y="732752"/>
                        <a:pt x="2253039" y="732109"/>
                        <a:pt x="2255529" y="729699"/>
                      </a:cubicBezTo>
                      <a:moveTo>
                        <a:pt x="2191749" y="806975"/>
                      </a:moveTo>
                      <a:cubicBezTo>
                        <a:pt x="2191749" y="806975"/>
                        <a:pt x="2191749" y="806895"/>
                        <a:pt x="2191749" y="806975"/>
                      </a:cubicBezTo>
                      <a:cubicBezTo>
                        <a:pt x="2191508" y="807136"/>
                        <a:pt x="2191187" y="807296"/>
                        <a:pt x="2190865" y="807537"/>
                      </a:cubicBezTo>
                      <a:lnTo>
                        <a:pt x="2190865" y="807537"/>
                      </a:lnTo>
                      <a:cubicBezTo>
                        <a:pt x="2191187" y="807376"/>
                        <a:pt x="2191428" y="807136"/>
                        <a:pt x="2191749" y="806975"/>
                      </a:cubicBezTo>
                      <a:moveTo>
                        <a:pt x="2189500" y="801834"/>
                      </a:moveTo>
                      <a:cubicBezTo>
                        <a:pt x="2189500" y="801754"/>
                        <a:pt x="2189580" y="801673"/>
                        <a:pt x="2189580" y="801673"/>
                      </a:cubicBezTo>
                      <a:cubicBezTo>
                        <a:pt x="2189580" y="801673"/>
                        <a:pt x="2189580" y="801673"/>
                        <a:pt x="2189500" y="801834"/>
                      </a:cubicBezTo>
                      <a:cubicBezTo>
                        <a:pt x="2189259" y="802557"/>
                        <a:pt x="2188937" y="803360"/>
                        <a:pt x="2188696" y="804163"/>
                      </a:cubicBezTo>
                      <a:cubicBezTo>
                        <a:pt x="2189098" y="803440"/>
                        <a:pt x="2189259" y="802557"/>
                        <a:pt x="2189500" y="801834"/>
                      </a:cubicBezTo>
                      <a:moveTo>
                        <a:pt x="2189741" y="801191"/>
                      </a:moveTo>
                      <a:cubicBezTo>
                        <a:pt x="2189741" y="801191"/>
                        <a:pt x="2189741" y="801191"/>
                        <a:pt x="2189741" y="801191"/>
                      </a:cubicBezTo>
                      <a:cubicBezTo>
                        <a:pt x="2189741" y="801191"/>
                        <a:pt x="2189741" y="801191"/>
                        <a:pt x="2189741" y="801191"/>
                      </a:cubicBezTo>
                      <a:lnTo>
                        <a:pt x="2189741" y="801191"/>
                      </a:lnTo>
                      <a:moveTo>
                        <a:pt x="2182431" y="787937"/>
                      </a:moveTo>
                      <a:lnTo>
                        <a:pt x="2182431" y="786813"/>
                      </a:lnTo>
                      <a:cubicBezTo>
                        <a:pt x="2181788" y="786170"/>
                        <a:pt x="2181467" y="785929"/>
                        <a:pt x="2181387" y="786090"/>
                      </a:cubicBezTo>
                      <a:cubicBezTo>
                        <a:pt x="2181306" y="786331"/>
                        <a:pt x="2182190" y="787535"/>
                        <a:pt x="2182431" y="787937"/>
                      </a:cubicBezTo>
                      <a:moveTo>
                        <a:pt x="2229423" y="732431"/>
                      </a:moveTo>
                      <a:cubicBezTo>
                        <a:pt x="2229423" y="732431"/>
                        <a:pt x="2229423" y="732350"/>
                        <a:pt x="2229503" y="732350"/>
                      </a:cubicBezTo>
                      <a:cubicBezTo>
                        <a:pt x="2228218" y="731065"/>
                        <a:pt x="2226692" y="729860"/>
                        <a:pt x="2225005" y="728977"/>
                      </a:cubicBezTo>
                      <a:cubicBezTo>
                        <a:pt x="2225005" y="729137"/>
                        <a:pt x="2225085" y="729298"/>
                        <a:pt x="2225085" y="729378"/>
                      </a:cubicBezTo>
                      <a:cubicBezTo>
                        <a:pt x="2226852" y="735242"/>
                        <a:pt x="2228298" y="734519"/>
                        <a:pt x="2229182" y="732913"/>
                      </a:cubicBezTo>
                      <a:cubicBezTo>
                        <a:pt x="2229262" y="732752"/>
                        <a:pt x="2229342" y="732591"/>
                        <a:pt x="2229423" y="732431"/>
                      </a:cubicBezTo>
                      <a:moveTo>
                        <a:pt x="2223800" y="727129"/>
                      </a:moveTo>
                      <a:cubicBezTo>
                        <a:pt x="2223639" y="726727"/>
                        <a:pt x="2222595" y="726245"/>
                        <a:pt x="2221872" y="726004"/>
                      </a:cubicBezTo>
                      <a:cubicBezTo>
                        <a:pt x="2222032" y="726647"/>
                        <a:pt x="2222193" y="727450"/>
                        <a:pt x="2222354" y="728013"/>
                      </a:cubicBezTo>
                      <a:cubicBezTo>
                        <a:pt x="2222836" y="727932"/>
                        <a:pt x="2224041" y="727691"/>
                        <a:pt x="2223800" y="727129"/>
                      </a:cubicBezTo>
                      <a:moveTo>
                        <a:pt x="278577" y="1170218"/>
                      </a:moveTo>
                      <a:cubicBezTo>
                        <a:pt x="278658" y="1170218"/>
                        <a:pt x="278818" y="1170299"/>
                        <a:pt x="278899" y="1170299"/>
                      </a:cubicBezTo>
                      <a:cubicBezTo>
                        <a:pt x="278497" y="1167889"/>
                        <a:pt x="276891" y="1165800"/>
                        <a:pt x="274320" y="1164274"/>
                      </a:cubicBezTo>
                      <a:cubicBezTo>
                        <a:pt x="274240" y="1164916"/>
                        <a:pt x="274240" y="1165800"/>
                        <a:pt x="274159" y="1166443"/>
                      </a:cubicBezTo>
                      <a:cubicBezTo>
                        <a:pt x="275846" y="1166362"/>
                        <a:pt x="277292" y="1167407"/>
                        <a:pt x="278095" y="1169254"/>
                      </a:cubicBezTo>
                      <a:cubicBezTo>
                        <a:pt x="276650" y="1169334"/>
                        <a:pt x="275204" y="1169334"/>
                        <a:pt x="273758" y="1169495"/>
                      </a:cubicBezTo>
                      <a:cubicBezTo>
                        <a:pt x="274641" y="1169656"/>
                        <a:pt x="276328" y="1169817"/>
                        <a:pt x="278577" y="1170218"/>
                      </a:cubicBezTo>
                      <a:moveTo>
                        <a:pt x="2219221" y="720301"/>
                      </a:moveTo>
                      <a:cubicBezTo>
                        <a:pt x="2218257" y="718373"/>
                        <a:pt x="2215606" y="717570"/>
                        <a:pt x="2214642" y="717329"/>
                      </a:cubicBezTo>
                      <a:cubicBezTo>
                        <a:pt x="2214723" y="717489"/>
                        <a:pt x="2214803" y="717730"/>
                        <a:pt x="2214803" y="717891"/>
                      </a:cubicBezTo>
                      <a:cubicBezTo>
                        <a:pt x="2215928" y="720703"/>
                        <a:pt x="2217454" y="722550"/>
                        <a:pt x="2219301" y="723434"/>
                      </a:cubicBezTo>
                      <a:cubicBezTo>
                        <a:pt x="2219462" y="722791"/>
                        <a:pt x="2219783" y="721506"/>
                        <a:pt x="2219221" y="720301"/>
                      </a:cubicBezTo>
                      <a:moveTo>
                        <a:pt x="4820" y="1019844"/>
                      </a:moveTo>
                      <a:cubicBezTo>
                        <a:pt x="5141" y="1018478"/>
                        <a:pt x="5221" y="1016711"/>
                        <a:pt x="4900" y="1014462"/>
                      </a:cubicBezTo>
                      <a:cubicBezTo>
                        <a:pt x="4900" y="1014542"/>
                        <a:pt x="4900" y="1014542"/>
                        <a:pt x="4900" y="1014623"/>
                      </a:cubicBezTo>
                      <a:cubicBezTo>
                        <a:pt x="4579" y="1016711"/>
                        <a:pt x="4739" y="1018960"/>
                        <a:pt x="4820" y="1019844"/>
                      </a:cubicBezTo>
                      <a:moveTo>
                        <a:pt x="218492" y="1142585"/>
                      </a:moveTo>
                      <a:lnTo>
                        <a:pt x="219295" y="1142585"/>
                      </a:lnTo>
                      <a:cubicBezTo>
                        <a:pt x="217528" y="1139533"/>
                        <a:pt x="215600" y="1137846"/>
                        <a:pt x="213030" y="1137123"/>
                      </a:cubicBezTo>
                      <a:cubicBezTo>
                        <a:pt x="211905" y="1136882"/>
                        <a:pt x="211182" y="1136882"/>
                        <a:pt x="209897" y="1137123"/>
                      </a:cubicBezTo>
                      <a:cubicBezTo>
                        <a:pt x="214476" y="1137605"/>
                        <a:pt x="216886" y="1140336"/>
                        <a:pt x="218492" y="1142585"/>
                      </a:cubicBezTo>
                      <a:moveTo>
                        <a:pt x="10844" y="996951"/>
                      </a:moveTo>
                      <a:cubicBezTo>
                        <a:pt x="10844" y="997111"/>
                        <a:pt x="10925" y="997272"/>
                        <a:pt x="10925" y="997352"/>
                      </a:cubicBezTo>
                      <a:cubicBezTo>
                        <a:pt x="10603" y="994300"/>
                        <a:pt x="10684" y="992934"/>
                        <a:pt x="11407" y="988516"/>
                      </a:cubicBezTo>
                      <a:cubicBezTo>
                        <a:pt x="11326" y="988677"/>
                        <a:pt x="11326" y="988918"/>
                        <a:pt x="11246" y="988998"/>
                      </a:cubicBezTo>
                      <a:cubicBezTo>
                        <a:pt x="10362" y="991649"/>
                        <a:pt x="9559" y="992211"/>
                        <a:pt x="8515" y="991006"/>
                      </a:cubicBezTo>
                      <a:cubicBezTo>
                        <a:pt x="9238" y="992051"/>
                        <a:pt x="10202" y="993497"/>
                        <a:pt x="10844" y="996951"/>
                      </a:cubicBezTo>
                      <a:moveTo>
                        <a:pt x="209897" y="1119451"/>
                      </a:moveTo>
                      <a:cubicBezTo>
                        <a:pt x="209897" y="1119370"/>
                        <a:pt x="211504" y="1112543"/>
                        <a:pt x="208210" y="1103787"/>
                      </a:cubicBezTo>
                      <a:cubicBezTo>
                        <a:pt x="208290" y="1104028"/>
                        <a:pt x="208371" y="1104349"/>
                        <a:pt x="208451" y="1104510"/>
                      </a:cubicBezTo>
                      <a:cubicBezTo>
                        <a:pt x="209415" y="1108687"/>
                        <a:pt x="209495" y="1111739"/>
                        <a:pt x="208692" y="1115193"/>
                      </a:cubicBezTo>
                      <a:cubicBezTo>
                        <a:pt x="208853" y="1114952"/>
                        <a:pt x="209013" y="1114711"/>
                        <a:pt x="209174" y="1114471"/>
                      </a:cubicBezTo>
                      <a:cubicBezTo>
                        <a:pt x="210138" y="1116479"/>
                        <a:pt x="209977" y="1117925"/>
                        <a:pt x="208612" y="1119692"/>
                      </a:cubicBezTo>
                      <a:cubicBezTo>
                        <a:pt x="209013" y="1119933"/>
                        <a:pt x="209576" y="1120174"/>
                        <a:pt x="209897" y="1119451"/>
                      </a:cubicBezTo>
                      <a:moveTo>
                        <a:pt x="241" y="951164"/>
                      </a:moveTo>
                      <a:cubicBezTo>
                        <a:pt x="241" y="951003"/>
                        <a:pt x="321" y="950923"/>
                        <a:pt x="321" y="950762"/>
                      </a:cubicBezTo>
                      <a:lnTo>
                        <a:pt x="0" y="951003"/>
                      </a:lnTo>
                      <a:lnTo>
                        <a:pt x="241" y="951164"/>
                      </a:lnTo>
                      <a:moveTo>
                        <a:pt x="30926" y="993095"/>
                      </a:moveTo>
                      <a:cubicBezTo>
                        <a:pt x="31007" y="993015"/>
                        <a:pt x="31167" y="992854"/>
                        <a:pt x="31328" y="992693"/>
                      </a:cubicBezTo>
                      <a:cubicBezTo>
                        <a:pt x="31248" y="992693"/>
                        <a:pt x="31248" y="992774"/>
                        <a:pt x="31167" y="992854"/>
                      </a:cubicBezTo>
                      <a:cubicBezTo>
                        <a:pt x="29721" y="994219"/>
                        <a:pt x="26990" y="996629"/>
                        <a:pt x="25785" y="997352"/>
                      </a:cubicBezTo>
                      <a:cubicBezTo>
                        <a:pt x="25625" y="997272"/>
                        <a:pt x="25464" y="997192"/>
                        <a:pt x="25303" y="997111"/>
                      </a:cubicBezTo>
                      <a:cubicBezTo>
                        <a:pt x="24661" y="997834"/>
                        <a:pt x="24339" y="997834"/>
                        <a:pt x="23697" y="997111"/>
                      </a:cubicBezTo>
                      <a:cubicBezTo>
                        <a:pt x="23697" y="997674"/>
                        <a:pt x="23616" y="998477"/>
                        <a:pt x="23616" y="999120"/>
                      </a:cubicBezTo>
                      <a:cubicBezTo>
                        <a:pt x="25223" y="998718"/>
                        <a:pt x="26589" y="998878"/>
                        <a:pt x="28115" y="999521"/>
                      </a:cubicBezTo>
                      <a:cubicBezTo>
                        <a:pt x="28034" y="998557"/>
                        <a:pt x="27793" y="996469"/>
                        <a:pt x="30926" y="993095"/>
                      </a:cubicBezTo>
                      <a:moveTo>
                        <a:pt x="2203638" y="663670"/>
                      </a:moveTo>
                      <a:cubicBezTo>
                        <a:pt x="2203638" y="663589"/>
                        <a:pt x="2203638" y="663589"/>
                        <a:pt x="2203638" y="663670"/>
                      </a:cubicBezTo>
                      <a:cubicBezTo>
                        <a:pt x="2199139" y="658609"/>
                        <a:pt x="2196167" y="657243"/>
                        <a:pt x="2194560" y="659412"/>
                      </a:cubicBezTo>
                      <a:cubicBezTo>
                        <a:pt x="2194641" y="659493"/>
                        <a:pt x="2194801" y="659653"/>
                        <a:pt x="2194882" y="659814"/>
                      </a:cubicBezTo>
                      <a:cubicBezTo>
                        <a:pt x="2200424" y="667043"/>
                        <a:pt x="2202754" y="665919"/>
                        <a:pt x="2203638" y="663670"/>
                      </a:cubicBezTo>
                      <a:moveTo>
                        <a:pt x="2182752" y="659894"/>
                      </a:moveTo>
                      <a:cubicBezTo>
                        <a:pt x="2182672" y="659573"/>
                        <a:pt x="2182591" y="659171"/>
                        <a:pt x="2182511" y="658931"/>
                      </a:cubicBezTo>
                      <a:cubicBezTo>
                        <a:pt x="2181868" y="659252"/>
                        <a:pt x="2181547" y="659734"/>
                        <a:pt x="2181226" y="660216"/>
                      </a:cubicBezTo>
                      <a:cubicBezTo>
                        <a:pt x="2180824" y="661019"/>
                        <a:pt x="2180021" y="662626"/>
                        <a:pt x="2180503" y="672667"/>
                      </a:cubicBezTo>
                      <a:cubicBezTo>
                        <a:pt x="2182029" y="669453"/>
                        <a:pt x="2183796" y="670016"/>
                        <a:pt x="2184600" y="670257"/>
                      </a:cubicBezTo>
                      <a:cubicBezTo>
                        <a:pt x="2184118" y="666963"/>
                        <a:pt x="2183796" y="664955"/>
                        <a:pt x="2182752" y="659894"/>
                      </a:cubicBezTo>
                      <a:moveTo>
                        <a:pt x="7310" y="922487"/>
                      </a:moveTo>
                      <a:cubicBezTo>
                        <a:pt x="7551" y="922005"/>
                        <a:pt x="7471" y="921523"/>
                        <a:pt x="7551" y="921041"/>
                      </a:cubicBezTo>
                      <a:cubicBezTo>
                        <a:pt x="7551" y="921041"/>
                        <a:pt x="7551" y="921121"/>
                        <a:pt x="7551" y="921121"/>
                      </a:cubicBezTo>
                      <a:cubicBezTo>
                        <a:pt x="7471" y="921523"/>
                        <a:pt x="7310" y="922005"/>
                        <a:pt x="7310" y="922487"/>
                      </a:cubicBezTo>
                      <a:lnTo>
                        <a:pt x="7310" y="922487"/>
                      </a:lnTo>
                      <a:moveTo>
                        <a:pt x="2127567" y="730663"/>
                      </a:moveTo>
                      <a:cubicBezTo>
                        <a:pt x="2127647" y="730583"/>
                        <a:pt x="2127808" y="730503"/>
                        <a:pt x="2127888" y="730422"/>
                      </a:cubicBezTo>
                      <a:cubicBezTo>
                        <a:pt x="2126282" y="728173"/>
                        <a:pt x="2124113" y="726567"/>
                        <a:pt x="2121462" y="725683"/>
                      </a:cubicBezTo>
                      <a:cubicBezTo>
                        <a:pt x="2121462" y="725844"/>
                        <a:pt x="2121542" y="726004"/>
                        <a:pt x="2121542" y="726165"/>
                      </a:cubicBezTo>
                      <a:cubicBezTo>
                        <a:pt x="2123551" y="733876"/>
                        <a:pt x="2126603" y="731386"/>
                        <a:pt x="2127567" y="730663"/>
                      </a:cubicBezTo>
                      <a:moveTo>
                        <a:pt x="7631" y="920478"/>
                      </a:moveTo>
                      <a:cubicBezTo>
                        <a:pt x="7631" y="920478"/>
                        <a:pt x="7631" y="920478"/>
                        <a:pt x="7631" y="920478"/>
                      </a:cubicBezTo>
                      <a:cubicBezTo>
                        <a:pt x="7711" y="920077"/>
                        <a:pt x="7792" y="919675"/>
                        <a:pt x="7792" y="919274"/>
                      </a:cubicBezTo>
                      <a:lnTo>
                        <a:pt x="7792" y="919274"/>
                      </a:lnTo>
                      <a:cubicBezTo>
                        <a:pt x="7711" y="919675"/>
                        <a:pt x="7711" y="920077"/>
                        <a:pt x="7631" y="920478"/>
                      </a:cubicBezTo>
                      <a:moveTo>
                        <a:pt x="35184" y="952690"/>
                      </a:moveTo>
                      <a:cubicBezTo>
                        <a:pt x="35184" y="952690"/>
                        <a:pt x="35184" y="952690"/>
                        <a:pt x="35184" y="952690"/>
                      </a:cubicBezTo>
                      <a:cubicBezTo>
                        <a:pt x="35505" y="951324"/>
                        <a:pt x="35505" y="950119"/>
                        <a:pt x="35184" y="949236"/>
                      </a:cubicBezTo>
                      <a:cubicBezTo>
                        <a:pt x="35184" y="949316"/>
                        <a:pt x="35184" y="949316"/>
                        <a:pt x="35103" y="949397"/>
                      </a:cubicBezTo>
                      <a:cubicBezTo>
                        <a:pt x="34621" y="950762"/>
                        <a:pt x="34220" y="952208"/>
                        <a:pt x="33818" y="953574"/>
                      </a:cubicBezTo>
                      <a:cubicBezTo>
                        <a:pt x="34220" y="952931"/>
                        <a:pt x="34621" y="952610"/>
                        <a:pt x="35184" y="952690"/>
                      </a:cubicBezTo>
                      <a:moveTo>
                        <a:pt x="2179700" y="630976"/>
                      </a:moveTo>
                      <a:cubicBezTo>
                        <a:pt x="2179619" y="630896"/>
                        <a:pt x="2178977" y="630575"/>
                        <a:pt x="2174478" y="629771"/>
                      </a:cubicBezTo>
                      <a:cubicBezTo>
                        <a:pt x="2174639" y="630093"/>
                        <a:pt x="2174800" y="630414"/>
                        <a:pt x="2174960" y="630735"/>
                      </a:cubicBezTo>
                      <a:cubicBezTo>
                        <a:pt x="2178896" y="631137"/>
                        <a:pt x="2179539" y="631057"/>
                        <a:pt x="2179700" y="630976"/>
                      </a:cubicBezTo>
                      <a:cubicBezTo>
                        <a:pt x="2179700" y="630976"/>
                        <a:pt x="2179700" y="630976"/>
                        <a:pt x="2179700" y="630976"/>
                      </a:cubicBezTo>
                      <a:moveTo>
                        <a:pt x="12210" y="885937"/>
                      </a:moveTo>
                      <a:cubicBezTo>
                        <a:pt x="12210" y="885937"/>
                        <a:pt x="12210" y="885937"/>
                        <a:pt x="12210" y="885937"/>
                      </a:cubicBezTo>
                      <a:cubicBezTo>
                        <a:pt x="12210" y="884973"/>
                        <a:pt x="12531" y="884090"/>
                        <a:pt x="12611" y="883768"/>
                      </a:cubicBezTo>
                      <a:cubicBezTo>
                        <a:pt x="12451" y="883929"/>
                        <a:pt x="12290" y="884090"/>
                        <a:pt x="12130" y="884250"/>
                      </a:cubicBezTo>
                      <a:lnTo>
                        <a:pt x="12290" y="883367"/>
                      </a:lnTo>
                      <a:cubicBezTo>
                        <a:pt x="11889" y="884331"/>
                        <a:pt x="11487" y="885616"/>
                        <a:pt x="12210" y="885937"/>
                      </a:cubicBezTo>
                      <a:moveTo>
                        <a:pt x="2173595" y="482932"/>
                      </a:moveTo>
                      <a:lnTo>
                        <a:pt x="2173193" y="482369"/>
                      </a:lnTo>
                      <a:cubicBezTo>
                        <a:pt x="2173193" y="482369"/>
                        <a:pt x="2173193" y="482369"/>
                        <a:pt x="2173193" y="482369"/>
                      </a:cubicBezTo>
                      <a:cubicBezTo>
                        <a:pt x="2173193" y="482450"/>
                        <a:pt x="2173515" y="483092"/>
                        <a:pt x="2173836" y="483655"/>
                      </a:cubicBezTo>
                      <a:cubicBezTo>
                        <a:pt x="2174237" y="484297"/>
                        <a:pt x="2174800" y="484779"/>
                        <a:pt x="2174800" y="484779"/>
                      </a:cubicBezTo>
                      <a:cubicBezTo>
                        <a:pt x="2174800" y="484699"/>
                        <a:pt x="2174077" y="483574"/>
                        <a:pt x="2173595" y="482932"/>
                      </a:cubicBezTo>
                      <a:moveTo>
                        <a:pt x="36871" y="941283"/>
                      </a:moveTo>
                      <a:cubicBezTo>
                        <a:pt x="37353" y="940882"/>
                        <a:pt x="37353" y="940882"/>
                        <a:pt x="37513" y="934134"/>
                      </a:cubicBezTo>
                      <a:cubicBezTo>
                        <a:pt x="37674" y="929797"/>
                        <a:pt x="37513" y="928833"/>
                        <a:pt x="37272" y="928591"/>
                      </a:cubicBezTo>
                      <a:cubicBezTo>
                        <a:pt x="36790" y="928672"/>
                        <a:pt x="35907" y="931965"/>
                        <a:pt x="34541" y="939195"/>
                      </a:cubicBezTo>
                      <a:cubicBezTo>
                        <a:pt x="34782" y="938874"/>
                        <a:pt x="35023" y="938391"/>
                        <a:pt x="35264" y="937990"/>
                      </a:cubicBezTo>
                      <a:cubicBezTo>
                        <a:pt x="34943" y="939597"/>
                        <a:pt x="34220" y="943292"/>
                        <a:pt x="36228" y="941846"/>
                      </a:cubicBezTo>
                      <a:cubicBezTo>
                        <a:pt x="36389" y="941685"/>
                        <a:pt x="36710" y="941444"/>
                        <a:pt x="36871" y="941283"/>
                      </a:cubicBezTo>
                      <a:moveTo>
                        <a:pt x="19118" y="879511"/>
                      </a:move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45064" y="927949"/>
                      </a:moveTo>
                      <a:cubicBezTo>
                        <a:pt x="45225" y="927467"/>
                        <a:pt x="45144" y="927467"/>
                        <a:pt x="45144" y="927467"/>
                      </a:cubicBezTo>
                      <a:cubicBezTo>
                        <a:pt x="44984" y="927467"/>
                        <a:pt x="44100" y="928913"/>
                        <a:pt x="44100" y="928913"/>
                      </a:cubicBezTo>
                      <a:cubicBezTo>
                        <a:pt x="43859" y="929475"/>
                        <a:pt x="43859" y="930359"/>
                        <a:pt x="43779" y="930921"/>
                      </a:cubicBezTo>
                      <a:cubicBezTo>
                        <a:pt x="44261" y="930037"/>
                        <a:pt x="44743" y="928993"/>
                        <a:pt x="45064" y="927949"/>
                      </a:cubicBezTo>
                      <a:moveTo>
                        <a:pt x="2187973" y="536832"/>
                      </a:moveTo>
                      <a:cubicBezTo>
                        <a:pt x="2187572" y="535707"/>
                        <a:pt x="2183395" y="531771"/>
                        <a:pt x="2183074" y="532253"/>
                      </a:cubicBezTo>
                      <a:cubicBezTo>
                        <a:pt x="2183074" y="532334"/>
                        <a:pt x="2183074" y="532414"/>
                        <a:pt x="2183074" y="532494"/>
                      </a:cubicBezTo>
                      <a:cubicBezTo>
                        <a:pt x="2183556" y="534261"/>
                        <a:pt x="2187652" y="540607"/>
                        <a:pt x="2187652" y="540688"/>
                      </a:cubicBezTo>
                      <a:cubicBezTo>
                        <a:pt x="2187652" y="540688"/>
                        <a:pt x="2188375" y="541089"/>
                        <a:pt x="2188616" y="540527"/>
                      </a:cubicBezTo>
                      <a:cubicBezTo>
                        <a:pt x="2188937" y="540045"/>
                        <a:pt x="2188696" y="538840"/>
                        <a:pt x="2187973" y="536832"/>
                      </a:cubicBezTo>
                      <a:moveTo>
                        <a:pt x="1968357" y="780547"/>
                      </a:moveTo>
                      <a:cubicBezTo>
                        <a:pt x="1968437" y="780547"/>
                        <a:pt x="1968517" y="780467"/>
                        <a:pt x="1968517" y="780467"/>
                      </a:cubicBezTo>
                      <a:cubicBezTo>
                        <a:pt x="1967875" y="779663"/>
                        <a:pt x="1966911" y="778941"/>
                        <a:pt x="1965706" y="778459"/>
                      </a:cubicBezTo>
                      <a:cubicBezTo>
                        <a:pt x="1965626" y="778539"/>
                        <a:pt x="1965626" y="778619"/>
                        <a:pt x="1965545" y="778619"/>
                      </a:cubicBezTo>
                      <a:cubicBezTo>
                        <a:pt x="1964662" y="779422"/>
                        <a:pt x="1963858" y="779904"/>
                        <a:pt x="1962814" y="780226"/>
                      </a:cubicBezTo>
                      <a:cubicBezTo>
                        <a:pt x="1965144" y="781591"/>
                        <a:pt x="1967312" y="781029"/>
                        <a:pt x="1968357" y="780547"/>
                      </a:cubicBezTo>
                      <a:moveTo>
                        <a:pt x="19359" y="866819"/>
                      </a:moveTo>
                      <a:cubicBezTo>
                        <a:pt x="19359" y="866900"/>
                        <a:pt x="19359" y="866980"/>
                        <a:pt x="19359" y="867060"/>
                      </a:cubicBezTo>
                      <a:cubicBezTo>
                        <a:pt x="19921" y="865213"/>
                        <a:pt x="20403" y="863285"/>
                        <a:pt x="20966" y="861437"/>
                      </a:cubicBezTo>
                      <a:cubicBezTo>
                        <a:pt x="20966" y="861437"/>
                        <a:pt x="20885" y="861518"/>
                        <a:pt x="20885" y="861518"/>
                      </a:cubicBezTo>
                      <a:cubicBezTo>
                        <a:pt x="20564" y="861919"/>
                        <a:pt x="19761" y="863205"/>
                        <a:pt x="19359" y="866819"/>
                      </a:cubicBezTo>
                      <a:moveTo>
                        <a:pt x="369509" y="1055911"/>
                      </a:moveTo>
                      <a:lnTo>
                        <a:pt x="370553" y="1054225"/>
                      </a:lnTo>
                      <a:lnTo>
                        <a:pt x="370312" y="1054064"/>
                      </a:lnTo>
                      <a:lnTo>
                        <a:pt x="370232" y="1054144"/>
                      </a:lnTo>
                      <a:cubicBezTo>
                        <a:pt x="369268" y="1055028"/>
                        <a:pt x="368625" y="1055911"/>
                        <a:pt x="368063" y="1057197"/>
                      </a:cubicBezTo>
                      <a:cubicBezTo>
                        <a:pt x="368545" y="1056875"/>
                        <a:pt x="369107" y="1056393"/>
                        <a:pt x="369509" y="1055911"/>
                      </a:cubicBezTo>
                      <a:moveTo>
                        <a:pt x="372802" y="1056956"/>
                      </a:moveTo>
                      <a:cubicBezTo>
                        <a:pt x="373364" y="1053903"/>
                        <a:pt x="372722" y="1051574"/>
                        <a:pt x="372481" y="1050851"/>
                      </a:cubicBezTo>
                      <a:cubicBezTo>
                        <a:pt x="372481" y="1050931"/>
                        <a:pt x="372481" y="1051011"/>
                        <a:pt x="372481" y="1051092"/>
                      </a:cubicBezTo>
                      <a:cubicBezTo>
                        <a:pt x="372240" y="1053261"/>
                        <a:pt x="372240" y="1055429"/>
                        <a:pt x="372561" y="1058080"/>
                      </a:cubicBezTo>
                      <a:cubicBezTo>
                        <a:pt x="372641" y="1057679"/>
                        <a:pt x="372722" y="1057277"/>
                        <a:pt x="372802" y="1056956"/>
                      </a:cubicBezTo>
                      <a:moveTo>
                        <a:pt x="366537" y="1052859"/>
                      </a:moveTo>
                      <a:lnTo>
                        <a:pt x="368143" y="1051172"/>
                      </a:lnTo>
                      <a:lnTo>
                        <a:pt x="368223" y="1049967"/>
                      </a:lnTo>
                      <a:lnTo>
                        <a:pt x="366537" y="1052859"/>
                      </a:lnTo>
                      <a:moveTo>
                        <a:pt x="379148" y="1053582"/>
                      </a:moveTo>
                      <a:cubicBezTo>
                        <a:pt x="379228" y="1053582"/>
                        <a:pt x="379228" y="1053582"/>
                        <a:pt x="379309" y="1053582"/>
                      </a:cubicBezTo>
                      <a:lnTo>
                        <a:pt x="378666" y="1051011"/>
                      </a:lnTo>
                      <a:lnTo>
                        <a:pt x="379148" y="1053582"/>
                      </a:lnTo>
                      <a:moveTo>
                        <a:pt x="377461" y="1057438"/>
                      </a:moveTo>
                      <a:cubicBezTo>
                        <a:pt x="377542" y="1057518"/>
                        <a:pt x="377622" y="1057598"/>
                        <a:pt x="377702" y="1057679"/>
                      </a:cubicBezTo>
                      <a:cubicBezTo>
                        <a:pt x="376417" y="1055510"/>
                        <a:pt x="375774" y="1053020"/>
                        <a:pt x="375935" y="1050289"/>
                      </a:cubicBezTo>
                      <a:cubicBezTo>
                        <a:pt x="375935" y="1050369"/>
                        <a:pt x="375855" y="1050449"/>
                        <a:pt x="375774" y="1050529"/>
                      </a:cubicBezTo>
                      <a:cubicBezTo>
                        <a:pt x="374730" y="1053020"/>
                        <a:pt x="375292" y="1055349"/>
                        <a:pt x="377461" y="1057438"/>
                      </a:cubicBezTo>
                      <a:moveTo>
                        <a:pt x="380996" y="1052538"/>
                      </a:moveTo>
                      <a:lnTo>
                        <a:pt x="382120" y="1053743"/>
                      </a:lnTo>
                      <a:lnTo>
                        <a:pt x="380433" y="1050690"/>
                      </a:lnTo>
                      <a:lnTo>
                        <a:pt x="380996" y="1052538"/>
                      </a:lnTo>
                      <a:moveTo>
                        <a:pt x="345812" y="1046834"/>
                      </a:moveTo>
                      <a:cubicBezTo>
                        <a:pt x="346214" y="1045308"/>
                        <a:pt x="346696" y="1041934"/>
                        <a:pt x="341555" y="1042979"/>
                      </a:cubicBezTo>
                      <a:cubicBezTo>
                        <a:pt x="330309" y="1045870"/>
                        <a:pt x="329184" y="1047397"/>
                        <a:pt x="328541" y="1048360"/>
                      </a:cubicBezTo>
                      <a:cubicBezTo>
                        <a:pt x="315850" y="1041854"/>
                        <a:pt x="308620" y="1044505"/>
                        <a:pt x="303158" y="1048039"/>
                      </a:cubicBezTo>
                      <a:cubicBezTo>
                        <a:pt x="303238" y="1047798"/>
                        <a:pt x="303399" y="1047397"/>
                        <a:pt x="303479" y="1047156"/>
                      </a:cubicBezTo>
                      <a:cubicBezTo>
                        <a:pt x="298981" y="1047236"/>
                        <a:pt x="296410" y="1048360"/>
                        <a:pt x="293920" y="1051172"/>
                      </a:cubicBezTo>
                      <a:cubicBezTo>
                        <a:pt x="291671" y="1044826"/>
                        <a:pt x="290787" y="1042898"/>
                        <a:pt x="289904" y="1042336"/>
                      </a:cubicBezTo>
                      <a:cubicBezTo>
                        <a:pt x="288940" y="1042818"/>
                        <a:pt x="289020" y="1046513"/>
                        <a:pt x="290145" y="1056715"/>
                      </a:cubicBezTo>
                      <a:cubicBezTo>
                        <a:pt x="288297" y="1056474"/>
                        <a:pt x="287253" y="1056474"/>
                        <a:pt x="285727" y="1056795"/>
                      </a:cubicBezTo>
                      <a:cubicBezTo>
                        <a:pt x="317777" y="1062900"/>
                        <a:pt x="345330" y="1048441"/>
                        <a:pt x="345812" y="1046834"/>
                      </a:cubicBezTo>
                      <a:moveTo>
                        <a:pt x="389912" y="1048601"/>
                      </a:moveTo>
                      <a:lnTo>
                        <a:pt x="390876" y="1048441"/>
                      </a:lnTo>
                      <a:cubicBezTo>
                        <a:pt x="387904" y="1047477"/>
                        <a:pt x="386619" y="1047156"/>
                        <a:pt x="386297" y="1047075"/>
                      </a:cubicBezTo>
                      <a:cubicBezTo>
                        <a:pt x="386297" y="1047075"/>
                        <a:pt x="386297" y="1047075"/>
                        <a:pt x="386297" y="1047075"/>
                      </a:cubicBezTo>
                      <a:cubicBezTo>
                        <a:pt x="386458" y="1047316"/>
                        <a:pt x="389912" y="1048601"/>
                        <a:pt x="389912" y="1048601"/>
                      </a:cubicBezTo>
                      <a:moveTo>
                        <a:pt x="27713" y="869711"/>
                      </a:moveTo>
                      <a:cubicBezTo>
                        <a:pt x="27713" y="869711"/>
                        <a:pt x="27713" y="869791"/>
                        <a:pt x="27713" y="869791"/>
                      </a:cubicBezTo>
                      <a:cubicBezTo>
                        <a:pt x="27713" y="869229"/>
                        <a:pt x="27793" y="868667"/>
                        <a:pt x="27793" y="868104"/>
                      </a:cubicBezTo>
                      <a:cubicBezTo>
                        <a:pt x="27713" y="868747"/>
                        <a:pt x="27713" y="869229"/>
                        <a:pt x="27713" y="869711"/>
                      </a:cubicBezTo>
                      <a:moveTo>
                        <a:pt x="457950" y="1050610"/>
                      </a:moveTo>
                      <a:cubicBezTo>
                        <a:pt x="458030" y="1050369"/>
                        <a:pt x="456906" y="1049083"/>
                        <a:pt x="455942" y="1048039"/>
                      </a:cubicBezTo>
                      <a:cubicBezTo>
                        <a:pt x="455701" y="1048360"/>
                        <a:pt x="455460" y="1048682"/>
                        <a:pt x="455219" y="1049003"/>
                      </a:cubicBezTo>
                      <a:cubicBezTo>
                        <a:pt x="455861" y="1049405"/>
                        <a:pt x="457789" y="1050851"/>
                        <a:pt x="457950" y="1050610"/>
                      </a:cubicBezTo>
                      <a:moveTo>
                        <a:pt x="126517" y="975101"/>
                      </a:moveTo>
                      <a:cubicBezTo>
                        <a:pt x="126758" y="975262"/>
                        <a:pt x="127079" y="975423"/>
                        <a:pt x="127320" y="975503"/>
                      </a:cubicBezTo>
                      <a:cubicBezTo>
                        <a:pt x="123946" y="969880"/>
                        <a:pt x="123223" y="964016"/>
                        <a:pt x="125151" y="958072"/>
                      </a:cubicBezTo>
                      <a:cubicBezTo>
                        <a:pt x="125071" y="958232"/>
                        <a:pt x="124990" y="958393"/>
                        <a:pt x="124910" y="958554"/>
                      </a:cubicBezTo>
                      <a:cubicBezTo>
                        <a:pt x="120894" y="967711"/>
                        <a:pt x="126436" y="975021"/>
                        <a:pt x="126517" y="975101"/>
                      </a:cubicBezTo>
                      <a:moveTo>
                        <a:pt x="556111" y="1047959"/>
                      </a:moveTo>
                      <a:lnTo>
                        <a:pt x="556673" y="1046995"/>
                      </a:lnTo>
                      <a:lnTo>
                        <a:pt x="554584" y="1046513"/>
                      </a:lnTo>
                      <a:lnTo>
                        <a:pt x="554263" y="1046674"/>
                      </a:lnTo>
                      <a:cubicBezTo>
                        <a:pt x="553781" y="1046995"/>
                        <a:pt x="552496" y="1047798"/>
                        <a:pt x="553701" y="1048039"/>
                      </a:cubicBezTo>
                      <a:cubicBezTo>
                        <a:pt x="554424" y="1048119"/>
                        <a:pt x="555629" y="1047959"/>
                        <a:pt x="556111" y="1047959"/>
                      </a:cubicBezTo>
                      <a:moveTo>
                        <a:pt x="391840" y="1028359"/>
                      </a:moveTo>
                      <a:cubicBezTo>
                        <a:pt x="391920" y="1028278"/>
                        <a:pt x="391920" y="1028037"/>
                        <a:pt x="392001" y="1027957"/>
                      </a:cubicBezTo>
                      <a:cubicBezTo>
                        <a:pt x="391760" y="1027636"/>
                        <a:pt x="391679" y="1027556"/>
                        <a:pt x="390635" y="1027475"/>
                      </a:cubicBezTo>
                      <a:cubicBezTo>
                        <a:pt x="385896" y="1027716"/>
                        <a:pt x="377782" y="1030287"/>
                        <a:pt x="376738" y="1030688"/>
                      </a:cubicBezTo>
                      <a:cubicBezTo>
                        <a:pt x="376899" y="1030688"/>
                        <a:pt x="377060" y="1030688"/>
                        <a:pt x="377220" y="1030688"/>
                      </a:cubicBezTo>
                      <a:lnTo>
                        <a:pt x="377140" y="1030688"/>
                      </a:lnTo>
                      <a:cubicBezTo>
                        <a:pt x="376578" y="1030769"/>
                        <a:pt x="375855" y="1030849"/>
                        <a:pt x="375292" y="1030849"/>
                      </a:cubicBezTo>
                      <a:lnTo>
                        <a:pt x="375533" y="1030287"/>
                      </a:lnTo>
                      <a:cubicBezTo>
                        <a:pt x="371356" y="1029564"/>
                        <a:pt x="368866" y="1030367"/>
                        <a:pt x="367340" y="1030849"/>
                      </a:cubicBezTo>
                      <a:cubicBezTo>
                        <a:pt x="368545" y="1030769"/>
                        <a:pt x="370071" y="1030608"/>
                        <a:pt x="371276" y="1030528"/>
                      </a:cubicBezTo>
                      <a:lnTo>
                        <a:pt x="370874" y="1031090"/>
                      </a:lnTo>
                      <a:cubicBezTo>
                        <a:pt x="371196" y="1031170"/>
                        <a:pt x="371517" y="1031170"/>
                        <a:pt x="371758" y="1031251"/>
                      </a:cubicBezTo>
                      <a:cubicBezTo>
                        <a:pt x="371999" y="1031251"/>
                        <a:pt x="372240" y="1031331"/>
                        <a:pt x="372481" y="1031331"/>
                      </a:cubicBezTo>
                      <a:cubicBezTo>
                        <a:pt x="372722" y="1031331"/>
                        <a:pt x="372882" y="1031411"/>
                        <a:pt x="373123" y="1031411"/>
                      </a:cubicBezTo>
                      <a:cubicBezTo>
                        <a:pt x="373284" y="1031411"/>
                        <a:pt x="373525" y="1031492"/>
                        <a:pt x="373686" y="1031492"/>
                      </a:cubicBezTo>
                      <a:cubicBezTo>
                        <a:pt x="373927" y="1031492"/>
                        <a:pt x="374087" y="1031572"/>
                        <a:pt x="374328" y="1031572"/>
                      </a:cubicBezTo>
                      <a:cubicBezTo>
                        <a:pt x="374569" y="1031652"/>
                        <a:pt x="374891" y="1031652"/>
                        <a:pt x="375132" y="1031733"/>
                      </a:cubicBezTo>
                      <a:cubicBezTo>
                        <a:pt x="375453" y="1031813"/>
                        <a:pt x="375774" y="1031813"/>
                        <a:pt x="376176" y="1031893"/>
                      </a:cubicBezTo>
                      <a:cubicBezTo>
                        <a:pt x="376658" y="1031974"/>
                        <a:pt x="377060" y="1032054"/>
                        <a:pt x="377542" y="1032134"/>
                      </a:cubicBezTo>
                      <a:lnTo>
                        <a:pt x="374569" y="1034223"/>
                      </a:lnTo>
                      <a:lnTo>
                        <a:pt x="377060" y="1034223"/>
                      </a:lnTo>
                      <a:cubicBezTo>
                        <a:pt x="373766" y="1035669"/>
                        <a:pt x="372481" y="1035508"/>
                        <a:pt x="372481" y="1033821"/>
                      </a:cubicBezTo>
                      <a:cubicBezTo>
                        <a:pt x="371356" y="1033902"/>
                        <a:pt x="371276" y="1033902"/>
                        <a:pt x="370955" y="1033821"/>
                      </a:cubicBezTo>
                      <a:cubicBezTo>
                        <a:pt x="371115" y="1033661"/>
                        <a:pt x="371356" y="1033500"/>
                        <a:pt x="371597" y="1033420"/>
                      </a:cubicBezTo>
                      <a:cubicBezTo>
                        <a:pt x="369268" y="1033580"/>
                        <a:pt x="368223" y="1032857"/>
                        <a:pt x="367501" y="1032054"/>
                      </a:cubicBezTo>
                      <a:cubicBezTo>
                        <a:pt x="367581" y="1032054"/>
                        <a:pt x="367741" y="1032054"/>
                        <a:pt x="367902" y="1032054"/>
                      </a:cubicBezTo>
                      <a:cubicBezTo>
                        <a:pt x="360673" y="1031411"/>
                        <a:pt x="354568" y="1031251"/>
                        <a:pt x="346294" y="1031251"/>
                      </a:cubicBezTo>
                      <a:cubicBezTo>
                        <a:pt x="346615" y="1049485"/>
                        <a:pt x="371356" y="1042497"/>
                        <a:pt x="386056" y="1036713"/>
                      </a:cubicBezTo>
                      <a:cubicBezTo>
                        <a:pt x="386699" y="1037034"/>
                        <a:pt x="387181" y="1036713"/>
                        <a:pt x="388627" y="1035428"/>
                      </a:cubicBezTo>
                      <a:cubicBezTo>
                        <a:pt x="388064" y="1035347"/>
                        <a:pt x="387422" y="1035187"/>
                        <a:pt x="386860" y="1035106"/>
                      </a:cubicBezTo>
                      <a:cubicBezTo>
                        <a:pt x="387181" y="1034705"/>
                        <a:pt x="387181" y="1034705"/>
                        <a:pt x="387341" y="1034303"/>
                      </a:cubicBezTo>
                      <a:cubicBezTo>
                        <a:pt x="387261" y="1034223"/>
                        <a:pt x="387261" y="1034142"/>
                        <a:pt x="387181" y="1034062"/>
                      </a:cubicBezTo>
                      <a:cubicBezTo>
                        <a:pt x="386779" y="1033982"/>
                        <a:pt x="386538" y="1033982"/>
                        <a:pt x="385333" y="1034303"/>
                      </a:cubicBezTo>
                      <a:cubicBezTo>
                        <a:pt x="385173" y="1033982"/>
                        <a:pt x="385012" y="1033500"/>
                        <a:pt x="384851" y="1033179"/>
                      </a:cubicBezTo>
                      <a:cubicBezTo>
                        <a:pt x="387020" y="1031813"/>
                        <a:pt x="391197" y="1029484"/>
                        <a:pt x="391840" y="1028359"/>
                      </a:cubicBezTo>
                      <a:moveTo>
                        <a:pt x="60166" y="899352"/>
                      </a:moveTo>
                      <a:lnTo>
                        <a:pt x="60487" y="901200"/>
                      </a:lnTo>
                      <a:cubicBezTo>
                        <a:pt x="61130" y="898951"/>
                        <a:pt x="61290" y="897826"/>
                        <a:pt x="60969" y="897504"/>
                      </a:cubicBezTo>
                      <a:cubicBezTo>
                        <a:pt x="60728" y="897344"/>
                        <a:pt x="60326" y="897585"/>
                        <a:pt x="59603" y="898308"/>
                      </a:cubicBezTo>
                      <a:cubicBezTo>
                        <a:pt x="59844" y="898227"/>
                        <a:pt x="60085" y="898147"/>
                        <a:pt x="60166" y="898388"/>
                      </a:cubicBezTo>
                      <a:cubicBezTo>
                        <a:pt x="60487" y="898790"/>
                        <a:pt x="60246" y="899031"/>
                        <a:pt x="60166" y="899352"/>
                      </a:cubicBezTo>
                      <a:moveTo>
                        <a:pt x="346133" y="1020647"/>
                      </a:moveTo>
                      <a:cubicBezTo>
                        <a:pt x="346214" y="1020487"/>
                        <a:pt x="346374" y="1020246"/>
                        <a:pt x="346214" y="1020085"/>
                      </a:cubicBezTo>
                      <a:cubicBezTo>
                        <a:pt x="345812" y="1019121"/>
                        <a:pt x="345009" y="1017996"/>
                        <a:pt x="344446" y="1017113"/>
                      </a:cubicBezTo>
                      <a:lnTo>
                        <a:pt x="344205" y="1017354"/>
                      </a:lnTo>
                      <a:cubicBezTo>
                        <a:pt x="341635" y="1019764"/>
                        <a:pt x="340912" y="1021531"/>
                        <a:pt x="341233" y="1024182"/>
                      </a:cubicBezTo>
                      <a:cubicBezTo>
                        <a:pt x="344045" y="1023459"/>
                        <a:pt x="345651" y="1022254"/>
                        <a:pt x="346133" y="1020647"/>
                      </a:cubicBezTo>
                      <a:moveTo>
                        <a:pt x="432807" y="1027716"/>
                      </a:moveTo>
                      <a:cubicBezTo>
                        <a:pt x="433450" y="1024905"/>
                        <a:pt x="432405" y="1024423"/>
                        <a:pt x="431602" y="1024342"/>
                      </a:cubicBezTo>
                      <a:cubicBezTo>
                        <a:pt x="431361" y="1024342"/>
                        <a:pt x="431040" y="1024342"/>
                        <a:pt x="430799" y="1024423"/>
                      </a:cubicBezTo>
                      <a:cubicBezTo>
                        <a:pt x="425497" y="1037918"/>
                        <a:pt x="426301" y="1041613"/>
                        <a:pt x="426863" y="1044344"/>
                      </a:cubicBezTo>
                      <a:cubicBezTo>
                        <a:pt x="426783" y="1040408"/>
                        <a:pt x="427746" y="1037516"/>
                        <a:pt x="430317" y="1033821"/>
                      </a:cubicBezTo>
                      <a:cubicBezTo>
                        <a:pt x="430317" y="1033821"/>
                        <a:pt x="430397" y="1033902"/>
                        <a:pt x="430397" y="1033902"/>
                      </a:cubicBezTo>
                      <a:cubicBezTo>
                        <a:pt x="431040" y="1032456"/>
                        <a:pt x="432325" y="1029725"/>
                        <a:pt x="432807" y="1027716"/>
                      </a:cubicBezTo>
                      <a:moveTo>
                        <a:pt x="426140" y="1013097"/>
                      </a:moveTo>
                      <a:cubicBezTo>
                        <a:pt x="426220" y="1013016"/>
                        <a:pt x="426381" y="1012936"/>
                        <a:pt x="426542" y="1012856"/>
                      </a:cubicBezTo>
                      <a:cubicBezTo>
                        <a:pt x="426461" y="1012856"/>
                        <a:pt x="426381" y="1012936"/>
                        <a:pt x="426301" y="1012936"/>
                      </a:cubicBezTo>
                      <a:cubicBezTo>
                        <a:pt x="424453" y="1013338"/>
                        <a:pt x="421401" y="1013980"/>
                        <a:pt x="417866" y="1014703"/>
                      </a:cubicBezTo>
                      <a:cubicBezTo>
                        <a:pt x="419151" y="1015185"/>
                        <a:pt x="419874" y="1015587"/>
                        <a:pt x="420678" y="1016229"/>
                      </a:cubicBezTo>
                      <a:cubicBezTo>
                        <a:pt x="422445" y="1015105"/>
                        <a:pt x="424292" y="1014141"/>
                        <a:pt x="426140" y="1013097"/>
                      </a:cubicBezTo>
                      <a:moveTo>
                        <a:pt x="520204" y="1023218"/>
                      </a:moveTo>
                      <a:cubicBezTo>
                        <a:pt x="520284" y="1023218"/>
                        <a:pt x="520284" y="1023218"/>
                        <a:pt x="520365" y="1023218"/>
                      </a:cubicBezTo>
                      <a:cubicBezTo>
                        <a:pt x="520284" y="1022816"/>
                        <a:pt x="520204" y="1022334"/>
                        <a:pt x="520124" y="1022013"/>
                      </a:cubicBezTo>
                      <a:cubicBezTo>
                        <a:pt x="518838" y="1022575"/>
                        <a:pt x="516991" y="1022977"/>
                        <a:pt x="515465" y="1020406"/>
                      </a:cubicBezTo>
                      <a:cubicBezTo>
                        <a:pt x="515143" y="1020487"/>
                        <a:pt x="514661" y="1020647"/>
                        <a:pt x="514340" y="1020728"/>
                      </a:cubicBezTo>
                      <a:cubicBezTo>
                        <a:pt x="515947" y="1023138"/>
                        <a:pt x="518678" y="1023298"/>
                        <a:pt x="520204" y="1023218"/>
                      </a:cubicBezTo>
                      <a:moveTo>
                        <a:pt x="2073104" y="623586"/>
                      </a:moveTo>
                      <a:cubicBezTo>
                        <a:pt x="2073104" y="623586"/>
                        <a:pt x="2073104" y="623506"/>
                        <a:pt x="2073104" y="623506"/>
                      </a:cubicBezTo>
                      <a:cubicBezTo>
                        <a:pt x="2073104" y="623586"/>
                        <a:pt x="2073104" y="623586"/>
                        <a:pt x="2073104" y="623586"/>
                      </a:cubicBezTo>
                      <a:cubicBezTo>
                        <a:pt x="2073104" y="623988"/>
                        <a:pt x="2073104" y="624470"/>
                        <a:pt x="2073185" y="624871"/>
                      </a:cubicBezTo>
                      <a:cubicBezTo>
                        <a:pt x="2073426" y="624229"/>
                        <a:pt x="2073426" y="624229"/>
                        <a:pt x="2073104" y="623586"/>
                      </a:cubicBezTo>
                      <a:moveTo>
                        <a:pt x="2082583" y="633145"/>
                      </a:moveTo>
                      <a:cubicBezTo>
                        <a:pt x="2082583" y="633065"/>
                        <a:pt x="2082583" y="632984"/>
                        <a:pt x="2082664" y="632984"/>
                      </a:cubicBezTo>
                      <a:cubicBezTo>
                        <a:pt x="2082503" y="632824"/>
                        <a:pt x="2082342" y="632503"/>
                        <a:pt x="2081378" y="632101"/>
                      </a:cubicBezTo>
                      <a:cubicBezTo>
                        <a:pt x="2079450" y="631137"/>
                        <a:pt x="2077442" y="630655"/>
                        <a:pt x="2075514" y="629691"/>
                      </a:cubicBezTo>
                      <a:cubicBezTo>
                        <a:pt x="2073908" y="628888"/>
                        <a:pt x="2072623" y="627522"/>
                        <a:pt x="2070855" y="627040"/>
                      </a:cubicBezTo>
                      <a:cubicBezTo>
                        <a:pt x="2069650" y="626719"/>
                        <a:pt x="2069008" y="626960"/>
                        <a:pt x="2065955" y="628245"/>
                      </a:cubicBezTo>
                      <a:cubicBezTo>
                        <a:pt x="2066036" y="628326"/>
                        <a:pt x="2066116" y="628486"/>
                        <a:pt x="2066116" y="628567"/>
                      </a:cubicBezTo>
                      <a:cubicBezTo>
                        <a:pt x="2066518" y="629289"/>
                        <a:pt x="2066598" y="629450"/>
                        <a:pt x="2066759" y="630173"/>
                      </a:cubicBezTo>
                      <a:cubicBezTo>
                        <a:pt x="2064429" y="631217"/>
                        <a:pt x="2064268" y="631458"/>
                        <a:pt x="2063947" y="631940"/>
                      </a:cubicBezTo>
                      <a:cubicBezTo>
                        <a:pt x="2064268" y="632422"/>
                        <a:pt x="2064590" y="632583"/>
                        <a:pt x="2069088" y="632503"/>
                      </a:cubicBezTo>
                      <a:cubicBezTo>
                        <a:pt x="2068847" y="632101"/>
                        <a:pt x="2068606" y="631619"/>
                        <a:pt x="2068365" y="631217"/>
                      </a:cubicBezTo>
                      <a:cubicBezTo>
                        <a:pt x="2071417" y="629771"/>
                        <a:pt x="2072221" y="630012"/>
                        <a:pt x="2072783" y="632422"/>
                      </a:cubicBezTo>
                      <a:cubicBezTo>
                        <a:pt x="2080816" y="633466"/>
                        <a:pt x="2081780" y="633627"/>
                        <a:pt x="2082583" y="633145"/>
                      </a:cubicBezTo>
                      <a:moveTo>
                        <a:pt x="185477" y="948754"/>
                      </a:moveTo>
                      <a:cubicBezTo>
                        <a:pt x="185477" y="948834"/>
                        <a:pt x="185477" y="948834"/>
                        <a:pt x="185477" y="948915"/>
                      </a:cubicBezTo>
                      <a:cubicBezTo>
                        <a:pt x="185317" y="947950"/>
                        <a:pt x="185156" y="946906"/>
                        <a:pt x="184995" y="945942"/>
                      </a:cubicBezTo>
                      <a:lnTo>
                        <a:pt x="184995" y="945942"/>
                      </a:lnTo>
                      <a:cubicBezTo>
                        <a:pt x="185156" y="946826"/>
                        <a:pt x="185317" y="947790"/>
                        <a:pt x="185477" y="948754"/>
                      </a:cubicBezTo>
                      <a:moveTo>
                        <a:pt x="347419" y="991408"/>
                      </a:moveTo>
                      <a:cubicBezTo>
                        <a:pt x="347419" y="991408"/>
                        <a:pt x="347499" y="991328"/>
                        <a:pt x="347499" y="991328"/>
                      </a:cubicBezTo>
                      <a:cubicBezTo>
                        <a:pt x="347499" y="991006"/>
                        <a:pt x="346856" y="990765"/>
                        <a:pt x="344848" y="990444"/>
                      </a:cubicBezTo>
                      <a:cubicBezTo>
                        <a:pt x="344125" y="990283"/>
                        <a:pt x="336735" y="989320"/>
                        <a:pt x="335610" y="989320"/>
                      </a:cubicBezTo>
                      <a:cubicBezTo>
                        <a:pt x="338823" y="990042"/>
                        <a:pt x="340189" y="990846"/>
                        <a:pt x="341073" y="992292"/>
                      </a:cubicBezTo>
                      <a:cubicBezTo>
                        <a:pt x="342920" y="992131"/>
                        <a:pt x="346776" y="991810"/>
                        <a:pt x="347419" y="991408"/>
                      </a:cubicBezTo>
                      <a:moveTo>
                        <a:pt x="2072783" y="620453"/>
                      </a:moveTo>
                      <a:cubicBezTo>
                        <a:pt x="2072221" y="619650"/>
                        <a:pt x="2071578" y="619248"/>
                        <a:pt x="2071257" y="619088"/>
                      </a:cubicBezTo>
                      <a:cubicBezTo>
                        <a:pt x="2071257" y="619168"/>
                        <a:pt x="2071257" y="619168"/>
                        <a:pt x="2071337" y="619248"/>
                      </a:cubicBezTo>
                      <a:cubicBezTo>
                        <a:pt x="2071899" y="620935"/>
                        <a:pt x="2072462" y="622221"/>
                        <a:pt x="2073024" y="623506"/>
                      </a:cubicBezTo>
                      <a:cubicBezTo>
                        <a:pt x="2072944" y="622542"/>
                        <a:pt x="2073024" y="621578"/>
                        <a:pt x="2072944" y="620614"/>
                      </a:cubicBezTo>
                      <a:cubicBezTo>
                        <a:pt x="2072944" y="620614"/>
                        <a:pt x="2072864" y="620534"/>
                        <a:pt x="2072783" y="620453"/>
                      </a:cubicBezTo>
                      <a:moveTo>
                        <a:pt x="1770991" y="801593"/>
                      </a:moveTo>
                      <a:cubicBezTo>
                        <a:pt x="1771071" y="801593"/>
                        <a:pt x="1771232" y="801513"/>
                        <a:pt x="1771312" y="801513"/>
                      </a:cubicBezTo>
                      <a:cubicBezTo>
                        <a:pt x="1769143" y="801352"/>
                        <a:pt x="1767537" y="801352"/>
                        <a:pt x="1765609" y="802316"/>
                      </a:cubicBezTo>
                      <a:cubicBezTo>
                        <a:pt x="1763279" y="803601"/>
                        <a:pt x="1762235" y="805609"/>
                        <a:pt x="1761994" y="808823"/>
                      </a:cubicBezTo>
                      <a:cubicBezTo>
                        <a:pt x="1762557" y="807457"/>
                        <a:pt x="1764243" y="803521"/>
                        <a:pt x="1770991" y="801593"/>
                      </a:cubicBezTo>
                      <a:moveTo>
                        <a:pt x="122982" y="938391"/>
                      </a:moveTo>
                      <a:cubicBezTo>
                        <a:pt x="123625" y="937588"/>
                        <a:pt x="126918" y="926583"/>
                        <a:pt x="128043" y="911562"/>
                      </a:cubicBezTo>
                      <a:cubicBezTo>
                        <a:pt x="128043" y="911964"/>
                        <a:pt x="127962" y="912446"/>
                        <a:pt x="127962" y="912767"/>
                      </a:cubicBezTo>
                      <a:cubicBezTo>
                        <a:pt x="127159" y="919354"/>
                        <a:pt x="125472" y="924896"/>
                        <a:pt x="123705" y="927146"/>
                      </a:cubicBezTo>
                      <a:cubicBezTo>
                        <a:pt x="124187" y="929074"/>
                        <a:pt x="124428" y="930600"/>
                        <a:pt x="124428" y="932528"/>
                      </a:cubicBezTo>
                      <a:cubicBezTo>
                        <a:pt x="123625" y="932206"/>
                        <a:pt x="123143" y="932046"/>
                        <a:pt x="122340" y="931965"/>
                      </a:cubicBezTo>
                      <a:cubicBezTo>
                        <a:pt x="123625" y="934295"/>
                        <a:pt x="124348" y="937187"/>
                        <a:pt x="119930" y="940480"/>
                      </a:cubicBezTo>
                      <a:cubicBezTo>
                        <a:pt x="119608" y="939838"/>
                        <a:pt x="119126" y="939034"/>
                        <a:pt x="118725" y="938391"/>
                      </a:cubicBezTo>
                      <a:cubicBezTo>
                        <a:pt x="117520" y="938874"/>
                        <a:pt x="116315" y="939034"/>
                        <a:pt x="114949" y="938954"/>
                      </a:cubicBezTo>
                      <a:cubicBezTo>
                        <a:pt x="116556" y="942328"/>
                        <a:pt x="118805" y="946906"/>
                        <a:pt x="119367" y="945300"/>
                      </a:cubicBezTo>
                      <a:cubicBezTo>
                        <a:pt x="119689" y="944577"/>
                        <a:pt x="119367" y="942328"/>
                        <a:pt x="119207" y="940801"/>
                      </a:cubicBezTo>
                      <a:cubicBezTo>
                        <a:pt x="119849" y="940721"/>
                        <a:pt x="121295" y="940480"/>
                        <a:pt x="122982" y="938391"/>
                      </a:cubicBezTo>
                      <a:moveTo>
                        <a:pt x="2141624" y="462368"/>
                      </a:moveTo>
                      <a:cubicBezTo>
                        <a:pt x="2140821" y="461163"/>
                        <a:pt x="2140821" y="461163"/>
                        <a:pt x="2137206" y="460119"/>
                      </a:cubicBezTo>
                      <a:cubicBezTo>
                        <a:pt x="2137367" y="460199"/>
                        <a:pt x="2137528" y="460360"/>
                        <a:pt x="2137688" y="460440"/>
                      </a:cubicBezTo>
                      <a:cubicBezTo>
                        <a:pt x="2138170" y="460842"/>
                        <a:pt x="2138411" y="461002"/>
                        <a:pt x="2138893" y="461725"/>
                      </a:cubicBezTo>
                      <a:lnTo>
                        <a:pt x="2142347" y="467027"/>
                      </a:lnTo>
                      <a:cubicBezTo>
                        <a:pt x="2144034" y="469758"/>
                        <a:pt x="2147006" y="475461"/>
                        <a:pt x="2149175" y="479558"/>
                      </a:cubicBezTo>
                      <a:cubicBezTo>
                        <a:pt x="2149095" y="479478"/>
                        <a:pt x="2148934" y="479317"/>
                        <a:pt x="2148854" y="479237"/>
                      </a:cubicBezTo>
                      <a:cubicBezTo>
                        <a:pt x="2149255" y="481004"/>
                        <a:pt x="2158654" y="492973"/>
                        <a:pt x="2160903" y="493374"/>
                      </a:cubicBezTo>
                      <a:cubicBezTo>
                        <a:pt x="2161305" y="491768"/>
                        <a:pt x="2154798" y="481325"/>
                        <a:pt x="2141624" y="462368"/>
                      </a:cubicBezTo>
                      <a:moveTo>
                        <a:pt x="1913091" y="722631"/>
                      </a:moveTo>
                      <a:cubicBezTo>
                        <a:pt x="1913252" y="722470"/>
                        <a:pt x="1913412" y="722309"/>
                        <a:pt x="1913573" y="722149"/>
                      </a:cubicBezTo>
                      <a:cubicBezTo>
                        <a:pt x="1913493" y="722229"/>
                        <a:pt x="1913412" y="722309"/>
                        <a:pt x="1913332" y="722390"/>
                      </a:cubicBezTo>
                      <a:cubicBezTo>
                        <a:pt x="1911083" y="724799"/>
                        <a:pt x="1908834" y="727129"/>
                        <a:pt x="1906585" y="729539"/>
                      </a:cubicBezTo>
                      <a:cubicBezTo>
                        <a:pt x="1908834" y="727209"/>
                        <a:pt x="1911003" y="724880"/>
                        <a:pt x="1913091" y="722631"/>
                      </a:cubicBezTo>
                      <a:moveTo>
                        <a:pt x="2193998" y="564947"/>
                      </a:moveTo>
                      <a:cubicBezTo>
                        <a:pt x="2185805" y="557557"/>
                        <a:pt x="2184278" y="557878"/>
                        <a:pt x="2183315" y="558039"/>
                      </a:cubicBezTo>
                      <a:cubicBezTo>
                        <a:pt x="2182511" y="559484"/>
                        <a:pt x="2183154" y="562055"/>
                        <a:pt x="2189339" y="572738"/>
                      </a:cubicBezTo>
                      <a:cubicBezTo>
                        <a:pt x="2182190" y="567598"/>
                        <a:pt x="2172390" y="560529"/>
                        <a:pt x="2168373" y="556512"/>
                      </a:cubicBezTo>
                      <a:cubicBezTo>
                        <a:pt x="2166124" y="554263"/>
                        <a:pt x="2163233" y="551211"/>
                        <a:pt x="2161224" y="548721"/>
                      </a:cubicBezTo>
                      <a:cubicBezTo>
                        <a:pt x="2159457" y="546551"/>
                        <a:pt x="2158573" y="542776"/>
                        <a:pt x="2156887" y="540607"/>
                      </a:cubicBezTo>
                      <a:cubicBezTo>
                        <a:pt x="2155280" y="538439"/>
                        <a:pt x="2152549" y="537555"/>
                        <a:pt x="2150942" y="535386"/>
                      </a:cubicBezTo>
                      <a:cubicBezTo>
                        <a:pt x="2148291" y="531691"/>
                        <a:pt x="2148372" y="526791"/>
                        <a:pt x="2151344" y="520847"/>
                      </a:cubicBezTo>
                      <a:cubicBezTo>
                        <a:pt x="2142588" y="510645"/>
                        <a:pt x="2133832" y="501488"/>
                        <a:pt x="2131904" y="511288"/>
                      </a:cubicBezTo>
                      <a:cubicBezTo>
                        <a:pt x="2131744" y="513376"/>
                        <a:pt x="2131423" y="517312"/>
                        <a:pt x="2133029" y="527032"/>
                      </a:cubicBezTo>
                      <a:cubicBezTo>
                        <a:pt x="2133270" y="528317"/>
                        <a:pt x="2133832" y="530245"/>
                        <a:pt x="2133351" y="531450"/>
                      </a:cubicBezTo>
                      <a:cubicBezTo>
                        <a:pt x="2134475" y="533378"/>
                        <a:pt x="2137126" y="537957"/>
                        <a:pt x="2137528" y="551773"/>
                      </a:cubicBezTo>
                      <a:cubicBezTo>
                        <a:pt x="2137046" y="551693"/>
                        <a:pt x="2136483" y="551612"/>
                        <a:pt x="2136082" y="551612"/>
                      </a:cubicBezTo>
                      <a:cubicBezTo>
                        <a:pt x="2139214" y="555629"/>
                        <a:pt x="2141142" y="559002"/>
                        <a:pt x="2143472" y="564706"/>
                      </a:cubicBezTo>
                      <a:cubicBezTo>
                        <a:pt x="2143231" y="564625"/>
                        <a:pt x="2142910" y="564545"/>
                        <a:pt x="2142669" y="564465"/>
                      </a:cubicBezTo>
                      <a:cubicBezTo>
                        <a:pt x="2146524" y="571212"/>
                        <a:pt x="2149496" y="574104"/>
                        <a:pt x="2156646" y="578040"/>
                      </a:cubicBezTo>
                      <a:cubicBezTo>
                        <a:pt x="2154959" y="576032"/>
                        <a:pt x="2154396" y="574827"/>
                        <a:pt x="2154075" y="572819"/>
                      </a:cubicBezTo>
                      <a:cubicBezTo>
                        <a:pt x="2167731" y="589607"/>
                        <a:pt x="2180824" y="598524"/>
                        <a:pt x="2192874" y="599327"/>
                      </a:cubicBezTo>
                      <a:cubicBezTo>
                        <a:pt x="2192231" y="606476"/>
                        <a:pt x="2193998" y="611858"/>
                        <a:pt x="2200505" y="622542"/>
                      </a:cubicBezTo>
                      <a:cubicBezTo>
                        <a:pt x="2200103" y="622301"/>
                        <a:pt x="2199621" y="621980"/>
                        <a:pt x="2199219" y="621739"/>
                      </a:cubicBezTo>
                      <a:cubicBezTo>
                        <a:pt x="2218819" y="648568"/>
                        <a:pt x="2223639" y="634511"/>
                        <a:pt x="2224764" y="627201"/>
                      </a:cubicBezTo>
                      <a:cubicBezTo>
                        <a:pt x="2225888" y="619891"/>
                        <a:pt x="2226772" y="614589"/>
                        <a:pt x="2207011" y="591053"/>
                      </a:cubicBezTo>
                      <a:cubicBezTo>
                        <a:pt x="2206770" y="591053"/>
                        <a:pt x="2206449" y="591134"/>
                        <a:pt x="2206208" y="591134"/>
                      </a:cubicBezTo>
                      <a:cubicBezTo>
                        <a:pt x="2205646" y="592098"/>
                        <a:pt x="2205646" y="592098"/>
                        <a:pt x="2205887" y="593463"/>
                      </a:cubicBezTo>
                      <a:cubicBezTo>
                        <a:pt x="2205244" y="592981"/>
                        <a:pt x="2204441" y="592419"/>
                        <a:pt x="2203316" y="589286"/>
                      </a:cubicBezTo>
                      <a:cubicBezTo>
                        <a:pt x="2203557" y="589286"/>
                        <a:pt x="2203798" y="589206"/>
                        <a:pt x="2204039" y="589206"/>
                      </a:cubicBezTo>
                      <a:cubicBezTo>
                        <a:pt x="2204360" y="588322"/>
                        <a:pt x="2204762" y="587037"/>
                        <a:pt x="2200746" y="584707"/>
                      </a:cubicBezTo>
                      <a:cubicBezTo>
                        <a:pt x="2200264" y="585591"/>
                        <a:pt x="2200264" y="585591"/>
                        <a:pt x="2201629" y="588563"/>
                      </a:cubicBezTo>
                      <a:cubicBezTo>
                        <a:pt x="2197533" y="585430"/>
                        <a:pt x="2194801" y="581816"/>
                        <a:pt x="2190785" y="574104"/>
                      </a:cubicBezTo>
                      <a:cubicBezTo>
                        <a:pt x="2196006" y="575550"/>
                        <a:pt x="2195364" y="569766"/>
                        <a:pt x="2195364" y="569686"/>
                      </a:cubicBezTo>
                      <a:cubicBezTo>
                        <a:pt x="2195042" y="567999"/>
                        <a:pt x="2193677" y="566714"/>
                        <a:pt x="2193998" y="564947"/>
                      </a:cubicBezTo>
                      <a:moveTo>
                        <a:pt x="401881" y="991488"/>
                      </a:moveTo>
                      <a:cubicBezTo>
                        <a:pt x="402443" y="990685"/>
                        <a:pt x="402042" y="989320"/>
                        <a:pt x="402122" y="988355"/>
                      </a:cubicBezTo>
                      <a:lnTo>
                        <a:pt x="401961" y="988436"/>
                      </a:lnTo>
                      <a:cubicBezTo>
                        <a:pt x="399873" y="989480"/>
                        <a:pt x="398748" y="990203"/>
                        <a:pt x="397222" y="991649"/>
                      </a:cubicBezTo>
                      <a:cubicBezTo>
                        <a:pt x="398828" y="992533"/>
                        <a:pt x="400596" y="993256"/>
                        <a:pt x="401881" y="991488"/>
                      </a:cubicBezTo>
                      <a:moveTo>
                        <a:pt x="183710" y="930359"/>
                      </a:moveTo>
                      <a:lnTo>
                        <a:pt x="184112" y="929716"/>
                      </a:lnTo>
                      <a:lnTo>
                        <a:pt x="183469" y="929636"/>
                      </a:lnTo>
                      <a:lnTo>
                        <a:pt x="184192" y="928029"/>
                      </a:lnTo>
                      <a:lnTo>
                        <a:pt x="183951" y="928109"/>
                      </a:lnTo>
                      <a:cubicBezTo>
                        <a:pt x="182826" y="928431"/>
                        <a:pt x="181943" y="928431"/>
                        <a:pt x="180818" y="928029"/>
                      </a:cubicBezTo>
                      <a:cubicBezTo>
                        <a:pt x="180658" y="928752"/>
                        <a:pt x="180497" y="929716"/>
                        <a:pt x="180417" y="930439"/>
                      </a:cubicBezTo>
                      <a:cubicBezTo>
                        <a:pt x="181461" y="930600"/>
                        <a:pt x="182023" y="930519"/>
                        <a:pt x="183710" y="930359"/>
                      </a:cubicBezTo>
                      <a:moveTo>
                        <a:pt x="45948" y="790267"/>
                      </a:moveTo>
                      <a:cubicBezTo>
                        <a:pt x="45948" y="790267"/>
                        <a:pt x="46028" y="790267"/>
                        <a:pt x="45948" y="790267"/>
                      </a:cubicBezTo>
                      <a:cubicBezTo>
                        <a:pt x="46430" y="788741"/>
                        <a:pt x="46510" y="788339"/>
                        <a:pt x="46510" y="788178"/>
                      </a:cubicBezTo>
                      <a:cubicBezTo>
                        <a:pt x="46510" y="788178"/>
                        <a:pt x="46510" y="788178"/>
                        <a:pt x="46510" y="788178"/>
                      </a:cubicBezTo>
                      <a:cubicBezTo>
                        <a:pt x="46349" y="788178"/>
                        <a:pt x="46108" y="788500"/>
                        <a:pt x="45385" y="789945"/>
                      </a:cubicBezTo>
                      <a:cubicBezTo>
                        <a:pt x="45385" y="790106"/>
                        <a:pt x="45626" y="790347"/>
                        <a:pt x="45948" y="790267"/>
                      </a:cubicBezTo>
                      <a:moveTo>
                        <a:pt x="386378" y="978395"/>
                      </a:moveTo>
                      <a:cubicBezTo>
                        <a:pt x="386458" y="978475"/>
                        <a:pt x="386538" y="978555"/>
                        <a:pt x="386619" y="978555"/>
                      </a:cubicBezTo>
                      <a:cubicBezTo>
                        <a:pt x="385896" y="977190"/>
                        <a:pt x="383968" y="975744"/>
                        <a:pt x="382843" y="975021"/>
                      </a:cubicBezTo>
                      <a:cubicBezTo>
                        <a:pt x="382843" y="975101"/>
                        <a:pt x="382763" y="975182"/>
                        <a:pt x="382763" y="975262"/>
                      </a:cubicBezTo>
                      <a:cubicBezTo>
                        <a:pt x="382441" y="976065"/>
                        <a:pt x="382040" y="977431"/>
                        <a:pt x="382281" y="979439"/>
                      </a:cubicBezTo>
                      <a:cubicBezTo>
                        <a:pt x="382682" y="979198"/>
                        <a:pt x="383164" y="978877"/>
                        <a:pt x="383566" y="978636"/>
                      </a:cubicBezTo>
                      <a:cubicBezTo>
                        <a:pt x="383727" y="978073"/>
                        <a:pt x="384209" y="976869"/>
                        <a:pt x="386378" y="978395"/>
                      </a:cubicBezTo>
                      <a:moveTo>
                        <a:pt x="365492" y="971487"/>
                      </a:moveTo>
                      <a:cubicBezTo>
                        <a:pt x="365573" y="971487"/>
                        <a:pt x="365573" y="971487"/>
                        <a:pt x="365653" y="971487"/>
                      </a:cubicBezTo>
                      <a:cubicBezTo>
                        <a:pt x="365573" y="971487"/>
                        <a:pt x="365492" y="971487"/>
                        <a:pt x="365492" y="971487"/>
                      </a:cubicBezTo>
                      <a:cubicBezTo>
                        <a:pt x="364609" y="971567"/>
                        <a:pt x="363645" y="971647"/>
                        <a:pt x="362761" y="971647"/>
                      </a:cubicBezTo>
                      <a:cubicBezTo>
                        <a:pt x="363645" y="971647"/>
                        <a:pt x="364528" y="971567"/>
                        <a:pt x="365492" y="971487"/>
                      </a:cubicBezTo>
                      <a:moveTo>
                        <a:pt x="2061135" y="605593"/>
                      </a:moveTo>
                      <a:cubicBezTo>
                        <a:pt x="2061216" y="605512"/>
                        <a:pt x="2061376" y="605432"/>
                        <a:pt x="2061537" y="605352"/>
                      </a:cubicBezTo>
                      <a:cubicBezTo>
                        <a:pt x="2058967" y="604709"/>
                        <a:pt x="2057119" y="604629"/>
                        <a:pt x="2055432" y="606557"/>
                      </a:cubicBezTo>
                      <a:cubicBezTo>
                        <a:pt x="2053585" y="609288"/>
                        <a:pt x="2053424" y="613545"/>
                        <a:pt x="2055031" y="621176"/>
                      </a:cubicBezTo>
                      <a:cubicBezTo>
                        <a:pt x="2054950" y="621176"/>
                        <a:pt x="2054870" y="621176"/>
                        <a:pt x="2054870" y="621176"/>
                      </a:cubicBezTo>
                      <a:cubicBezTo>
                        <a:pt x="2055352" y="622381"/>
                        <a:pt x="2055754" y="623666"/>
                        <a:pt x="2056236" y="624871"/>
                      </a:cubicBezTo>
                      <a:cubicBezTo>
                        <a:pt x="2055111" y="620694"/>
                        <a:pt x="2052621" y="611055"/>
                        <a:pt x="2061135" y="605593"/>
                      </a:cubicBezTo>
                      <a:moveTo>
                        <a:pt x="393205" y="984660"/>
                      </a:moveTo>
                      <a:cubicBezTo>
                        <a:pt x="393607" y="983697"/>
                        <a:pt x="392081" y="979841"/>
                        <a:pt x="391438" y="978154"/>
                      </a:cubicBezTo>
                      <a:cubicBezTo>
                        <a:pt x="391679" y="977832"/>
                        <a:pt x="391920" y="977431"/>
                        <a:pt x="392161" y="977110"/>
                      </a:cubicBezTo>
                      <a:lnTo>
                        <a:pt x="390394" y="977672"/>
                      </a:lnTo>
                      <a:lnTo>
                        <a:pt x="393687" y="975342"/>
                      </a:lnTo>
                      <a:lnTo>
                        <a:pt x="393205" y="975503"/>
                      </a:lnTo>
                      <a:cubicBezTo>
                        <a:pt x="388707" y="977270"/>
                        <a:pt x="387823" y="979680"/>
                        <a:pt x="390314" y="983375"/>
                      </a:cubicBezTo>
                      <a:cubicBezTo>
                        <a:pt x="390314" y="983215"/>
                        <a:pt x="390233" y="982974"/>
                        <a:pt x="390153" y="982733"/>
                      </a:cubicBezTo>
                      <a:cubicBezTo>
                        <a:pt x="390956" y="983697"/>
                        <a:pt x="392804" y="985544"/>
                        <a:pt x="393205" y="984660"/>
                      </a:cubicBezTo>
                      <a:moveTo>
                        <a:pt x="1790350" y="770506"/>
                      </a:moveTo>
                      <a:lnTo>
                        <a:pt x="1793724" y="768819"/>
                      </a:lnTo>
                      <a:lnTo>
                        <a:pt x="1791153" y="768418"/>
                      </a:lnTo>
                      <a:lnTo>
                        <a:pt x="1790350" y="770506"/>
                      </a:lnTo>
                      <a:moveTo>
                        <a:pt x="1803122" y="767453"/>
                      </a:moveTo>
                      <a:lnTo>
                        <a:pt x="1803122" y="767212"/>
                      </a:lnTo>
                      <a:cubicBezTo>
                        <a:pt x="1799748" y="767052"/>
                        <a:pt x="1795893" y="767132"/>
                        <a:pt x="1792599" y="767453"/>
                      </a:cubicBezTo>
                      <a:cubicBezTo>
                        <a:pt x="1792760" y="767534"/>
                        <a:pt x="1792920" y="767694"/>
                        <a:pt x="1793081" y="767775"/>
                      </a:cubicBezTo>
                      <a:cubicBezTo>
                        <a:pt x="1794286" y="768418"/>
                        <a:pt x="1797660" y="770506"/>
                        <a:pt x="1803122" y="767453"/>
                      </a:cubicBezTo>
                      <a:moveTo>
                        <a:pt x="98080" y="872041"/>
                      </a:moveTo>
                      <a:lnTo>
                        <a:pt x="98562" y="871719"/>
                      </a:lnTo>
                      <a:cubicBezTo>
                        <a:pt x="99848" y="867622"/>
                        <a:pt x="100330" y="865213"/>
                        <a:pt x="99125" y="864490"/>
                      </a:cubicBezTo>
                      <a:cubicBezTo>
                        <a:pt x="98241" y="864329"/>
                        <a:pt x="97438" y="864731"/>
                        <a:pt x="95590" y="866096"/>
                      </a:cubicBezTo>
                      <a:cubicBezTo>
                        <a:pt x="94144" y="865052"/>
                        <a:pt x="92698" y="863927"/>
                        <a:pt x="91333" y="862883"/>
                      </a:cubicBezTo>
                      <a:cubicBezTo>
                        <a:pt x="90851" y="863686"/>
                        <a:pt x="90128" y="864891"/>
                        <a:pt x="89244" y="863686"/>
                      </a:cubicBezTo>
                      <a:cubicBezTo>
                        <a:pt x="89244" y="864650"/>
                        <a:pt x="89084" y="865293"/>
                        <a:pt x="88602" y="866498"/>
                      </a:cubicBezTo>
                      <a:cubicBezTo>
                        <a:pt x="89887" y="865454"/>
                        <a:pt x="93261" y="862803"/>
                        <a:pt x="95510" y="867863"/>
                      </a:cubicBezTo>
                      <a:cubicBezTo>
                        <a:pt x="95831" y="867301"/>
                        <a:pt x="96715" y="866096"/>
                        <a:pt x="97839" y="867542"/>
                      </a:cubicBezTo>
                      <a:cubicBezTo>
                        <a:pt x="98643" y="866900"/>
                        <a:pt x="99366" y="866418"/>
                        <a:pt x="99366" y="867622"/>
                      </a:cubicBezTo>
                      <a:cubicBezTo>
                        <a:pt x="99285" y="868667"/>
                        <a:pt x="98482" y="870916"/>
                        <a:pt x="98080" y="872041"/>
                      </a:cubicBezTo>
                      <a:moveTo>
                        <a:pt x="128203" y="895095"/>
                      </a:moveTo>
                      <a:lnTo>
                        <a:pt x="130533" y="894693"/>
                      </a:lnTo>
                      <a:cubicBezTo>
                        <a:pt x="123223" y="893408"/>
                        <a:pt x="123946" y="887865"/>
                        <a:pt x="125071" y="883768"/>
                      </a:cubicBezTo>
                      <a:cubicBezTo>
                        <a:pt x="124589" y="883447"/>
                        <a:pt x="123303" y="882242"/>
                        <a:pt x="121456" y="880234"/>
                      </a:cubicBezTo>
                      <a:cubicBezTo>
                        <a:pt x="121617" y="880555"/>
                        <a:pt x="121777" y="880877"/>
                        <a:pt x="121858" y="881198"/>
                      </a:cubicBezTo>
                      <a:cubicBezTo>
                        <a:pt x="122741" y="884009"/>
                        <a:pt x="122661" y="886018"/>
                        <a:pt x="121536" y="889633"/>
                      </a:cubicBezTo>
                      <a:cubicBezTo>
                        <a:pt x="125071" y="893809"/>
                        <a:pt x="128123" y="895095"/>
                        <a:pt x="128203" y="895095"/>
                      </a:cubicBezTo>
                      <a:moveTo>
                        <a:pt x="66512" y="828664"/>
                      </a:moveTo>
                      <a:cubicBezTo>
                        <a:pt x="67154" y="827218"/>
                        <a:pt x="67476" y="825129"/>
                        <a:pt x="67556" y="824486"/>
                      </a:cubicBezTo>
                      <a:cubicBezTo>
                        <a:pt x="67395" y="824727"/>
                        <a:pt x="67154" y="824968"/>
                        <a:pt x="66994" y="825209"/>
                      </a:cubicBezTo>
                      <a:cubicBezTo>
                        <a:pt x="65869" y="827378"/>
                        <a:pt x="65628" y="828021"/>
                        <a:pt x="65146" y="830190"/>
                      </a:cubicBezTo>
                      <a:cubicBezTo>
                        <a:pt x="65307" y="830109"/>
                        <a:pt x="65869" y="830029"/>
                        <a:pt x="66512" y="828664"/>
                      </a:cubicBezTo>
                      <a:moveTo>
                        <a:pt x="117199" y="876057"/>
                      </a:moveTo>
                      <a:cubicBezTo>
                        <a:pt x="117199" y="876057"/>
                        <a:pt x="117279" y="876057"/>
                        <a:pt x="117199" y="876057"/>
                      </a:cubicBezTo>
                      <a:cubicBezTo>
                        <a:pt x="117118" y="875977"/>
                        <a:pt x="117038" y="875816"/>
                        <a:pt x="116877" y="875736"/>
                      </a:cubicBezTo>
                      <a:cubicBezTo>
                        <a:pt x="116877" y="875736"/>
                        <a:pt x="117038" y="875977"/>
                        <a:pt x="117199" y="876057"/>
                      </a:cubicBezTo>
                      <a:moveTo>
                        <a:pt x="52936" y="794524"/>
                      </a:moveTo>
                      <a:lnTo>
                        <a:pt x="52695" y="796372"/>
                      </a:lnTo>
                      <a:cubicBezTo>
                        <a:pt x="53338" y="793078"/>
                        <a:pt x="53980" y="789785"/>
                        <a:pt x="54703" y="786411"/>
                      </a:cubicBezTo>
                      <a:cubicBezTo>
                        <a:pt x="54703" y="786572"/>
                        <a:pt x="54623" y="786732"/>
                        <a:pt x="54543" y="786893"/>
                      </a:cubicBezTo>
                      <a:cubicBezTo>
                        <a:pt x="53338" y="791793"/>
                        <a:pt x="52936" y="794524"/>
                        <a:pt x="52936" y="794524"/>
                      </a:cubicBezTo>
                      <a:moveTo>
                        <a:pt x="61772" y="812196"/>
                      </a:moveTo>
                      <a:lnTo>
                        <a:pt x="62174" y="812277"/>
                      </a:lnTo>
                      <a:cubicBezTo>
                        <a:pt x="62656" y="810429"/>
                        <a:pt x="62736" y="809545"/>
                        <a:pt x="62415" y="809064"/>
                      </a:cubicBezTo>
                      <a:cubicBezTo>
                        <a:pt x="62254" y="808903"/>
                        <a:pt x="62174" y="808903"/>
                        <a:pt x="61853" y="808983"/>
                      </a:cubicBezTo>
                      <a:cubicBezTo>
                        <a:pt x="62736" y="810509"/>
                        <a:pt x="60808" y="812598"/>
                        <a:pt x="60085" y="813321"/>
                      </a:cubicBezTo>
                      <a:cubicBezTo>
                        <a:pt x="60487" y="813241"/>
                        <a:pt x="60969" y="812919"/>
                        <a:pt x="61772" y="812196"/>
                      </a:cubicBezTo>
                      <a:moveTo>
                        <a:pt x="699737" y="983295"/>
                      </a:moveTo>
                      <a:cubicBezTo>
                        <a:pt x="699737" y="983295"/>
                        <a:pt x="699817" y="983215"/>
                        <a:pt x="699817" y="983215"/>
                      </a:cubicBezTo>
                      <a:cubicBezTo>
                        <a:pt x="699335" y="982652"/>
                        <a:pt x="698934" y="982572"/>
                        <a:pt x="698532" y="982652"/>
                      </a:cubicBezTo>
                      <a:cubicBezTo>
                        <a:pt x="697648" y="982893"/>
                        <a:pt x="697006" y="983536"/>
                        <a:pt x="695962" y="985303"/>
                      </a:cubicBezTo>
                      <a:cubicBezTo>
                        <a:pt x="697327" y="984821"/>
                        <a:pt x="698612" y="984178"/>
                        <a:pt x="699737" y="983295"/>
                      </a:cubicBezTo>
                      <a:moveTo>
                        <a:pt x="306451" y="945219"/>
                      </a:moveTo>
                      <a:cubicBezTo>
                        <a:pt x="306532" y="945139"/>
                        <a:pt x="306612" y="945139"/>
                        <a:pt x="306612" y="945059"/>
                      </a:cubicBezTo>
                      <a:cubicBezTo>
                        <a:pt x="306451" y="945059"/>
                        <a:pt x="306291" y="945139"/>
                        <a:pt x="306210" y="945139"/>
                      </a:cubicBezTo>
                      <a:cubicBezTo>
                        <a:pt x="306210" y="945139"/>
                        <a:pt x="300346" y="946665"/>
                        <a:pt x="299623" y="946826"/>
                      </a:cubicBezTo>
                      <a:cubicBezTo>
                        <a:pt x="302917" y="947549"/>
                        <a:pt x="305166" y="946344"/>
                        <a:pt x="306451" y="945219"/>
                      </a:cubicBezTo>
                      <a:moveTo>
                        <a:pt x="338261" y="1015346"/>
                      </a:moveTo>
                      <a:cubicBezTo>
                        <a:pt x="338984" y="1015265"/>
                        <a:pt x="339948" y="1015265"/>
                        <a:pt x="340591" y="1015185"/>
                      </a:cubicBezTo>
                      <a:cubicBezTo>
                        <a:pt x="340591" y="1014703"/>
                        <a:pt x="340671" y="1013980"/>
                        <a:pt x="340671" y="1013418"/>
                      </a:cubicBezTo>
                      <a:cubicBezTo>
                        <a:pt x="336815" y="1008357"/>
                        <a:pt x="336092" y="1001610"/>
                        <a:pt x="331674" y="996951"/>
                      </a:cubicBezTo>
                      <a:cubicBezTo>
                        <a:pt x="330228" y="995424"/>
                        <a:pt x="327256" y="992292"/>
                        <a:pt x="319625" y="991087"/>
                      </a:cubicBezTo>
                      <a:cubicBezTo>
                        <a:pt x="319464" y="990765"/>
                        <a:pt x="319223" y="990283"/>
                        <a:pt x="319063" y="989962"/>
                      </a:cubicBezTo>
                      <a:cubicBezTo>
                        <a:pt x="319223" y="989802"/>
                        <a:pt x="319545" y="989641"/>
                        <a:pt x="319705" y="989480"/>
                      </a:cubicBezTo>
                      <a:cubicBezTo>
                        <a:pt x="319545" y="989320"/>
                        <a:pt x="319384" y="989079"/>
                        <a:pt x="319304" y="988918"/>
                      </a:cubicBezTo>
                      <a:cubicBezTo>
                        <a:pt x="318741" y="988998"/>
                        <a:pt x="318099" y="989159"/>
                        <a:pt x="317536" y="989320"/>
                      </a:cubicBezTo>
                      <a:cubicBezTo>
                        <a:pt x="308299" y="981447"/>
                        <a:pt x="295607" y="979359"/>
                        <a:pt x="286530" y="971005"/>
                      </a:cubicBezTo>
                      <a:cubicBezTo>
                        <a:pt x="286450" y="970924"/>
                        <a:pt x="278015" y="963052"/>
                        <a:pt x="270063" y="950119"/>
                      </a:cubicBezTo>
                      <a:cubicBezTo>
                        <a:pt x="265886" y="943292"/>
                        <a:pt x="263315" y="939115"/>
                        <a:pt x="260905" y="937187"/>
                      </a:cubicBezTo>
                      <a:cubicBezTo>
                        <a:pt x="256568" y="933813"/>
                        <a:pt x="252551" y="931805"/>
                        <a:pt x="242590" y="930519"/>
                      </a:cubicBezTo>
                      <a:cubicBezTo>
                        <a:pt x="243715" y="929475"/>
                        <a:pt x="244117" y="929154"/>
                        <a:pt x="245563" y="927065"/>
                      </a:cubicBezTo>
                      <a:cubicBezTo>
                        <a:pt x="244036" y="927788"/>
                        <a:pt x="242028" y="928752"/>
                        <a:pt x="240582" y="929475"/>
                      </a:cubicBezTo>
                      <a:cubicBezTo>
                        <a:pt x="226445" y="935901"/>
                        <a:pt x="217207" y="939436"/>
                        <a:pt x="202427" y="944175"/>
                      </a:cubicBezTo>
                      <a:cubicBezTo>
                        <a:pt x="212468" y="945460"/>
                        <a:pt x="215841" y="947147"/>
                        <a:pt x="215520" y="950842"/>
                      </a:cubicBezTo>
                      <a:cubicBezTo>
                        <a:pt x="220822" y="949959"/>
                        <a:pt x="236807" y="947228"/>
                        <a:pt x="240020" y="955742"/>
                      </a:cubicBezTo>
                      <a:cubicBezTo>
                        <a:pt x="240100" y="955903"/>
                        <a:pt x="248053" y="968514"/>
                        <a:pt x="280264" y="968595"/>
                      </a:cubicBezTo>
                      <a:cubicBezTo>
                        <a:pt x="286530" y="976708"/>
                        <a:pt x="294322" y="986910"/>
                        <a:pt x="264038" y="982974"/>
                      </a:cubicBezTo>
                      <a:cubicBezTo>
                        <a:pt x="261628" y="982652"/>
                        <a:pt x="258415" y="982090"/>
                        <a:pt x="256005" y="981688"/>
                      </a:cubicBezTo>
                      <a:cubicBezTo>
                        <a:pt x="256005" y="980001"/>
                        <a:pt x="256166" y="979520"/>
                        <a:pt x="257692" y="977752"/>
                      </a:cubicBezTo>
                      <a:cubicBezTo>
                        <a:pt x="253756" y="979520"/>
                        <a:pt x="251909" y="979761"/>
                        <a:pt x="252953" y="975905"/>
                      </a:cubicBezTo>
                      <a:cubicBezTo>
                        <a:pt x="235682" y="1005385"/>
                        <a:pt x="235682" y="1005385"/>
                        <a:pt x="234879" y="1007634"/>
                      </a:cubicBezTo>
                      <a:cubicBezTo>
                        <a:pt x="230943" y="1019764"/>
                        <a:pt x="231104" y="1038319"/>
                        <a:pt x="231987" y="1039766"/>
                      </a:cubicBezTo>
                      <a:cubicBezTo>
                        <a:pt x="242430" y="1025146"/>
                        <a:pt x="254399" y="1011731"/>
                        <a:pt x="265002" y="997272"/>
                      </a:cubicBezTo>
                      <a:cubicBezTo>
                        <a:pt x="264841" y="997433"/>
                        <a:pt x="264600" y="997674"/>
                        <a:pt x="264440" y="997834"/>
                      </a:cubicBezTo>
                      <a:cubicBezTo>
                        <a:pt x="264841" y="997433"/>
                        <a:pt x="265323" y="996870"/>
                        <a:pt x="265645" y="996469"/>
                      </a:cubicBezTo>
                      <a:lnTo>
                        <a:pt x="265484" y="996308"/>
                      </a:lnTo>
                      <a:cubicBezTo>
                        <a:pt x="270786" y="990685"/>
                        <a:pt x="270786" y="990685"/>
                        <a:pt x="275204" y="990444"/>
                      </a:cubicBezTo>
                      <a:cubicBezTo>
                        <a:pt x="273436" y="988114"/>
                        <a:pt x="273597" y="986669"/>
                        <a:pt x="275927" y="984660"/>
                      </a:cubicBezTo>
                      <a:cubicBezTo>
                        <a:pt x="285004" y="988436"/>
                        <a:pt x="290145" y="993015"/>
                        <a:pt x="294322" y="1001128"/>
                      </a:cubicBezTo>
                      <a:cubicBezTo>
                        <a:pt x="292554" y="1004983"/>
                        <a:pt x="291430" y="1009161"/>
                        <a:pt x="289100" y="1012775"/>
                      </a:cubicBezTo>
                      <a:cubicBezTo>
                        <a:pt x="287414" y="1015346"/>
                        <a:pt x="284281" y="1016470"/>
                        <a:pt x="282594" y="1019121"/>
                      </a:cubicBezTo>
                      <a:cubicBezTo>
                        <a:pt x="282674" y="1019362"/>
                        <a:pt x="282835" y="1019684"/>
                        <a:pt x="282915" y="1019925"/>
                      </a:cubicBezTo>
                      <a:cubicBezTo>
                        <a:pt x="285004" y="1020005"/>
                        <a:pt x="286691" y="1018318"/>
                        <a:pt x="288779" y="1018478"/>
                      </a:cubicBezTo>
                      <a:cubicBezTo>
                        <a:pt x="292554" y="1018719"/>
                        <a:pt x="295928" y="1020969"/>
                        <a:pt x="299704" y="1021049"/>
                      </a:cubicBezTo>
                      <a:cubicBezTo>
                        <a:pt x="302274" y="1021129"/>
                        <a:pt x="305809" y="1020969"/>
                        <a:pt x="308379" y="1020406"/>
                      </a:cubicBezTo>
                      <a:cubicBezTo>
                        <a:pt x="315850" y="1018800"/>
                        <a:pt x="320268" y="1013579"/>
                        <a:pt x="322115" y="1011410"/>
                      </a:cubicBezTo>
                      <a:cubicBezTo>
                        <a:pt x="321874" y="1011410"/>
                        <a:pt x="321553" y="1011490"/>
                        <a:pt x="321312" y="1011490"/>
                      </a:cubicBezTo>
                      <a:cubicBezTo>
                        <a:pt x="322918" y="1010205"/>
                        <a:pt x="322918" y="1010205"/>
                        <a:pt x="323641" y="1009080"/>
                      </a:cubicBezTo>
                      <a:cubicBezTo>
                        <a:pt x="323240" y="1009723"/>
                        <a:pt x="322758" y="1010446"/>
                        <a:pt x="322356" y="1011088"/>
                      </a:cubicBezTo>
                      <a:cubicBezTo>
                        <a:pt x="324284" y="1012454"/>
                        <a:pt x="324284" y="1012454"/>
                        <a:pt x="323400" y="1014542"/>
                      </a:cubicBezTo>
                      <a:cubicBezTo>
                        <a:pt x="332718" y="1015587"/>
                        <a:pt x="333441" y="1015667"/>
                        <a:pt x="338261" y="1015346"/>
                      </a:cubicBezTo>
                      <a:moveTo>
                        <a:pt x="428951" y="968836"/>
                      </a:moveTo>
                      <a:lnTo>
                        <a:pt x="429755" y="968755"/>
                      </a:lnTo>
                      <a:cubicBezTo>
                        <a:pt x="427265" y="963936"/>
                        <a:pt x="424774" y="961847"/>
                        <a:pt x="421240" y="961526"/>
                      </a:cubicBezTo>
                      <a:cubicBezTo>
                        <a:pt x="418268" y="961446"/>
                        <a:pt x="415456" y="962490"/>
                        <a:pt x="411601" y="965301"/>
                      </a:cubicBezTo>
                      <a:cubicBezTo>
                        <a:pt x="412564" y="965542"/>
                        <a:pt x="413850" y="965864"/>
                        <a:pt x="414894" y="966185"/>
                      </a:cubicBezTo>
                      <a:cubicBezTo>
                        <a:pt x="414974" y="964498"/>
                        <a:pt x="415778" y="963775"/>
                        <a:pt x="417786" y="963213"/>
                      </a:cubicBezTo>
                      <a:cubicBezTo>
                        <a:pt x="416420" y="965221"/>
                        <a:pt x="415778" y="966426"/>
                        <a:pt x="414894" y="968273"/>
                      </a:cubicBezTo>
                      <a:cubicBezTo>
                        <a:pt x="418268" y="963775"/>
                        <a:pt x="419874" y="963695"/>
                        <a:pt x="421481" y="968032"/>
                      </a:cubicBezTo>
                      <a:cubicBezTo>
                        <a:pt x="423971" y="966105"/>
                        <a:pt x="426220" y="966346"/>
                        <a:pt x="428951" y="968836"/>
                      </a:cubicBezTo>
                      <a:moveTo>
                        <a:pt x="460681" y="970201"/>
                      </a:moveTo>
                      <a:cubicBezTo>
                        <a:pt x="460601" y="969960"/>
                        <a:pt x="460520" y="969720"/>
                        <a:pt x="460360" y="969559"/>
                      </a:cubicBezTo>
                      <a:cubicBezTo>
                        <a:pt x="459797" y="968193"/>
                        <a:pt x="459155" y="966908"/>
                        <a:pt x="458592" y="965542"/>
                      </a:cubicBezTo>
                      <a:cubicBezTo>
                        <a:pt x="458592" y="965623"/>
                        <a:pt x="458673" y="965703"/>
                        <a:pt x="458673" y="965703"/>
                      </a:cubicBezTo>
                      <a:cubicBezTo>
                        <a:pt x="459637" y="967872"/>
                        <a:pt x="460681" y="970121"/>
                        <a:pt x="460681" y="970201"/>
                      </a:cubicBezTo>
                      <a:moveTo>
                        <a:pt x="360191" y="955100"/>
                      </a:moveTo>
                      <a:cubicBezTo>
                        <a:pt x="361396" y="951967"/>
                        <a:pt x="355532" y="949236"/>
                        <a:pt x="352078" y="948593"/>
                      </a:cubicBezTo>
                      <a:cubicBezTo>
                        <a:pt x="349668" y="948191"/>
                        <a:pt x="349668" y="948191"/>
                        <a:pt x="349105" y="948673"/>
                      </a:cubicBezTo>
                      <a:cubicBezTo>
                        <a:pt x="354568" y="951405"/>
                        <a:pt x="357460" y="953734"/>
                        <a:pt x="358905" y="956787"/>
                      </a:cubicBezTo>
                      <a:cubicBezTo>
                        <a:pt x="359387" y="956224"/>
                        <a:pt x="359950" y="955742"/>
                        <a:pt x="360191" y="955100"/>
                      </a:cubicBezTo>
                      <a:moveTo>
                        <a:pt x="206282" y="915257"/>
                      </a:moveTo>
                      <a:lnTo>
                        <a:pt x="206604" y="915096"/>
                      </a:lnTo>
                      <a:cubicBezTo>
                        <a:pt x="204917" y="912767"/>
                        <a:pt x="204676" y="912446"/>
                        <a:pt x="205479" y="911562"/>
                      </a:cubicBezTo>
                      <a:cubicBezTo>
                        <a:pt x="204595" y="911000"/>
                        <a:pt x="203230" y="910437"/>
                        <a:pt x="202025" y="910196"/>
                      </a:cubicBezTo>
                      <a:cubicBezTo>
                        <a:pt x="202186" y="909955"/>
                        <a:pt x="202427" y="909634"/>
                        <a:pt x="202587" y="909474"/>
                      </a:cubicBezTo>
                      <a:cubicBezTo>
                        <a:pt x="200820" y="910277"/>
                        <a:pt x="201222" y="908349"/>
                        <a:pt x="201864" y="905377"/>
                      </a:cubicBezTo>
                      <a:cubicBezTo>
                        <a:pt x="201382" y="905377"/>
                        <a:pt x="200820" y="905377"/>
                        <a:pt x="200338" y="905296"/>
                      </a:cubicBezTo>
                      <a:lnTo>
                        <a:pt x="200258" y="906341"/>
                      </a:lnTo>
                      <a:lnTo>
                        <a:pt x="198812" y="905859"/>
                      </a:lnTo>
                      <a:lnTo>
                        <a:pt x="198571" y="905859"/>
                      </a:lnTo>
                      <a:cubicBezTo>
                        <a:pt x="199936" y="906662"/>
                        <a:pt x="200579" y="908188"/>
                        <a:pt x="200017" y="909233"/>
                      </a:cubicBezTo>
                      <a:cubicBezTo>
                        <a:pt x="200017" y="909233"/>
                        <a:pt x="199615" y="910116"/>
                        <a:pt x="200177" y="910919"/>
                      </a:cubicBezTo>
                      <a:cubicBezTo>
                        <a:pt x="200499" y="911401"/>
                        <a:pt x="200499" y="911401"/>
                        <a:pt x="203471" y="912365"/>
                      </a:cubicBezTo>
                      <a:lnTo>
                        <a:pt x="205479" y="914454"/>
                      </a:lnTo>
                      <a:cubicBezTo>
                        <a:pt x="204033" y="915418"/>
                        <a:pt x="203390" y="915980"/>
                        <a:pt x="203310" y="916221"/>
                      </a:cubicBezTo>
                      <a:cubicBezTo>
                        <a:pt x="203631" y="916542"/>
                        <a:pt x="206041" y="915498"/>
                        <a:pt x="206443" y="915257"/>
                      </a:cubicBezTo>
                      <a:cubicBezTo>
                        <a:pt x="206443" y="915177"/>
                        <a:pt x="206363" y="915177"/>
                        <a:pt x="206282" y="915257"/>
                      </a:cubicBezTo>
                      <a:cubicBezTo>
                        <a:pt x="206363" y="915177"/>
                        <a:pt x="206282" y="915177"/>
                        <a:pt x="206282" y="915257"/>
                      </a:cubicBezTo>
                      <a:moveTo>
                        <a:pt x="692909" y="967711"/>
                      </a:moveTo>
                      <a:lnTo>
                        <a:pt x="693230" y="965864"/>
                      </a:lnTo>
                      <a:lnTo>
                        <a:pt x="692748" y="966265"/>
                      </a:lnTo>
                      <a:cubicBezTo>
                        <a:pt x="687367" y="970282"/>
                        <a:pt x="682145" y="973575"/>
                        <a:pt x="675317" y="977431"/>
                      </a:cubicBezTo>
                      <a:cubicBezTo>
                        <a:pt x="685760" y="974539"/>
                        <a:pt x="692909" y="967791"/>
                        <a:pt x="692909" y="967711"/>
                      </a:cubicBezTo>
                      <a:moveTo>
                        <a:pt x="2031414" y="598042"/>
                      </a:moveTo>
                      <a:lnTo>
                        <a:pt x="2030611" y="596435"/>
                      </a:lnTo>
                      <a:cubicBezTo>
                        <a:pt x="2027799" y="595311"/>
                        <a:pt x="2024988" y="594186"/>
                        <a:pt x="2022177" y="592981"/>
                      </a:cubicBezTo>
                      <a:cubicBezTo>
                        <a:pt x="2022257" y="593142"/>
                        <a:pt x="2022337" y="593383"/>
                        <a:pt x="2022337" y="593624"/>
                      </a:cubicBezTo>
                      <a:cubicBezTo>
                        <a:pt x="2022900" y="596435"/>
                        <a:pt x="2021373" y="597640"/>
                        <a:pt x="2016313" y="598283"/>
                      </a:cubicBezTo>
                      <a:cubicBezTo>
                        <a:pt x="2021293" y="598845"/>
                        <a:pt x="2026755" y="598765"/>
                        <a:pt x="2031414" y="598042"/>
                      </a:cubicBezTo>
                      <a:moveTo>
                        <a:pt x="66110" y="784965"/>
                      </a:moveTo>
                      <a:lnTo>
                        <a:pt x="66271" y="785126"/>
                      </a:lnTo>
                      <a:cubicBezTo>
                        <a:pt x="66753" y="782154"/>
                        <a:pt x="67636" y="779583"/>
                        <a:pt x="69082" y="777013"/>
                      </a:cubicBezTo>
                      <a:cubicBezTo>
                        <a:pt x="69082" y="777093"/>
                        <a:pt x="69002" y="777173"/>
                        <a:pt x="68921" y="777173"/>
                      </a:cubicBezTo>
                      <a:cubicBezTo>
                        <a:pt x="67556" y="779342"/>
                        <a:pt x="66592" y="781993"/>
                        <a:pt x="66110" y="784965"/>
                      </a:cubicBezTo>
                      <a:moveTo>
                        <a:pt x="195277" y="898629"/>
                      </a:moveTo>
                      <a:cubicBezTo>
                        <a:pt x="195518" y="898710"/>
                        <a:pt x="195920" y="898710"/>
                        <a:pt x="196241" y="898790"/>
                      </a:cubicBezTo>
                      <a:cubicBezTo>
                        <a:pt x="193671" y="895898"/>
                        <a:pt x="190940" y="892685"/>
                        <a:pt x="192707" y="892765"/>
                      </a:cubicBezTo>
                      <a:cubicBezTo>
                        <a:pt x="193590" y="892765"/>
                        <a:pt x="195840" y="893890"/>
                        <a:pt x="195840" y="893970"/>
                      </a:cubicBezTo>
                      <a:cubicBezTo>
                        <a:pt x="195840" y="893970"/>
                        <a:pt x="196402" y="894532"/>
                        <a:pt x="196482" y="895898"/>
                      </a:cubicBezTo>
                      <a:cubicBezTo>
                        <a:pt x="197687" y="889633"/>
                        <a:pt x="197928" y="886178"/>
                        <a:pt x="195920" y="885696"/>
                      </a:cubicBezTo>
                      <a:cubicBezTo>
                        <a:pt x="194635" y="885777"/>
                        <a:pt x="193510" y="886500"/>
                        <a:pt x="191100" y="888669"/>
                      </a:cubicBezTo>
                      <a:cubicBezTo>
                        <a:pt x="190859" y="887945"/>
                        <a:pt x="190297" y="886178"/>
                        <a:pt x="189253" y="887945"/>
                      </a:cubicBezTo>
                      <a:cubicBezTo>
                        <a:pt x="189012" y="888427"/>
                        <a:pt x="188851" y="889070"/>
                        <a:pt x="188610" y="889552"/>
                      </a:cubicBezTo>
                      <a:cubicBezTo>
                        <a:pt x="188610" y="889552"/>
                        <a:pt x="188530" y="889633"/>
                        <a:pt x="188530" y="889633"/>
                      </a:cubicBezTo>
                      <a:cubicBezTo>
                        <a:pt x="188449" y="889713"/>
                        <a:pt x="187485" y="890677"/>
                        <a:pt x="187004" y="892364"/>
                      </a:cubicBezTo>
                      <a:cubicBezTo>
                        <a:pt x="186923" y="892605"/>
                        <a:pt x="186682" y="893729"/>
                        <a:pt x="187325" y="894854"/>
                      </a:cubicBezTo>
                      <a:cubicBezTo>
                        <a:pt x="188289" y="896621"/>
                        <a:pt x="191020" y="897906"/>
                        <a:pt x="195277" y="898629"/>
                      </a:cubicBezTo>
                      <a:moveTo>
                        <a:pt x="494258" y="959036"/>
                      </a:moveTo>
                      <a:lnTo>
                        <a:pt x="494901" y="958956"/>
                      </a:lnTo>
                      <a:cubicBezTo>
                        <a:pt x="493535" y="953574"/>
                        <a:pt x="490322" y="952047"/>
                        <a:pt x="490322" y="952047"/>
                      </a:cubicBezTo>
                      <a:cubicBezTo>
                        <a:pt x="490081" y="951967"/>
                        <a:pt x="488715" y="951485"/>
                        <a:pt x="487992" y="948834"/>
                      </a:cubicBezTo>
                      <a:cubicBezTo>
                        <a:pt x="487912" y="949156"/>
                        <a:pt x="487912" y="949638"/>
                        <a:pt x="487832" y="949959"/>
                      </a:cubicBezTo>
                      <a:cubicBezTo>
                        <a:pt x="487430" y="951485"/>
                        <a:pt x="486466" y="954939"/>
                        <a:pt x="480522" y="952690"/>
                      </a:cubicBezTo>
                      <a:cubicBezTo>
                        <a:pt x="479317" y="953895"/>
                        <a:pt x="478674" y="954778"/>
                        <a:pt x="477871" y="956224"/>
                      </a:cubicBezTo>
                      <a:cubicBezTo>
                        <a:pt x="479719" y="953734"/>
                        <a:pt x="480843" y="953734"/>
                        <a:pt x="481807" y="956224"/>
                      </a:cubicBezTo>
                      <a:cubicBezTo>
                        <a:pt x="483092" y="955341"/>
                        <a:pt x="483815" y="955501"/>
                        <a:pt x="484297" y="956787"/>
                      </a:cubicBezTo>
                      <a:cubicBezTo>
                        <a:pt x="487269" y="952931"/>
                        <a:pt x="489037" y="952931"/>
                        <a:pt x="490724" y="956867"/>
                      </a:cubicBezTo>
                      <a:cubicBezTo>
                        <a:pt x="493455" y="955180"/>
                        <a:pt x="494097" y="956465"/>
                        <a:pt x="494258" y="959036"/>
                      </a:cubicBezTo>
                      <a:moveTo>
                        <a:pt x="258254" y="910196"/>
                      </a:moveTo>
                      <a:cubicBezTo>
                        <a:pt x="258977" y="908509"/>
                        <a:pt x="258736" y="906341"/>
                        <a:pt x="258736" y="906260"/>
                      </a:cubicBezTo>
                      <a:cubicBezTo>
                        <a:pt x="258656" y="905377"/>
                        <a:pt x="259459" y="904332"/>
                        <a:pt x="260022" y="903609"/>
                      </a:cubicBezTo>
                      <a:cubicBezTo>
                        <a:pt x="260182" y="901923"/>
                        <a:pt x="259700" y="900878"/>
                        <a:pt x="258335" y="899834"/>
                      </a:cubicBezTo>
                      <a:cubicBezTo>
                        <a:pt x="258254" y="899834"/>
                        <a:pt x="258254" y="899914"/>
                        <a:pt x="258174" y="899995"/>
                      </a:cubicBezTo>
                      <a:cubicBezTo>
                        <a:pt x="257531" y="900557"/>
                        <a:pt x="257531" y="900557"/>
                        <a:pt x="250463" y="905055"/>
                      </a:cubicBezTo>
                      <a:cubicBezTo>
                        <a:pt x="250382" y="905537"/>
                        <a:pt x="250061" y="907144"/>
                        <a:pt x="248936" y="905618"/>
                      </a:cubicBezTo>
                      <a:cubicBezTo>
                        <a:pt x="248374" y="906742"/>
                        <a:pt x="248133" y="907626"/>
                        <a:pt x="249981" y="907224"/>
                      </a:cubicBezTo>
                      <a:cubicBezTo>
                        <a:pt x="249981" y="908349"/>
                        <a:pt x="249900" y="910598"/>
                        <a:pt x="248454" y="910036"/>
                      </a:cubicBezTo>
                      <a:cubicBezTo>
                        <a:pt x="249740" y="910839"/>
                        <a:pt x="250061" y="911000"/>
                        <a:pt x="250945" y="911723"/>
                      </a:cubicBezTo>
                      <a:cubicBezTo>
                        <a:pt x="251266" y="911964"/>
                        <a:pt x="251427" y="912124"/>
                        <a:pt x="251748" y="912124"/>
                      </a:cubicBezTo>
                      <a:cubicBezTo>
                        <a:pt x="252230" y="912124"/>
                        <a:pt x="252631" y="911803"/>
                        <a:pt x="253113" y="911964"/>
                      </a:cubicBezTo>
                      <a:cubicBezTo>
                        <a:pt x="253676" y="912124"/>
                        <a:pt x="254881" y="912606"/>
                        <a:pt x="256327" y="912205"/>
                      </a:cubicBezTo>
                      <a:cubicBezTo>
                        <a:pt x="256648" y="912044"/>
                        <a:pt x="257612" y="911642"/>
                        <a:pt x="258254" y="910196"/>
                      </a:cubicBezTo>
                      <a:moveTo>
                        <a:pt x="440679" y="936223"/>
                      </a:moveTo>
                      <a:cubicBezTo>
                        <a:pt x="440760" y="935821"/>
                        <a:pt x="440840" y="935419"/>
                        <a:pt x="440920" y="935098"/>
                      </a:cubicBezTo>
                      <a:cubicBezTo>
                        <a:pt x="440920" y="935178"/>
                        <a:pt x="440840" y="935259"/>
                        <a:pt x="440840" y="935339"/>
                      </a:cubicBezTo>
                      <a:cubicBezTo>
                        <a:pt x="439635" y="937749"/>
                        <a:pt x="437627" y="939195"/>
                        <a:pt x="434173" y="940159"/>
                      </a:cubicBezTo>
                      <a:cubicBezTo>
                        <a:pt x="438591" y="940078"/>
                        <a:pt x="440117" y="937990"/>
                        <a:pt x="440679" y="936223"/>
                      </a:cubicBezTo>
                      <a:moveTo>
                        <a:pt x="2073908" y="366537"/>
                      </a:moveTo>
                      <a:cubicBezTo>
                        <a:pt x="2073747" y="366376"/>
                        <a:pt x="2073586" y="366135"/>
                        <a:pt x="2073426" y="365974"/>
                      </a:cubicBezTo>
                      <a:cubicBezTo>
                        <a:pt x="2073506" y="366054"/>
                        <a:pt x="2073586" y="366215"/>
                        <a:pt x="2073667" y="366295"/>
                      </a:cubicBezTo>
                      <a:cubicBezTo>
                        <a:pt x="2076960" y="370553"/>
                        <a:pt x="2078888" y="373204"/>
                        <a:pt x="2078968" y="372400"/>
                      </a:cubicBezTo>
                      <a:cubicBezTo>
                        <a:pt x="2078968" y="372320"/>
                        <a:pt x="2078968" y="372240"/>
                        <a:pt x="2078968" y="372159"/>
                      </a:cubicBezTo>
                      <a:cubicBezTo>
                        <a:pt x="2078004" y="371356"/>
                        <a:pt x="2076719" y="370151"/>
                        <a:pt x="2073908" y="366537"/>
                      </a:cubicBezTo>
                      <a:moveTo>
                        <a:pt x="240904" y="878467"/>
                      </a:moveTo>
                      <a:lnTo>
                        <a:pt x="240823" y="878386"/>
                      </a:lnTo>
                      <a:cubicBezTo>
                        <a:pt x="240020" y="878306"/>
                        <a:pt x="238092" y="878386"/>
                        <a:pt x="232469" y="878467"/>
                      </a:cubicBezTo>
                      <a:cubicBezTo>
                        <a:pt x="232309" y="878628"/>
                        <a:pt x="232148" y="878869"/>
                        <a:pt x="232068" y="879110"/>
                      </a:cubicBezTo>
                      <a:cubicBezTo>
                        <a:pt x="238253" y="878708"/>
                        <a:pt x="240743" y="878547"/>
                        <a:pt x="240904" y="878467"/>
                      </a:cubicBezTo>
                      <a:moveTo>
                        <a:pt x="380032" y="914614"/>
                      </a:moveTo>
                      <a:cubicBezTo>
                        <a:pt x="380032" y="914614"/>
                        <a:pt x="380112" y="914614"/>
                        <a:pt x="380032" y="914614"/>
                      </a:cubicBezTo>
                      <a:cubicBezTo>
                        <a:pt x="379309" y="913891"/>
                        <a:pt x="378184" y="912847"/>
                        <a:pt x="377381" y="912124"/>
                      </a:cubicBezTo>
                      <a:lnTo>
                        <a:pt x="377060" y="911964"/>
                      </a:lnTo>
                      <a:lnTo>
                        <a:pt x="377060" y="912124"/>
                      </a:lnTo>
                      <a:cubicBezTo>
                        <a:pt x="376738" y="913490"/>
                        <a:pt x="377782" y="914373"/>
                        <a:pt x="380032" y="914614"/>
                      </a:cubicBezTo>
                      <a:moveTo>
                        <a:pt x="232630" y="876619"/>
                      </a:moveTo>
                      <a:cubicBezTo>
                        <a:pt x="232630" y="876619"/>
                        <a:pt x="232630" y="876619"/>
                        <a:pt x="232630" y="876619"/>
                      </a:cubicBezTo>
                      <a:cubicBezTo>
                        <a:pt x="232871" y="875736"/>
                        <a:pt x="232951" y="874772"/>
                        <a:pt x="231746" y="874370"/>
                      </a:cubicBezTo>
                      <a:cubicBezTo>
                        <a:pt x="231264" y="874209"/>
                        <a:pt x="231264" y="874209"/>
                        <a:pt x="230622" y="874290"/>
                      </a:cubicBezTo>
                      <a:cubicBezTo>
                        <a:pt x="230943" y="875575"/>
                        <a:pt x="231586" y="876298"/>
                        <a:pt x="232630" y="876619"/>
                      </a:cubicBezTo>
                      <a:moveTo>
                        <a:pt x="459155" y="922487"/>
                      </a:moveTo>
                      <a:cubicBezTo>
                        <a:pt x="459396" y="922406"/>
                        <a:pt x="459717" y="922246"/>
                        <a:pt x="459958" y="922085"/>
                      </a:cubicBezTo>
                      <a:cubicBezTo>
                        <a:pt x="455219" y="922005"/>
                        <a:pt x="455138" y="921764"/>
                        <a:pt x="454897" y="920077"/>
                      </a:cubicBezTo>
                      <a:cubicBezTo>
                        <a:pt x="455299" y="919675"/>
                        <a:pt x="455861" y="919193"/>
                        <a:pt x="456343" y="918872"/>
                      </a:cubicBezTo>
                      <a:lnTo>
                        <a:pt x="455299" y="919193"/>
                      </a:lnTo>
                      <a:cubicBezTo>
                        <a:pt x="447828" y="921603"/>
                        <a:pt x="443812" y="924736"/>
                        <a:pt x="443651" y="924896"/>
                      </a:cubicBezTo>
                      <a:cubicBezTo>
                        <a:pt x="442848" y="925539"/>
                        <a:pt x="442848" y="925539"/>
                        <a:pt x="436583" y="934295"/>
                      </a:cubicBezTo>
                      <a:cubicBezTo>
                        <a:pt x="437466" y="934134"/>
                        <a:pt x="438591" y="933893"/>
                        <a:pt x="439474" y="933732"/>
                      </a:cubicBezTo>
                      <a:cubicBezTo>
                        <a:pt x="439956" y="932367"/>
                        <a:pt x="440438" y="931724"/>
                        <a:pt x="441563" y="930760"/>
                      </a:cubicBezTo>
                      <a:cubicBezTo>
                        <a:pt x="441563" y="932528"/>
                        <a:pt x="441402" y="933411"/>
                        <a:pt x="440920" y="934777"/>
                      </a:cubicBezTo>
                      <a:cubicBezTo>
                        <a:pt x="441001" y="934857"/>
                        <a:pt x="441161" y="935018"/>
                        <a:pt x="441242" y="935098"/>
                      </a:cubicBezTo>
                      <a:cubicBezTo>
                        <a:pt x="444053" y="931885"/>
                        <a:pt x="446865" y="928672"/>
                        <a:pt x="449676" y="925459"/>
                      </a:cubicBezTo>
                      <a:cubicBezTo>
                        <a:pt x="450319" y="924736"/>
                        <a:pt x="450881" y="923932"/>
                        <a:pt x="451604" y="923370"/>
                      </a:cubicBezTo>
                      <a:cubicBezTo>
                        <a:pt x="451363" y="923772"/>
                        <a:pt x="451202" y="924013"/>
                        <a:pt x="447427" y="928672"/>
                      </a:cubicBezTo>
                      <a:cubicBezTo>
                        <a:pt x="450319" y="926985"/>
                        <a:pt x="454576" y="924575"/>
                        <a:pt x="459155" y="922487"/>
                      </a:cubicBezTo>
                      <a:moveTo>
                        <a:pt x="407664" y="913249"/>
                      </a:moveTo>
                      <a:cubicBezTo>
                        <a:pt x="407745" y="913249"/>
                        <a:pt x="407825" y="913169"/>
                        <a:pt x="407905" y="913088"/>
                      </a:cubicBezTo>
                      <a:cubicBezTo>
                        <a:pt x="407102" y="912606"/>
                        <a:pt x="406299" y="912205"/>
                        <a:pt x="405014" y="912044"/>
                      </a:cubicBezTo>
                      <a:cubicBezTo>
                        <a:pt x="403809" y="911964"/>
                        <a:pt x="402845" y="912124"/>
                        <a:pt x="401479" y="912767"/>
                      </a:cubicBezTo>
                      <a:cubicBezTo>
                        <a:pt x="402283" y="913329"/>
                        <a:pt x="404612" y="914775"/>
                        <a:pt x="407664" y="913249"/>
                      </a:cubicBezTo>
                      <a:moveTo>
                        <a:pt x="170456" y="863686"/>
                      </a:moveTo>
                      <a:cubicBezTo>
                        <a:pt x="170536" y="863686"/>
                        <a:pt x="170697" y="863686"/>
                        <a:pt x="170858" y="863686"/>
                      </a:cubicBezTo>
                      <a:cubicBezTo>
                        <a:pt x="170938" y="861678"/>
                        <a:pt x="170938" y="860152"/>
                        <a:pt x="171500" y="853485"/>
                      </a:cubicBezTo>
                      <a:cubicBezTo>
                        <a:pt x="172223" y="844006"/>
                        <a:pt x="172304" y="841516"/>
                        <a:pt x="171741" y="840632"/>
                      </a:cubicBezTo>
                      <a:cubicBezTo>
                        <a:pt x="171420" y="840632"/>
                        <a:pt x="171259" y="840713"/>
                        <a:pt x="170376" y="842480"/>
                      </a:cubicBezTo>
                      <a:cubicBezTo>
                        <a:pt x="170938" y="839267"/>
                        <a:pt x="171099" y="837419"/>
                        <a:pt x="171179" y="835009"/>
                      </a:cubicBezTo>
                      <a:cubicBezTo>
                        <a:pt x="171018" y="834929"/>
                        <a:pt x="170858" y="834849"/>
                        <a:pt x="170697" y="834768"/>
                      </a:cubicBezTo>
                      <a:cubicBezTo>
                        <a:pt x="169331" y="834527"/>
                        <a:pt x="168287" y="835652"/>
                        <a:pt x="166922" y="837419"/>
                      </a:cubicBezTo>
                      <a:cubicBezTo>
                        <a:pt x="168126" y="837981"/>
                        <a:pt x="170777" y="840150"/>
                        <a:pt x="168287" y="848826"/>
                      </a:cubicBezTo>
                      <a:cubicBezTo>
                        <a:pt x="168287" y="848022"/>
                        <a:pt x="168207" y="847059"/>
                        <a:pt x="168207" y="846255"/>
                      </a:cubicBezTo>
                      <a:cubicBezTo>
                        <a:pt x="166681" y="851075"/>
                        <a:pt x="162905" y="863606"/>
                        <a:pt x="170456" y="863686"/>
                      </a:cubicBezTo>
                      <a:moveTo>
                        <a:pt x="525345" y="920318"/>
                      </a:moveTo>
                      <a:cubicBezTo>
                        <a:pt x="525425" y="920157"/>
                        <a:pt x="525425" y="919916"/>
                        <a:pt x="525506" y="919756"/>
                      </a:cubicBezTo>
                      <a:cubicBezTo>
                        <a:pt x="521248" y="921121"/>
                        <a:pt x="521329" y="919354"/>
                        <a:pt x="522132" y="917185"/>
                      </a:cubicBezTo>
                      <a:cubicBezTo>
                        <a:pt x="522052" y="917265"/>
                        <a:pt x="521971" y="917346"/>
                        <a:pt x="521971" y="917426"/>
                      </a:cubicBezTo>
                      <a:cubicBezTo>
                        <a:pt x="521891" y="917506"/>
                        <a:pt x="521570" y="917908"/>
                        <a:pt x="521329" y="918068"/>
                      </a:cubicBezTo>
                      <a:cubicBezTo>
                        <a:pt x="520847" y="918390"/>
                        <a:pt x="518437" y="919515"/>
                        <a:pt x="518437" y="919515"/>
                      </a:cubicBezTo>
                      <a:cubicBezTo>
                        <a:pt x="517392" y="919756"/>
                        <a:pt x="516589" y="919033"/>
                        <a:pt x="516348" y="918792"/>
                      </a:cubicBezTo>
                      <a:cubicBezTo>
                        <a:pt x="514099" y="920559"/>
                        <a:pt x="513215" y="920398"/>
                        <a:pt x="513376" y="918149"/>
                      </a:cubicBezTo>
                      <a:cubicBezTo>
                        <a:pt x="512814" y="919434"/>
                        <a:pt x="512091" y="919595"/>
                        <a:pt x="510725" y="918792"/>
                      </a:cubicBezTo>
                      <a:cubicBezTo>
                        <a:pt x="511689" y="925459"/>
                        <a:pt x="512733" y="930278"/>
                        <a:pt x="514501" y="936624"/>
                      </a:cubicBezTo>
                      <a:cubicBezTo>
                        <a:pt x="518999" y="932528"/>
                        <a:pt x="523417" y="927868"/>
                        <a:pt x="525345" y="920318"/>
                      </a:cubicBezTo>
                      <a:moveTo>
                        <a:pt x="232389" y="859670"/>
                      </a:moveTo>
                      <a:lnTo>
                        <a:pt x="232630" y="860634"/>
                      </a:lnTo>
                      <a:lnTo>
                        <a:pt x="233112" y="859108"/>
                      </a:lnTo>
                      <a:lnTo>
                        <a:pt x="232710" y="859349"/>
                      </a:lnTo>
                      <a:lnTo>
                        <a:pt x="232389" y="859670"/>
                      </a:lnTo>
                      <a:moveTo>
                        <a:pt x="640857" y="913329"/>
                      </a:moveTo>
                      <a:cubicBezTo>
                        <a:pt x="640937" y="913410"/>
                        <a:pt x="641017" y="913490"/>
                        <a:pt x="641098" y="913490"/>
                      </a:cubicBezTo>
                      <a:cubicBezTo>
                        <a:pt x="639893" y="911562"/>
                        <a:pt x="638447" y="910277"/>
                        <a:pt x="636037" y="908992"/>
                      </a:cubicBezTo>
                      <a:cubicBezTo>
                        <a:pt x="634029" y="907947"/>
                        <a:pt x="634029" y="907947"/>
                        <a:pt x="631137" y="908188"/>
                      </a:cubicBezTo>
                      <a:cubicBezTo>
                        <a:pt x="636599" y="910116"/>
                        <a:pt x="639732" y="912446"/>
                        <a:pt x="640857" y="913329"/>
                      </a:cubicBezTo>
                      <a:moveTo>
                        <a:pt x="86433" y="739660"/>
                      </a:moveTo>
                      <a:lnTo>
                        <a:pt x="86915" y="739018"/>
                      </a:lnTo>
                      <a:cubicBezTo>
                        <a:pt x="86995" y="735724"/>
                        <a:pt x="88120" y="730422"/>
                        <a:pt x="89887" y="725040"/>
                      </a:cubicBezTo>
                      <a:cubicBezTo>
                        <a:pt x="89807" y="725201"/>
                        <a:pt x="89726" y="725442"/>
                        <a:pt x="89646" y="725603"/>
                      </a:cubicBezTo>
                      <a:cubicBezTo>
                        <a:pt x="86915" y="732832"/>
                        <a:pt x="85790" y="737812"/>
                        <a:pt x="86433" y="739660"/>
                      </a:cubicBezTo>
                      <a:cubicBezTo>
                        <a:pt x="86433" y="739580"/>
                        <a:pt x="86433" y="739580"/>
                        <a:pt x="86433" y="739660"/>
                      </a:cubicBezTo>
                      <a:moveTo>
                        <a:pt x="82256" y="689857"/>
                      </a:moveTo>
                      <a:cubicBezTo>
                        <a:pt x="82176" y="690017"/>
                        <a:pt x="82095" y="690178"/>
                        <a:pt x="82095" y="690339"/>
                      </a:cubicBezTo>
                      <a:cubicBezTo>
                        <a:pt x="83862" y="686001"/>
                        <a:pt x="85308" y="683270"/>
                        <a:pt x="87076" y="680619"/>
                      </a:cubicBezTo>
                      <a:cubicBezTo>
                        <a:pt x="87076" y="680699"/>
                        <a:pt x="86995" y="680699"/>
                        <a:pt x="86915" y="680780"/>
                      </a:cubicBezTo>
                      <a:cubicBezTo>
                        <a:pt x="85549" y="682306"/>
                        <a:pt x="84103" y="684153"/>
                        <a:pt x="82417" y="686483"/>
                      </a:cubicBezTo>
                      <a:cubicBezTo>
                        <a:pt x="83461" y="685278"/>
                        <a:pt x="83461" y="686483"/>
                        <a:pt x="83461" y="686483"/>
                      </a:cubicBezTo>
                      <a:cubicBezTo>
                        <a:pt x="83380" y="686965"/>
                        <a:pt x="83139" y="687447"/>
                        <a:pt x="82979" y="687929"/>
                      </a:cubicBezTo>
                      <a:cubicBezTo>
                        <a:pt x="82738" y="688491"/>
                        <a:pt x="82497" y="689134"/>
                        <a:pt x="82256" y="689857"/>
                      </a:cubicBezTo>
                      <a:moveTo>
                        <a:pt x="2059770" y="362841"/>
                      </a:moveTo>
                      <a:cubicBezTo>
                        <a:pt x="2059127" y="362199"/>
                        <a:pt x="2058806" y="362038"/>
                        <a:pt x="2058645" y="361958"/>
                      </a:cubicBezTo>
                      <a:cubicBezTo>
                        <a:pt x="2058726" y="362038"/>
                        <a:pt x="2058806" y="362118"/>
                        <a:pt x="2058806" y="362199"/>
                      </a:cubicBezTo>
                      <a:cubicBezTo>
                        <a:pt x="2060734" y="364528"/>
                        <a:pt x="2062662" y="366778"/>
                        <a:pt x="2064590" y="369027"/>
                      </a:cubicBezTo>
                      <a:cubicBezTo>
                        <a:pt x="2063786" y="367742"/>
                        <a:pt x="2061376" y="364448"/>
                        <a:pt x="2059770" y="362841"/>
                      </a:cubicBezTo>
                      <a:moveTo>
                        <a:pt x="268697" y="851959"/>
                      </a:moveTo>
                      <a:cubicBezTo>
                        <a:pt x="268777" y="851878"/>
                        <a:pt x="268858" y="851798"/>
                        <a:pt x="268938" y="851718"/>
                      </a:cubicBezTo>
                      <a:cubicBezTo>
                        <a:pt x="267974" y="851155"/>
                        <a:pt x="267572" y="850995"/>
                        <a:pt x="267010" y="850834"/>
                      </a:cubicBezTo>
                      <a:cubicBezTo>
                        <a:pt x="266448" y="850673"/>
                        <a:pt x="265002" y="850352"/>
                        <a:pt x="263315" y="851477"/>
                      </a:cubicBezTo>
                      <a:cubicBezTo>
                        <a:pt x="263074" y="851637"/>
                        <a:pt x="262753" y="851637"/>
                        <a:pt x="262512" y="851718"/>
                      </a:cubicBezTo>
                      <a:cubicBezTo>
                        <a:pt x="264761" y="853645"/>
                        <a:pt x="266850" y="853726"/>
                        <a:pt x="268697" y="851959"/>
                      </a:cubicBezTo>
                      <a:moveTo>
                        <a:pt x="166279" y="835250"/>
                      </a:moveTo>
                      <a:cubicBezTo>
                        <a:pt x="166440" y="835411"/>
                        <a:pt x="166600" y="835491"/>
                        <a:pt x="166761" y="835652"/>
                      </a:cubicBezTo>
                      <a:cubicBezTo>
                        <a:pt x="167243" y="834367"/>
                        <a:pt x="167725" y="833001"/>
                        <a:pt x="168126" y="831716"/>
                      </a:cubicBezTo>
                      <a:cubicBezTo>
                        <a:pt x="167725" y="832118"/>
                        <a:pt x="167163" y="832680"/>
                        <a:pt x="166761" y="833082"/>
                      </a:cubicBezTo>
                      <a:cubicBezTo>
                        <a:pt x="170697" y="808260"/>
                        <a:pt x="170697" y="808260"/>
                        <a:pt x="170697" y="807617"/>
                      </a:cubicBezTo>
                      <a:cubicBezTo>
                        <a:pt x="170697" y="807617"/>
                        <a:pt x="170617" y="807617"/>
                        <a:pt x="170617" y="807617"/>
                      </a:cubicBezTo>
                      <a:cubicBezTo>
                        <a:pt x="169894" y="808742"/>
                        <a:pt x="167323" y="819426"/>
                        <a:pt x="164672" y="832278"/>
                      </a:cubicBezTo>
                      <a:cubicBezTo>
                        <a:pt x="165958" y="830752"/>
                        <a:pt x="166279" y="828824"/>
                        <a:pt x="167082" y="827057"/>
                      </a:cubicBezTo>
                      <a:cubicBezTo>
                        <a:pt x="166681" y="828824"/>
                        <a:pt x="165636" y="830350"/>
                        <a:pt x="165476" y="832198"/>
                      </a:cubicBezTo>
                      <a:cubicBezTo>
                        <a:pt x="165315" y="833242"/>
                        <a:pt x="165556" y="834447"/>
                        <a:pt x="166279" y="835250"/>
                      </a:cubicBezTo>
                      <a:moveTo>
                        <a:pt x="498435" y="894934"/>
                      </a:moveTo>
                      <a:cubicBezTo>
                        <a:pt x="498596" y="894773"/>
                        <a:pt x="498756" y="894613"/>
                        <a:pt x="498917" y="894452"/>
                      </a:cubicBezTo>
                      <a:cubicBezTo>
                        <a:pt x="496427" y="894131"/>
                        <a:pt x="495222" y="893649"/>
                        <a:pt x="493294" y="892364"/>
                      </a:cubicBezTo>
                      <a:cubicBezTo>
                        <a:pt x="493535" y="892765"/>
                        <a:pt x="493776" y="893247"/>
                        <a:pt x="494017" y="893649"/>
                      </a:cubicBezTo>
                      <a:cubicBezTo>
                        <a:pt x="490242" y="895818"/>
                        <a:pt x="490242" y="895818"/>
                        <a:pt x="490242" y="895898"/>
                      </a:cubicBezTo>
                      <a:cubicBezTo>
                        <a:pt x="490402" y="895978"/>
                        <a:pt x="491045" y="895818"/>
                        <a:pt x="492812" y="895255"/>
                      </a:cubicBezTo>
                      <a:cubicBezTo>
                        <a:pt x="492652" y="896621"/>
                        <a:pt x="493053" y="897504"/>
                        <a:pt x="494499" y="898629"/>
                      </a:cubicBezTo>
                      <a:cubicBezTo>
                        <a:pt x="495945" y="897504"/>
                        <a:pt x="496588" y="897745"/>
                        <a:pt x="496909" y="899192"/>
                      </a:cubicBezTo>
                      <a:cubicBezTo>
                        <a:pt x="496829" y="898227"/>
                        <a:pt x="496989" y="896621"/>
                        <a:pt x="498435" y="894934"/>
                      </a:cubicBezTo>
                      <a:moveTo>
                        <a:pt x="1706407" y="716526"/>
                      </a:moveTo>
                      <a:cubicBezTo>
                        <a:pt x="1706488" y="716365"/>
                        <a:pt x="1706648" y="716204"/>
                        <a:pt x="1706809" y="716044"/>
                      </a:cubicBezTo>
                      <a:cubicBezTo>
                        <a:pt x="1704319" y="714196"/>
                        <a:pt x="1703194" y="712991"/>
                        <a:pt x="1701106" y="709939"/>
                      </a:cubicBezTo>
                      <a:cubicBezTo>
                        <a:pt x="1698133" y="711465"/>
                        <a:pt x="1696206" y="710903"/>
                        <a:pt x="1695242" y="708172"/>
                      </a:cubicBezTo>
                      <a:cubicBezTo>
                        <a:pt x="1695161" y="708413"/>
                        <a:pt x="1695081" y="708654"/>
                        <a:pt x="1695001" y="708895"/>
                      </a:cubicBezTo>
                      <a:cubicBezTo>
                        <a:pt x="1693474" y="713393"/>
                        <a:pt x="1693956" y="715481"/>
                        <a:pt x="1695804" y="718775"/>
                      </a:cubicBezTo>
                      <a:cubicBezTo>
                        <a:pt x="1696687" y="720462"/>
                        <a:pt x="1698374" y="722068"/>
                        <a:pt x="1701427" y="720622"/>
                      </a:cubicBezTo>
                      <a:cubicBezTo>
                        <a:pt x="1702873" y="719980"/>
                        <a:pt x="1704560" y="718614"/>
                        <a:pt x="1706407" y="716526"/>
                      </a:cubicBezTo>
                      <a:moveTo>
                        <a:pt x="2025711" y="316573"/>
                      </a:moveTo>
                      <a:cubicBezTo>
                        <a:pt x="2025631" y="316492"/>
                        <a:pt x="2025470" y="316412"/>
                        <a:pt x="2025390" y="316332"/>
                      </a:cubicBezTo>
                      <a:cubicBezTo>
                        <a:pt x="2025550" y="316573"/>
                        <a:pt x="2025791" y="316814"/>
                        <a:pt x="2025952" y="317055"/>
                      </a:cubicBezTo>
                      <a:cubicBezTo>
                        <a:pt x="2026434" y="317537"/>
                        <a:pt x="2026996" y="317938"/>
                        <a:pt x="2027719" y="318500"/>
                      </a:cubicBezTo>
                      <a:cubicBezTo>
                        <a:pt x="2027076" y="317858"/>
                        <a:pt x="2026434" y="317215"/>
                        <a:pt x="2025711" y="316573"/>
                      </a:cubicBezTo>
                      <a:moveTo>
                        <a:pt x="417545" y="875575"/>
                      </a:moveTo>
                      <a:cubicBezTo>
                        <a:pt x="417625" y="875495"/>
                        <a:pt x="417625" y="875414"/>
                        <a:pt x="417705" y="875334"/>
                      </a:cubicBezTo>
                      <a:cubicBezTo>
                        <a:pt x="417063" y="875575"/>
                        <a:pt x="416260" y="875977"/>
                        <a:pt x="415617" y="876218"/>
                      </a:cubicBezTo>
                      <a:lnTo>
                        <a:pt x="415617" y="875334"/>
                      </a:lnTo>
                      <a:cubicBezTo>
                        <a:pt x="414733" y="875655"/>
                        <a:pt x="413207" y="876298"/>
                        <a:pt x="412564" y="877824"/>
                      </a:cubicBezTo>
                      <a:cubicBezTo>
                        <a:pt x="412404" y="878226"/>
                        <a:pt x="412404" y="878628"/>
                        <a:pt x="412324" y="879029"/>
                      </a:cubicBezTo>
                      <a:cubicBezTo>
                        <a:pt x="412243" y="879190"/>
                        <a:pt x="412163" y="879270"/>
                        <a:pt x="412083" y="879351"/>
                      </a:cubicBezTo>
                      <a:cubicBezTo>
                        <a:pt x="412083" y="879431"/>
                        <a:pt x="411199" y="880555"/>
                        <a:pt x="411119" y="881760"/>
                      </a:cubicBezTo>
                      <a:cubicBezTo>
                        <a:pt x="411038" y="883046"/>
                        <a:pt x="411842" y="883608"/>
                        <a:pt x="412243" y="883849"/>
                      </a:cubicBezTo>
                      <a:cubicBezTo>
                        <a:pt x="414653" y="880395"/>
                        <a:pt x="416019" y="878386"/>
                        <a:pt x="417545" y="875575"/>
                      </a:cubicBezTo>
                      <a:moveTo>
                        <a:pt x="493937" y="885134"/>
                      </a:moveTo>
                      <a:cubicBezTo>
                        <a:pt x="493133" y="884090"/>
                        <a:pt x="492250" y="883206"/>
                        <a:pt x="491366" y="882323"/>
                      </a:cubicBezTo>
                      <a:cubicBezTo>
                        <a:pt x="491447" y="882403"/>
                        <a:pt x="491447" y="882483"/>
                        <a:pt x="491527" y="882483"/>
                      </a:cubicBezTo>
                      <a:cubicBezTo>
                        <a:pt x="492009" y="882965"/>
                        <a:pt x="492410" y="883447"/>
                        <a:pt x="492892" y="883929"/>
                      </a:cubicBezTo>
                      <a:cubicBezTo>
                        <a:pt x="493214" y="884331"/>
                        <a:pt x="493535" y="884813"/>
                        <a:pt x="493937" y="885134"/>
                      </a:cubicBezTo>
                      <a:moveTo>
                        <a:pt x="266930" y="835813"/>
                      </a:moveTo>
                      <a:cubicBezTo>
                        <a:pt x="267091" y="835732"/>
                        <a:pt x="267332" y="835652"/>
                        <a:pt x="267492" y="835652"/>
                      </a:cubicBezTo>
                      <a:cubicBezTo>
                        <a:pt x="265805" y="833323"/>
                        <a:pt x="264520" y="832680"/>
                        <a:pt x="263395" y="832359"/>
                      </a:cubicBezTo>
                      <a:cubicBezTo>
                        <a:pt x="261950" y="832118"/>
                        <a:pt x="260825" y="832439"/>
                        <a:pt x="260102" y="833242"/>
                      </a:cubicBezTo>
                      <a:cubicBezTo>
                        <a:pt x="261387" y="834849"/>
                        <a:pt x="263476" y="836777"/>
                        <a:pt x="266930" y="835813"/>
                      </a:cubicBezTo>
                      <a:moveTo>
                        <a:pt x="525747" y="883287"/>
                      </a:moveTo>
                      <a:cubicBezTo>
                        <a:pt x="526470" y="881198"/>
                        <a:pt x="525345" y="879832"/>
                        <a:pt x="522694" y="876539"/>
                      </a:cubicBezTo>
                      <a:cubicBezTo>
                        <a:pt x="522052" y="876459"/>
                        <a:pt x="521329" y="876459"/>
                        <a:pt x="520686" y="876378"/>
                      </a:cubicBezTo>
                      <a:cubicBezTo>
                        <a:pt x="521088" y="877583"/>
                        <a:pt x="521489" y="878708"/>
                        <a:pt x="522373" y="880796"/>
                      </a:cubicBezTo>
                      <a:cubicBezTo>
                        <a:pt x="523337" y="883046"/>
                        <a:pt x="523738" y="884090"/>
                        <a:pt x="523819" y="884893"/>
                      </a:cubicBezTo>
                      <a:cubicBezTo>
                        <a:pt x="524381" y="884732"/>
                        <a:pt x="525345" y="884491"/>
                        <a:pt x="525747" y="883287"/>
                      </a:cubicBezTo>
                      <a:moveTo>
                        <a:pt x="445097" y="875896"/>
                      </a:moveTo>
                      <a:cubicBezTo>
                        <a:pt x="445178" y="875896"/>
                        <a:pt x="445258" y="875816"/>
                        <a:pt x="445258" y="875736"/>
                      </a:cubicBezTo>
                      <a:cubicBezTo>
                        <a:pt x="444937" y="875173"/>
                        <a:pt x="443169" y="874772"/>
                        <a:pt x="435699" y="873567"/>
                      </a:cubicBezTo>
                      <a:cubicBezTo>
                        <a:pt x="439153" y="873487"/>
                        <a:pt x="441563" y="872764"/>
                        <a:pt x="443651" y="871157"/>
                      </a:cubicBezTo>
                      <a:cubicBezTo>
                        <a:pt x="432887" y="870755"/>
                        <a:pt x="426783" y="870675"/>
                        <a:pt x="416501" y="870595"/>
                      </a:cubicBezTo>
                      <a:cubicBezTo>
                        <a:pt x="420356" y="868667"/>
                        <a:pt x="423007" y="867141"/>
                        <a:pt x="426863" y="864650"/>
                      </a:cubicBezTo>
                      <a:cubicBezTo>
                        <a:pt x="426542" y="864409"/>
                        <a:pt x="426220" y="864088"/>
                        <a:pt x="425899" y="863847"/>
                      </a:cubicBezTo>
                      <a:lnTo>
                        <a:pt x="423328" y="864088"/>
                      </a:lnTo>
                      <a:cubicBezTo>
                        <a:pt x="413448" y="865293"/>
                        <a:pt x="404371" y="869470"/>
                        <a:pt x="404291" y="869551"/>
                      </a:cubicBezTo>
                      <a:lnTo>
                        <a:pt x="406781" y="870755"/>
                      </a:lnTo>
                      <a:cubicBezTo>
                        <a:pt x="420115" y="874772"/>
                        <a:pt x="428791" y="874772"/>
                        <a:pt x="429594" y="874691"/>
                      </a:cubicBezTo>
                      <a:cubicBezTo>
                        <a:pt x="431120" y="874450"/>
                        <a:pt x="436663" y="874691"/>
                        <a:pt x="438350" y="876539"/>
                      </a:cubicBezTo>
                      <a:cubicBezTo>
                        <a:pt x="440519" y="876378"/>
                        <a:pt x="444374" y="876218"/>
                        <a:pt x="445097" y="875896"/>
                      </a:cubicBezTo>
                      <a:moveTo>
                        <a:pt x="179694" y="811072"/>
                      </a:moveTo>
                      <a:cubicBezTo>
                        <a:pt x="179774" y="810991"/>
                        <a:pt x="179935" y="810831"/>
                        <a:pt x="180015" y="810750"/>
                      </a:cubicBezTo>
                      <a:cubicBezTo>
                        <a:pt x="175436" y="804645"/>
                        <a:pt x="177043" y="799183"/>
                        <a:pt x="184835" y="794203"/>
                      </a:cubicBezTo>
                      <a:cubicBezTo>
                        <a:pt x="183148" y="795247"/>
                        <a:pt x="179212" y="797657"/>
                        <a:pt x="180256" y="792918"/>
                      </a:cubicBezTo>
                      <a:cubicBezTo>
                        <a:pt x="180336" y="792677"/>
                        <a:pt x="180336" y="792436"/>
                        <a:pt x="180417" y="792275"/>
                      </a:cubicBezTo>
                      <a:cubicBezTo>
                        <a:pt x="181702" y="791713"/>
                        <a:pt x="182987" y="791150"/>
                        <a:pt x="184272" y="790668"/>
                      </a:cubicBezTo>
                      <a:cubicBezTo>
                        <a:pt x="183951" y="790427"/>
                        <a:pt x="183549" y="790267"/>
                        <a:pt x="183228" y="790026"/>
                      </a:cubicBezTo>
                      <a:cubicBezTo>
                        <a:pt x="180176" y="788901"/>
                        <a:pt x="179131" y="791150"/>
                        <a:pt x="178730" y="793319"/>
                      </a:cubicBezTo>
                      <a:cubicBezTo>
                        <a:pt x="177685" y="799103"/>
                        <a:pt x="175356" y="798621"/>
                        <a:pt x="174151" y="798380"/>
                      </a:cubicBezTo>
                      <a:cubicBezTo>
                        <a:pt x="174151" y="798541"/>
                        <a:pt x="174071" y="798862"/>
                        <a:pt x="174071" y="799023"/>
                      </a:cubicBezTo>
                      <a:cubicBezTo>
                        <a:pt x="170054" y="803681"/>
                        <a:pt x="174954" y="807296"/>
                        <a:pt x="178167" y="808983"/>
                      </a:cubicBezTo>
                      <a:cubicBezTo>
                        <a:pt x="178007" y="810027"/>
                        <a:pt x="177605" y="812678"/>
                        <a:pt x="179292" y="811473"/>
                      </a:cubicBezTo>
                      <a:cubicBezTo>
                        <a:pt x="179292" y="811393"/>
                        <a:pt x="179533" y="811232"/>
                        <a:pt x="179694" y="811072"/>
                      </a:cubicBezTo>
                      <a:moveTo>
                        <a:pt x="185879" y="865855"/>
                      </a:moveTo>
                      <a:cubicBezTo>
                        <a:pt x="187084" y="862883"/>
                        <a:pt x="189976" y="855895"/>
                        <a:pt x="189654" y="847701"/>
                      </a:cubicBezTo>
                      <a:cubicBezTo>
                        <a:pt x="189654" y="847460"/>
                        <a:pt x="192948" y="812518"/>
                        <a:pt x="198812" y="801031"/>
                      </a:cubicBezTo>
                      <a:cubicBezTo>
                        <a:pt x="197366" y="800790"/>
                        <a:pt x="196482" y="801111"/>
                        <a:pt x="195197" y="802316"/>
                      </a:cubicBezTo>
                      <a:cubicBezTo>
                        <a:pt x="196241" y="800067"/>
                        <a:pt x="198089" y="798219"/>
                        <a:pt x="198812" y="795729"/>
                      </a:cubicBezTo>
                      <a:cubicBezTo>
                        <a:pt x="196643" y="796693"/>
                        <a:pt x="191422" y="799103"/>
                        <a:pt x="188771" y="803681"/>
                      </a:cubicBezTo>
                      <a:cubicBezTo>
                        <a:pt x="188208" y="804645"/>
                        <a:pt x="187405" y="806011"/>
                        <a:pt x="186682" y="808180"/>
                      </a:cubicBezTo>
                      <a:cubicBezTo>
                        <a:pt x="185799" y="810750"/>
                        <a:pt x="186281" y="813562"/>
                        <a:pt x="185477" y="816213"/>
                      </a:cubicBezTo>
                      <a:cubicBezTo>
                        <a:pt x="184594" y="819265"/>
                        <a:pt x="182425" y="821836"/>
                        <a:pt x="181702" y="825049"/>
                      </a:cubicBezTo>
                      <a:cubicBezTo>
                        <a:pt x="181461" y="826093"/>
                        <a:pt x="181059" y="829627"/>
                        <a:pt x="181943" y="832278"/>
                      </a:cubicBezTo>
                      <a:cubicBezTo>
                        <a:pt x="182585" y="834206"/>
                        <a:pt x="184674" y="834929"/>
                        <a:pt x="185477" y="836616"/>
                      </a:cubicBezTo>
                      <a:cubicBezTo>
                        <a:pt x="186763" y="839347"/>
                        <a:pt x="184513" y="845291"/>
                        <a:pt x="184433" y="845532"/>
                      </a:cubicBezTo>
                      <a:cubicBezTo>
                        <a:pt x="182585" y="850432"/>
                        <a:pt x="184031" y="857903"/>
                        <a:pt x="184433" y="863124"/>
                      </a:cubicBezTo>
                      <a:cubicBezTo>
                        <a:pt x="184433" y="864490"/>
                        <a:pt x="184754" y="865213"/>
                        <a:pt x="185638" y="865695"/>
                      </a:cubicBezTo>
                      <a:cubicBezTo>
                        <a:pt x="185718" y="865775"/>
                        <a:pt x="185799" y="865855"/>
                        <a:pt x="185879" y="865855"/>
                      </a:cubicBezTo>
                      <a:moveTo>
                        <a:pt x="518437" y="876218"/>
                      </a:moveTo>
                      <a:cubicBezTo>
                        <a:pt x="518597" y="876218"/>
                        <a:pt x="518758" y="876137"/>
                        <a:pt x="518919" y="876137"/>
                      </a:cubicBezTo>
                      <a:cubicBezTo>
                        <a:pt x="518437" y="875655"/>
                        <a:pt x="517794" y="875093"/>
                        <a:pt x="517312" y="874611"/>
                      </a:cubicBezTo>
                      <a:cubicBezTo>
                        <a:pt x="515706" y="874852"/>
                        <a:pt x="514661" y="874772"/>
                        <a:pt x="514179" y="874290"/>
                      </a:cubicBezTo>
                      <a:cubicBezTo>
                        <a:pt x="513858" y="873968"/>
                        <a:pt x="513778" y="873727"/>
                        <a:pt x="513778" y="873326"/>
                      </a:cubicBezTo>
                      <a:cubicBezTo>
                        <a:pt x="513778" y="872683"/>
                        <a:pt x="514019" y="872201"/>
                        <a:pt x="514099" y="871559"/>
                      </a:cubicBezTo>
                      <a:cubicBezTo>
                        <a:pt x="513537" y="870755"/>
                        <a:pt x="512733" y="869551"/>
                        <a:pt x="510645" y="869390"/>
                      </a:cubicBezTo>
                      <a:cubicBezTo>
                        <a:pt x="510002" y="869390"/>
                        <a:pt x="509601" y="869470"/>
                        <a:pt x="508878" y="869631"/>
                      </a:cubicBezTo>
                      <a:cubicBezTo>
                        <a:pt x="510243" y="870032"/>
                        <a:pt x="512974" y="870996"/>
                        <a:pt x="508396" y="873326"/>
                      </a:cubicBezTo>
                      <a:cubicBezTo>
                        <a:pt x="508074" y="873487"/>
                        <a:pt x="507592" y="873727"/>
                        <a:pt x="507271" y="873888"/>
                      </a:cubicBezTo>
                      <a:cubicBezTo>
                        <a:pt x="511770" y="873888"/>
                        <a:pt x="513215" y="874611"/>
                        <a:pt x="511609" y="876137"/>
                      </a:cubicBezTo>
                      <a:cubicBezTo>
                        <a:pt x="511207" y="876459"/>
                        <a:pt x="510645" y="876860"/>
                        <a:pt x="510243" y="877182"/>
                      </a:cubicBezTo>
                      <a:cubicBezTo>
                        <a:pt x="514340" y="876780"/>
                        <a:pt x="518035" y="876298"/>
                        <a:pt x="518437" y="876218"/>
                      </a:cubicBezTo>
                      <a:moveTo>
                        <a:pt x="150776" y="763437"/>
                      </a:moveTo>
                      <a:cubicBezTo>
                        <a:pt x="151579" y="761991"/>
                        <a:pt x="151338" y="760947"/>
                        <a:pt x="151258" y="760465"/>
                      </a:cubicBezTo>
                      <a:cubicBezTo>
                        <a:pt x="151177" y="760545"/>
                        <a:pt x="151177" y="760626"/>
                        <a:pt x="151097" y="760626"/>
                      </a:cubicBezTo>
                      <a:cubicBezTo>
                        <a:pt x="149249" y="762714"/>
                        <a:pt x="147723" y="765445"/>
                        <a:pt x="147000" y="768096"/>
                      </a:cubicBezTo>
                      <a:cubicBezTo>
                        <a:pt x="148044" y="766570"/>
                        <a:pt x="149089" y="765365"/>
                        <a:pt x="150133" y="764321"/>
                      </a:cubicBezTo>
                      <a:cubicBezTo>
                        <a:pt x="150294" y="764160"/>
                        <a:pt x="150454" y="763999"/>
                        <a:pt x="150776" y="763437"/>
                      </a:cubicBezTo>
                      <a:moveTo>
                        <a:pt x="581976" y="877985"/>
                      </a:moveTo>
                      <a:cubicBezTo>
                        <a:pt x="581976" y="878065"/>
                        <a:pt x="582057" y="878145"/>
                        <a:pt x="582137" y="878226"/>
                      </a:cubicBezTo>
                      <a:cubicBezTo>
                        <a:pt x="581012" y="871237"/>
                        <a:pt x="580691" y="869390"/>
                        <a:pt x="579245" y="869551"/>
                      </a:cubicBezTo>
                      <a:cubicBezTo>
                        <a:pt x="578522" y="869872"/>
                        <a:pt x="577960" y="870434"/>
                        <a:pt x="576996" y="872121"/>
                      </a:cubicBezTo>
                      <a:cubicBezTo>
                        <a:pt x="578924" y="873647"/>
                        <a:pt x="580611" y="875655"/>
                        <a:pt x="581976" y="877985"/>
                      </a:cubicBezTo>
                      <a:moveTo>
                        <a:pt x="173026" y="773317"/>
                      </a:moveTo>
                      <a:lnTo>
                        <a:pt x="173026" y="773317"/>
                      </a:lnTo>
                      <a:cubicBezTo>
                        <a:pt x="172143" y="773719"/>
                        <a:pt x="171259" y="774121"/>
                        <a:pt x="170295" y="774603"/>
                      </a:cubicBezTo>
                      <a:cubicBezTo>
                        <a:pt x="171099" y="774201"/>
                        <a:pt x="172946" y="773398"/>
                        <a:pt x="173026" y="773317"/>
                      </a:cubicBezTo>
                      <a:moveTo>
                        <a:pt x="1857343" y="597319"/>
                      </a:moveTo>
                      <a:lnTo>
                        <a:pt x="1859191" y="594025"/>
                      </a:lnTo>
                      <a:lnTo>
                        <a:pt x="1858789" y="594266"/>
                      </a:lnTo>
                      <a:cubicBezTo>
                        <a:pt x="1854693" y="597078"/>
                        <a:pt x="1852604" y="600853"/>
                        <a:pt x="1851881" y="606637"/>
                      </a:cubicBezTo>
                      <a:cubicBezTo>
                        <a:pt x="1852604" y="606155"/>
                        <a:pt x="1853970" y="605030"/>
                        <a:pt x="1855335" y="602701"/>
                      </a:cubicBezTo>
                      <a:cubicBezTo>
                        <a:pt x="1856621" y="600452"/>
                        <a:pt x="1857102" y="598283"/>
                        <a:pt x="1857183" y="598042"/>
                      </a:cubicBezTo>
                      <a:cubicBezTo>
                        <a:pt x="1857263" y="597801"/>
                        <a:pt x="1857263" y="597480"/>
                        <a:pt x="1857343" y="597319"/>
                      </a:cubicBezTo>
                      <a:moveTo>
                        <a:pt x="513135" y="867783"/>
                      </a:moveTo>
                      <a:cubicBezTo>
                        <a:pt x="513296" y="867783"/>
                        <a:pt x="513537" y="867783"/>
                        <a:pt x="513778" y="867863"/>
                      </a:cubicBezTo>
                      <a:cubicBezTo>
                        <a:pt x="513697" y="865293"/>
                        <a:pt x="513697" y="863365"/>
                        <a:pt x="512171" y="863285"/>
                      </a:cubicBezTo>
                      <a:cubicBezTo>
                        <a:pt x="511850" y="863285"/>
                        <a:pt x="511529" y="863365"/>
                        <a:pt x="511127" y="863606"/>
                      </a:cubicBezTo>
                      <a:cubicBezTo>
                        <a:pt x="514099" y="869069"/>
                        <a:pt x="503415" y="867462"/>
                        <a:pt x="503335" y="867462"/>
                      </a:cubicBezTo>
                      <a:lnTo>
                        <a:pt x="504379" y="869069"/>
                      </a:lnTo>
                      <a:cubicBezTo>
                        <a:pt x="506548" y="868185"/>
                        <a:pt x="509199" y="867542"/>
                        <a:pt x="513135" y="867783"/>
                      </a:cubicBezTo>
                      <a:moveTo>
                        <a:pt x="1512335" y="744319"/>
                      </a:moveTo>
                      <a:cubicBezTo>
                        <a:pt x="1512255" y="743998"/>
                        <a:pt x="1511050" y="743194"/>
                        <a:pt x="1508800" y="742070"/>
                      </a:cubicBezTo>
                      <a:cubicBezTo>
                        <a:pt x="1508800" y="742632"/>
                        <a:pt x="1508720" y="743435"/>
                        <a:pt x="1508720" y="743998"/>
                      </a:cubicBezTo>
                      <a:cubicBezTo>
                        <a:pt x="1509684" y="744239"/>
                        <a:pt x="1512415" y="744881"/>
                        <a:pt x="1512335" y="744319"/>
                      </a:cubicBezTo>
                      <a:moveTo>
                        <a:pt x="606637" y="880475"/>
                      </a:moveTo>
                      <a:cubicBezTo>
                        <a:pt x="606798" y="880234"/>
                        <a:pt x="606958" y="879752"/>
                        <a:pt x="607039" y="879511"/>
                      </a:cubicBezTo>
                      <a:cubicBezTo>
                        <a:pt x="600211" y="879672"/>
                        <a:pt x="591937" y="877744"/>
                        <a:pt x="590812" y="867462"/>
                      </a:cubicBezTo>
                      <a:cubicBezTo>
                        <a:pt x="590571" y="867944"/>
                        <a:pt x="590250" y="868667"/>
                        <a:pt x="590009" y="869229"/>
                      </a:cubicBezTo>
                      <a:cubicBezTo>
                        <a:pt x="588402" y="873808"/>
                        <a:pt x="588804" y="875816"/>
                        <a:pt x="591776" y="878065"/>
                      </a:cubicBezTo>
                      <a:cubicBezTo>
                        <a:pt x="586394" y="877744"/>
                        <a:pt x="583101" y="878065"/>
                        <a:pt x="582057" y="878226"/>
                      </a:cubicBezTo>
                      <a:cubicBezTo>
                        <a:pt x="582298" y="878628"/>
                        <a:pt x="582538" y="879110"/>
                        <a:pt x="582699" y="879511"/>
                      </a:cubicBezTo>
                      <a:cubicBezTo>
                        <a:pt x="581173" y="879752"/>
                        <a:pt x="579406" y="879672"/>
                        <a:pt x="577478" y="879351"/>
                      </a:cubicBezTo>
                      <a:cubicBezTo>
                        <a:pt x="577719" y="879752"/>
                        <a:pt x="578040" y="880234"/>
                        <a:pt x="578281" y="880555"/>
                      </a:cubicBezTo>
                      <a:cubicBezTo>
                        <a:pt x="577638" y="880475"/>
                        <a:pt x="575711" y="880154"/>
                        <a:pt x="574265" y="880395"/>
                      </a:cubicBezTo>
                      <a:cubicBezTo>
                        <a:pt x="574184" y="880395"/>
                        <a:pt x="574104" y="880475"/>
                        <a:pt x="574024" y="880475"/>
                      </a:cubicBezTo>
                      <a:cubicBezTo>
                        <a:pt x="572257" y="879672"/>
                        <a:pt x="571453" y="877744"/>
                        <a:pt x="569847" y="876780"/>
                      </a:cubicBezTo>
                      <a:cubicBezTo>
                        <a:pt x="573542" y="881921"/>
                        <a:pt x="573542" y="884893"/>
                        <a:pt x="569766" y="888910"/>
                      </a:cubicBezTo>
                      <a:cubicBezTo>
                        <a:pt x="573381" y="891560"/>
                        <a:pt x="577397" y="891078"/>
                        <a:pt x="578522" y="890918"/>
                      </a:cubicBezTo>
                      <a:cubicBezTo>
                        <a:pt x="578442" y="886901"/>
                        <a:pt x="578120" y="876137"/>
                        <a:pt x="599568" y="882644"/>
                      </a:cubicBezTo>
                      <a:cubicBezTo>
                        <a:pt x="604468" y="884090"/>
                        <a:pt x="606396" y="880877"/>
                        <a:pt x="606637" y="880475"/>
                      </a:cubicBezTo>
                      <a:moveTo>
                        <a:pt x="237048" y="803601"/>
                      </a:moveTo>
                      <a:cubicBezTo>
                        <a:pt x="237128" y="803601"/>
                        <a:pt x="237289" y="803601"/>
                        <a:pt x="237449" y="803601"/>
                      </a:cubicBezTo>
                      <a:cubicBezTo>
                        <a:pt x="236405" y="802396"/>
                        <a:pt x="235441" y="801593"/>
                        <a:pt x="233674" y="800950"/>
                      </a:cubicBezTo>
                      <a:cubicBezTo>
                        <a:pt x="232469" y="800549"/>
                        <a:pt x="231746" y="800468"/>
                        <a:pt x="230461" y="800468"/>
                      </a:cubicBezTo>
                      <a:cubicBezTo>
                        <a:pt x="229176" y="802959"/>
                        <a:pt x="227890" y="804244"/>
                        <a:pt x="225561" y="805288"/>
                      </a:cubicBezTo>
                      <a:cubicBezTo>
                        <a:pt x="225400" y="805690"/>
                        <a:pt x="225240" y="806011"/>
                        <a:pt x="225079" y="806413"/>
                      </a:cubicBezTo>
                      <a:cubicBezTo>
                        <a:pt x="226686" y="805690"/>
                        <a:pt x="231505" y="803922"/>
                        <a:pt x="237048" y="803601"/>
                      </a:cubicBezTo>
                      <a:moveTo>
                        <a:pt x="566071" y="873005"/>
                      </a:moveTo>
                      <a:cubicBezTo>
                        <a:pt x="566152" y="873085"/>
                        <a:pt x="566312" y="873165"/>
                        <a:pt x="566393" y="873246"/>
                      </a:cubicBezTo>
                      <a:cubicBezTo>
                        <a:pt x="563902" y="867783"/>
                        <a:pt x="562537" y="863847"/>
                        <a:pt x="561493" y="859108"/>
                      </a:cubicBezTo>
                      <a:cubicBezTo>
                        <a:pt x="561412" y="859269"/>
                        <a:pt x="561412" y="859429"/>
                        <a:pt x="561332" y="859590"/>
                      </a:cubicBezTo>
                      <a:cubicBezTo>
                        <a:pt x="560609" y="862160"/>
                        <a:pt x="560207" y="864570"/>
                        <a:pt x="559966" y="868024"/>
                      </a:cubicBezTo>
                      <a:cubicBezTo>
                        <a:pt x="559645" y="868024"/>
                        <a:pt x="559163" y="868024"/>
                        <a:pt x="558761" y="868024"/>
                      </a:cubicBezTo>
                      <a:cubicBezTo>
                        <a:pt x="558038" y="871559"/>
                        <a:pt x="558842" y="874531"/>
                        <a:pt x="561252" y="877101"/>
                      </a:cubicBezTo>
                      <a:cubicBezTo>
                        <a:pt x="561171" y="874531"/>
                        <a:pt x="561091" y="871960"/>
                        <a:pt x="561091" y="869310"/>
                      </a:cubicBezTo>
                      <a:cubicBezTo>
                        <a:pt x="561814" y="869872"/>
                        <a:pt x="563983" y="871237"/>
                        <a:pt x="566071" y="873005"/>
                      </a:cubicBezTo>
                      <a:moveTo>
                        <a:pt x="483012" y="850031"/>
                      </a:moveTo>
                      <a:cubicBezTo>
                        <a:pt x="483333" y="849790"/>
                        <a:pt x="483655" y="849549"/>
                        <a:pt x="483976" y="849308"/>
                      </a:cubicBezTo>
                      <a:cubicBezTo>
                        <a:pt x="483655" y="849308"/>
                        <a:pt x="483173" y="849388"/>
                        <a:pt x="482771" y="849388"/>
                      </a:cubicBezTo>
                      <a:cubicBezTo>
                        <a:pt x="475301" y="850031"/>
                        <a:pt x="468473" y="851718"/>
                        <a:pt x="466465" y="852682"/>
                      </a:cubicBezTo>
                      <a:cubicBezTo>
                        <a:pt x="466304" y="853645"/>
                        <a:pt x="465661" y="853886"/>
                        <a:pt x="463814" y="853886"/>
                      </a:cubicBezTo>
                      <a:cubicBezTo>
                        <a:pt x="470642" y="855172"/>
                        <a:pt x="477630" y="853806"/>
                        <a:pt x="483012" y="850031"/>
                      </a:cubicBezTo>
                      <a:moveTo>
                        <a:pt x="223874" y="786732"/>
                      </a:moveTo>
                      <a:cubicBezTo>
                        <a:pt x="223954" y="786732"/>
                        <a:pt x="224035" y="786652"/>
                        <a:pt x="224115" y="786652"/>
                      </a:cubicBezTo>
                      <a:cubicBezTo>
                        <a:pt x="224517" y="785688"/>
                        <a:pt x="224517" y="785045"/>
                        <a:pt x="223794" y="784804"/>
                      </a:cubicBezTo>
                      <a:cubicBezTo>
                        <a:pt x="222830" y="784644"/>
                        <a:pt x="221625" y="784965"/>
                        <a:pt x="219215" y="785849"/>
                      </a:cubicBezTo>
                      <a:cubicBezTo>
                        <a:pt x="220661" y="787616"/>
                        <a:pt x="222990" y="787054"/>
                        <a:pt x="223874" y="786732"/>
                      </a:cubicBezTo>
                      <a:moveTo>
                        <a:pt x="113102" y="624791"/>
                      </a:moveTo>
                      <a:cubicBezTo>
                        <a:pt x="113102" y="624791"/>
                        <a:pt x="113102" y="624791"/>
                        <a:pt x="113102" y="624791"/>
                      </a:cubicBezTo>
                      <a:cubicBezTo>
                        <a:pt x="112941" y="624630"/>
                        <a:pt x="113343" y="623666"/>
                        <a:pt x="114387" y="621899"/>
                      </a:cubicBezTo>
                      <a:cubicBezTo>
                        <a:pt x="114387" y="621980"/>
                        <a:pt x="114307" y="622060"/>
                        <a:pt x="114307" y="622060"/>
                      </a:cubicBezTo>
                      <a:cubicBezTo>
                        <a:pt x="113182" y="623988"/>
                        <a:pt x="112218" y="625434"/>
                        <a:pt x="111335" y="626799"/>
                      </a:cubicBezTo>
                      <a:cubicBezTo>
                        <a:pt x="111817" y="626157"/>
                        <a:pt x="112459" y="625434"/>
                        <a:pt x="113102" y="624791"/>
                      </a:cubicBezTo>
                      <a:moveTo>
                        <a:pt x="227087" y="782154"/>
                      </a:moveTo>
                      <a:lnTo>
                        <a:pt x="227730" y="781511"/>
                      </a:lnTo>
                      <a:lnTo>
                        <a:pt x="227569" y="781511"/>
                      </a:lnTo>
                      <a:cubicBezTo>
                        <a:pt x="225963" y="781431"/>
                        <a:pt x="224677" y="782234"/>
                        <a:pt x="223633" y="784001"/>
                      </a:cubicBezTo>
                      <a:cubicBezTo>
                        <a:pt x="224115" y="784081"/>
                        <a:pt x="224677" y="784162"/>
                        <a:pt x="225561" y="783760"/>
                      </a:cubicBezTo>
                      <a:cubicBezTo>
                        <a:pt x="226043" y="783519"/>
                        <a:pt x="226043" y="783519"/>
                        <a:pt x="227087" y="782154"/>
                      </a:cubicBezTo>
                      <a:moveTo>
                        <a:pt x="158005" y="737411"/>
                      </a:moveTo>
                      <a:cubicBezTo>
                        <a:pt x="158326" y="736849"/>
                        <a:pt x="158648" y="736206"/>
                        <a:pt x="158969" y="735644"/>
                      </a:cubicBezTo>
                      <a:lnTo>
                        <a:pt x="158808" y="735644"/>
                      </a:lnTo>
                      <a:cubicBezTo>
                        <a:pt x="157041" y="736126"/>
                        <a:pt x="156640" y="736688"/>
                        <a:pt x="157603" y="737170"/>
                      </a:cubicBezTo>
                      <a:cubicBezTo>
                        <a:pt x="157764" y="737250"/>
                        <a:pt x="157925" y="737330"/>
                        <a:pt x="158005" y="737411"/>
                      </a:cubicBezTo>
                      <a:moveTo>
                        <a:pt x="2012296" y="313038"/>
                      </a:moveTo>
                      <a:lnTo>
                        <a:pt x="2012055" y="312717"/>
                      </a:lnTo>
                      <a:cubicBezTo>
                        <a:pt x="2012376" y="313199"/>
                        <a:pt x="2012617" y="313681"/>
                        <a:pt x="2012939" y="314163"/>
                      </a:cubicBezTo>
                      <a:cubicBezTo>
                        <a:pt x="2012939" y="314163"/>
                        <a:pt x="2013019" y="314243"/>
                        <a:pt x="2013019" y="314243"/>
                      </a:cubicBezTo>
                      <a:cubicBezTo>
                        <a:pt x="2012939" y="314243"/>
                        <a:pt x="2012296" y="313038"/>
                        <a:pt x="2012296" y="313038"/>
                      </a:cubicBezTo>
                      <a:moveTo>
                        <a:pt x="2025309" y="396740"/>
                      </a:moveTo>
                      <a:cubicBezTo>
                        <a:pt x="2025149" y="396418"/>
                        <a:pt x="2024988" y="395936"/>
                        <a:pt x="2024908" y="395535"/>
                      </a:cubicBezTo>
                      <a:cubicBezTo>
                        <a:pt x="2025550" y="397624"/>
                        <a:pt x="2025390" y="397784"/>
                        <a:pt x="2024988" y="398186"/>
                      </a:cubicBezTo>
                      <a:cubicBezTo>
                        <a:pt x="2024345" y="398186"/>
                        <a:pt x="2023703" y="397704"/>
                        <a:pt x="2022257" y="396177"/>
                      </a:cubicBezTo>
                      <a:cubicBezTo>
                        <a:pt x="2022659" y="396740"/>
                        <a:pt x="2023221" y="397463"/>
                        <a:pt x="2023622" y="398025"/>
                      </a:cubicBezTo>
                      <a:cubicBezTo>
                        <a:pt x="2027960" y="405255"/>
                        <a:pt x="2027639" y="409833"/>
                        <a:pt x="2022659" y="411761"/>
                      </a:cubicBezTo>
                      <a:cubicBezTo>
                        <a:pt x="2023622" y="413046"/>
                        <a:pt x="2024426" y="413850"/>
                        <a:pt x="2025550" y="414573"/>
                      </a:cubicBezTo>
                      <a:cubicBezTo>
                        <a:pt x="2025309" y="414974"/>
                        <a:pt x="2024988" y="415537"/>
                        <a:pt x="2022900" y="414332"/>
                      </a:cubicBezTo>
                      <a:cubicBezTo>
                        <a:pt x="2030370" y="422043"/>
                        <a:pt x="2034306" y="428068"/>
                        <a:pt x="2035993" y="430960"/>
                      </a:cubicBezTo>
                      <a:cubicBezTo>
                        <a:pt x="2036395" y="431683"/>
                        <a:pt x="2036796" y="432887"/>
                        <a:pt x="2037439" y="433450"/>
                      </a:cubicBezTo>
                      <a:cubicBezTo>
                        <a:pt x="2037519" y="433530"/>
                        <a:pt x="2051094" y="442045"/>
                        <a:pt x="2051817" y="442045"/>
                      </a:cubicBezTo>
                      <a:cubicBezTo>
                        <a:pt x="2051817" y="436181"/>
                        <a:pt x="2048685" y="436422"/>
                        <a:pt x="2048604" y="436422"/>
                      </a:cubicBezTo>
                      <a:cubicBezTo>
                        <a:pt x="2048604" y="436422"/>
                        <a:pt x="2044106" y="435056"/>
                        <a:pt x="2041937" y="427425"/>
                      </a:cubicBezTo>
                      <a:cubicBezTo>
                        <a:pt x="2042098" y="430719"/>
                        <a:pt x="2041937" y="434896"/>
                        <a:pt x="2039286" y="433048"/>
                      </a:cubicBezTo>
                      <a:cubicBezTo>
                        <a:pt x="2037599" y="431843"/>
                        <a:pt x="2031093" y="421883"/>
                        <a:pt x="2029486" y="417625"/>
                      </a:cubicBezTo>
                      <a:cubicBezTo>
                        <a:pt x="2027960" y="413689"/>
                        <a:pt x="2027478" y="409191"/>
                        <a:pt x="2028281" y="405737"/>
                      </a:cubicBezTo>
                      <a:cubicBezTo>
                        <a:pt x="2028362" y="405255"/>
                        <a:pt x="2028924" y="404853"/>
                        <a:pt x="2028683" y="404210"/>
                      </a:cubicBezTo>
                      <a:cubicBezTo>
                        <a:pt x="2027799" y="401801"/>
                        <a:pt x="2026273" y="399391"/>
                        <a:pt x="2025309" y="396740"/>
                      </a:cubicBezTo>
                      <a:moveTo>
                        <a:pt x="151338" y="731386"/>
                      </a:moveTo>
                      <a:cubicBezTo>
                        <a:pt x="152543" y="729137"/>
                        <a:pt x="153346" y="727450"/>
                        <a:pt x="153748" y="726567"/>
                      </a:cubicBezTo>
                      <a:cubicBezTo>
                        <a:pt x="153667" y="726727"/>
                        <a:pt x="153507" y="726968"/>
                        <a:pt x="153426" y="727209"/>
                      </a:cubicBezTo>
                      <a:cubicBezTo>
                        <a:pt x="152141" y="729378"/>
                        <a:pt x="151418" y="730101"/>
                        <a:pt x="151097" y="730342"/>
                      </a:cubicBezTo>
                      <a:cubicBezTo>
                        <a:pt x="150776" y="730583"/>
                        <a:pt x="150535" y="731065"/>
                        <a:pt x="150374" y="731386"/>
                      </a:cubicBezTo>
                      <a:cubicBezTo>
                        <a:pt x="148848" y="731547"/>
                        <a:pt x="147884" y="733635"/>
                        <a:pt x="146920" y="738857"/>
                      </a:cubicBezTo>
                      <a:cubicBezTo>
                        <a:pt x="147482" y="738054"/>
                        <a:pt x="149249" y="735322"/>
                        <a:pt x="151338" y="731386"/>
                      </a:cubicBezTo>
                      <a:moveTo>
                        <a:pt x="157363" y="730021"/>
                      </a:moveTo>
                      <a:lnTo>
                        <a:pt x="157363" y="730021"/>
                      </a:lnTo>
                      <a:cubicBezTo>
                        <a:pt x="157041" y="730663"/>
                        <a:pt x="156640" y="731226"/>
                        <a:pt x="156318" y="731868"/>
                      </a:cubicBezTo>
                      <a:cubicBezTo>
                        <a:pt x="156720" y="731226"/>
                        <a:pt x="157041" y="730663"/>
                        <a:pt x="157363" y="730021"/>
                      </a:cubicBezTo>
                      <a:moveTo>
                        <a:pt x="151017" y="724639"/>
                      </a:moveTo>
                      <a:cubicBezTo>
                        <a:pt x="151338" y="724478"/>
                        <a:pt x="151338" y="724478"/>
                        <a:pt x="154069" y="718373"/>
                      </a:cubicBezTo>
                      <a:cubicBezTo>
                        <a:pt x="153989" y="718454"/>
                        <a:pt x="153908" y="718614"/>
                        <a:pt x="153828" y="718775"/>
                      </a:cubicBezTo>
                      <a:cubicBezTo>
                        <a:pt x="152302" y="720944"/>
                        <a:pt x="150776" y="722711"/>
                        <a:pt x="149089" y="724157"/>
                      </a:cubicBezTo>
                      <a:cubicBezTo>
                        <a:pt x="149490" y="720060"/>
                        <a:pt x="149571" y="718454"/>
                        <a:pt x="149330" y="718132"/>
                      </a:cubicBezTo>
                      <a:cubicBezTo>
                        <a:pt x="149330" y="718132"/>
                        <a:pt x="149249" y="718132"/>
                        <a:pt x="149249" y="718132"/>
                      </a:cubicBezTo>
                      <a:cubicBezTo>
                        <a:pt x="148607" y="718936"/>
                        <a:pt x="147643" y="723032"/>
                        <a:pt x="146197" y="729218"/>
                      </a:cubicBezTo>
                      <a:cubicBezTo>
                        <a:pt x="146759" y="728254"/>
                        <a:pt x="148366" y="725844"/>
                        <a:pt x="151017" y="724639"/>
                      </a:cubicBezTo>
                      <a:moveTo>
                        <a:pt x="463171" y="831073"/>
                      </a:moveTo>
                      <a:cubicBezTo>
                        <a:pt x="463974" y="828744"/>
                        <a:pt x="461404" y="827137"/>
                        <a:pt x="455942" y="826414"/>
                      </a:cubicBezTo>
                      <a:cubicBezTo>
                        <a:pt x="455701" y="826414"/>
                        <a:pt x="455379" y="826334"/>
                        <a:pt x="455138" y="826334"/>
                      </a:cubicBezTo>
                      <a:cubicBezTo>
                        <a:pt x="454656" y="829708"/>
                        <a:pt x="456424" y="831555"/>
                        <a:pt x="461163" y="832841"/>
                      </a:cubicBezTo>
                      <a:cubicBezTo>
                        <a:pt x="460922" y="833001"/>
                        <a:pt x="460601" y="833242"/>
                        <a:pt x="460360" y="833403"/>
                      </a:cubicBezTo>
                      <a:lnTo>
                        <a:pt x="461002" y="833804"/>
                      </a:lnTo>
                      <a:cubicBezTo>
                        <a:pt x="461645" y="833242"/>
                        <a:pt x="462769" y="832278"/>
                        <a:pt x="463171" y="831073"/>
                      </a:cubicBezTo>
                      <a:moveTo>
                        <a:pt x="231184" y="768498"/>
                      </a:moveTo>
                      <a:cubicBezTo>
                        <a:pt x="231264" y="768418"/>
                        <a:pt x="231425" y="768337"/>
                        <a:pt x="231505" y="768337"/>
                      </a:cubicBezTo>
                      <a:cubicBezTo>
                        <a:pt x="231425" y="768337"/>
                        <a:pt x="231264" y="768337"/>
                        <a:pt x="231104" y="768337"/>
                      </a:cubicBezTo>
                      <a:cubicBezTo>
                        <a:pt x="228694" y="768337"/>
                        <a:pt x="227087" y="768337"/>
                        <a:pt x="225159" y="768498"/>
                      </a:cubicBezTo>
                      <a:cubicBezTo>
                        <a:pt x="224838" y="768900"/>
                        <a:pt x="224356" y="769462"/>
                        <a:pt x="224035" y="769863"/>
                      </a:cubicBezTo>
                      <a:cubicBezTo>
                        <a:pt x="224677" y="769863"/>
                        <a:pt x="226284" y="770024"/>
                        <a:pt x="227971" y="771309"/>
                      </a:cubicBezTo>
                      <a:cubicBezTo>
                        <a:pt x="228212" y="770586"/>
                        <a:pt x="228533" y="769703"/>
                        <a:pt x="228774" y="768980"/>
                      </a:cubicBezTo>
                      <a:cubicBezTo>
                        <a:pt x="229176" y="768900"/>
                        <a:pt x="230140" y="768980"/>
                        <a:pt x="231184" y="768498"/>
                      </a:cubicBezTo>
                      <a:moveTo>
                        <a:pt x="116235" y="650898"/>
                      </a:moveTo>
                      <a:cubicBezTo>
                        <a:pt x="116797" y="643507"/>
                        <a:pt x="118082" y="640134"/>
                        <a:pt x="118966" y="637885"/>
                      </a:cubicBezTo>
                      <a:cubicBezTo>
                        <a:pt x="118805" y="638206"/>
                        <a:pt x="118564" y="638688"/>
                        <a:pt x="118403" y="639009"/>
                      </a:cubicBezTo>
                      <a:cubicBezTo>
                        <a:pt x="117279" y="641258"/>
                        <a:pt x="116958" y="641901"/>
                        <a:pt x="116476" y="642303"/>
                      </a:cubicBezTo>
                      <a:cubicBezTo>
                        <a:pt x="116395" y="642303"/>
                        <a:pt x="116395" y="642303"/>
                        <a:pt x="116315" y="642303"/>
                      </a:cubicBezTo>
                      <a:cubicBezTo>
                        <a:pt x="116235" y="641821"/>
                        <a:pt x="116235" y="641821"/>
                        <a:pt x="116315" y="641258"/>
                      </a:cubicBezTo>
                      <a:cubicBezTo>
                        <a:pt x="115190" y="645194"/>
                        <a:pt x="113825" y="649050"/>
                        <a:pt x="111736" y="654191"/>
                      </a:cubicBezTo>
                      <a:cubicBezTo>
                        <a:pt x="113503" y="650657"/>
                        <a:pt x="115351" y="647363"/>
                        <a:pt x="115994" y="649612"/>
                      </a:cubicBezTo>
                      <a:cubicBezTo>
                        <a:pt x="116154" y="650014"/>
                        <a:pt x="116235" y="650496"/>
                        <a:pt x="116235" y="650898"/>
                      </a:cubicBezTo>
                      <a:moveTo>
                        <a:pt x="439555" y="826093"/>
                      </a:moveTo>
                      <a:cubicBezTo>
                        <a:pt x="440037" y="825209"/>
                        <a:pt x="438591" y="823282"/>
                        <a:pt x="437306" y="821755"/>
                      </a:cubicBezTo>
                      <a:cubicBezTo>
                        <a:pt x="437787" y="820631"/>
                        <a:pt x="437787" y="819667"/>
                        <a:pt x="437225" y="818301"/>
                      </a:cubicBezTo>
                      <a:cubicBezTo>
                        <a:pt x="437145" y="818462"/>
                        <a:pt x="437065" y="818623"/>
                        <a:pt x="437065" y="818783"/>
                      </a:cubicBezTo>
                      <a:cubicBezTo>
                        <a:pt x="435217" y="823282"/>
                        <a:pt x="432646" y="825370"/>
                        <a:pt x="432566" y="825370"/>
                      </a:cubicBezTo>
                      <a:cubicBezTo>
                        <a:pt x="436663" y="826736"/>
                        <a:pt x="439073" y="826977"/>
                        <a:pt x="439555" y="826093"/>
                      </a:cubicBezTo>
                      <a:moveTo>
                        <a:pt x="533860" y="838544"/>
                      </a:moveTo>
                      <a:cubicBezTo>
                        <a:pt x="533940" y="838624"/>
                        <a:pt x="534101" y="838705"/>
                        <a:pt x="534181" y="838785"/>
                      </a:cubicBezTo>
                      <a:cubicBezTo>
                        <a:pt x="530727" y="835170"/>
                        <a:pt x="530165" y="831395"/>
                        <a:pt x="532414" y="826977"/>
                      </a:cubicBezTo>
                      <a:cubicBezTo>
                        <a:pt x="531932" y="827458"/>
                        <a:pt x="531289" y="828021"/>
                        <a:pt x="530807" y="828503"/>
                      </a:cubicBezTo>
                      <a:cubicBezTo>
                        <a:pt x="529040" y="833082"/>
                        <a:pt x="531450" y="836455"/>
                        <a:pt x="533860" y="838544"/>
                      </a:cubicBezTo>
                      <a:moveTo>
                        <a:pt x="154471" y="717088"/>
                      </a:moveTo>
                      <a:cubicBezTo>
                        <a:pt x="154471" y="717168"/>
                        <a:pt x="154551" y="717248"/>
                        <a:pt x="154551" y="717329"/>
                      </a:cubicBezTo>
                      <a:cubicBezTo>
                        <a:pt x="156800" y="712349"/>
                        <a:pt x="158085" y="709296"/>
                        <a:pt x="158085" y="708814"/>
                      </a:cubicBezTo>
                      <a:cubicBezTo>
                        <a:pt x="158085" y="708814"/>
                        <a:pt x="158085" y="708814"/>
                        <a:pt x="158005" y="708814"/>
                      </a:cubicBezTo>
                      <a:cubicBezTo>
                        <a:pt x="157603" y="708975"/>
                        <a:pt x="155274" y="712831"/>
                        <a:pt x="154872" y="713794"/>
                      </a:cubicBezTo>
                      <a:cubicBezTo>
                        <a:pt x="154712" y="714357"/>
                        <a:pt x="154069" y="715803"/>
                        <a:pt x="154471" y="717088"/>
                      </a:cubicBezTo>
                      <a:moveTo>
                        <a:pt x="224597" y="740383"/>
                      </a:moveTo>
                      <a:cubicBezTo>
                        <a:pt x="224758" y="740222"/>
                        <a:pt x="224999" y="740062"/>
                        <a:pt x="225159" y="739981"/>
                      </a:cubicBezTo>
                      <a:cubicBezTo>
                        <a:pt x="223472" y="738214"/>
                        <a:pt x="223713" y="736768"/>
                        <a:pt x="226204" y="734117"/>
                      </a:cubicBezTo>
                      <a:cubicBezTo>
                        <a:pt x="226043" y="734117"/>
                        <a:pt x="225882" y="734198"/>
                        <a:pt x="225802" y="734198"/>
                      </a:cubicBezTo>
                      <a:cubicBezTo>
                        <a:pt x="224838" y="734439"/>
                        <a:pt x="223874" y="734680"/>
                        <a:pt x="222910" y="735001"/>
                      </a:cubicBezTo>
                      <a:cubicBezTo>
                        <a:pt x="223071" y="734599"/>
                        <a:pt x="223231" y="734037"/>
                        <a:pt x="223392" y="733635"/>
                      </a:cubicBezTo>
                      <a:cubicBezTo>
                        <a:pt x="220581" y="738777"/>
                        <a:pt x="216645" y="745845"/>
                        <a:pt x="215199" y="741668"/>
                      </a:cubicBezTo>
                      <a:cubicBezTo>
                        <a:pt x="214958" y="741829"/>
                        <a:pt x="214717" y="741990"/>
                        <a:pt x="214476" y="742150"/>
                      </a:cubicBezTo>
                      <a:cubicBezTo>
                        <a:pt x="210620" y="742713"/>
                        <a:pt x="208853" y="744801"/>
                        <a:pt x="207327" y="747693"/>
                      </a:cubicBezTo>
                      <a:cubicBezTo>
                        <a:pt x="213913" y="747130"/>
                        <a:pt x="220420" y="743435"/>
                        <a:pt x="224597" y="740383"/>
                      </a:cubicBezTo>
                      <a:moveTo>
                        <a:pt x="176240" y="706163"/>
                      </a:moveTo>
                      <a:cubicBezTo>
                        <a:pt x="176400" y="706163"/>
                        <a:pt x="176561" y="706083"/>
                        <a:pt x="176722" y="706003"/>
                      </a:cubicBezTo>
                      <a:cubicBezTo>
                        <a:pt x="177766" y="703593"/>
                        <a:pt x="178569" y="701344"/>
                        <a:pt x="177284" y="700460"/>
                      </a:cubicBezTo>
                      <a:cubicBezTo>
                        <a:pt x="175597" y="699657"/>
                        <a:pt x="172143" y="701504"/>
                        <a:pt x="172143" y="701585"/>
                      </a:cubicBezTo>
                      <a:cubicBezTo>
                        <a:pt x="172143" y="701585"/>
                        <a:pt x="170617" y="704316"/>
                        <a:pt x="170938" y="705681"/>
                      </a:cubicBezTo>
                      <a:cubicBezTo>
                        <a:pt x="171259" y="706886"/>
                        <a:pt x="172866" y="707047"/>
                        <a:pt x="176240" y="706163"/>
                      </a:cubicBezTo>
                      <a:moveTo>
                        <a:pt x="205720" y="717409"/>
                      </a:moveTo>
                      <a:cubicBezTo>
                        <a:pt x="205961" y="717007"/>
                        <a:pt x="206363" y="716526"/>
                        <a:pt x="206684" y="716204"/>
                      </a:cubicBezTo>
                      <a:cubicBezTo>
                        <a:pt x="205720" y="715481"/>
                        <a:pt x="204997" y="715883"/>
                        <a:pt x="204194" y="716526"/>
                      </a:cubicBezTo>
                      <a:cubicBezTo>
                        <a:pt x="204836" y="714919"/>
                        <a:pt x="205399" y="713794"/>
                        <a:pt x="206363" y="712429"/>
                      </a:cubicBezTo>
                      <a:cubicBezTo>
                        <a:pt x="205800" y="712831"/>
                        <a:pt x="204997" y="713312"/>
                        <a:pt x="204435" y="713714"/>
                      </a:cubicBezTo>
                      <a:cubicBezTo>
                        <a:pt x="204997" y="712509"/>
                        <a:pt x="205238" y="711786"/>
                        <a:pt x="205399" y="710662"/>
                      </a:cubicBezTo>
                      <a:cubicBezTo>
                        <a:pt x="205238" y="710822"/>
                        <a:pt x="204997" y="710983"/>
                        <a:pt x="204756" y="711063"/>
                      </a:cubicBezTo>
                      <a:cubicBezTo>
                        <a:pt x="204274" y="711385"/>
                        <a:pt x="202989" y="712349"/>
                        <a:pt x="201623" y="713312"/>
                      </a:cubicBezTo>
                      <a:cubicBezTo>
                        <a:pt x="201463" y="713473"/>
                        <a:pt x="201222" y="713634"/>
                        <a:pt x="200981" y="713794"/>
                      </a:cubicBezTo>
                      <a:cubicBezTo>
                        <a:pt x="200820" y="713955"/>
                        <a:pt x="200579" y="714116"/>
                        <a:pt x="200338" y="714276"/>
                      </a:cubicBezTo>
                      <a:cubicBezTo>
                        <a:pt x="198812" y="715481"/>
                        <a:pt x="197526" y="717007"/>
                        <a:pt x="196000" y="718213"/>
                      </a:cubicBezTo>
                      <a:cubicBezTo>
                        <a:pt x="195277" y="718775"/>
                        <a:pt x="194394" y="719016"/>
                        <a:pt x="193751" y="719658"/>
                      </a:cubicBezTo>
                      <a:cubicBezTo>
                        <a:pt x="192386" y="720944"/>
                        <a:pt x="191984" y="722711"/>
                        <a:pt x="191743" y="723434"/>
                      </a:cubicBezTo>
                      <a:cubicBezTo>
                        <a:pt x="190458" y="728495"/>
                        <a:pt x="189413" y="731868"/>
                        <a:pt x="188530" y="733073"/>
                      </a:cubicBezTo>
                      <a:cubicBezTo>
                        <a:pt x="187405" y="734519"/>
                        <a:pt x="187405" y="730744"/>
                        <a:pt x="186682" y="729699"/>
                      </a:cubicBezTo>
                      <a:cubicBezTo>
                        <a:pt x="185397" y="731788"/>
                        <a:pt x="184674" y="732913"/>
                        <a:pt x="183469" y="734599"/>
                      </a:cubicBezTo>
                      <a:cubicBezTo>
                        <a:pt x="187485" y="739580"/>
                        <a:pt x="199133" y="726004"/>
                        <a:pt x="205720" y="717409"/>
                      </a:cubicBezTo>
                      <a:moveTo>
                        <a:pt x="1865296" y="506628"/>
                      </a:moveTo>
                      <a:lnTo>
                        <a:pt x="1863930" y="504299"/>
                      </a:lnTo>
                      <a:cubicBezTo>
                        <a:pt x="1862163" y="503656"/>
                        <a:pt x="1861360" y="503415"/>
                        <a:pt x="1861280" y="503576"/>
                      </a:cubicBezTo>
                      <a:cubicBezTo>
                        <a:pt x="1861199" y="503897"/>
                        <a:pt x="1862806" y="505022"/>
                        <a:pt x="1865296" y="506628"/>
                      </a:cubicBezTo>
                      <a:moveTo>
                        <a:pt x="1905139" y="474015"/>
                      </a:moveTo>
                      <a:lnTo>
                        <a:pt x="1905540" y="473774"/>
                      </a:lnTo>
                      <a:cubicBezTo>
                        <a:pt x="1904335" y="472891"/>
                        <a:pt x="1903532" y="472248"/>
                        <a:pt x="1902407" y="471284"/>
                      </a:cubicBezTo>
                      <a:cubicBezTo>
                        <a:pt x="1902247" y="471525"/>
                        <a:pt x="1902006" y="471927"/>
                        <a:pt x="1901845" y="472168"/>
                      </a:cubicBezTo>
                      <a:lnTo>
                        <a:pt x="1898793" y="471847"/>
                      </a:lnTo>
                      <a:lnTo>
                        <a:pt x="1898873" y="472328"/>
                      </a:lnTo>
                      <a:cubicBezTo>
                        <a:pt x="1899757" y="480763"/>
                        <a:pt x="1902889" y="476907"/>
                        <a:pt x="1903934" y="475622"/>
                      </a:cubicBezTo>
                      <a:cubicBezTo>
                        <a:pt x="1904335" y="475140"/>
                        <a:pt x="1904657" y="474658"/>
                        <a:pt x="1904978" y="474176"/>
                      </a:cubicBezTo>
                      <a:cubicBezTo>
                        <a:pt x="1904978" y="474176"/>
                        <a:pt x="1905058" y="474015"/>
                        <a:pt x="1905139" y="474015"/>
                      </a:cubicBezTo>
                      <a:moveTo>
                        <a:pt x="203712" y="700540"/>
                      </a:moveTo>
                      <a:cubicBezTo>
                        <a:pt x="203953" y="700058"/>
                        <a:pt x="204274" y="699576"/>
                        <a:pt x="204515" y="699095"/>
                      </a:cubicBezTo>
                      <a:cubicBezTo>
                        <a:pt x="204435" y="699014"/>
                        <a:pt x="204274" y="699014"/>
                        <a:pt x="204194" y="698934"/>
                      </a:cubicBezTo>
                      <a:cubicBezTo>
                        <a:pt x="200659" y="697327"/>
                        <a:pt x="200177" y="697970"/>
                        <a:pt x="198731" y="699737"/>
                      </a:cubicBezTo>
                      <a:cubicBezTo>
                        <a:pt x="191663" y="708252"/>
                        <a:pt x="192707" y="711063"/>
                        <a:pt x="193189" y="712349"/>
                      </a:cubicBezTo>
                      <a:cubicBezTo>
                        <a:pt x="193269" y="712670"/>
                        <a:pt x="193430" y="712911"/>
                        <a:pt x="193590" y="713152"/>
                      </a:cubicBezTo>
                      <a:cubicBezTo>
                        <a:pt x="196563" y="710340"/>
                        <a:pt x="200418" y="706404"/>
                        <a:pt x="203712" y="700540"/>
                      </a:cubicBezTo>
                      <a:moveTo>
                        <a:pt x="200659" y="695962"/>
                      </a:moveTo>
                      <a:lnTo>
                        <a:pt x="202266" y="694034"/>
                      </a:lnTo>
                      <a:cubicBezTo>
                        <a:pt x="201945" y="693632"/>
                        <a:pt x="201784" y="693552"/>
                        <a:pt x="201623" y="693391"/>
                      </a:cubicBezTo>
                      <a:cubicBezTo>
                        <a:pt x="200900" y="692990"/>
                        <a:pt x="200579" y="693793"/>
                        <a:pt x="200659" y="695962"/>
                      </a:cubicBezTo>
                      <a:moveTo>
                        <a:pt x="164271" y="660939"/>
                      </a:moveTo>
                      <a:cubicBezTo>
                        <a:pt x="165556" y="658931"/>
                        <a:pt x="166038" y="656601"/>
                        <a:pt x="166118" y="655958"/>
                      </a:cubicBezTo>
                      <a:cubicBezTo>
                        <a:pt x="166199" y="655637"/>
                        <a:pt x="166359" y="655235"/>
                        <a:pt x="166520" y="654994"/>
                      </a:cubicBezTo>
                      <a:lnTo>
                        <a:pt x="166279" y="654994"/>
                      </a:lnTo>
                      <a:cubicBezTo>
                        <a:pt x="163789" y="655396"/>
                        <a:pt x="162263" y="657806"/>
                        <a:pt x="161138" y="663509"/>
                      </a:cubicBezTo>
                      <a:cubicBezTo>
                        <a:pt x="161620" y="663348"/>
                        <a:pt x="162985" y="662947"/>
                        <a:pt x="164271" y="660939"/>
                      </a:cubicBezTo>
                      <a:moveTo>
                        <a:pt x="1750909" y="558119"/>
                      </a:moveTo>
                      <a:cubicBezTo>
                        <a:pt x="1750829" y="558039"/>
                        <a:pt x="1750829" y="558039"/>
                        <a:pt x="1750748" y="557958"/>
                      </a:cubicBezTo>
                      <a:lnTo>
                        <a:pt x="1750507" y="558601"/>
                      </a:lnTo>
                      <a:cubicBezTo>
                        <a:pt x="1748499" y="565911"/>
                        <a:pt x="1750186" y="573542"/>
                        <a:pt x="1755327" y="580048"/>
                      </a:cubicBezTo>
                      <a:cubicBezTo>
                        <a:pt x="1756773" y="567598"/>
                        <a:pt x="1751953" y="559645"/>
                        <a:pt x="1750909" y="558119"/>
                      </a:cubicBezTo>
                      <a:moveTo>
                        <a:pt x="197848" y="679896"/>
                      </a:moveTo>
                      <a:cubicBezTo>
                        <a:pt x="197848" y="679655"/>
                        <a:pt x="197205" y="676201"/>
                        <a:pt x="197125" y="676121"/>
                      </a:cubicBezTo>
                      <a:cubicBezTo>
                        <a:pt x="197125" y="676442"/>
                        <a:pt x="197767" y="679655"/>
                        <a:pt x="197848" y="679896"/>
                      </a:cubicBezTo>
                      <a:moveTo>
                        <a:pt x="1944660" y="431763"/>
                      </a:moveTo>
                      <a:cubicBezTo>
                        <a:pt x="1944580" y="431602"/>
                        <a:pt x="1944499" y="431442"/>
                        <a:pt x="1944419" y="431281"/>
                      </a:cubicBezTo>
                      <a:cubicBezTo>
                        <a:pt x="1936627" y="429594"/>
                        <a:pt x="1930040" y="427747"/>
                        <a:pt x="1928835" y="421320"/>
                      </a:cubicBezTo>
                      <a:cubicBezTo>
                        <a:pt x="1928835" y="421481"/>
                        <a:pt x="1928755" y="421642"/>
                        <a:pt x="1928675" y="421802"/>
                      </a:cubicBezTo>
                      <a:cubicBezTo>
                        <a:pt x="1928193" y="423489"/>
                        <a:pt x="1928193" y="423489"/>
                        <a:pt x="1925301" y="425819"/>
                      </a:cubicBezTo>
                      <a:cubicBezTo>
                        <a:pt x="1927148" y="427827"/>
                        <a:pt x="1928273" y="429273"/>
                        <a:pt x="1929558" y="431281"/>
                      </a:cubicBezTo>
                      <a:cubicBezTo>
                        <a:pt x="1928514" y="427425"/>
                        <a:pt x="1931727" y="428309"/>
                        <a:pt x="1931808" y="428309"/>
                      </a:cubicBezTo>
                      <a:cubicBezTo>
                        <a:pt x="1932530" y="428630"/>
                        <a:pt x="1933173" y="429433"/>
                        <a:pt x="1933816" y="429915"/>
                      </a:cubicBezTo>
                      <a:cubicBezTo>
                        <a:pt x="1934458" y="430799"/>
                        <a:pt x="1935262" y="431442"/>
                        <a:pt x="1937270" y="432646"/>
                      </a:cubicBezTo>
                      <a:cubicBezTo>
                        <a:pt x="1935985" y="432887"/>
                        <a:pt x="1934780" y="433289"/>
                        <a:pt x="1933494" y="433691"/>
                      </a:cubicBezTo>
                      <a:cubicBezTo>
                        <a:pt x="1934458" y="434815"/>
                        <a:pt x="1934458" y="434976"/>
                        <a:pt x="1934378" y="435217"/>
                      </a:cubicBezTo>
                      <a:cubicBezTo>
                        <a:pt x="1933976" y="435297"/>
                        <a:pt x="1933334" y="434976"/>
                        <a:pt x="1931004" y="433530"/>
                      </a:cubicBezTo>
                      <a:cubicBezTo>
                        <a:pt x="1929960" y="433851"/>
                        <a:pt x="1929157" y="433771"/>
                        <a:pt x="1927711" y="433289"/>
                      </a:cubicBezTo>
                      <a:cubicBezTo>
                        <a:pt x="1933976" y="435779"/>
                        <a:pt x="1941126" y="437627"/>
                        <a:pt x="1947150" y="438430"/>
                      </a:cubicBezTo>
                      <a:cubicBezTo>
                        <a:pt x="1946668" y="436743"/>
                        <a:pt x="1946347" y="436100"/>
                        <a:pt x="1944981" y="434253"/>
                      </a:cubicBezTo>
                      <a:cubicBezTo>
                        <a:pt x="1945704" y="434414"/>
                        <a:pt x="1946588" y="434574"/>
                        <a:pt x="1947230" y="434655"/>
                      </a:cubicBezTo>
                      <a:cubicBezTo>
                        <a:pt x="1946909" y="434414"/>
                        <a:pt x="1945704" y="433450"/>
                        <a:pt x="1944660" y="431763"/>
                      </a:cubicBezTo>
                      <a:moveTo>
                        <a:pt x="1759665" y="542615"/>
                      </a:moveTo>
                      <a:cubicBezTo>
                        <a:pt x="1759745" y="542455"/>
                        <a:pt x="1759825" y="542294"/>
                        <a:pt x="1759825" y="542134"/>
                      </a:cubicBezTo>
                      <a:cubicBezTo>
                        <a:pt x="1759263" y="542615"/>
                        <a:pt x="1758460" y="543258"/>
                        <a:pt x="1757817" y="543740"/>
                      </a:cubicBezTo>
                      <a:cubicBezTo>
                        <a:pt x="1754283" y="544945"/>
                        <a:pt x="1751632" y="546471"/>
                        <a:pt x="1749222" y="548721"/>
                      </a:cubicBezTo>
                      <a:cubicBezTo>
                        <a:pt x="1753158" y="548961"/>
                        <a:pt x="1757415" y="548480"/>
                        <a:pt x="1759665" y="542615"/>
                      </a:cubicBezTo>
                      <a:moveTo>
                        <a:pt x="1738378" y="559243"/>
                      </a:moveTo>
                      <a:cubicBezTo>
                        <a:pt x="1738217" y="559002"/>
                        <a:pt x="1738056" y="558842"/>
                        <a:pt x="1737896" y="558601"/>
                      </a:cubicBezTo>
                      <a:cubicBezTo>
                        <a:pt x="1736370" y="557155"/>
                        <a:pt x="1733558" y="554343"/>
                        <a:pt x="1726810" y="557798"/>
                      </a:cubicBezTo>
                      <a:cubicBezTo>
                        <a:pt x="1725847" y="558280"/>
                        <a:pt x="1725284" y="558681"/>
                        <a:pt x="1724320" y="559324"/>
                      </a:cubicBezTo>
                      <a:cubicBezTo>
                        <a:pt x="1730184" y="565027"/>
                        <a:pt x="1729622" y="567035"/>
                        <a:pt x="1724481" y="571855"/>
                      </a:cubicBezTo>
                      <a:cubicBezTo>
                        <a:pt x="1723758" y="571373"/>
                        <a:pt x="1722714" y="570811"/>
                        <a:pt x="1721991" y="570409"/>
                      </a:cubicBezTo>
                      <a:cubicBezTo>
                        <a:pt x="1726248" y="573943"/>
                        <a:pt x="1727292" y="575952"/>
                        <a:pt x="1727534" y="580771"/>
                      </a:cubicBezTo>
                      <a:cubicBezTo>
                        <a:pt x="1728015" y="580450"/>
                        <a:pt x="1728417" y="580209"/>
                        <a:pt x="1728819" y="579727"/>
                      </a:cubicBezTo>
                      <a:cubicBezTo>
                        <a:pt x="1729140" y="579325"/>
                        <a:pt x="1729220" y="578763"/>
                        <a:pt x="1729542" y="578442"/>
                      </a:cubicBezTo>
                      <a:cubicBezTo>
                        <a:pt x="1729783" y="578201"/>
                        <a:pt x="1730265" y="578040"/>
                        <a:pt x="1730506" y="577880"/>
                      </a:cubicBezTo>
                      <a:cubicBezTo>
                        <a:pt x="1731229" y="577478"/>
                        <a:pt x="1733879" y="575630"/>
                        <a:pt x="1736129" y="571212"/>
                      </a:cubicBezTo>
                      <a:cubicBezTo>
                        <a:pt x="1738699" y="565911"/>
                        <a:pt x="1738458" y="559484"/>
                        <a:pt x="1738378" y="559243"/>
                      </a:cubicBezTo>
                      <a:moveTo>
                        <a:pt x="193028" y="668168"/>
                      </a:moveTo>
                      <a:cubicBezTo>
                        <a:pt x="193108" y="668168"/>
                        <a:pt x="193108" y="668168"/>
                        <a:pt x="193189" y="668168"/>
                      </a:cubicBezTo>
                      <a:cubicBezTo>
                        <a:pt x="191181" y="662706"/>
                        <a:pt x="188690" y="659734"/>
                        <a:pt x="184915" y="658368"/>
                      </a:cubicBezTo>
                      <a:cubicBezTo>
                        <a:pt x="185397" y="657806"/>
                        <a:pt x="186040" y="657002"/>
                        <a:pt x="186522" y="656440"/>
                      </a:cubicBezTo>
                      <a:cubicBezTo>
                        <a:pt x="186361" y="653789"/>
                        <a:pt x="185879" y="653147"/>
                        <a:pt x="185236" y="652585"/>
                      </a:cubicBezTo>
                      <a:cubicBezTo>
                        <a:pt x="184754" y="652424"/>
                        <a:pt x="183871" y="652022"/>
                        <a:pt x="168769" y="660296"/>
                      </a:cubicBezTo>
                      <a:cubicBezTo>
                        <a:pt x="168769" y="660055"/>
                        <a:pt x="168769" y="659814"/>
                        <a:pt x="168689" y="659653"/>
                      </a:cubicBezTo>
                      <a:cubicBezTo>
                        <a:pt x="168608" y="659653"/>
                        <a:pt x="168528" y="659573"/>
                        <a:pt x="168448" y="659573"/>
                      </a:cubicBezTo>
                      <a:cubicBezTo>
                        <a:pt x="167966" y="660216"/>
                        <a:pt x="167966" y="660457"/>
                        <a:pt x="166440" y="665035"/>
                      </a:cubicBezTo>
                      <a:cubicBezTo>
                        <a:pt x="167644" y="663830"/>
                        <a:pt x="167966" y="663589"/>
                        <a:pt x="168287" y="663429"/>
                      </a:cubicBezTo>
                      <a:cubicBezTo>
                        <a:pt x="168287" y="663429"/>
                        <a:pt x="168367" y="663509"/>
                        <a:pt x="168448" y="663589"/>
                      </a:cubicBezTo>
                      <a:cubicBezTo>
                        <a:pt x="168448" y="663991"/>
                        <a:pt x="168207" y="664553"/>
                        <a:pt x="167484" y="665919"/>
                      </a:cubicBezTo>
                      <a:cubicBezTo>
                        <a:pt x="173749" y="664955"/>
                        <a:pt x="179533" y="665035"/>
                        <a:pt x="191904" y="667847"/>
                      </a:cubicBezTo>
                      <a:cubicBezTo>
                        <a:pt x="192145" y="668008"/>
                        <a:pt x="192626" y="668168"/>
                        <a:pt x="193028" y="668168"/>
                      </a:cubicBezTo>
                      <a:moveTo>
                        <a:pt x="1927791" y="407263"/>
                      </a:moveTo>
                      <a:cubicBezTo>
                        <a:pt x="1927711" y="407183"/>
                        <a:pt x="1927550" y="407022"/>
                        <a:pt x="1927389" y="406861"/>
                      </a:cubicBezTo>
                      <a:cubicBezTo>
                        <a:pt x="1925381" y="407504"/>
                        <a:pt x="1922971" y="407665"/>
                        <a:pt x="1920321" y="407343"/>
                      </a:cubicBezTo>
                      <a:cubicBezTo>
                        <a:pt x="1920401" y="407424"/>
                        <a:pt x="1920562" y="407424"/>
                        <a:pt x="1920642" y="407504"/>
                      </a:cubicBezTo>
                      <a:cubicBezTo>
                        <a:pt x="1923855" y="408869"/>
                        <a:pt x="1927068" y="409592"/>
                        <a:pt x="1929880" y="409432"/>
                      </a:cubicBezTo>
                      <a:cubicBezTo>
                        <a:pt x="1929237" y="408709"/>
                        <a:pt x="1928514" y="407986"/>
                        <a:pt x="1927791" y="407263"/>
                      </a:cubicBezTo>
                      <a:moveTo>
                        <a:pt x="208210" y="656360"/>
                      </a:moveTo>
                      <a:cubicBezTo>
                        <a:pt x="208290" y="656360"/>
                        <a:pt x="208371" y="656360"/>
                        <a:pt x="208451" y="656360"/>
                      </a:cubicBezTo>
                      <a:cubicBezTo>
                        <a:pt x="208210" y="655557"/>
                        <a:pt x="207969" y="655316"/>
                        <a:pt x="207648" y="655155"/>
                      </a:cubicBezTo>
                      <a:cubicBezTo>
                        <a:pt x="206764" y="654753"/>
                        <a:pt x="205640" y="655476"/>
                        <a:pt x="204113" y="657565"/>
                      </a:cubicBezTo>
                      <a:cubicBezTo>
                        <a:pt x="204435" y="656440"/>
                        <a:pt x="204515" y="655717"/>
                        <a:pt x="204033" y="655476"/>
                      </a:cubicBezTo>
                      <a:cubicBezTo>
                        <a:pt x="201543" y="659252"/>
                        <a:pt x="200659" y="660698"/>
                        <a:pt x="202025" y="660457"/>
                      </a:cubicBezTo>
                      <a:cubicBezTo>
                        <a:pt x="202105" y="661019"/>
                        <a:pt x="202427" y="661260"/>
                        <a:pt x="202748" y="661099"/>
                      </a:cubicBezTo>
                      <a:cubicBezTo>
                        <a:pt x="203631" y="660778"/>
                        <a:pt x="205399" y="659091"/>
                        <a:pt x="205399" y="659091"/>
                      </a:cubicBezTo>
                      <a:cubicBezTo>
                        <a:pt x="205399" y="659091"/>
                        <a:pt x="206363" y="657645"/>
                        <a:pt x="205077" y="657645"/>
                      </a:cubicBezTo>
                      <a:cubicBezTo>
                        <a:pt x="205479" y="657243"/>
                        <a:pt x="206363" y="656360"/>
                        <a:pt x="208210" y="656360"/>
                      </a:cubicBezTo>
                      <a:moveTo>
                        <a:pt x="173990" y="614991"/>
                      </a:moveTo>
                      <a:cubicBezTo>
                        <a:pt x="174071" y="614991"/>
                        <a:pt x="174071" y="614991"/>
                        <a:pt x="174151" y="614991"/>
                      </a:cubicBezTo>
                      <a:cubicBezTo>
                        <a:pt x="174071" y="611778"/>
                        <a:pt x="173910" y="611376"/>
                        <a:pt x="173830" y="611296"/>
                      </a:cubicBezTo>
                      <a:cubicBezTo>
                        <a:pt x="173508" y="611055"/>
                        <a:pt x="173107" y="612662"/>
                        <a:pt x="172544" y="616196"/>
                      </a:cubicBezTo>
                      <a:cubicBezTo>
                        <a:pt x="172705" y="615875"/>
                        <a:pt x="173348" y="615071"/>
                        <a:pt x="173990" y="614991"/>
                      </a:cubicBezTo>
                      <a:moveTo>
                        <a:pt x="1634433" y="576594"/>
                      </a:moveTo>
                      <a:cubicBezTo>
                        <a:pt x="1634433" y="576594"/>
                        <a:pt x="1634433" y="576514"/>
                        <a:pt x="1634433" y="576514"/>
                      </a:cubicBezTo>
                      <a:cubicBezTo>
                        <a:pt x="1634433" y="576514"/>
                        <a:pt x="1634433" y="576594"/>
                        <a:pt x="1634433" y="576594"/>
                      </a:cubicBezTo>
                      <a:cubicBezTo>
                        <a:pt x="1634192" y="576996"/>
                        <a:pt x="1633951" y="577398"/>
                        <a:pt x="1633710" y="577880"/>
                      </a:cubicBezTo>
                      <a:cubicBezTo>
                        <a:pt x="1634112" y="578442"/>
                        <a:pt x="1634433" y="578843"/>
                        <a:pt x="1634835" y="579486"/>
                      </a:cubicBezTo>
                      <a:cubicBezTo>
                        <a:pt x="1634674" y="579165"/>
                        <a:pt x="1634273" y="577960"/>
                        <a:pt x="1634433" y="576594"/>
                      </a:cubicBezTo>
                      <a:moveTo>
                        <a:pt x="164190" y="538599"/>
                      </a:moveTo>
                      <a:cubicBezTo>
                        <a:pt x="164271" y="538439"/>
                        <a:pt x="174231" y="522373"/>
                        <a:pt x="174553" y="521730"/>
                      </a:cubicBezTo>
                      <a:lnTo>
                        <a:pt x="173910" y="522774"/>
                      </a:lnTo>
                      <a:cubicBezTo>
                        <a:pt x="167725" y="532574"/>
                        <a:pt x="164190" y="538599"/>
                        <a:pt x="164190" y="538599"/>
                      </a:cubicBezTo>
                      <a:moveTo>
                        <a:pt x="226284" y="674594"/>
                      </a:moveTo>
                      <a:lnTo>
                        <a:pt x="226525" y="675478"/>
                      </a:lnTo>
                      <a:cubicBezTo>
                        <a:pt x="231907" y="663429"/>
                        <a:pt x="232228" y="662706"/>
                        <a:pt x="231827" y="662224"/>
                      </a:cubicBezTo>
                      <a:cubicBezTo>
                        <a:pt x="231827" y="662224"/>
                        <a:pt x="231746" y="662224"/>
                        <a:pt x="231746" y="662224"/>
                      </a:cubicBezTo>
                      <a:cubicBezTo>
                        <a:pt x="230300" y="662867"/>
                        <a:pt x="229899" y="664393"/>
                        <a:pt x="228854" y="665437"/>
                      </a:cubicBezTo>
                      <a:cubicBezTo>
                        <a:pt x="228051" y="666160"/>
                        <a:pt x="227328" y="666481"/>
                        <a:pt x="227168" y="666562"/>
                      </a:cubicBezTo>
                      <a:cubicBezTo>
                        <a:pt x="227087" y="666562"/>
                        <a:pt x="226927" y="666562"/>
                        <a:pt x="226846" y="666642"/>
                      </a:cubicBezTo>
                      <a:cubicBezTo>
                        <a:pt x="226605" y="667124"/>
                        <a:pt x="225882" y="670417"/>
                        <a:pt x="225079" y="675960"/>
                      </a:cubicBezTo>
                      <a:cubicBezTo>
                        <a:pt x="225481" y="675558"/>
                        <a:pt x="225963" y="674996"/>
                        <a:pt x="226284" y="674594"/>
                      </a:cubicBezTo>
                      <a:moveTo>
                        <a:pt x="168930" y="580048"/>
                      </a:moveTo>
                      <a:cubicBezTo>
                        <a:pt x="170376" y="578121"/>
                        <a:pt x="170858" y="576434"/>
                        <a:pt x="171018" y="575711"/>
                      </a:cubicBezTo>
                      <a:cubicBezTo>
                        <a:pt x="170938" y="575791"/>
                        <a:pt x="170938" y="575871"/>
                        <a:pt x="170858" y="575952"/>
                      </a:cubicBezTo>
                      <a:cubicBezTo>
                        <a:pt x="169171" y="578603"/>
                        <a:pt x="167885" y="580048"/>
                        <a:pt x="166520" y="580611"/>
                      </a:cubicBezTo>
                      <a:cubicBezTo>
                        <a:pt x="166279" y="581494"/>
                        <a:pt x="166118" y="582458"/>
                        <a:pt x="167082" y="581896"/>
                      </a:cubicBezTo>
                      <a:cubicBezTo>
                        <a:pt x="167404" y="581655"/>
                        <a:pt x="167966" y="581334"/>
                        <a:pt x="168930" y="580048"/>
                      </a:cubicBezTo>
                      <a:moveTo>
                        <a:pt x="1909396" y="396338"/>
                      </a:moveTo>
                      <a:cubicBezTo>
                        <a:pt x="1907227" y="394250"/>
                        <a:pt x="1904817" y="394491"/>
                        <a:pt x="1904014" y="394571"/>
                      </a:cubicBezTo>
                      <a:cubicBezTo>
                        <a:pt x="1904094" y="394651"/>
                        <a:pt x="1904175" y="394732"/>
                        <a:pt x="1904255" y="394732"/>
                      </a:cubicBezTo>
                      <a:cubicBezTo>
                        <a:pt x="1905299" y="395696"/>
                        <a:pt x="1906263" y="396418"/>
                        <a:pt x="1907468" y="397302"/>
                      </a:cubicBezTo>
                      <a:cubicBezTo>
                        <a:pt x="1908593" y="396740"/>
                        <a:pt x="1909717" y="397302"/>
                        <a:pt x="1911083" y="399230"/>
                      </a:cubicBezTo>
                      <a:cubicBezTo>
                        <a:pt x="1911163" y="399310"/>
                        <a:pt x="1911324" y="399391"/>
                        <a:pt x="1911404" y="399471"/>
                      </a:cubicBezTo>
                      <a:cubicBezTo>
                        <a:pt x="1911163" y="398989"/>
                        <a:pt x="1910601" y="397543"/>
                        <a:pt x="1909396" y="396338"/>
                      </a:cubicBezTo>
                      <a:moveTo>
                        <a:pt x="227007" y="650014"/>
                      </a:moveTo>
                      <a:cubicBezTo>
                        <a:pt x="227168" y="649773"/>
                        <a:pt x="227489" y="649452"/>
                        <a:pt x="227649" y="649211"/>
                      </a:cubicBezTo>
                      <a:cubicBezTo>
                        <a:pt x="225802" y="651139"/>
                        <a:pt x="224276" y="651781"/>
                        <a:pt x="222428" y="651460"/>
                      </a:cubicBezTo>
                      <a:cubicBezTo>
                        <a:pt x="222910" y="651058"/>
                        <a:pt x="223472" y="650496"/>
                        <a:pt x="223874" y="650094"/>
                      </a:cubicBezTo>
                      <a:lnTo>
                        <a:pt x="223312" y="650014"/>
                      </a:lnTo>
                      <a:cubicBezTo>
                        <a:pt x="224758" y="647202"/>
                        <a:pt x="225159" y="646239"/>
                        <a:pt x="224999" y="645757"/>
                      </a:cubicBezTo>
                      <a:cubicBezTo>
                        <a:pt x="224999" y="645757"/>
                        <a:pt x="224918" y="645757"/>
                        <a:pt x="224918" y="645757"/>
                      </a:cubicBezTo>
                      <a:cubicBezTo>
                        <a:pt x="224436" y="645917"/>
                        <a:pt x="223794" y="646399"/>
                        <a:pt x="222348" y="647845"/>
                      </a:cubicBezTo>
                      <a:cubicBezTo>
                        <a:pt x="222187" y="647765"/>
                        <a:pt x="221946" y="647604"/>
                        <a:pt x="221786" y="647524"/>
                      </a:cubicBezTo>
                      <a:cubicBezTo>
                        <a:pt x="221705" y="648408"/>
                        <a:pt x="221705" y="649211"/>
                        <a:pt x="223071" y="648167"/>
                      </a:cubicBezTo>
                      <a:cubicBezTo>
                        <a:pt x="223231" y="648006"/>
                        <a:pt x="223472" y="647845"/>
                        <a:pt x="223633" y="647685"/>
                      </a:cubicBezTo>
                      <a:cubicBezTo>
                        <a:pt x="221223" y="651460"/>
                        <a:pt x="219938" y="654271"/>
                        <a:pt x="217930" y="659493"/>
                      </a:cubicBezTo>
                      <a:cubicBezTo>
                        <a:pt x="219697" y="657967"/>
                        <a:pt x="221625" y="656681"/>
                        <a:pt x="223231" y="654994"/>
                      </a:cubicBezTo>
                      <a:cubicBezTo>
                        <a:pt x="224677" y="653468"/>
                        <a:pt x="225722" y="651621"/>
                        <a:pt x="227007" y="650014"/>
                      </a:cubicBezTo>
                      <a:moveTo>
                        <a:pt x="1834852" y="450961"/>
                      </a:moveTo>
                      <a:cubicBezTo>
                        <a:pt x="1834370" y="450238"/>
                        <a:pt x="1833245" y="450319"/>
                        <a:pt x="1832763" y="450319"/>
                      </a:cubicBezTo>
                      <a:cubicBezTo>
                        <a:pt x="1832844" y="450479"/>
                        <a:pt x="1832924" y="450640"/>
                        <a:pt x="1833004" y="450720"/>
                      </a:cubicBezTo>
                      <a:cubicBezTo>
                        <a:pt x="1833888" y="452487"/>
                        <a:pt x="1833245" y="453130"/>
                        <a:pt x="1830835" y="452969"/>
                      </a:cubicBezTo>
                      <a:cubicBezTo>
                        <a:pt x="1831478" y="453451"/>
                        <a:pt x="1832281" y="453853"/>
                        <a:pt x="1833486" y="453451"/>
                      </a:cubicBezTo>
                      <a:cubicBezTo>
                        <a:pt x="1833888" y="453291"/>
                        <a:pt x="1834611" y="452889"/>
                        <a:pt x="1835093" y="452246"/>
                      </a:cubicBezTo>
                      <a:cubicBezTo>
                        <a:pt x="1835093" y="452246"/>
                        <a:pt x="1835173" y="451845"/>
                        <a:pt x="1835093" y="451443"/>
                      </a:cubicBezTo>
                      <a:cubicBezTo>
                        <a:pt x="1835093" y="451363"/>
                        <a:pt x="1834932" y="451122"/>
                        <a:pt x="1834852" y="450961"/>
                      </a:cubicBezTo>
                      <a:moveTo>
                        <a:pt x="1792037" y="468633"/>
                      </a:moveTo>
                      <a:lnTo>
                        <a:pt x="1792117" y="468071"/>
                      </a:lnTo>
                      <a:lnTo>
                        <a:pt x="1791956" y="468232"/>
                      </a:lnTo>
                      <a:cubicBezTo>
                        <a:pt x="1790109" y="470320"/>
                        <a:pt x="1789386" y="472971"/>
                        <a:pt x="1789948" y="475943"/>
                      </a:cubicBezTo>
                      <a:cubicBezTo>
                        <a:pt x="1790029" y="475542"/>
                        <a:pt x="1790109" y="474417"/>
                        <a:pt x="1790671" y="472328"/>
                      </a:cubicBezTo>
                      <a:cubicBezTo>
                        <a:pt x="1791073" y="471124"/>
                        <a:pt x="1791635" y="469919"/>
                        <a:pt x="1792037" y="468633"/>
                      </a:cubicBezTo>
                      <a:moveTo>
                        <a:pt x="1798463" y="469035"/>
                      </a:moveTo>
                      <a:cubicBezTo>
                        <a:pt x="1798543" y="469035"/>
                        <a:pt x="1798543" y="469035"/>
                        <a:pt x="1798624" y="469035"/>
                      </a:cubicBezTo>
                      <a:cubicBezTo>
                        <a:pt x="1796375" y="468473"/>
                        <a:pt x="1795170" y="467589"/>
                        <a:pt x="1794206" y="465983"/>
                      </a:cubicBezTo>
                      <a:cubicBezTo>
                        <a:pt x="1794206" y="466063"/>
                        <a:pt x="1794125" y="466143"/>
                        <a:pt x="1794125" y="466143"/>
                      </a:cubicBezTo>
                      <a:cubicBezTo>
                        <a:pt x="1793804" y="467027"/>
                        <a:pt x="1793643" y="467911"/>
                        <a:pt x="1793483" y="468874"/>
                      </a:cubicBezTo>
                      <a:cubicBezTo>
                        <a:pt x="1795009" y="468955"/>
                        <a:pt x="1796696" y="469115"/>
                        <a:pt x="1798463" y="469035"/>
                      </a:cubicBezTo>
                      <a:moveTo>
                        <a:pt x="194635" y="488394"/>
                      </a:moveTo>
                      <a:cubicBezTo>
                        <a:pt x="194554" y="488474"/>
                        <a:pt x="194474" y="488635"/>
                        <a:pt x="194394" y="488715"/>
                      </a:cubicBezTo>
                      <a:cubicBezTo>
                        <a:pt x="196161" y="486305"/>
                        <a:pt x="201302" y="479397"/>
                        <a:pt x="201302" y="479076"/>
                      </a:cubicBezTo>
                      <a:cubicBezTo>
                        <a:pt x="199133" y="482129"/>
                        <a:pt x="196884" y="485261"/>
                        <a:pt x="194635" y="488394"/>
                      </a:cubicBezTo>
                      <a:moveTo>
                        <a:pt x="239056" y="637242"/>
                      </a:moveTo>
                      <a:cubicBezTo>
                        <a:pt x="239136" y="637081"/>
                        <a:pt x="239217" y="636920"/>
                        <a:pt x="239377" y="636760"/>
                      </a:cubicBezTo>
                      <a:cubicBezTo>
                        <a:pt x="239297" y="636840"/>
                        <a:pt x="239217" y="636920"/>
                        <a:pt x="239217" y="637001"/>
                      </a:cubicBezTo>
                      <a:cubicBezTo>
                        <a:pt x="237851" y="638367"/>
                        <a:pt x="236887" y="638849"/>
                        <a:pt x="236325" y="639009"/>
                      </a:cubicBezTo>
                      <a:cubicBezTo>
                        <a:pt x="236245" y="639009"/>
                        <a:pt x="236164" y="639009"/>
                        <a:pt x="236084" y="639089"/>
                      </a:cubicBezTo>
                      <a:cubicBezTo>
                        <a:pt x="235281" y="639973"/>
                        <a:pt x="234638" y="640937"/>
                        <a:pt x="234236" y="642142"/>
                      </a:cubicBezTo>
                      <a:cubicBezTo>
                        <a:pt x="236405" y="640535"/>
                        <a:pt x="238253" y="638527"/>
                        <a:pt x="239056" y="637242"/>
                      </a:cubicBezTo>
                      <a:moveTo>
                        <a:pt x="1873248" y="429674"/>
                      </a:moveTo>
                      <a:cubicBezTo>
                        <a:pt x="1868188" y="424051"/>
                        <a:pt x="1847463" y="419955"/>
                        <a:pt x="1843688" y="423891"/>
                      </a:cubicBezTo>
                      <a:cubicBezTo>
                        <a:pt x="1842242" y="426300"/>
                        <a:pt x="1842884" y="429514"/>
                        <a:pt x="1842965" y="429514"/>
                      </a:cubicBezTo>
                      <a:cubicBezTo>
                        <a:pt x="1843286" y="430719"/>
                        <a:pt x="1844411" y="431201"/>
                        <a:pt x="1845053" y="432084"/>
                      </a:cubicBezTo>
                      <a:cubicBezTo>
                        <a:pt x="1845616" y="432887"/>
                        <a:pt x="1845696" y="433932"/>
                        <a:pt x="1846419" y="434655"/>
                      </a:cubicBezTo>
                      <a:cubicBezTo>
                        <a:pt x="1846499" y="434735"/>
                        <a:pt x="1864814" y="443812"/>
                        <a:pt x="1865778" y="444053"/>
                      </a:cubicBezTo>
                      <a:cubicBezTo>
                        <a:pt x="1866581" y="444294"/>
                        <a:pt x="1870758" y="445579"/>
                        <a:pt x="1874293" y="450078"/>
                      </a:cubicBezTo>
                      <a:cubicBezTo>
                        <a:pt x="1877747" y="447989"/>
                        <a:pt x="1877024" y="445178"/>
                        <a:pt x="1874614" y="441001"/>
                      </a:cubicBezTo>
                      <a:cubicBezTo>
                        <a:pt x="1875257" y="438992"/>
                        <a:pt x="1877024" y="434012"/>
                        <a:pt x="1873248" y="429674"/>
                      </a:cubicBezTo>
                      <a:moveTo>
                        <a:pt x="1799829" y="457066"/>
                      </a:moveTo>
                      <a:lnTo>
                        <a:pt x="1799025" y="456102"/>
                      </a:lnTo>
                      <a:lnTo>
                        <a:pt x="1799025" y="456504"/>
                      </a:lnTo>
                      <a:cubicBezTo>
                        <a:pt x="1799025" y="459958"/>
                        <a:pt x="1799025" y="463974"/>
                        <a:pt x="1798865" y="468392"/>
                      </a:cubicBezTo>
                      <a:cubicBezTo>
                        <a:pt x="1799909" y="468714"/>
                        <a:pt x="1803042" y="469758"/>
                        <a:pt x="1808343" y="469035"/>
                      </a:cubicBezTo>
                      <a:cubicBezTo>
                        <a:pt x="1807540" y="468633"/>
                        <a:pt x="1806496" y="468152"/>
                        <a:pt x="1805773" y="467830"/>
                      </a:cubicBezTo>
                      <a:lnTo>
                        <a:pt x="1806014" y="467429"/>
                      </a:lnTo>
                      <a:cubicBezTo>
                        <a:pt x="1803443" y="468232"/>
                        <a:pt x="1801194" y="468714"/>
                        <a:pt x="1802399" y="466384"/>
                      </a:cubicBezTo>
                      <a:cubicBezTo>
                        <a:pt x="1802560" y="466063"/>
                        <a:pt x="1802721" y="465822"/>
                        <a:pt x="1802881" y="465501"/>
                      </a:cubicBezTo>
                      <a:cubicBezTo>
                        <a:pt x="1800552" y="464215"/>
                        <a:pt x="1798142" y="462047"/>
                        <a:pt x="1799829" y="457066"/>
                      </a:cubicBezTo>
                      <a:moveTo>
                        <a:pt x="1815011" y="447668"/>
                      </a:moveTo>
                      <a:cubicBezTo>
                        <a:pt x="1815091" y="447668"/>
                        <a:pt x="1815252" y="447668"/>
                        <a:pt x="1815332" y="447668"/>
                      </a:cubicBezTo>
                      <a:cubicBezTo>
                        <a:pt x="1812922" y="446623"/>
                        <a:pt x="1810432" y="445820"/>
                        <a:pt x="1808424" y="447347"/>
                      </a:cubicBezTo>
                      <a:cubicBezTo>
                        <a:pt x="1808183" y="447588"/>
                        <a:pt x="1807861" y="447829"/>
                        <a:pt x="1807701" y="448070"/>
                      </a:cubicBezTo>
                      <a:cubicBezTo>
                        <a:pt x="1809870" y="449997"/>
                        <a:pt x="1812199" y="452006"/>
                        <a:pt x="1812199" y="451122"/>
                      </a:cubicBezTo>
                      <a:cubicBezTo>
                        <a:pt x="1812199" y="450720"/>
                        <a:pt x="1811637" y="449756"/>
                        <a:pt x="1811316" y="449114"/>
                      </a:cubicBezTo>
                      <a:cubicBezTo>
                        <a:pt x="1811316" y="449274"/>
                        <a:pt x="1811396" y="449515"/>
                        <a:pt x="1811396" y="449676"/>
                      </a:cubicBezTo>
                      <a:cubicBezTo>
                        <a:pt x="1810030" y="447909"/>
                        <a:pt x="1810994" y="447427"/>
                        <a:pt x="1815011" y="447668"/>
                      </a:cubicBezTo>
                      <a:moveTo>
                        <a:pt x="1809548" y="444455"/>
                      </a:moveTo>
                      <a:lnTo>
                        <a:pt x="1808022" y="442607"/>
                      </a:lnTo>
                      <a:lnTo>
                        <a:pt x="1808022" y="442687"/>
                      </a:lnTo>
                      <a:cubicBezTo>
                        <a:pt x="1808504" y="443330"/>
                        <a:pt x="1808906" y="443892"/>
                        <a:pt x="1809548" y="444455"/>
                      </a:cubicBezTo>
                      <a:moveTo>
                        <a:pt x="1817661" y="444455"/>
                      </a:moveTo>
                      <a:cubicBezTo>
                        <a:pt x="1817742" y="444455"/>
                        <a:pt x="1817902" y="444374"/>
                        <a:pt x="1817983" y="444374"/>
                      </a:cubicBezTo>
                      <a:cubicBezTo>
                        <a:pt x="1815011" y="442446"/>
                        <a:pt x="1811958" y="441322"/>
                        <a:pt x="1808263" y="440599"/>
                      </a:cubicBezTo>
                      <a:cubicBezTo>
                        <a:pt x="1808343" y="440599"/>
                        <a:pt x="1808504" y="440679"/>
                        <a:pt x="1808584" y="440679"/>
                      </a:cubicBezTo>
                      <a:cubicBezTo>
                        <a:pt x="1810512" y="441081"/>
                        <a:pt x="1813083" y="441643"/>
                        <a:pt x="1812038" y="442366"/>
                      </a:cubicBezTo>
                      <a:cubicBezTo>
                        <a:pt x="1811717" y="442607"/>
                        <a:pt x="1811717" y="442607"/>
                        <a:pt x="1809548" y="442607"/>
                      </a:cubicBezTo>
                      <a:cubicBezTo>
                        <a:pt x="1810271" y="443410"/>
                        <a:pt x="1810271" y="443892"/>
                        <a:pt x="1809548" y="444535"/>
                      </a:cubicBezTo>
                      <a:cubicBezTo>
                        <a:pt x="1811637" y="446222"/>
                        <a:pt x="1814047" y="447025"/>
                        <a:pt x="1817902" y="447507"/>
                      </a:cubicBezTo>
                      <a:cubicBezTo>
                        <a:pt x="1818224" y="446784"/>
                        <a:pt x="1818224" y="445901"/>
                        <a:pt x="1815252" y="445579"/>
                      </a:cubicBezTo>
                      <a:cubicBezTo>
                        <a:pt x="1816135" y="444776"/>
                        <a:pt x="1817260" y="444535"/>
                        <a:pt x="1817661" y="444455"/>
                      </a:cubicBezTo>
                      <a:moveTo>
                        <a:pt x="1673633" y="520043"/>
                      </a:moveTo>
                      <a:cubicBezTo>
                        <a:pt x="1673232" y="519481"/>
                        <a:pt x="1672348" y="519160"/>
                        <a:pt x="1671946" y="518999"/>
                      </a:cubicBezTo>
                      <a:cubicBezTo>
                        <a:pt x="1671946" y="518999"/>
                        <a:pt x="1671946" y="519079"/>
                        <a:pt x="1671946" y="519079"/>
                      </a:cubicBezTo>
                      <a:cubicBezTo>
                        <a:pt x="1672027" y="519963"/>
                        <a:pt x="1672509" y="520686"/>
                        <a:pt x="1673392" y="521329"/>
                      </a:cubicBezTo>
                      <a:cubicBezTo>
                        <a:pt x="1673633" y="521088"/>
                        <a:pt x="1674035" y="520606"/>
                        <a:pt x="1673633" y="520043"/>
                      </a:cubicBezTo>
                      <a:moveTo>
                        <a:pt x="1840234" y="418669"/>
                      </a:moveTo>
                      <a:cubicBezTo>
                        <a:pt x="1840153" y="418589"/>
                        <a:pt x="1839511" y="418268"/>
                        <a:pt x="1837020" y="417143"/>
                      </a:cubicBezTo>
                      <a:cubicBezTo>
                        <a:pt x="1837181" y="417304"/>
                        <a:pt x="1837422" y="417545"/>
                        <a:pt x="1837583" y="417706"/>
                      </a:cubicBezTo>
                      <a:cubicBezTo>
                        <a:pt x="1838225" y="417947"/>
                        <a:pt x="1838788" y="418188"/>
                        <a:pt x="1839430" y="418428"/>
                      </a:cubicBezTo>
                      <a:cubicBezTo>
                        <a:pt x="1839671" y="418509"/>
                        <a:pt x="1839912" y="418589"/>
                        <a:pt x="1840234" y="418669"/>
                      </a:cubicBezTo>
                      <a:cubicBezTo>
                        <a:pt x="1840234" y="418669"/>
                        <a:pt x="1840234" y="418669"/>
                        <a:pt x="1840234" y="418669"/>
                      </a:cubicBezTo>
                      <a:moveTo>
                        <a:pt x="1792278" y="449033"/>
                      </a:moveTo>
                      <a:lnTo>
                        <a:pt x="1791394" y="447909"/>
                      </a:lnTo>
                      <a:lnTo>
                        <a:pt x="1791153" y="448230"/>
                      </a:lnTo>
                      <a:lnTo>
                        <a:pt x="1789707" y="447025"/>
                      </a:lnTo>
                      <a:lnTo>
                        <a:pt x="1789788" y="447427"/>
                      </a:lnTo>
                      <a:cubicBezTo>
                        <a:pt x="1790270" y="448551"/>
                        <a:pt x="1790832" y="449274"/>
                        <a:pt x="1792197" y="450319"/>
                      </a:cubicBezTo>
                      <a:cubicBezTo>
                        <a:pt x="1791314" y="450399"/>
                        <a:pt x="1790109" y="450560"/>
                        <a:pt x="1789145" y="450720"/>
                      </a:cubicBezTo>
                      <a:lnTo>
                        <a:pt x="1792599" y="451202"/>
                      </a:lnTo>
                      <a:cubicBezTo>
                        <a:pt x="1789627" y="453291"/>
                        <a:pt x="1788663" y="452648"/>
                        <a:pt x="1787699" y="451443"/>
                      </a:cubicBezTo>
                      <a:cubicBezTo>
                        <a:pt x="1787137" y="451765"/>
                        <a:pt x="1786414" y="452246"/>
                        <a:pt x="1785852" y="452568"/>
                      </a:cubicBezTo>
                      <a:lnTo>
                        <a:pt x="1785048" y="451122"/>
                      </a:lnTo>
                      <a:cubicBezTo>
                        <a:pt x="1785370" y="452327"/>
                        <a:pt x="1785450" y="453210"/>
                        <a:pt x="1784807" y="453451"/>
                      </a:cubicBezTo>
                      <a:cubicBezTo>
                        <a:pt x="1788020" y="455138"/>
                        <a:pt x="1790511" y="456906"/>
                        <a:pt x="1791314" y="463412"/>
                      </a:cubicBezTo>
                      <a:cubicBezTo>
                        <a:pt x="1792197" y="463894"/>
                        <a:pt x="1792760" y="464135"/>
                        <a:pt x="1793643" y="464537"/>
                      </a:cubicBezTo>
                      <a:cubicBezTo>
                        <a:pt x="1793242" y="463091"/>
                        <a:pt x="1793322" y="462930"/>
                        <a:pt x="1793483" y="462127"/>
                      </a:cubicBezTo>
                      <a:lnTo>
                        <a:pt x="1792519" y="462368"/>
                      </a:lnTo>
                      <a:cubicBezTo>
                        <a:pt x="1791073" y="459476"/>
                        <a:pt x="1790350" y="457548"/>
                        <a:pt x="1789306" y="454174"/>
                      </a:cubicBezTo>
                      <a:cubicBezTo>
                        <a:pt x="1790350" y="453853"/>
                        <a:pt x="1790912" y="453692"/>
                        <a:pt x="1792438" y="453050"/>
                      </a:cubicBezTo>
                      <a:cubicBezTo>
                        <a:pt x="1792358" y="452969"/>
                        <a:pt x="1792358" y="452969"/>
                        <a:pt x="1792278" y="452889"/>
                      </a:cubicBezTo>
                      <a:cubicBezTo>
                        <a:pt x="1793483" y="451925"/>
                        <a:pt x="1795089" y="452407"/>
                        <a:pt x="1795812" y="452648"/>
                      </a:cubicBezTo>
                      <a:cubicBezTo>
                        <a:pt x="1793804" y="451845"/>
                        <a:pt x="1793804" y="451845"/>
                        <a:pt x="1792278" y="449033"/>
                      </a:cubicBezTo>
                      <a:moveTo>
                        <a:pt x="1669778" y="512171"/>
                      </a:moveTo>
                      <a:cubicBezTo>
                        <a:pt x="1669376" y="511529"/>
                        <a:pt x="1668653" y="511529"/>
                        <a:pt x="1668091" y="511529"/>
                      </a:cubicBezTo>
                      <a:cubicBezTo>
                        <a:pt x="1668091" y="511609"/>
                        <a:pt x="1668171" y="511770"/>
                        <a:pt x="1668171" y="511930"/>
                      </a:cubicBezTo>
                      <a:cubicBezTo>
                        <a:pt x="1668974" y="516027"/>
                        <a:pt x="1670822" y="518517"/>
                        <a:pt x="1674919" y="520686"/>
                      </a:cubicBezTo>
                      <a:cubicBezTo>
                        <a:pt x="1675079" y="520606"/>
                        <a:pt x="1675240" y="520525"/>
                        <a:pt x="1675401" y="520445"/>
                      </a:cubicBezTo>
                      <a:cubicBezTo>
                        <a:pt x="1674035" y="519240"/>
                        <a:pt x="1672910" y="518116"/>
                        <a:pt x="1671625" y="516268"/>
                      </a:cubicBezTo>
                      <a:cubicBezTo>
                        <a:pt x="1670661" y="514822"/>
                        <a:pt x="1670099" y="513697"/>
                        <a:pt x="1670019" y="512974"/>
                      </a:cubicBezTo>
                      <a:cubicBezTo>
                        <a:pt x="1670019" y="512653"/>
                        <a:pt x="1669858" y="512332"/>
                        <a:pt x="1669778" y="512171"/>
                      </a:cubicBezTo>
                      <a:moveTo>
                        <a:pt x="1869473" y="383486"/>
                      </a:moveTo>
                      <a:lnTo>
                        <a:pt x="1868589" y="381558"/>
                      </a:lnTo>
                      <a:cubicBezTo>
                        <a:pt x="1865858" y="380192"/>
                        <a:pt x="1864653" y="379710"/>
                        <a:pt x="1864653" y="379871"/>
                      </a:cubicBezTo>
                      <a:cubicBezTo>
                        <a:pt x="1864653" y="380192"/>
                        <a:pt x="1866662" y="381558"/>
                        <a:pt x="1869473" y="383486"/>
                      </a:cubicBezTo>
                      <a:moveTo>
                        <a:pt x="254559" y="620855"/>
                      </a:moveTo>
                      <a:cubicBezTo>
                        <a:pt x="255764" y="619088"/>
                        <a:pt x="256166" y="617160"/>
                        <a:pt x="256327" y="616437"/>
                      </a:cubicBezTo>
                      <a:cubicBezTo>
                        <a:pt x="256246" y="616517"/>
                        <a:pt x="256246" y="616598"/>
                        <a:pt x="256166" y="616598"/>
                      </a:cubicBezTo>
                      <a:cubicBezTo>
                        <a:pt x="254399" y="618927"/>
                        <a:pt x="252953" y="620935"/>
                        <a:pt x="251427" y="623425"/>
                      </a:cubicBezTo>
                      <a:cubicBezTo>
                        <a:pt x="251909" y="623345"/>
                        <a:pt x="253274" y="622703"/>
                        <a:pt x="254559" y="620855"/>
                      </a:cubicBezTo>
                      <a:moveTo>
                        <a:pt x="222107" y="591375"/>
                      </a:moveTo>
                      <a:cubicBezTo>
                        <a:pt x="222348" y="591375"/>
                        <a:pt x="222669" y="591294"/>
                        <a:pt x="222910" y="591294"/>
                      </a:cubicBezTo>
                      <a:cubicBezTo>
                        <a:pt x="222428" y="589848"/>
                        <a:pt x="221786" y="587840"/>
                        <a:pt x="220982" y="584868"/>
                      </a:cubicBezTo>
                      <a:cubicBezTo>
                        <a:pt x="220500" y="584868"/>
                        <a:pt x="219938" y="584788"/>
                        <a:pt x="219456" y="584788"/>
                      </a:cubicBezTo>
                      <a:cubicBezTo>
                        <a:pt x="215520" y="585189"/>
                        <a:pt x="212066" y="586073"/>
                        <a:pt x="204033" y="590170"/>
                      </a:cubicBezTo>
                      <a:cubicBezTo>
                        <a:pt x="205158" y="581494"/>
                        <a:pt x="204676" y="572819"/>
                        <a:pt x="205238" y="564063"/>
                      </a:cubicBezTo>
                      <a:cubicBezTo>
                        <a:pt x="203953" y="568883"/>
                        <a:pt x="202266" y="575550"/>
                        <a:pt x="200177" y="578442"/>
                      </a:cubicBezTo>
                      <a:cubicBezTo>
                        <a:pt x="197687" y="581976"/>
                        <a:pt x="193108" y="582619"/>
                        <a:pt x="190136" y="585430"/>
                      </a:cubicBezTo>
                      <a:cubicBezTo>
                        <a:pt x="190136" y="585430"/>
                        <a:pt x="187485" y="587921"/>
                        <a:pt x="187004" y="589607"/>
                      </a:cubicBezTo>
                      <a:cubicBezTo>
                        <a:pt x="186923" y="589929"/>
                        <a:pt x="186441" y="591535"/>
                        <a:pt x="185156" y="592740"/>
                      </a:cubicBezTo>
                      <a:cubicBezTo>
                        <a:pt x="184995" y="592820"/>
                        <a:pt x="184835" y="592981"/>
                        <a:pt x="184754" y="593142"/>
                      </a:cubicBezTo>
                      <a:cubicBezTo>
                        <a:pt x="185477" y="587760"/>
                        <a:pt x="184915" y="586314"/>
                        <a:pt x="182264" y="587278"/>
                      </a:cubicBezTo>
                      <a:cubicBezTo>
                        <a:pt x="182746" y="585350"/>
                        <a:pt x="182907" y="584225"/>
                        <a:pt x="182987" y="582940"/>
                      </a:cubicBezTo>
                      <a:cubicBezTo>
                        <a:pt x="179372" y="591696"/>
                        <a:pt x="181541" y="597319"/>
                        <a:pt x="184031" y="600532"/>
                      </a:cubicBezTo>
                      <a:cubicBezTo>
                        <a:pt x="185317" y="602219"/>
                        <a:pt x="188369" y="606155"/>
                        <a:pt x="197848" y="602058"/>
                      </a:cubicBezTo>
                      <a:cubicBezTo>
                        <a:pt x="202025" y="600291"/>
                        <a:pt x="206202" y="597319"/>
                        <a:pt x="208772" y="595552"/>
                      </a:cubicBezTo>
                      <a:cubicBezTo>
                        <a:pt x="208612" y="595391"/>
                        <a:pt x="208451" y="595230"/>
                        <a:pt x="208290" y="595070"/>
                      </a:cubicBezTo>
                      <a:cubicBezTo>
                        <a:pt x="212307" y="593142"/>
                        <a:pt x="215520" y="591214"/>
                        <a:pt x="217769" y="589286"/>
                      </a:cubicBezTo>
                      <a:cubicBezTo>
                        <a:pt x="218010" y="589848"/>
                        <a:pt x="219215" y="591535"/>
                        <a:pt x="222107" y="591375"/>
                      </a:cubicBezTo>
                      <a:moveTo>
                        <a:pt x="1817340" y="414653"/>
                      </a:moveTo>
                      <a:cubicBezTo>
                        <a:pt x="1816457" y="413689"/>
                        <a:pt x="1815252" y="413528"/>
                        <a:pt x="1813886" y="413448"/>
                      </a:cubicBezTo>
                      <a:cubicBezTo>
                        <a:pt x="1813886" y="413689"/>
                        <a:pt x="1813966" y="414091"/>
                        <a:pt x="1813966" y="414332"/>
                      </a:cubicBezTo>
                      <a:cubicBezTo>
                        <a:pt x="1814850" y="415697"/>
                        <a:pt x="1816135" y="416983"/>
                        <a:pt x="1817902" y="415296"/>
                      </a:cubicBezTo>
                      <a:cubicBezTo>
                        <a:pt x="1817661" y="415055"/>
                        <a:pt x="1817501" y="414814"/>
                        <a:pt x="1817340" y="414653"/>
                      </a:cubicBezTo>
                      <a:moveTo>
                        <a:pt x="223713" y="593704"/>
                      </a:moveTo>
                      <a:cubicBezTo>
                        <a:pt x="223713" y="593784"/>
                        <a:pt x="223794" y="593945"/>
                        <a:pt x="223794" y="594025"/>
                      </a:cubicBezTo>
                      <a:cubicBezTo>
                        <a:pt x="225079" y="589848"/>
                        <a:pt x="224999" y="587519"/>
                        <a:pt x="223472" y="585912"/>
                      </a:cubicBezTo>
                      <a:cubicBezTo>
                        <a:pt x="222749" y="585270"/>
                        <a:pt x="222107" y="585029"/>
                        <a:pt x="220902" y="584788"/>
                      </a:cubicBezTo>
                      <a:cubicBezTo>
                        <a:pt x="221304" y="585912"/>
                        <a:pt x="222268" y="589286"/>
                        <a:pt x="223713" y="593704"/>
                      </a:cubicBezTo>
                      <a:moveTo>
                        <a:pt x="1882727" y="401399"/>
                      </a:moveTo>
                      <a:cubicBezTo>
                        <a:pt x="1882566" y="400676"/>
                        <a:pt x="1882245" y="399712"/>
                        <a:pt x="1882084" y="398989"/>
                      </a:cubicBezTo>
                      <a:cubicBezTo>
                        <a:pt x="1872043" y="394571"/>
                        <a:pt x="1863127" y="389832"/>
                        <a:pt x="1855737" y="384851"/>
                      </a:cubicBezTo>
                      <a:cubicBezTo>
                        <a:pt x="1855255" y="384530"/>
                        <a:pt x="1854693" y="383968"/>
                        <a:pt x="1854130" y="383807"/>
                      </a:cubicBezTo>
                      <a:cubicBezTo>
                        <a:pt x="1853889" y="383727"/>
                        <a:pt x="1853407" y="383887"/>
                        <a:pt x="1853166" y="383887"/>
                      </a:cubicBezTo>
                      <a:cubicBezTo>
                        <a:pt x="1853166" y="383887"/>
                        <a:pt x="1849311" y="384289"/>
                        <a:pt x="1843527" y="384209"/>
                      </a:cubicBezTo>
                      <a:cubicBezTo>
                        <a:pt x="1843768" y="384450"/>
                        <a:pt x="1844089" y="384691"/>
                        <a:pt x="1844330" y="384932"/>
                      </a:cubicBezTo>
                      <a:cubicBezTo>
                        <a:pt x="1847222" y="387101"/>
                        <a:pt x="1850034" y="388065"/>
                        <a:pt x="1852283" y="387663"/>
                      </a:cubicBezTo>
                      <a:cubicBezTo>
                        <a:pt x="1862083" y="386056"/>
                        <a:pt x="1859834" y="390715"/>
                        <a:pt x="1859030" y="392482"/>
                      </a:cubicBezTo>
                      <a:cubicBezTo>
                        <a:pt x="1859753" y="392563"/>
                        <a:pt x="1859753" y="392563"/>
                        <a:pt x="1860075" y="392643"/>
                      </a:cubicBezTo>
                      <a:cubicBezTo>
                        <a:pt x="1859432" y="393607"/>
                        <a:pt x="1855175" y="394009"/>
                        <a:pt x="1854452" y="393687"/>
                      </a:cubicBezTo>
                      <a:cubicBezTo>
                        <a:pt x="1854452" y="393607"/>
                        <a:pt x="1854452" y="393446"/>
                        <a:pt x="1854371" y="393286"/>
                      </a:cubicBezTo>
                      <a:cubicBezTo>
                        <a:pt x="1854532" y="393045"/>
                        <a:pt x="1854773" y="392884"/>
                        <a:pt x="1855014" y="392723"/>
                      </a:cubicBezTo>
                      <a:cubicBezTo>
                        <a:pt x="1854452" y="392723"/>
                        <a:pt x="1849793" y="393045"/>
                        <a:pt x="1853568" y="396660"/>
                      </a:cubicBezTo>
                      <a:cubicBezTo>
                        <a:pt x="1854452" y="397463"/>
                        <a:pt x="1858950" y="401640"/>
                        <a:pt x="1863609" y="402363"/>
                      </a:cubicBezTo>
                      <a:cubicBezTo>
                        <a:pt x="1875337" y="404371"/>
                        <a:pt x="1884575" y="406218"/>
                        <a:pt x="1879112" y="408227"/>
                      </a:cubicBezTo>
                      <a:cubicBezTo>
                        <a:pt x="1880237" y="409432"/>
                        <a:pt x="1883771" y="413127"/>
                        <a:pt x="1883852" y="408066"/>
                      </a:cubicBezTo>
                      <a:cubicBezTo>
                        <a:pt x="1883852" y="407022"/>
                        <a:pt x="1883691" y="405014"/>
                        <a:pt x="1882727" y="401399"/>
                      </a:cubicBezTo>
                      <a:moveTo>
                        <a:pt x="284923" y="640937"/>
                      </a:moveTo>
                      <a:cubicBezTo>
                        <a:pt x="285004" y="640937"/>
                        <a:pt x="285084" y="640937"/>
                        <a:pt x="285164" y="640857"/>
                      </a:cubicBezTo>
                      <a:cubicBezTo>
                        <a:pt x="285405" y="637001"/>
                        <a:pt x="286851" y="633627"/>
                        <a:pt x="289743" y="629852"/>
                      </a:cubicBezTo>
                      <a:cubicBezTo>
                        <a:pt x="289582" y="629932"/>
                        <a:pt x="289422" y="630012"/>
                        <a:pt x="289341" y="630173"/>
                      </a:cubicBezTo>
                      <a:cubicBezTo>
                        <a:pt x="287173" y="631539"/>
                        <a:pt x="285566" y="631780"/>
                        <a:pt x="284040" y="631137"/>
                      </a:cubicBezTo>
                      <a:cubicBezTo>
                        <a:pt x="283959" y="631217"/>
                        <a:pt x="283799" y="631458"/>
                        <a:pt x="283718" y="631539"/>
                      </a:cubicBezTo>
                      <a:cubicBezTo>
                        <a:pt x="282754" y="631137"/>
                        <a:pt x="282433" y="630655"/>
                        <a:pt x="282353" y="630334"/>
                      </a:cubicBezTo>
                      <a:cubicBezTo>
                        <a:pt x="281871" y="632181"/>
                        <a:pt x="281389" y="633306"/>
                        <a:pt x="280264" y="635153"/>
                      </a:cubicBezTo>
                      <a:cubicBezTo>
                        <a:pt x="280827" y="634832"/>
                        <a:pt x="281550" y="634430"/>
                        <a:pt x="282112" y="634109"/>
                      </a:cubicBezTo>
                      <a:cubicBezTo>
                        <a:pt x="282273" y="635314"/>
                        <a:pt x="282192" y="636278"/>
                        <a:pt x="281871" y="637885"/>
                      </a:cubicBezTo>
                      <a:cubicBezTo>
                        <a:pt x="281630" y="637965"/>
                        <a:pt x="281309" y="637965"/>
                        <a:pt x="281068" y="638045"/>
                      </a:cubicBezTo>
                      <a:cubicBezTo>
                        <a:pt x="282513" y="641178"/>
                        <a:pt x="284843" y="640937"/>
                        <a:pt x="284923" y="640937"/>
                      </a:cubicBezTo>
                      <a:moveTo>
                        <a:pt x="1817099" y="410958"/>
                      </a:moveTo>
                      <a:cubicBezTo>
                        <a:pt x="1815171" y="409030"/>
                        <a:pt x="1811958" y="408468"/>
                        <a:pt x="1810914" y="408227"/>
                      </a:cubicBezTo>
                      <a:cubicBezTo>
                        <a:pt x="1810994" y="408307"/>
                        <a:pt x="1811075" y="408387"/>
                        <a:pt x="1811235" y="408387"/>
                      </a:cubicBezTo>
                      <a:cubicBezTo>
                        <a:pt x="1813243" y="409673"/>
                        <a:pt x="1815573" y="411119"/>
                        <a:pt x="1814609" y="411360"/>
                      </a:cubicBezTo>
                      <a:cubicBezTo>
                        <a:pt x="1814288" y="411440"/>
                        <a:pt x="1813725" y="411360"/>
                        <a:pt x="1813324" y="411279"/>
                      </a:cubicBezTo>
                      <a:cubicBezTo>
                        <a:pt x="1813725" y="411520"/>
                        <a:pt x="1814207" y="411922"/>
                        <a:pt x="1814529" y="412163"/>
                      </a:cubicBezTo>
                      <a:cubicBezTo>
                        <a:pt x="1816135" y="412484"/>
                        <a:pt x="1817260" y="412886"/>
                        <a:pt x="1818545" y="413528"/>
                      </a:cubicBezTo>
                      <a:cubicBezTo>
                        <a:pt x="1818384" y="413046"/>
                        <a:pt x="1818224" y="412002"/>
                        <a:pt x="1817099" y="410958"/>
                      </a:cubicBezTo>
                      <a:moveTo>
                        <a:pt x="1820955" y="403166"/>
                      </a:moveTo>
                      <a:cubicBezTo>
                        <a:pt x="1820071" y="402282"/>
                        <a:pt x="1819188" y="401961"/>
                        <a:pt x="1818786" y="401801"/>
                      </a:cubicBezTo>
                      <a:cubicBezTo>
                        <a:pt x="1818786" y="401881"/>
                        <a:pt x="1818866" y="401961"/>
                        <a:pt x="1818866" y="401961"/>
                      </a:cubicBezTo>
                      <a:cubicBezTo>
                        <a:pt x="1819670" y="403969"/>
                        <a:pt x="1820393" y="405335"/>
                        <a:pt x="1821838" y="407504"/>
                      </a:cubicBezTo>
                      <a:cubicBezTo>
                        <a:pt x="1822320" y="407343"/>
                        <a:pt x="1822963" y="407102"/>
                        <a:pt x="1823445" y="406942"/>
                      </a:cubicBezTo>
                      <a:cubicBezTo>
                        <a:pt x="1823365" y="406861"/>
                        <a:pt x="1823284" y="406781"/>
                        <a:pt x="1823124" y="406701"/>
                      </a:cubicBezTo>
                      <a:cubicBezTo>
                        <a:pt x="1823043" y="406138"/>
                        <a:pt x="1822481" y="404532"/>
                        <a:pt x="1820955" y="403166"/>
                      </a:cubicBezTo>
                      <a:moveTo>
                        <a:pt x="281469" y="620212"/>
                      </a:moveTo>
                      <a:cubicBezTo>
                        <a:pt x="281550" y="620132"/>
                        <a:pt x="281630" y="619971"/>
                        <a:pt x="281710" y="619811"/>
                      </a:cubicBezTo>
                      <a:cubicBezTo>
                        <a:pt x="281630" y="619811"/>
                        <a:pt x="281630" y="619891"/>
                        <a:pt x="281550" y="619891"/>
                      </a:cubicBezTo>
                      <a:cubicBezTo>
                        <a:pt x="278577" y="621658"/>
                        <a:pt x="276730" y="623586"/>
                        <a:pt x="276730" y="623586"/>
                      </a:cubicBezTo>
                      <a:cubicBezTo>
                        <a:pt x="276730" y="623586"/>
                        <a:pt x="275846" y="626639"/>
                        <a:pt x="276409" y="626719"/>
                      </a:cubicBezTo>
                      <a:cubicBezTo>
                        <a:pt x="277132" y="626799"/>
                        <a:pt x="279541" y="623265"/>
                        <a:pt x="281469" y="620212"/>
                      </a:cubicBezTo>
                      <a:moveTo>
                        <a:pt x="1798061" y="424614"/>
                      </a:moveTo>
                      <a:lnTo>
                        <a:pt x="1797981" y="424453"/>
                      </a:lnTo>
                      <a:cubicBezTo>
                        <a:pt x="1796856" y="425417"/>
                        <a:pt x="1796053" y="424935"/>
                        <a:pt x="1795170" y="424292"/>
                      </a:cubicBezTo>
                      <a:cubicBezTo>
                        <a:pt x="1795330" y="424212"/>
                        <a:pt x="1795411" y="424132"/>
                        <a:pt x="1795571" y="424051"/>
                      </a:cubicBezTo>
                      <a:cubicBezTo>
                        <a:pt x="1794607" y="423328"/>
                        <a:pt x="1794366" y="422766"/>
                        <a:pt x="1794366" y="421883"/>
                      </a:cubicBezTo>
                      <a:cubicBezTo>
                        <a:pt x="1792680" y="423489"/>
                        <a:pt x="1792920" y="424614"/>
                        <a:pt x="1795411" y="426541"/>
                      </a:cubicBezTo>
                      <a:cubicBezTo>
                        <a:pt x="1794688" y="426461"/>
                        <a:pt x="1793804" y="426381"/>
                        <a:pt x="1793081" y="426300"/>
                      </a:cubicBezTo>
                      <a:cubicBezTo>
                        <a:pt x="1796214" y="427184"/>
                        <a:pt x="1797981" y="428229"/>
                        <a:pt x="1799748" y="430076"/>
                      </a:cubicBezTo>
                      <a:cubicBezTo>
                        <a:pt x="1796856" y="429755"/>
                        <a:pt x="1795009" y="429273"/>
                        <a:pt x="1792278" y="428229"/>
                      </a:cubicBezTo>
                      <a:cubicBezTo>
                        <a:pt x="1794366" y="429353"/>
                        <a:pt x="1795411" y="430076"/>
                        <a:pt x="1796856" y="431442"/>
                      </a:cubicBezTo>
                      <a:cubicBezTo>
                        <a:pt x="1795812" y="433530"/>
                        <a:pt x="1796375" y="434896"/>
                        <a:pt x="1798945" y="437145"/>
                      </a:cubicBezTo>
                      <a:cubicBezTo>
                        <a:pt x="1794688" y="436341"/>
                        <a:pt x="1793724" y="436020"/>
                        <a:pt x="1793724" y="433771"/>
                      </a:cubicBezTo>
                      <a:cubicBezTo>
                        <a:pt x="1793242" y="433450"/>
                        <a:pt x="1792599" y="433048"/>
                        <a:pt x="1792117" y="432727"/>
                      </a:cubicBezTo>
                      <a:cubicBezTo>
                        <a:pt x="1791394" y="431843"/>
                        <a:pt x="1789788" y="429674"/>
                        <a:pt x="1793001" y="429996"/>
                      </a:cubicBezTo>
                      <a:cubicBezTo>
                        <a:pt x="1793563" y="430076"/>
                        <a:pt x="1794125" y="430156"/>
                        <a:pt x="1794607" y="430317"/>
                      </a:cubicBezTo>
                      <a:cubicBezTo>
                        <a:pt x="1791796" y="429192"/>
                        <a:pt x="1789788" y="428469"/>
                        <a:pt x="1787297" y="427747"/>
                      </a:cubicBezTo>
                      <a:cubicBezTo>
                        <a:pt x="1787458" y="427666"/>
                        <a:pt x="1787699" y="427586"/>
                        <a:pt x="1787940" y="427586"/>
                      </a:cubicBezTo>
                      <a:cubicBezTo>
                        <a:pt x="1786494" y="426943"/>
                        <a:pt x="1785289" y="426622"/>
                        <a:pt x="1783522" y="426300"/>
                      </a:cubicBezTo>
                      <a:cubicBezTo>
                        <a:pt x="1783602" y="426541"/>
                        <a:pt x="1783763" y="426943"/>
                        <a:pt x="1783924" y="427184"/>
                      </a:cubicBezTo>
                      <a:cubicBezTo>
                        <a:pt x="1782397" y="427184"/>
                        <a:pt x="1781514" y="426863"/>
                        <a:pt x="1780389" y="425899"/>
                      </a:cubicBezTo>
                      <a:cubicBezTo>
                        <a:pt x="1780630" y="426381"/>
                        <a:pt x="1780952" y="427024"/>
                        <a:pt x="1781273" y="427586"/>
                      </a:cubicBezTo>
                      <a:cubicBezTo>
                        <a:pt x="1783361" y="430719"/>
                        <a:pt x="1783763" y="430879"/>
                        <a:pt x="1791234" y="432968"/>
                      </a:cubicBezTo>
                      <a:cubicBezTo>
                        <a:pt x="1790993" y="433932"/>
                        <a:pt x="1790350" y="436502"/>
                        <a:pt x="1794527" y="437707"/>
                      </a:cubicBezTo>
                      <a:cubicBezTo>
                        <a:pt x="1794768" y="437788"/>
                        <a:pt x="1801114" y="439715"/>
                        <a:pt x="1798061" y="444937"/>
                      </a:cubicBezTo>
                      <a:cubicBezTo>
                        <a:pt x="1801516" y="445820"/>
                        <a:pt x="1802319" y="447106"/>
                        <a:pt x="1801275" y="450238"/>
                      </a:cubicBezTo>
                      <a:cubicBezTo>
                        <a:pt x="1802238" y="450319"/>
                        <a:pt x="1803925" y="450560"/>
                        <a:pt x="1802721" y="451604"/>
                      </a:cubicBezTo>
                      <a:cubicBezTo>
                        <a:pt x="1802479" y="451845"/>
                        <a:pt x="1802238" y="452006"/>
                        <a:pt x="1801917" y="452166"/>
                      </a:cubicBezTo>
                      <a:cubicBezTo>
                        <a:pt x="1805773" y="455540"/>
                        <a:pt x="1807460" y="456825"/>
                        <a:pt x="1812601" y="460119"/>
                      </a:cubicBezTo>
                      <a:cubicBezTo>
                        <a:pt x="1812520" y="459878"/>
                        <a:pt x="1812440" y="459637"/>
                        <a:pt x="1812360" y="459396"/>
                      </a:cubicBezTo>
                      <a:cubicBezTo>
                        <a:pt x="1813966" y="460520"/>
                        <a:pt x="1814609" y="461565"/>
                        <a:pt x="1814850" y="463412"/>
                      </a:cubicBezTo>
                      <a:cubicBezTo>
                        <a:pt x="1815091" y="463171"/>
                        <a:pt x="1815412" y="462769"/>
                        <a:pt x="1815653" y="462528"/>
                      </a:cubicBezTo>
                      <a:lnTo>
                        <a:pt x="1817581" y="463010"/>
                      </a:lnTo>
                      <a:cubicBezTo>
                        <a:pt x="1815734" y="461565"/>
                        <a:pt x="1814850" y="460601"/>
                        <a:pt x="1813886" y="458833"/>
                      </a:cubicBezTo>
                      <a:cubicBezTo>
                        <a:pt x="1814850" y="458432"/>
                        <a:pt x="1815814" y="458512"/>
                        <a:pt x="1817340" y="459074"/>
                      </a:cubicBezTo>
                      <a:cubicBezTo>
                        <a:pt x="1818947" y="458191"/>
                        <a:pt x="1820232" y="458271"/>
                        <a:pt x="1821838" y="461645"/>
                      </a:cubicBezTo>
                      <a:cubicBezTo>
                        <a:pt x="1820714" y="458111"/>
                        <a:pt x="1818625" y="455540"/>
                        <a:pt x="1817019" y="453451"/>
                      </a:cubicBezTo>
                      <a:cubicBezTo>
                        <a:pt x="1817983" y="459958"/>
                        <a:pt x="1814047" y="457870"/>
                        <a:pt x="1811557" y="456102"/>
                      </a:cubicBezTo>
                      <a:cubicBezTo>
                        <a:pt x="1810673" y="455460"/>
                        <a:pt x="1809468" y="455219"/>
                        <a:pt x="1808745" y="454335"/>
                      </a:cubicBezTo>
                      <a:cubicBezTo>
                        <a:pt x="1808263" y="453773"/>
                        <a:pt x="1808584" y="453291"/>
                        <a:pt x="1808906" y="452809"/>
                      </a:cubicBezTo>
                      <a:cubicBezTo>
                        <a:pt x="1807219" y="451524"/>
                        <a:pt x="1806416" y="450640"/>
                        <a:pt x="1805532" y="449194"/>
                      </a:cubicBezTo>
                      <a:cubicBezTo>
                        <a:pt x="1805532" y="449515"/>
                        <a:pt x="1805452" y="449997"/>
                        <a:pt x="1805452" y="450319"/>
                      </a:cubicBezTo>
                      <a:cubicBezTo>
                        <a:pt x="1804086" y="449596"/>
                        <a:pt x="1804086" y="448712"/>
                        <a:pt x="1804166" y="448391"/>
                      </a:cubicBezTo>
                      <a:cubicBezTo>
                        <a:pt x="1804327" y="447427"/>
                        <a:pt x="1801194" y="443250"/>
                        <a:pt x="1800070" y="441724"/>
                      </a:cubicBezTo>
                      <a:cubicBezTo>
                        <a:pt x="1800552" y="441884"/>
                        <a:pt x="1801275" y="442125"/>
                        <a:pt x="1801756" y="442366"/>
                      </a:cubicBezTo>
                      <a:cubicBezTo>
                        <a:pt x="1800552" y="441001"/>
                        <a:pt x="1799347" y="439635"/>
                        <a:pt x="1798142" y="438350"/>
                      </a:cubicBezTo>
                      <a:cubicBezTo>
                        <a:pt x="1798945" y="438591"/>
                        <a:pt x="1799989" y="438912"/>
                        <a:pt x="1800793" y="439153"/>
                      </a:cubicBezTo>
                      <a:cubicBezTo>
                        <a:pt x="1799909" y="438430"/>
                        <a:pt x="1799829" y="438350"/>
                        <a:pt x="1799748" y="437868"/>
                      </a:cubicBezTo>
                      <a:cubicBezTo>
                        <a:pt x="1799989" y="437547"/>
                        <a:pt x="1799989" y="437466"/>
                        <a:pt x="1800632" y="437386"/>
                      </a:cubicBezTo>
                      <a:cubicBezTo>
                        <a:pt x="1799668" y="436181"/>
                        <a:pt x="1798142" y="435458"/>
                        <a:pt x="1797740" y="433771"/>
                      </a:cubicBezTo>
                      <a:cubicBezTo>
                        <a:pt x="1797981" y="433530"/>
                        <a:pt x="1798222" y="433289"/>
                        <a:pt x="1801034" y="434735"/>
                      </a:cubicBezTo>
                      <a:cubicBezTo>
                        <a:pt x="1800311" y="435619"/>
                        <a:pt x="1800632" y="436261"/>
                        <a:pt x="1802238" y="436984"/>
                      </a:cubicBezTo>
                      <a:cubicBezTo>
                        <a:pt x="1801676" y="434815"/>
                        <a:pt x="1801034" y="433369"/>
                        <a:pt x="1799427" y="430879"/>
                      </a:cubicBezTo>
                      <a:cubicBezTo>
                        <a:pt x="1800873" y="432325"/>
                        <a:pt x="1801837" y="432566"/>
                        <a:pt x="1803363" y="432004"/>
                      </a:cubicBezTo>
                      <a:cubicBezTo>
                        <a:pt x="1800953" y="431120"/>
                        <a:pt x="1800391" y="430397"/>
                        <a:pt x="1801435" y="429192"/>
                      </a:cubicBezTo>
                      <a:cubicBezTo>
                        <a:pt x="1800070" y="428068"/>
                        <a:pt x="1799106" y="427425"/>
                        <a:pt x="1797258" y="426541"/>
                      </a:cubicBezTo>
                      <a:cubicBezTo>
                        <a:pt x="1797338" y="426140"/>
                        <a:pt x="1797499" y="425578"/>
                        <a:pt x="1797579" y="425256"/>
                      </a:cubicBezTo>
                      <a:lnTo>
                        <a:pt x="1798061" y="424614"/>
                      </a:lnTo>
                      <a:moveTo>
                        <a:pt x="1786655" y="419151"/>
                      </a:moveTo>
                      <a:lnTo>
                        <a:pt x="1786655" y="418428"/>
                      </a:lnTo>
                      <a:lnTo>
                        <a:pt x="1786575" y="418750"/>
                      </a:lnTo>
                      <a:cubicBezTo>
                        <a:pt x="1786494" y="419151"/>
                        <a:pt x="1786494" y="419633"/>
                        <a:pt x="1786494" y="420115"/>
                      </a:cubicBezTo>
                      <a:cubicBezTo>
                        <a:pt x="1786494" y="420437"/>
                        <a:pt x="1786494" y="420678"/>
                        <a:pt x="1786334" y="420919"/>
                      </a:cubicBezTo>
                      <a:cubicBezTo>
                        <a:pt x="1786012" y="421320"/>
                        <a:pt x="1784084" y="421883"/>
                        <a:pt x="1784084" y="421883"/>
                      </a:cubicBezTo>
                      <a:cubicBezTo>
                        <a:pt x="1787137" y="423328"/>
                        <a:pt x="1789788" y="424373"/>
                        <a:pt x="1792599" y="425096"/>
                      </a:cubicBezTo>
                      <a:cubicBezTo>
                        <a:pt x="1791314" y="423409"/>
                        <a:pt x="1789225" y="421160"/>
                        <a:pt x="1786655" y="419151"/>
                      </a:cubicBezTo>
                      <a:moveTo>
                        <a:pt x="1686084" y="484619"/>
                      </a:moveTo>
                      <a:cubicBezTo>
                        <a:pt x="1685281" y="483253"/>
                        <a:pt x="1681827" y="483012"/>
                        <a:pt x="1681746" y="483012"/>
                      </a:cubicBezTo>
                      <a:cubicBezTo>
                        <a:pt x="1679417" y="482932"/>
                        <a:pt x="1677730" y="483574"/>
                        <a:pt x="1676445" y="484137"/>
                      </a:cubicBezTo>
                      <a:cubicBezTo>
                        <a:pt x="1676605" y="484217"/>
                        <a:pt x="1676766" y="484297"/>
                        <a:pt x="1676927" y="484297"/>
                      </a:cubicBezTo>
                      <a:cubicBezTo>
                        <a:pt x="1678051" y="484860"/>
                        <a:pt x="1678132" y="484940"/>
                        <a:pt x="1678132" y="485181"/>
                      </a:cubicBezTo>
                      <a:cubicBezTo>
                        <a:pt x="1677971" y="485342"/>
                        <a:pt x="1677891" y="485422"/>
                        <a:pt x="1676846" y="485422"/>
                      </a:cubicBezTo>
                      <a:cubicBezTo>
                        <a:pt x="1677409" y="485663"/>
                        <a:pt x="1678212" y="485984"/>
                        <a:pt x="1678774" y="486305"/>
                      </a:cubicBezTo>
                      <a:cubicBezTo>
                        <a:pt x="1681425" y="487832"/>
                        <a:pt x="1688494" y="491929"/>
                        <a:pt x="1687450" y="487511"/>
                      </a:cubicBezTo>
                      <a:cubicBezTo>
                        <a:pt x="1687128" y="486546"/>
                        <a:pt x="1686486" y="485422"/>
                        <a:pt x="1686084" y="484619"/>
                      </a:cubicBezTo>
                      <a:moveTo>
                        <a:pt x="1826498" y="419473"/>
                      </a:moveTo>
                      <a:cubicBezTo>
                        <a:pt x="1824168" y="416822"/>
                        <a:pt x="1820553" y="418268"/>
                        <a:pt x="1817822" y="416661"/>
                      </a:cubicBezTo>
                      <a:cubicBezTo>
                        <a:pt x="1819830" y="419232"/>
                        <a:pt x="1822240" y="421401"/>
                        <a:pt x="1825534" y="423810"/>
                      </a:cubicBezTo>
                      <a:cubicBezTo>
                        <a:pt x="1824409" y="425176"/>
                        <a:pt x="1822963" y="426220"/>
                        <a:pt x="1821678" y="426541"/>
                      </a:cubicBezTo>
                      <a:cubicBezTo>
                        <a:pt x="1821035" y="424774"/>
                        <a:pt x="1819750" y="423971"/>
                        <a:pt x="1817099" y="423730"/>
                      </a:cubicBezTo>
                      <a:cubicBezTo>
                        <a:pt x="1820714" y="427907"/>
                        <a:pt x="1816778" y="427988"/>
                        <a:pt x="1816697" y="427988"/>
                      </a:cubicBezTo>
                      <a:cubicBezTo>
                        <a:pt x="1816537" y="427988"/>
                        <a:pt x="1806175" y="425578"/>
                        <a:pt x="1808343" y="423810"/>
                      </a:cubicBezTo>
                      <a:cubicBezTo>
                        <a:pt x="1809227" y="423007"/>
                        <a:pt x="1812922" y="422605"/>
                        <a:pt x="1814448" y="422445"/>
                      </a:cubicBezTo>
                      <a:cubicBezTo>
                        <a:pt x="1814288" y="422525"/>
                        <a:pt x="1814047" y="422686"/>
                        <a:pt x="1813886" y="422766"/>
                      </a:cubicBezTo>
                      <a:cubicBezTo>
                        <a:pt x="1814770" y="423087"/>
                        <a:pt x="1816938" y="423891"/>
                        <a:pt x="1818545" y="422525"/>
                      </a:cubicBezTo>
                      <a:cubicBezTo>
                        <a:pt x="1812520" y="422525"/>
                        <a:pt x="1806335" y="421963"/>
                        <a:pt x="1803283" y="414573"/>
                      </a:cubicBezTo>
                      <a:cubicBezTo>
                        <a:pt x="1801997" y="417143"/>
                        <a:pt x="1800230" y="417304"/>
                        <a:pt x="1798142" y="416661"/>
                      </a:cubicBezTo>
                      <a:cubicBezTo>
                        <a:pt x="1799106" y="417786"/>
                        <a:pt x="1799748" y="418348"/>
                        <a:pt x="1800953" y="419232"/>
                      </a:cubicBezTo>
                      <a:cubicBezTo>
                        <a:pt x="1800230" y="419151"/>
                        <a:pt x="1799266" y="419071"/>
                        <a:pt x="1798543" y="418991"/>
                      </a:cubicBezTo>
                      <a:cubicBezTo>
                        <a:pt x="1795652" y="417384"/>
                        <a:pt x="1793242" y="416340"/>
                        <a:pt x="1789306" y="414894"/>
                      </a:cubicBezTo>
                      <a:cubicBezTo>
                        <a:pt x="1789386" y="414894"/>
                        <a:pt x="1789386" y="414974"/>
                        <a:pt x="1789466" y="414974"/>
                      </a:cubicBezTo>
                      <a:cubicBezTo>
                        <a:pt x="1791555" y="416420"/>
                        <a:pt x="1792760" y="418750"/>
                        <a:pt x="1795009" y="420035"/>
                      </a:cubicBezTo>
                      <a:cubicBezTo>
                        <a:pt x="1797579" y="421561"/>
                        <a:pt x="1800873" y="421079"/>
                        <a:pt x="1803283" y="423168"/>
                      </a:cubicBezTo>
                      <a:cubicBezTo>
                        <a:pt x="1804327" y="424051"/>
                        <a:pt x="1804327" y="424051"/>
                        <a:pt x="1805211" y="428309"/>
                      </a:cubicBezTo>
                      <a:cubicBezTo>
                        <a:pt x="1816296" y="428871"/>
                        <a:pt x="1817420" y="428951"/>
                        <a:pt x="1821437" y="431201"/>
                      </a:cubicBezTo>
                      <a:cubicBezTo>
                        <a:pt x="1825052" y="433289"/>
                        <a:pt x="1828827" y="438430"/>
                        <a:pt x="1828024" y="441563"/>
                      </a:cubicBezTo>
                      <a:cubicBezTo>
                        <a:pt x="1825052" y="439956"/>
                        <a:pt x="1823124" y="439474"/>
                        <a:pt x="1819991" y="439153"/>
                      </a:cubicBezTo>
                      <a:cubicBezTo>
                        <a:pt x="1822561" y="440278"/>
                        <a:pt x="1824891" y="441563"/>
                        <a:pt x="1822079" y="442848"/>
                      </a:cubicBezTo>
                      <a:cubicBezTo>
                        <a:pt x="1822722" y="443892"/>
                        <a:pt x="1822803" y="443973"/>
                        <a:pt x="1822963" y="444455"/>
                      </a:cubicBezTo>
                      <a:cubicBezTo>
                        <a:pt x="1822883" y="444535"/>
                        <a:pt x="1822803" y="444615"/>
                        <a:pt x="1822722" y="444615"/>
                      </a:cubicBezTo>
                      <a:cubicBezTo>
                        <a:pt x="1822160" y="444374"/>
                        <a:pt x="1821598" y="444053"/>
                        <a:pt x="1819589" y="442446"/>
                      </a:cubicBezTo>
                      <a:cubicBezTo>
                        <a:pt x="1822401" y="445740"/>
                        <a:pt x="1823525" y="446945"/>
                        <a:pt x="1825373" y="448873"/>
                      </a:cubicBezTo>
                      <a:cubicBezTo>
                        <a:pt x="1826176" y="448150"/>
                        <a:pt x="1826738" y="448230"/>
                        <a:pt x="1827461" y="449194"/>
                      </a:cubicBezTo>
                      <a:cubicBezTo>
                        <a:pt x="1836217" y="449274"/>
                        <a:pt x="1837984" y="447106"/>
                        <a:pt x="1834691" y="440599"/>
                      </a:cubicBezTo>
                      <a:cubicBezTo>
                        <a:pt x="1833486" y="442205"/>
                        <a:pt x="1833165" y="442286"/>
                        <a:pt x="1832763" y="442205"/>
                      </a:cubicBezTo>
                      <a:cubicBezTo>
                        <a:pt x="1832522" y="441804"/>
                        <a:pt x="1832361" y="441483"/>
                        <a:pt x="1832844" y="438510"/>
                      </a:cubicBezTo>
                      <a:cubicBezTo>
                        <a:pt x="1831558" y="437788"/>
                        <a:pt x="1831317" y="437225"/>
                        <a:pt x="1831719" y="436261"/>
                      </a:cubicBezTo>
                      <a:cubicBezTo>
                        <a:pt x="1831237" y="436422"/>
                        <a:pt x="1830514" y="436663"/>
                        <a:pt x="1830032" y="436824"/>
                      </a:cubicBezTo>
                      <a:cubicBezTo>
                        <a:pt x="1829871" y="435056"/>
                        <a:pt x="1831157" y="434414"/>
                        <a:pt x="1834129" y="434815"/>
                      </a:cubicBezTo>
                      <a:cubicBezTo>
                        <a:pt x="1834129" y="429353"/>
                        <a:pt x="1833325" y="426220"/>
                        <a:pt x="1833325" y="426220"/>
                      </a:cubicBezTo>
                      <a:cubicBezTo>
                        <a:pt x="1833325" y="426220"/>
                        <a:pt x="1831558" y="424453"/>
                        <a:pt x="1830755" y="425096"/>
                      </a:cubicBezTo>
                      <a:cubicBezTo>
                        <a:pt x="1830675" y="425176"/>
                        <a:pt x="1830675" y="425256"/>
                        <a:pt x="1830594" y="425337"/>
                      </a:cubicBezTo>
                      <a:cubicBezTo>
                        <a:pt x="1829229" y="423328"/>
                        <a:pt x="1828024" y="421240"/>
                        <a:pt x="1826498" y="419473"/>
                      </a:cubicBezTo>
                      <a:moveTo>
                        <a:pt x="1832763" y="380835"/>
                      </a:moveTo>
                      <a:cubicBezTo>
                        <a:pt x="1832442" y="380192"/>
                        <a:pt x="1829711" y="381317"/>
                        <a:pt x="1826819" y="382602"/>
                      </a:cubicBezTo>
                      <a:cubicBezTo>
                        <a:pt x="1826899" y="382682"/>
                        <a:pt x="1827060" y="382763"/>
                        <a:pt x="1827140" y="382843"/>
                      </a:cubicBezTo>
                      <a:cubicBezTo>
                        <a:pt x="1828425" y="383807"/>
                        <a:pt x="1828827" y="384048"/>
                        <a:pt x="1829711" y="384610"/>
                      </a:cubicBezTo>
                      <a:cubicBezTo>
                        <a:pt x="1830675" y="383807"/>
                        <a:pt x="1833165" y="381478"/>
                        <a:pt x="1832763" y="380835"/>
                      </a:cubicBezTo>
                      <a:moveTo>
                        <a:pt x="272472" y="613786"/>
                      </a:moveTo>
                      <a:cubicBezTo>
                        <a:pt x="273999" y="611537"/>
                        <a:pt x="275364" y="609207"/>
                        <a:pt x="276810" y="606878"/>
                      </a:cubicBezTo>
                      <a:cubicBezTo>
                        <a:pt x="276650" y="606958"/>
                        <a:pt x="276489" y="607119"/>
                        <a:pt x="276409" y="607199"/>
                      </a:cubicBezTo>
                      <a:cubicBezTo>
                        <a:pt x="274641" y="608485"/>
                        <a:pt x="273999" y="608244"/>
                        <a:pt x="274159" y="606396"/>
                      </a:cubicBezTo>
                      <a:cubicBezTo>
                        <a:pt x="270464" y="607681"/>
                        <a:pt x="264681" y="610091"/>
                        <a:pt x="264681" y="610091"/>
                      </a:cubicBezTo>
                      <a:cubicBezTo>
                        <a:pt x="264681" y="610091"/>
                        <a:pt x="261709" y="615714"/>
                        <a:pt x="261468" y="622783"/>
                      </a:cubicBezTo>
                      <a:cubicBezTo>
                        <a:pt x="262913" y="620935"/>
                        <a:pt x="264118" y="619570"/>
                        <a:pt x="265805" y="617803"/>
                      </a:cubicBezTo>
                      <a:cubicBezTo>
                        <a:pt x="266689" y="620775"/>
                        <a:pt x="268697" y="619570"/>
                        <a:pt x="272472" y="613786"/>
                      </a:cubicBezTo>
                      <a:moveTo>
                        <a:pt x="1819027" y="407986"/>
                      </a:moveTo>
                      <a:cubicBezTo>
                        <a:pt x="1815412" y="404451"/>
                        <a:pt x="1810352" y="402122"/>
                        <a:pt x="1810030" y="401961"/>
                      </a:cubicBezTo>
                      <a:cubicBezTo>
                        <a:pt x="1809870" y="401961"/>
                        <a:pt x="1809709" y="402042"/>
                        <a:pt x="1809629" y="402122"/>
                      </a:cubicBezTo>
                      <a:cubicBezTo>
                        <a:pt x="1809548" y="402122"/>
                        <a:pt x="1804889" y="403487"/>
                        <a:pt x="1798463" y="401640"/>
                      </a:cubicBezTo>
                      <a:lnTo>
                        <a:pt x="1799186" y="401881"/>
                      </a:lnTo>
                      <a:cubicBezTo>
                        <a:pt x="1809709" y="405496"/>
                        <a:pt x="1817260" y="408950"/>
                        <a:pt x="1819991" y="410235"/>
                      </a:cubicBezTo>
                      <a:cubicBezTo>
                        <a:pt x="1820312" y="410396"/>
                        <a:pt x="1820794" y="410476"/>
                        <a:pt x="1821116" y="410396"/>
                      </a:cubicBezTo>
                      <a:cubicBezTo>
                        <a:pt x="1820553" y="409673"/>
                        <a:pt x="1820071" y="409030"/>
                        <a:pt x="1819027" y="407986"/>
                      </a:cubicBezTo>
                      <a:moveTo>
                        <a:pt x="1785691" y="413609"/>
                      </a:moveTo>
                      <a:cubicBezTo>
                        <a:pt x="1785691" y="413609"/>
                        <a:pt x="1785691" y="413609"/>
                        <a:pt x="1785691" y="413609"/>
                      </a:cubicBezTo>
                      <a:cubicBezTo>
                        <a:pt x="1784888" y="413368"/>
                        <a:pt x="1784004" y="413127"/>
                        <a:pt x="1783120" y="412886"/>
                      </a:cubicBezTo>
                      <a:cubicBezTo>
                        <a:pt x="1783843" y="413127"/>
                        <a:pt x="1784807" y="413448"/>
                        <a:pt x="1785530" y="413689"/>
                      </a:cubicBezTo>
                      <a:cubicBezTo>
                        <a:pt x="1785611" y="413609"/>
                        <a:pt x="1785691" y="413609"/>
                        <a:pt x="1785691" y="413609"/>
                      </a:cubicBezTo>
                      <a:moveTo>
                        <a:pt x="1667609" y="485663"/>
                      </a:moveTo>
                      <a:lnTo>
                        <a:pt x="1667529" y="485101"/>
                      </a:lnTo>
                      <a:cubicBezTo>
                        <a:pt x="1663994" y="484860"/>
                        <a:pt x="1660379" y="483976"/>
                        <a:pt x="1663030" y="480924"/>
                      </a:cubicBezTo>
                      <a:cubicBezTo>
                        <a:pt x="1661986" y="480763"/>
                        <a:pt x="1661343" y="480843"/>
                        <a:pt x="1660620" y="481325"/>
                      </a:cubicBezTo>
                      <a:cubicBezTo>
                        <a:pt x="1659978" y="481807"/>
                        <a:pt x="1659737" y="482129"/>
                        <a:pt x="1659415" y="482932"/>
                      </a:cubicBezTo>
                      <a:cubicBezTo>
                        <a:pt x="1661263" y="485020"/>
                        <a:pt x="1664074" y="485984"/>
                        <a:pt x="1667609" y="485663"/>
                      </a:cubicBezTo>
                      <a:moveTo>
                        <a:pt x="1837422" y="371919"/>
                      </a:moveTo>
                      <a:cubicBezTo>
                        <a:pt x="1837181" y="370955"/>
                        <a:pt x="1833004" y="370553"/>
                        <a:pt x="1827622" y="370071"/>
                      </a:cubicBezTo>
                      <a:cubicBezTo>
                        <a:pt x="1827542" y="369910"/>
                        <a:pt x="1827381" y="369669"/>
                        <a:pt x="1827301" y="369509"/>
                      </a:cubicBezTo>
                      <a:cubicBezTo>
                        <a:pt x="1825614" y="369187"/>
                        <a:pt x="1825132" y="369348"/>
                        <a:pt x="1824811" y="369750"/>
                      </a:cubicBezTo>
                      <a:cubicBezTo>
                        <a:pt x="1824570" y="370553"/>
                        <a:pt x="1826417" y="373123"/>
                        <a:pt x="1828425" y="374569"/>
                      </a:cubicBezTo>
                      <a:cubicBezTo>
                        <a:pt x="1831237" y="373927"/>
                        <a:pt x="1837101" y="375614"/>
                        <a:pt x="1845214" y="382441"/>
                      </a:cubicBezTo>
                      <a:cubicBezTo>
                        <a:pt x="1843447" y="380273"/>
                        <a:pt x="1840394" y="377060"/>
                        <a:pt x="1834852" y="373686"/>
                      </a:cubicBezTo>
                      <a:cubicBezTo>
                        <a:pt x="1835735" y="373284"/>
                        <a:pt x="1837583" y="372561"/>
                        <a:pt x="1837422" y="371919"/>
                      </a:cubicBezTo>
                      <a:moveTo>
                        <a:pt x="1807379" y="387502"/>
                      </a:moveTo>
                      <a:cubicBezTo>
                        <a:pt x="1806657" y="386619"/>
                        <a:pt x="1804488" y="386860"/>
                        <a:pt x="1802640" y="387101"/>
                      </a:cubicBezTo>
                      <a:cubicBezTo>
                        <a:pt x="1802721" y="387181"/>
                        <a:pt x="1802881" y="387261"/>
                        <a:pt x="1802961" y="387342"/>
                      </a:cubicBezTo>
                      <a:cubicBezTo>
                        <a:pt x="1803684" y="387984"/>
                        <a:pt x="1804006" y="388386"/>
                        <a:pt x="1804086" y="389109"/>
                      </a:cubicBezTo>
                      <a:cubicBezTo>
                        <a:pt x="1806094" y="389350"/>
                        <a:pt x="1807620" y="389671"/>
                        <a:pt x="1810593" y="390555"/>
                      </a:cubicBezTo>
                      <a:cubicBezTo>
                        <a:pt x="1809709" y="389591"/>
                        <a:pt x="1808986" y="389109"/>
                        <a:pt x="1807701" y="388466"/>
                      </a:cubicBezTo>
                      <a:cubicBezTo>
                        <a:pt x="1807620" y="388145"/>
                        <a:pt x="1807620" y="387824"/>
                        <a:pt x="1807379" y="387502"/>
                      </a:cubicBezTo>
                      <a:moveTo>
                        <a:pt x="325168" y="616035"/>
                      </a:moveTo>
                      <a:cubicBezTo>
                        <a:pt x="321794" y="611778"/>
                        <a:pt x="320428" y="609930"/>
                        <a:pt x="317376" y="605673"/>
                      </a:cubicBezTo>
                      <a:cubicBezTo>
                        <a:pt x="317456" y="605834"/>
                        <a:pt x="317617" y="605994"/>
                        <a:pt x="317697" y="606155"/>
                      </a:cubicBezTo>
                      <a:cubicBezTo>
                        <a:pt x="321392" y="611296"/>
                        <a:pt x="324364" y="615071"/>
                        <a:pt x="325168" y="616035"/>
                      </a:cubicBezTo>
                      <a:moveTo>
                        <a:pt x="251587" y="574666"/>
                      </a:moveTo>
                      <a:cubicBezTo>
                        <a:pt x="252150" y="574425"/>
                        <a:pt x="251587" y="571855"/>
                        <a:pt x="250543" y="567678"/>
                      </a:cubicBezTo>
                      <a:cubicBezTo>
                        <a:pt x="250222" y="566553"/>
                        <a:pt x="249900" y="565268"/>
                        <a:pt x="252953" y="563019"/>
                      </a:cubicBezTo>
                      <a:cubicBezTo>
                        <a:pt x="252551" y="563099"/>
                        <a:pt x="251989" y="563260"/>
                        <a:pt x="251507" y="563420"/>
                      </a:cubicBezTo>
                      <a:cubicBezTo>
                        <a:pt x="252390" y="562216"/>
                        <a:pt x="253033" y="561252"/>
                        <a:pt x="253595" y="560207"/>
                      </a:cubicBezTo>
                      <a:cubicBezTo>
                        <a:pt x="253194" y="560609"/>
                        <a:pt x="252712" y="561171"/>
                        <a:pt x="252310" y="561573"/>
                      </a:cubicBezTo>
                      <a:cubicBezTo>
                        <a:pt x="247812" y="565670"/>
                        <a:pt x="246446" y="564786"/>
                        <a:pt x="243635" y="563099"/>
                      </a:cubicBezTo>
                      <a:cubicBezTo>
                        <a:pt x="246848" y="566473"/>
                        <a:pt x="248374" y="569927"/>
                        <a:pt x="249017" y="571694"/>
                      </a:cubicBezTo>
                      <a:cubicBezTo>
                        <a:pt x="249659" y="573381"/>
                        <a:pt x="251266" y="574747"/>
                        <a:pt x="251587" y="574666"/>
                      </a:cubicBezTo>
                      <a:moveTo>
                        <a:pt x="1779666" y="396660"/>
                      </a:moveTo>
                      <a:cubicBezTo>
                        <a:pt x="1779265" y="395856"/>
                        <a:pt x="1777658" y="395455"/>
                        <a:pt x="1776614" y="395214"/>
                      </a:cubicBezTo>
                      <a:cubicBezTo>
                        <a:pt x="1776132" y="394812"/>
                        <a:pt x="1775650" y="394410"/>
                        <a:pt x="1775168" y="393928"/>
                      </a:cubicBezTo>
                      <a:cubicBezTo>
                        <a:pt x="1771312" y="396499"/>
                        <a:pt x="1768902" y="397624"/>
                        <a:pt x="1765770" y="398106"/>
                      </a:cubicBezTo>
                      <a:cubicBezTo>
                        <a:pt x="1766091" y="398346"/>
                        <a:pt x="1766493" y="398748"/>
                        <a:pt x="1766814" y="398989"/>
                      </a:cubicBezTo>
                      <a:cubicBezTo>
                        <a:pt x="1771634" y="402363"/>
                        <a:pt x="1775409" y="401881"/>
                        <a:pt x="1775570" y="401801"/>
                      </a:cubicBezTo>
                      <a:cubicBezTo>
                        <a:pt x="1775650" y="401801"/>
                        <a:pt x="1779988" y="398668"/>
                        <a:pt x="1779747" y="396981"/>
                      </a:cubicBezTo>
                      <a:cubicBezTo>
                        <a:pt x="1779747" y="396981"/>
                        <a:pt x="1779666" y="396820"/>
                        <a:pt x="1779666" y="396660"/>
                      </a:cubicBezTo>
                      <a:moveTo>
                        <a:pt x="1799909" y="372320"/>
                      </a:moveTo>
                      <a:cubicBezTo>
                        <a:pt x="1798302" y="370714"/>
                        <a:pt x="1796535" y="371276"/>
                        <a:pt x="1795973" y="371517"/>
                      </a:cubicBezTo>
                      <a:cubicBezTo>
                        <a:pt x="1796214" y="371678"/>
                        <a:pt x="1796535" y="371838"/>
                        <a:pt x="1796776" y="371999"/>
                      </a:cubicBezTo>
                      <a:cubicBezTo>
                        <a:pt x="1797258" y="373043"/>
                        <a:pt x="1797419" y="374168"/>
                        <a:pt x="1794768" y="374489"/>
                      </a:cubicBezTo>
                      <a:cubicBezTo>
                        <a:pt x="1794929" y="374730"/>
                        <a:pt x="1795170" y="374971"/>
                        <a:pt x="1795330" y="375212"/>
                      </a:cubicBezTo>
                      <a:cubicBezTo>
                        <a:pt x="1797178" y="374650"/>
                        <a:pt x="1798704" y="373927"/>
                        <a:pt x="1800471" y="372882"/>
                      </a:cubicBezTo>
                      <a:cubicBezTo>
                        <a:pt x="1800230" y="372722"/>
                        <a:pt x="1800070" y="372481"/>
                        <a:pt x="1799909" y="372320"/>
                      </a:cubicBezTo>
                      <a:moveTo>
                        <a:pt x="1684558" y="466866"/>
                      </a:moveTo>
                      <a:lnTo>
                        <a:pt x="1687289" y="466947"/>
                      </a:lnTo>
                      <a:cubicBezTo>
                        <a:pt x="1675481" y="460681"/>
                        <a:pt x="1664878" y="458994"/>
                        <a:pt x="1651784" y="461243"/>
                      </a:cubicBezTo>
                      <a:cubicBezTo>
                        <a:pt x="1652347" y="461163"/>
                        <a:pt x="1653150" y="461163"/>
                        <a:pt x="1653712" y="461083"/>
                      </a:cubicBezTo>
                      <a:cubicBezTo>
                        <a:pt x="1664556" y="460440"/>
                        <a:pt x="1672509" y="461966"/>
                        <a:pt x="1680220" y="465983"/>
                      </a:cubicBezTo>
                      <a:cubicBezTo>
                        <a:pt x="1679658" y="465983"/>
                        <a:pt x="1678935" y="465983"/>
                        <a:pt x="1678292" y="465983"/>
                      </a:cubicBezTo>
                      <a:lnTo>
                        <a:pt x="1679176" y="466223"/>
                      </a:lnTo>
                      <a:cubicBezTo>
                        <a:pt x="1681827" y="466143"/>
                        <a:pt x="1683032" y="466545"/>
                        <a:pt x="1684397" y="468152"/>
                      </a:cubicBezTo>
                      <a:cubicBezTo>
                        <a:pt x="1684397" y="467830"/>
                        <a:pt x="1684478" y="467268"/>
                        <a:pt x="1684558" y="466866"/>
                      </a:cubicBezTo>
                      <a:moveTo>
                        <a:pt x="258897" y="555548"/>
                      </a:moveTo>
                      <a:cubicBezTo>
                        <a:pt x="258897" y="555548"/>
                        <a:pt x="258977" y="555468"/>
                        <a:pt x="258977" y="555388"/>
                      </a:cubicBezTo>
                      <a:cubicBezTo>
                        <a:pt x="258977" y="555388"/>
                        <a:pt x="258897" y="555388"/>
                        <a:pt x="258817" y="555388"/>
                      </a:cubicBezTo>
                      <a:cubicBezTo>
                        <a:pt x="257371" y="555307"/>
                        <a:pt x="256166" y="556271"/>
                        <a:pt x="255604" y="556673"/>
                      </a:cubicBezTo>
                      <a:cubicBezTo>
                        <a:pt x="256889" y="557476"/>
                        <a:pt x="258335" y="556191"/>
                        <a:pt x="258897" y="555548"/>
                      </a:cubicBezTo>
                      <a:moveTo>
                        <a:pt x="254479" y="555709"/>
                      </a:moveTo>
                      <a:cubicBezTo>
                        <a:pt x="254479" y="555789"/>
                        <a:pt x="254399" y="555870"/>
                        <a:pt x="254399" y="555870"/>
                      </a:cubicBezTo>
                      <a:cubicBezTo>
                        <a:pt x="255764" y="554022"/>
                        <a:pt x="256407" y="552416"/>
                        <a:pt x="256246" y="551211"/>
                      </a:cubicBezTo>
                      <a:cubicBezTo>
                        <a:pt x="255845" y="551612"/>
                        <a:pt x="255363" y="552094"/>
                        <a:pt x="255041" y="552496"/>
                      </a:cubicBezTo>
                      <a:lnTo>
                        <a:pt x="253997" y="553942"/>
                      </a:lnTo>
                      <a:cubicBezTo>
                        <a:pt x="254640" y="553861"/>
                        <a:pt x="255282" y="553861"/>
                        <a:pt x="254479" y="555709"/>
                      </a:cubicBezTo>
                      <a:moveTo>
                        <a:pt x="254077" y="552737"/>
                      </a:moveTo>
                      <a:cubicBezTo>
                        <a:pt x="254559" y="552175"/>
                        <a:pt x="255523" y="550729"/>
                        <a:pt x="255363" y="549925"/>
                      </a:cubicBezTo>
                      <a:cubicBezTo>
                        <a:pt x="255363" y="550006"/>
                        <a:pt x="255282" y="550006"/>
                        <a:pt x="255282" y="550086"/>
                      </a:cubicBezTo>
                      <a:cubicBezTo>
                        <a:pt x="254318" y="551853"/>
                        <a:pt x="253435" y="553299"/>
                        <a:pt x="252471" y="554424"/>
                      </a:cubicBezTo>
                      <a:cubicBezTo>
                        <a:pt x="252792" y="554183"/>
                        <a:pt x="253435" y="553620"/>
                        <a:pt x="254077" y="552737"/>
                      </a:cubicBezTo>
                      <a:moveTo>
                        <a:pt x="260423" y="555388"/>
                      </a:moveTo>
                      <a:cubicBezTo>
                        <a:pt x="260584" y="555227"/>
                        <a:pt x="260504" y="555066"/>
                        <a:pt x="260343" y="554906"/>
                      </a:cubicBezTo>
                      <a:cubicBezTo>
                        <a:pt x="260343" y="554906"/>
                        <a:pt x="260263" y="554825"/>
                        <a:pt x="260182" y="554825"/>
                      </a:cubicBezTo>
                      <a:cubicBezTo>
                        <a:pt x="260022" y="555147"/>
                        <a:pt x="259781" y="555468"/>
                        <a:pt x="259620" y="555789"/>
                      </a:cubicBezTo>
                      <a:cubicBezTo>
                        <a:pt x="259781" y="555709"/>
                        <a:pt x="260263" y="555548"/>
                        <a:pt x="260423" y="555388"/>
                      </a:cubicBezTo>
                      <a:moveTo>
                        <a:pt x="1650017" y="460601"/>
                      </a:moveTo>
                      <a:cubicBezTo>
                        <a:pt x="1650017" y="460601"/>
                        <a:pt x="1650097" y="460520"/>
                        <a:pt x="1650097" y="460520"/>
                      </a:cubicBezTo>
                      <a:cubicBezTo>
                        <a:pt x="1648892" y="460279"/>
                        <a:pt x="1647286" y="460038"/>
                        <a:pt x="1646081" y="459797"/>
                      </a:cubicBezTo>
                      <a:lnTo>
                        <a:pt x="1645760" y="461324"/>
                      </a:lnTo>
                      <a:lnTo>
                        <a:pt x="1645760" y="462769"/>
                      </a:lnTo>
                      <a:cubicBezTo>
                        <a:pt x="1646723" y="462368"/>
                        <a:pt x="1648892" y="461324"/>
                        <a:pt x="1650017" y="460601"/>
                      </a:cubicBezTo>
                      <a:moveTo>
                        <a:pt x="245241" y="541571"/>
                      </a:moveTo>
                      <a:lnTo>
                        <a:pt x="246446" y="540607"/>
                      </a:lnTo>
                      <a:cubicBezTo>
                        <a:pt x="247892" y="538117"/>
                        <a:pt x="248535" y="536189"/>
                        <a:pt x="248374" y="534583"/>
                      </a:cubicBezTo>
                      <a:cubicBezTo>
                        <a:pt x="248374" y="534663"/>
                        <a:pt x="248294" y="534743"/>
                        <a:pt x="248294" y="534824"/>
                      </a:cubicBezTo>
                      <a:cubicBezTo>
                        <a:pt x="247490" y="536832"/>
                        <a:pt x="246527" y="539001"/>
                        <a:pt x="245241" y="541571"/>
                      </a:cubicBezTo>
                      <a:moveTo>
                        <a:pt x="553620" y="647363"/>
                      </a:moveTo>
                      <a:cubicBezTo>
                        <a:pt x="553620" y="647363"/>
                        <a:pt x="553701" y="647363"/>
                        <a:pt x="553620" y="647363"/>
                      </a:cubicBezTo>
                      <a:cubicBezTo>
                        <a:pt x="553701" y="647363"/>
                        <a:pt x="553620" y="647363"/>
                        <a:pt x="553620" y="647363"/>
                      </a:cubicBezTo>
                      <a:cubicBezTo>
                        <a:pt x="553379" y="647363"/>
                        <a:pt x="55313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lnTo>
                        <a:pt x="552898" y="647363"/>
                      </a:lnTo>
                      <a:lnTo>
                        <a:pt x="552898" y="647363"/>
                      </a:ln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978" y="647524"/>
                        <a:pt x="553058" y="647765"/>
                        <a:pt x="553138" y="647926"/>
                      </a:cubicBezTo>
                      <a:cubicBezTo>
                        <a:pt x="553299" y="647765"/>
                        <a:pt x="553460" y="647524"/>
                        <a:pt x="553620" y="647363"/>
                      </a:cubicBezTo>
                      <a:moveTo>
                        <a:pt x="1780711" y="369669"/>
                      </a:moveTo>
                      <a:cubicBezTo>
                        <a:pt x="1780711" y="369589"/>
                        <a:pt x="1780711" y="369589"/>
                        <a:pt x="1780711" y="369669"/>
                      </a:cubicBezTo>
                      <a:cubicBezTo>
                        <a:pt x="1780711" y="369589"/>
                        <a:pt x="1780711" y="369589"/>
                        <a:pt x="1780711" y="369669"/>
                      </a:cubicBezTo>
                      <a:cubicBezTo>
                        <a:pt x="1780389" y="370151"/>
                        <a:pt x="1780550" y="370714"/>
                        <a:pt x="1781032" y="371437"/>
                      </a:cubicBezTo>
                      <a:cubicBezTo>
                        <a:pt x="1780952" y="370794"/>
                        <a:pt x="1780791" y="370232"/>
                        <a:pt x="1780711" y="369669"/>
                      </a:cubicBezTo>
                      <a:moveTo>
                        <a:pt x="333281" y="593463"/>
                      </a:moveTo>
                      <a:cubicBezTo>
                        <a:pt x="333441" y="593302"/>
                        <a:pt x="333682" y="593061"/>
                        <a:pt x="333843" y="592901"/>
                      </a:cubicBezTo>
                      <a:cubicBezTo>
                        <a:pt x="333200" y="592339"/>
                        <a:pt x="332799" y="592098"/>
                        <a:pt x="332237" y="591937"/>
                      </a:cubicBezTo>
                      <a:cubicBezTo>
                        <a:pt x="329907" y="591053"/>
                        <a:pt x="327899" y="591857"/>
                        <a:pt x="327899" y="591857"/>
                      </a:cubicBezTo>
                      <a:cubicBezTo>
                        <a:pt x="327577" y="592098"/>
                        <a:pt x="326855" y="592820"/>
                        <a:pt x="326694" y="593865"/>
                      </a:cubicBezTo>
                      <a:cubicBezTo>
                        <a:pt x="326614" y="594427"/>
                        <a:pt x="327176" y="596034"/>
                        <a:pt x="327176" y="596034"/>
                      </a:cubicBezTo>
                      <a:cubicBezTo>
                        <a:pt x="328059" y="597480"/>
                        <a:pt x="330068" y="596596"/>
                        <a:pt x="333281" y="593463"/>
                      </a:cubicBezTo>
                      <a:moveTo>
                        <a:pt x="237530" y="507271"/>
                      </a:moveTo>
                      <a:cubicBezTo>
                        <a:pt x="238413" y="506387"/>
                        <a:pt x="239458" y="502291"/>
                        <a:pt x="239458" y="502211"/>
                      </a:cubicBezTo>
                      <a:cubicBezTo>
                        <a:pt x="239377" y="502291"/>
                        <a:pt x="238976" y="502532"/>
                        <a:pt x="235763" y="509360"/>
                      </a:cubicBezTo>
                      <a:cubicBezTo>
                        <a:pt x="236084" y="508958"/>
                        <a:pt x="236405" y="508476"/>
                        <a:pt x="237530" y="507271"/>
                      </a:cubicBezTo>
                      <a:moveTo>
                        <a:pt x="1790029" y="365171"/>
                      </a:moveTo>
                      <a:cubicBezTo>
                        <a:pt x="1790270" y="365251"/>
                        <a:pt x="1790591" y="365332"/>
                        <a:pt x="1790832" y="365412"/>
                      </a:cubicBezTo>
                      <a:cubicBezTo>
                        <a:pt x="1786173" y="363886"/>
                        <a:pt x="1780952" y="362761"/>
                        <a:pt x="1777176" y="366054"/>
                      </a:cubicBezTo>
                      <a:cubicBezTo>
                        <a:pt x="1775489" y="367661"/>
                        <a:pt x="1775489" y="368304"/>
                        <a:pt x="1775489" y="368545"/>
                      </a:cubicBezTo>
                      <a:cubicBezTo>
                        <a:pt x="1777417" y="368946"/>
                        <a:pt x="1778863" y="369187"/>
                        <a:pt x="1780630" y="369348"/>
                      </a:cubicBezTo>
                      <a:cubicBezTo>
                        <a:pt x="1780550" y="367501"/>
                        <a:pt x="1780229" y="362600"/>
                        <a:pt x="1790029" y="365171"/>
                      </a:cubicBezTo>
                      <a:moveTo>
                        <a:pt x="566875" y="656360"/>
                      </a:moveTo>
                      <a:cubicBezTo>
                        <a:pt x="567035" y="656360"/>
                        <a:pt x="567276" y="656440"/>
                        <a:pt x="567437" y="656440"/>
                      </a:cubicBezTo>
                      <a:cubicBezTo>
                        <a:pt x="567276" y="655958"/>
                        <a:pt x="567116" y="655316"/>
                        <a:pt x="566955" y="654834"/>
                      </a:cubicBezTo>
                      <a:cubicBezTo>
                        <a:pt x="568320" y="647524"/>
                        <a:pt x="565589" y="640937"/>
                        <a:pt x="559163" y="635635"/>
                      </a:cubicBezTo>
                      <a:cubicBezTo>
                        <a:pt x="559163" y="635957"/>
                        <a:pt x="559163" y="636358"/>
                        <a:pt x="559243" y="636599"/>
                      </a:cubicBezTo>
                      <a:cubicBezTo>
                        <a:pt x="559243" y="642062"/>
                        <a:pt x="557637" y="645837"/>
                        <a:pt x="554102" y="648488"/>
                      </a:cubicBezTo>
                      <a:cubicBezTo>
                        <a:pt x="554183" y="648729"/>
                        <a:pt x="554263" y="649050"/>
                        <a:pt x="554343" y="649371"/>
                      </a:cubicBezTo>
                      <a:cubicBezTo>
                        <a:pt x="554263" y="649371"/>
                        <a:pt x="554183" y="649371"/>
                        <a:pt x="554022" y="649371"/>
                      </a:cubicBezTo>
                      <a:cubicBezTo>
                        <a:pt x="554424" y="650255"/>
                        <a:pt x="556834" y="654834"/>
                        <a:pt x="566875" y="656360"/>
                      </a:cubicBezTo>
                      <a:moveTo>
                        <a:pt x="253595" y="528719"/>
                      </a:moveTo>
                      <a:cubicBezTo>
                        <a:pt x="253756" y="528639"/>
                        <a:pt x="253917" y="528398"/>
                        <a:pt x="254077" y="528317"/>
                      </a:cubicBezTo>
                      <a:cubicBezTo>
                        <a:pt x="251025" y="525104"/>
                        <a:pt x="252551" y="523096"/>
                        <a:pt x="254318" y="521409"/>
                      </a:cubicBezTo>
                      <a:cubicBezTo>
                        <a:pt x="251266" y="519883"/>
                        <a:pt x="253113" y="515866"/>
                        <a:pt x="254961" y="512091"/>
                      </a:cubicBezTo>
                      <a:cubicBezTo>
                        <a:pt x="255604" y="511930"/>
                        <a:pt x="256487" y="511609"/>
                        <a:pt x="256005" y="510806"/>
                      </a:cubicBezTo>
                      <a:cubicBezTo>
                        <a:pt x="255925" y="510725"/>
                        <a:pt x="255845" y="510645"/>
                        <a:pt x="255845" y="510565"/>
                      </a:cubicBezTo>
                      <a:cubicBezTo>
                        <a:pt x="255363" y="511127"/>
                        <a:pt x="254640" y="511930"/>
                        <a:pt x="254158" y="512492"/>
                      </a:cubicBezTo>
                      <a:lnTo>
                        <a:pt x="252631" y="514099"/>
                      </a:lnTo>
                      <a:cubicBezTo>
                        <a:pt x="249177" y="528639"/>
                        <a:pt x="251025" y="530325"/>
                        <a:pt x="253194" y="529040"/>
                      </a:cubicBezTo>
                      <a:cubicBezTo>
                        <a:pt x="253274" y="528960"/>
                        <a:pt x="253435" y="528799"/>
                        <a:pt x="253595" y="528719"/>
                      </a:cubicBezTo>
                      <a:moveTo>
                        <a:pt x="1783683" y="352961"/>
                      </a:moveTo>
                      <a:cubicBezTo>
                        <a:pt x="1783843" y="352961"/>
                        <a:pt x="1784084" y="352881"/>
                        <a:pt x="1784245" y="352881"/>
                      </a:cubicBezTo>
                      <a:cubicBezTo>
                        <a:pt x="1779747" y="350632"/>
                        <a:pt x="1773481" y="348222"/>
                        <a:pt x="1768581" y="349989"/>
                      </a:cubicBezTo>
                      <a:cubicBezTo>
                        <a:pt x="1768661" y="350069"/>
                        <a:pt x="1768822" y="350150"/>
                        <a:pt x="1768983" y="350230"/>
                      </a:cubicBezTo>
                      <a:cubicBezTo>
                        <a:pt x="1774124" y="353925"/>
                        <a:pt x="1780389" y="353523"/>
                        <a:pt x="1783683" y="352961"/>
                      </a:cubicBezTo>
                      <a:moveTo>
                        <a:pt x="1776373" y="344446"/>
                      </a:moveTo>
                      <a:cubicBezTo>
                        <a:pt x="1775409" y="343723"/>
                        <a:pt x="1772517" y="341796"/>
                        <a:pt x="1771152" y="340832"/>
                      </a:cubicBezTo>
                      <a:cubicBezTo>
                        <a:pt x="1771152" y="340832"/>
                        <a:pt x="1771152" y="340912"/>
                        <a:pt x="1771152" y="340912"/>
                      </a:cubicBezTo>
                      <a:cubicBezTo>
                        <a:pt x="1771152" y="341394"/>
                        <a:pt x="1771232" y="342036"/>
                        <a:pt x="1772115" y="342679"/>
                      </a:cubicBezTo>
                      <a:cubicBezTo>
                        <a:pt x="1772356" y="342840"/>
                        <a:pt x="1772758" y="343081"/>
                        <a:pt x="1773561" y="343241"/>
                      </a:cubicBezTo>
                      <a:cubicBezTo>
                        <a:pt x="1773642" y="343241"/>
                        <a:pt x="1773722" y="343241"/>
                        <a:pt x="1773722" y="343241"/>
                      </a:cubicBezTo>
                      <a:cubicBezTo>
                        <a:pt x="1774525" y="343643"/>
                        <a:pt x="1775329" y="344125"/>
                        <a:pt x="1776132" y="344446"/>
                      </a:cubicBezTo>
                      <a:cubicBezTo>
                        <a:pt x="1776293" y="344527"/>
                        <a:pt x="1776453" y="344607"/>
                        <a:pt x="1776694" y="344687"/>
                      </a:cubicBezTo>
                      <a:cubicBezTo>
                        <a:pt x="1776694" y="344687"/>
                        <a:pt x="1776694" y="344687"/>
                        <a:pt x="1776694" y="344687"/>
                      </a:cubicBezTo>
                      <a:cubicBezTo>
                        <a:pt x="1776614" y="344607"/>
                        <a:pt x="1776453" y="344527"/>
                        <a:pt x="1776373" y="344446"/>
                      </a:cubicBezTo>
                      <a:moveTo>
                        <a:pt x="1677168" y="419071"/>
                      </a:moveTo>
                      <a:lnTo>
                        <a:pt x="1677971" y="418188"/>
                      </a:lnTo>
                      <a:cubicBezTo>
                        <a:pt x="1670983" y="418027"/>
                        <a:pt x="1667930" y="415456"/>
                        <a:pt x="1666805" y="413850"/>
                      </a:cubicBezTo>
                      <a:cubicBezTo>
                        <a:pt x="1665681" y="412323"/>
                        <a:pt x="1662307" y="412243"/>
                        <a:pt x="1661183" y="413046"/>
                      </a:cubicBezTo>
                      <a:cubicBezTo>
                        <a:pt x="1660620" y="413769"/>
                        <a:pt x="1660460" y="414412"/>
                        <a:pt x="1660701" y="416420"/>
                      </a:cubicBezTo>
                      <a:cubicBezTo>
                        <a:pt x="1661263" y="415215"/>
                        <a:pt x="1662468" y="415617"/>
                        <a:pt x="1663110" y="416018"/>
                      </a:cubicBezTo>
                      <a:cubicBezTo>
                        <a:pt x="1664556" y="416902"/>
                        <a:pt x="1671866" y="419312"/>
                        <a:pt x="1677168" y="419071"/>
                      </a:cubicBezTo>
                      <a:moveTo>
                        <a:pt x="1764966" y="350792"/>
                      </a:moveTo>
                      <a:cubicBezTo>
                        <a:pt x="1765047" y="350712"/>
                        <a:pt x="1765127" y="350712"/>
                        <a:pt x="1765207" y="350632"/>
                      </a:cubicBezTo>
                      <a:cubicBezTo>
                        <a:pt x="1761432" y="348222"/>
                        <a:pt x="1757657" y="345972"/>
                        <a:pt x="1756532" y="347017"/>
                      </a:cubicBezTo>
                      <a:cubicBezTo>
                        <a:pt x="1755889" y="347901"/>
                        <a:pt x="1756853" y="349989"/>
                        <a:pt x="1756853" y="349989"/>
                      </a:cubicBezTo>
                      <a:cubicBezTo>
                        <a:pt x="1757496" y="350471"/>
                        <a:pt x="1759906" y="352158"/>
                        <a:pt x="1762637" y="351756"/>
                      </a:cubicBezTo>
                      <a:cubicBezTo>
                        <a:pt x="1763520" y="351596"/>
                        <a:pt x="1764324" y="351274"/>
                        <a:pt x="1764966" y="350792"/>
                      </a:cubicBezTo>
                      <a:moveTo>
                        <a:pt x="1743840" y="355612"/>
                      </a:moveTo>
                      <a:cubicBezTo>
                        <a:pt x="1743760" y="355371"/>
                        <a:pt x="1743599" y="355130"/>
                        <a:pt x="1743519" y="354889"/>
                      </a:cubicBezTo>
                      <a:cubicBezTo>
                        <a:pt x="1742716" y="355451"/>
                        <a:pt x="1742153" y="355612"/>
                        <a:pt x="1741029" y="355612"/>
                      </a:cubicBezTo>
                      <a:cubicBezTo>
                        <a:pt x="1740868" y="355773"/>
                        <a:pt x="1740707" y="355933"/>
                        <a:pt x="1740627" y="356094"/>
                      </a:cubicBezTo>
                      <a:cubicBezTo>
                        <a:pt x="1744563" y="360030"/>
                        <a:pt x="1743920" y="362520"/>
                        <a:pt x="1738779" y="363082"/>
                      </a:cubicBezTo>
                      <a:cubicBezTo>
                        <a:pt x="1745125" y="364368"/>
                        <a:pt x="1746812" y="361878"/>
                        <a:pt x="1743840" y="355612"/>
                      </a:cubicBezTo>
                      <a:moveTo>
                        <a:pt x="594427" y="616116"/>
                      </a:moveTo>
                      <a:cubicBezTo>
                        <a:pt x="594588" y="615955"/>
                        <a:pt x="594748" y="615794"/>
                        <a:pt x="594909" y="615634"/>
                      </a:cubicBezTo>
                      <a:cubicBezTo>
                        <a:pt x="583181" y="609930"/>
                        <a:pt x="578361" y="607601"/>
                        <a:pt x="577157" y="607601"/>
                      </a:cubicBezTo>
                      <a:cubicBezTo>
                        <a:pt x="577157" y="607601"/>
                        <a:pt x="577076" y="607681"/>
                        <a:pt x="577076" y="607681"/>
                      </a:cubicBezTo>
                      <a:cubicBezTo>
                        <a:pt x="577157" y="607922"/>
                        <a:pt x="577237" y="608324"/>
                        <a:pt x="580370" y="610653"/>
                      </a:cubicBezTo>
                      <a:cubicBezTo>
                        <a:pt x="581012" y="611135"/>
                        <a:pt x="581896" y="611778"/>
                        <a:pt x="582619" y="612260"/>
                      </a:cubicBezTo>
                      <a:cubicBezTo>
                        <a:pt x="583020" y="612501"/>
                        <a:pt x="583583" y="612902"/>
                        <a:pt x="583984" y="613143"/>
                      </a:cubicBezTo>
                      <a:cubicBezTo>
                        <a:pt x="586234" y="614670"/>
                        <a:pt x="588483" y="616035"/>
                        <a:pt x="590732" y="617481"/>
                      </a:cubicBezTo>
                      <a:cubicBezTo>
                        <a:pt x="590893" y="617562"/>
                        <a:pt x="590893" y="617883"/>
                        <a:pt x="591134" y="617963"/>
                      </a:cubicBezTo>
                      <a:cubicBezTo>
                        <a:pt x="591857" y="618365"/>
                        <a:pt x="593222" y="617240"/>
                        <a:pt x="594427" y="616116"/>
                      </a:cubicBezTo>
                      <a:moveTo>
                        <a:pt x="405656" y="574265"/>
                      </a:moveTo>
                      <a:cubicBezTo>
                        <a:pt x="405737" y="574265"/>
                        <a:pt x="405737" y="574184"/>
                        <a:pt x="405817" y="574184"/>
                      </a:cubicBezTo>
                      <a:cubicBezTo>
                        <a:pt x="405817" y="574184"/>
                        <a:pt x="405737" y="574184"/>
                        <a:pt x="405737" y="574184"/>
                      </a:cubicBezTo>
                      <a:cubicBezTo>
                        <a:pt x="404773" y="574104"/>
                        <a:pt x="403969" y="574265"/>
                        <a:pt x="403005" y="574907"/>
                      </a:cubicBezTo>
                      <a:cubicBezTo>
                        <a:pt x="402523" y="575229"/>
                        <a:pt x="402523" y="575229"/>
                        <a:pt x="401238" y="576996"/>
                      </a:cubicBezTo>
                      <a:cubicBezTo>
                        <a:pt x="402604" y="576032"/>
                        <a:pt x="404130" y="575148"/>
                        <a:pt x="405656" y="574265"/>
                      </a:cubicBezTo>
                      <a:moveTo>
                        <a:pt x="409673" y="576755"/>
                      </a:moveTo>
                      <a:lnTo>
                        <a:pt x="411038" y="576594"/>
                      </a:lnTo>
                      <a:cubicBezTo>
                        <a:pt x="410958" y="573943"/>
                        <a:pt x="410315" y="573301"/>
                        <a:pt x="409351" y="573140"/>
                      </a:cubicBezTo>
                      <a:cubicBezTo>
                        <a:pt x="408709" y="573140"/>
                        <a:pt x="407986" y="573220"/>
                        <a:pt x="406460" y="574425"/>
                      </a:cubicBezTo>
                      <a:cubicBezTo>
                        <a:pt x="406138" y="574666"/>
                        <a:pt x="406058" y="575389"/>
                        <a:pt x="405897" y="575791"/>
                      </a:cubicBezTo>
                      <a:cubicBezTo>
                        <a:pt x="408789" y="573863"/>
                        <a:pt x="409914" y="574184"/>
                        <a:pt x="409673" y="576755"/>
                      </a:cubicBezTo>
                      <a:moveTo>
                        <a:pt x="1757014" y="334727"/>
                      </a:moveTo>
                      <a:cubicBezTo>
                        <a:pt x="1756692" y="334727"/>
                        <a:pt x="1750025" y="334405"/>
                        <a:pt x="1747214" y="334325"/>
                      </a:cubicBezTo>
                      <a:cubicBezTo>
                        <a:pt x="1747455" y="334325"/>
                        <a:pt x="1747696" y="334325"/>
                        <a:pt x="1747856" y="334325"/>
                      </a:cubicBezTo>
                      <a:cubicBezTo>
                        <a:pt x="1750909" y="334486"/>
                        <a:pt x="1753961" y="334727"/>
                        <a:pt x="1757014" y="334727"/>
                      </a:cubicBezTo>
                      <a:moveTo>
                        <a:pt x="262110" y="481888"/>
                      </a:moveTo>
                      <a:cubicBezTo>
                        <a:pt x="262753" y="481406"/>
                        <a:pt x="263636" y="480763"/>
                        <a:pt x="264279" y="480281"/>
                      </a:cubicBezTo>
                      <a:cubicBezTo>
                        <a:pt x="260986" y="480201"/>
                        <a:pt x="253756" y="476907"/>
                        <a:pt x="261468" y="470320"/>
                      </a:cubicBezTo>
                      <a:cubicBezTo>
                        <a:pt x="263797" y="468312"/>
                        <a:pt x="266930" y="466625"/>
                        <a:pt x="270063" y="464938"/>
                      </a:cubicBezTo>
                      <a:cubicBezTo>
                        <a:pt x="270143" y="462368"/>
                        <a:pt x="269822" y="461645"/>
                        <a:pt x="269259" y="459958"/>
                      </a:cubicBezTo>
                      <a:cubicBezTo>
                        <a:pt x="268617" y="458914"/>
                        <a:pt x="267010" y="456182"/>
                        <a:pt x="262833" y="456825"/>
                      </a:cubicBezTo>
                      <a:cubicBezTo>
                        <a:pt x="259058" y="457388"/>
                        <a:pt x="256407" y="456343"/>
                        <a:pt x="254158" y="453291"/>
                      </a:cubicBezTo>
                      <a:cubicBezTo>
                        <a:pt x="251748" y="455781"/>
                        <a:pt x="250302" y="457629"/>
                        <a:pt x="248615" y="460440"/>
                      </a:cubicBezTo>
                      <a:cubicBezTo>
                        <a:pt x="249177" y="459958"/>
                        <a:pt x="249820" y="459315"/>
                        <a:pt x="250382" y="458833"/>
                      </a:cubicBezTo>
                      <a:cubicBezTo>
                        <a:pt x="252471" y="458111"/>
                        <a:pt x="252631" y="460601"/>
                        <a:pt x="250945" y="465661"/>
                      </a:cubicBezTo>
                      <a:cubicBezTo>
                        <a:pt x="252310" y="464537"/>
                        <a:pt x="253113" y="463733"/>
                        <a:pt x="254559" y="462047"/>
                      </a:cubicBezTo>
                      <a:cubicBezTo>
                        <a:pt x="253435" y="469356"/>
                        <a:pt x="252712" y="474256"/>
                        <a:pt x="251025" y="472168"/>
                      </a:cubicBezTo>
                      <a:cubicBezTo>
                        <a:pt x="250543" y="471606"/>
                        <a:pt x="250141" y="470401"/>
                        <a:pt x="249900" y="469437"/>
                      </a:cubicBezTo>
                      <a:cubicBezTo>
                        <a:pt x="232389" y="489438"/>
                        <a:pt x="232389" y="489438"/>
                        <a:pt x="235522" y="489197"/>
                      </a:cubicBezTo>
                      <a:cubicBezTo>
                        <a:pt x="237289" y="489117"/>
                        <a:pt x="241386" y="487671"/>
                        <a:pt x="244358" y="486627"/>
                      </a:cubicBezTo>
                      <a:cubicBezTo>
                        <a:pt x="241305" y="488956"/>
                        <a:pt x="235200" y="494097"/>
                        <a:pt x="230782" y="497793"/>
                      </a:cubicBezTo>
                      <a:cubicBezTo>
                        <a:pt x="237369" y="493615"/>
                        <a:pt x="237369" y="493615"/>
                        <a:pt x="240984" y="492812"/>
                      </a:cubicBezTo>
                      <a:cubicBezTo>
                        <a:pt x="241868" y="492651"/>
                        <a:pt x="243072" y="493053"/>
                        <a:pt x="243876" y="493455"/>
                      </a:cubicBezTo>
                      <a:cubicBezTo>
                        <a:pt x="245804" y="494338"/>
                        <a:pt x="245804" y="494338"/>
                        <a:pt x="248374" y="493856"/>
                      </a:cubicBezTo>
                      <a:cubicBezTo>
                        <a:pt x="249177" y="495624"/>
                        <a:pt x="251507" y="493776"/>
                        <a:pt x="253033" y="490965"/>
                      </a:cubicBezTo>
                      <a:cubicBezTo>
                        <a:pt x="253435" y="490161"/>
                        <a:pt x="255363" y="487029"/>
                        <a:pt x="262110" y="481888"/>
                      </a:cubicBezTo>
                      <a:moveTo>
                        <a:pt x="363966" y="541973"/>
                      </a:moveTo>
                      <a:cubicBezTo>
                        <a:pt x="364046" y="541812"/>
                        <a:pt x="364207" y="541652"/>
                        <a:pt x="364287" y="541571"/>
                      </a:cubicBezTo>
                      <a:cubicBezTo>
                        <a:pt x="364287" y="541571"/>
                        <a:pt x="364287" y="541571"/>
                        <a:pt x="364207" y="541571"/>
                      </a:cubicBezTo>
                      <a:cubicBezTo>
                        <a:pt x="363886" y="541812"/>
                        <a:pt x="363886" y="541812"/>
                        <a:pt x="363404" y="542053"/>
                      </a:cubicBezTo>
                      <a:cubicBezTo>
                        <a:pt x="362038" y="542776"/>
                        <a:pt x="360994" y="543740"/>
                        <a:pt x="359789" y="545347"/>
                      </a:cubicBezTo>
                      <a:cubicBezTo>
                        <a:pt x="357781" y="548158"/>
                        <a:pt x="355451" y="552817"/>
                        <a:pt x="354407" y="555066"/>
                      </a:cubicBezTo>
                      <a:cubicBezTo>
                        <a:pt x="355451" y="553379"/>
                        <a:pt x="358504" y="548158"/>
                        <a:pt x="363966" y="541973"/>
                      </a:cubicBezTo>
                      <a:moveTo>
                        <a:pt x="274240" y="428871"/>
                      </a:moveTo>
                      <a:cubicBezTo>
                        <a:pt x="274320" y="428791"/>
                        <a:pt x="274400" y="428710"/>
                        <a:pt x="274481" y="428710"/>
                      </a:cubicBezTo>
                      <a:cubicBezTo>
                        <a:pt x="274481" y="428710"/>
                        <a:pt x="274400" y="428710"/>
                        <a:pt x="274400" y="428710"/>
                      </a:cubicBezTo>
                      <a:cubicBezTo>
                        <a:pt x="273758" y="428630"/>
                        <a:pt x="273356" y="428710"/>
                        <a:pt x="273356" y="428710"/>
                      </a:cubicBezTo>
                      <a:cubicBezTo>
                        <a:pt x="273356" y="428710"/>
                        <a:pt x="270464" y="431201"/>
                        <a:pt x="270384" y="431522"/>
                      </a:cubicBezTo>
                      <a:cubicBezTo>
                        <a:pt x="270384" y="431522"/>
                        <a:pt x="270384" y="431522"/>
                        <a:pt x="270384" y="431522"/>
                      </a:cubicBezTo>
                      <a:cubicBezTo>
                        <a:pt x="270625" y="431522"/>
                        <a:pt x="271750" y="430719"/>
                        <a:pt x="274240" y="428871"/>
                      </a:cubicBezTo>
                      <a:moveTo>
                        <a:pt x="350792" y="531691"/>
                      </a:moveTo>
                      <a:cubicBezTo>
                        <a:pt x="352078" y="530165"/>
                        <a:pt x="351756" y="528719"/>
                        <a:pt x="351676" y="528157"/>
                      </a:cubicBezTo>
                      <a:cubicBezTo>
                        <a:pt x="351274" y="528639"/>
                        <a:pt x="350632" y="529281"/>
                        <a:pt x="350230" y="529763"/>
                      </a:cubicBezTo>
                      <a:cubicBezTo>
                        <a:pt x="348543" y="531209"/>
                        <a:pt x="347900" y="532414"/>
                        <a:pt x="348061" y="533779"/>
                      </a:cubicBezTo>
                      <a:cubicBezTo>
                        <a:pt x="348543" y="533458"/>
                        <a:pt x="349909" y="532735"/>
                        <a:pt x="350792" y="531691"/>
                      </a:cubicBezTo>
                      <a:moveTo>
                        <a:pt x="1736450" y="319223"/>
                      </a:moveTo>
                      <a:cubicBezTo>
                        <a:pt x="1736450" y="319143"/>
                        <a:pt x="1736450" y="319063"/>
                        <a:pt x="1736450" y="318982"/>
                      </a:cubicBezTo>
                      <a:cubicBezTo>
                        <a:pt x="1735084" y="318500"/>
                        <a:pt x="1733397" y="318099"/>
                        <a:pt x="1732273" y="319143"/>
                      </a:cubicBezTo>
                      <a:cubicBezTo>
                        <a:pt x="1732112" y="319304"/>
                        <a:pt x="1732032" y="319384"/>
                        <a:pt x="1731951" y="319545"/>
                      </a:cubicBezTo>
                      <a:cubicBezTo>
                        <a:pt x="1735727" y="321794"/>
                        <a:pt x="1736370" y="320107"/>
                        <a:pt x="1736450" y="319223"/>
                      </a:cubicBezTo>
                      <a:moveTo>
                        <a:pt x="275204" y="425899"/>
                      </a:moveTo>
                      <a:cubicBezTo>
                        <a:pt x="275686" y="425337"/>
                        <a:pt x="276087" y="424614"/>
                        <a:pt x="276569" y="424051"/>
                      </a:cubicBezTo>
                      <a:cubicBezTo>
                        <a:pt x="277694" y="422445"/>
                        <a:pt x="278818" y="420838"/>
                        <a:pt x="280023" y="419232"/>
                      </a:cubicBezTo>
                      <a:cubicBezTo>
                        <a:pt x="279943" y="419232"/>
                        <a:pt x="279863" y="419312"/>
                        <a:pt x="279863" y="419312"/>
                      </a:cubicBezTo>
                      <a:cubicBezTo>
                        <a:pt x="276971" y="423168"/>
                        <a:pt x="275284" y="425738"/>
                        <a:pt x="275204" y="425899"/>
                      </a:cubicBezTo>
                      <a:moveTo>
                        <a:pt x="1641663" y="385173"/>
                      </a:moveTo>
                      <a:cubicBezTo>
                        <a:pt x="1641984" y="385173"/>
                        <a:pt x="1642386" y="385253"/>
                        <a:pt x="1642627" y="385253"/>
                      </a:cubicBezTo>
                      <a:cubicBezTo>
                        <a:pt x="1636682" y="383727"/>
                        <a:pt x="1630578" y="383325"/>
                        <a:pt x="1624071" y="383968"/>
                      </a:cubicBezTo>
                      <a:cubicBezTo>
                        <a:pt x="1624151" y="384048"/>
                        <a:pt x="1624312" y="384209"/>
                        <a:pt x="1624392" y="384289"/>
                      </a:cubicBezTo>
                      <a:cubicBezTo>
                        <a:pt x="1626561" y="385895"/>
                        <a:pt x="1627686" y="385735"/>
                        <a:pt x="1628409" y="385574"/>
                      </a:cubicBezTo>
                      <a:cubicBezTo>
                        <a:pt x="1630658" y="385253"/>
                        <a:pt x="1635478" y="384691"/>
                        <a:pt x="1641663" y="385173"/>
                      </a:cubicBezTo>
                      <a:moveTo>
                        <a:pt x="1742314" y="305568"/>
                      </a:moveTo>
                      <a:cubicBezTo>
                        <a:pt x="1741270" y="304764"/>
                        <a:pt x="1739181" y="303720"/>
                        <a:pt x="1735486" y="303238"/>
                      </a:cubicBezTo>
                      <a:cubicBezTo>
                        <a:pt x="1735566" y="303318"/>
                        <a:pt x="1735647" y="303318"/>
                        <a:pt x="1735727" y="303399"/>
                      </a:cubicBezTo>
                      <a:cubicBezTo>
                        <a:pt x="1738619" y="305005"/>
                        <a:pt x="1741270" y="306612"/>
                        <a:pt x="1744161" y="308540"/>
                      </a:cubicBezTo>
                      <a:cubicBezTo>
                        <a:pt x="1744081" y="308058"/>
                        <a:pt x="1744001" y="306773"/>
                        <a:pt x="1742314" y="305568"/>
                      </a:cubicBezTo>
                      <a:moveTo>
                        <a:pt x="1764725" y="142903"/>
                      </a:moveTo>
                      <a:cubicBezTo>
                        <a:pt x="1764645" y="142903"/>
                        <a:pt x="1764645" y="142823"/>
                        <a:pt x="1764565" y="142823"/>
                      </a:cubicBezTo>
                      <a:cubicBezTo>
                        <a:pt x="1764966" y="143144"/>
                        <a:pt x="1765529" y="143466"/>
                        <a:pt x="1765850" y="143787"/>
                      </a:cubicBezTo>
                      <a:cubicBezTo>
                        <a:pt x="1766733" y="144269"/>
                        <a:pt x="1767617" y="144751"/>
                        <a:pt x="1768501" y="145233"/>
                      </a:cubicBezTo>
                      <a:cubicBezTo>
                        <a:pt x="1768822" y="145393"/>
                        <a:pt x="1769143" y="145635"/>
                        <a:pt x="1769465" y="145795"/>
                      </a:cubicBezTo>
                      <a:cubicBezTo>
                        <a:pt x="1769224" y="145554"/>
                        <a:pt x="1764806" y="142903"/>
                        <a:pt x="1764725" y="142903"/>
                      </a:cubicBezTo>
                      <a:moveTo>
                        <a:pt x="1737494" y="296330"/>
                      </a:moveTo>
                      <a:cubicBezTo>
                        <a:pt x="1736370" y="295527"/>
                        <a:pt x="1735566" y="295045"/>
                        <a:pt x="1735004" y="294723"/>
                      </a:cubicBezTo>
                      <a:cubicBezTo>
                        <a:pt x="1735165" y="294884"/>
                        <a:pt x="1735325" y="295045"/>
                        <a:pt x="1735406" y="295125"/>
                      </a:cubicBezTo>
                      <a:cubicBezTo>
                        <a:pt x="1736691" y="296410"/>
                        <a:pt x="1737976" y="297615"/>
                        <a:pt x="1739261" y="298900"/>
                      </a:cubicBezTo>
                      <a:cubicBezTo>
                        <a:pt x="1739743" y="299382"/>
                        <a:pt x="1740306" y="299784"/>
                        <a:pt x="1740788" y="300346"/>
                      </a:cubicBezTo>
                      <a:cubicBezTo>
                        <a:pt x="1741029" y="300668"/>
                        <a:pt x="1741109" y="301069"/>
                        <a:pt x="1741350" y="301310"/>
                      </a:cubicBezTo>
                      <a:cubicBezTo>
                        <a:pt x="1741992" y="301872"/>
                        <a:pt x="1742796" y="302033"/>
                        <a:pt x="1743760" y="302194"/>
                      </a:cubicBezTo>
                      <a:cubicBezTo>
                        <a:pt x="1743117" y="301391"/>
                        <a:pt x="1741029" y="298820"/>
                        <a:pt x="1737494" y="296330"/>
                      </a:cubicBezTo>
                      <a:moveTo>
                        <a:pt x="298338" y="432084"/>
                      </a:moveTo>
                      <a:cubicBezTo>
                        <a:pt x="301230" y="429112"/>
                        <a:pt x="303961" y="426059"/>
                        <a:pt x="306773" y="423087"/>
                      </a:cubicBezTo>
                      <a:cubicBezTo>
                        <a:pt x="306692" y="423168"/>
                        <a:pt x="306532" y="423248"/>
                        <a:pt x="306371" y="423328"/>
                      </a:cubicBezTo>
                      <a:cubicBezTo>
                        <a:pt x="304363" y="424614"/>
                        <a:pt x="302997" y="426059"/>
                        <a:pt x="302917" y="426059"/>
                      </a:cubicBezTo>
                      <a:cubicBezTo>
                        <a:pt x="302836" y="426140"/>
                        <a:pt x="297214" y="432646"/>
                        <a:pt x="297294" y="432968"/>
                      </a:cubicBezTo>
                      <a:cubicBezTo>
                        <a:pt x="297776" y="432727"/>
                        <a:pt x="298017" y="432405"/>
                        <a:pt x="298338" y="432084"/>
                      </a:cubicBezTo>
                      <a:moveTo>
                        <a:pt x="418107" y="495142"/>
                      </a:moveTo>
                      <a:cubicBezTo>
                        <a:pt x="418187" y="495061"/>
                        <a:pt x="418348" y="494981"/>
                        <a:pt x="418428" y="494901"/>
                      </a:cubicBezTo>
                      <a:cubicBezTo>
                        <a:pt x="418027" y="494499"/>
                        <a:pt x="417625" y="494097"/>
                        <a:pt x="417224" y="493696"/>
                      </a:cubicBezTo>
                      <a:cubicBezTo>
                        <a:pt x="417143" y="493776"/>
                        <a:pt x="416983" y="493856"/>
                        <a:pt x="416902" y="493856"/>
                      </a:cubicBezTo>
                      <a:cubicBezTo>
                        <a:pt x="414412" y="495463"/>
                        <a:pt x="413769" y="496828"/>
                        <a:pt x="413528" y="497712"/>
                      </a:cubicBezTo>
                      <a:cubicBezTo>
                        <a:pt x="415055" y="497070"/>
                        <a:pt x="416661" y="496186"/>
                        <a:pt x="418107" y="495142"/>
                      </a:cubicBezTo>
                      <a:moveTo>
                        <a:pt x="1668974" y="301391"/>
                      </a:moveTo>
                      <a:cubicBezTo>
                        <a:pt x="1668733" y="301150"/>
                        <a:pt x="1668412" y="300828"/>
                        <a:pt x="1668171" y="300587"/>
                      </a:cubicBezTo>
                      <a:cubicBezTo>
                        <a:pt x="1668251" y="300828"/>
                        <a:pt x="1668251" y="301150"/>
                        <a:pt x="1668332" y="301391"/>
                      </a:cubicBezTo>
                      <a:cubicBezTo>
                        <a:pt x="1668653" y="303238"/>
                        <a:pt x="1668894" y="304443"/>
                        <a:pt x="1669135" y="306612"/>
                      </a:cubicBezTo>
                      <a:cubicBezTo>
                        <a:pt x="1668653" y="306291"/>
                        <a:pt x="1667930" y="305969"/>
                        <a:pt x="1667448" y="305648"/>
                      </a:cubicBezTo>
                      <a:cubicBezTo>
                        <a:pt x="1667850" y="306933"/>
                        <a:pt x="1668653" y="307496"/>
                        <a:pt x="1670742" y="308218"/>
                      </a:cubicBezTo>
                      <a:cubicBezTo>
                        <a:pt x="1670340" y="308299"/>
                        <a:pt x="1669858" y="308459"/>
                        <a:pt x="1669537" y="308540"/>
                      </a:cubicBezTo>
                      <a:cubicBezTo>
                        <a:pt x="1670099" y="311030"/>
                        <a:pt x="1670581" y="313440"/>
                        <a:pt x="1671143" y="315930"/>
                      </a:cubicBezTo>
                      <a:cubicBezTo>
                        <a:pt x="1673392" y="316733"/>
                        <a:pt x="1675079" y="317938"/>
                        <a:pt x="1677007" y="320027"/>
                      </a:cubicBezTo>
                      <a:cubicBezTo>
                        <a:pt x="1676365" y="318581"/>
                        <a:pt x="1676927" y="317938"/>
                        <a:pt x="1678935" y="318018"/>
                      </a:cubicBezTo>
                      <a:cubicBezTo>
                        <a:pt x="1679658" y="314725"/>
                        <a:pt x="1678292" y="310869"/>
                        <a:pt x="1668974" y="301391"/>
                      </a:cubicBezTo>
                      <a:moveTo>
                        <a:pt x="368705" y="453532"/>
                      </a:moveTo>
                      <a:cubicBezTo>
                        <a:pt x="370874" y="451283"/>
                        <a:pt x="369750" y="450479"/>
                        <a:pt x="369428" y="450238"/>
                      </a:cubicBezTo>
                      <a:cubicBezTo>
                        <a:pt x="369187" y="450078"/>
                        <a:pt x="368946" y="449997"/>
                        <a:pt x="368705" y="449917"/>
                      </a:cubicBezTo>
                      <a:cubicBezTo>
                        <a:pt x="366537" y="452969"/>
                        <a:pt x="366215" y="454335"/>
                        <a:pt x="367661" y="454094"/>
                      </a:cubicBezTo>
                      <a:cubicBezTo>
                        <a:pt x="368304" y="453933"/>
                        <a:pt x="368304" y="453933"/>
                        <a:pt x="368705" y="453532"/>
                      </a:cubicBezTo>
                      <a:moveTo>
                        <a:pt x="1648892" y="74946"/>
                      </a:moveTo>
                      <a:cubicBezTo>
                        <a:pt x="1646242" y="73902"/>
                        <a:pt x="1643510" y="72777"/>
                        <a:pt x="1640779" y="71813"/>
                      </a:cubicBezTo>
                      <a:cubicBezTo>
                        <a:pt x="1643671" y="72857"/>
                        <a:pt x="1646483" y="73982"/>
                        <a:pt x="1649294" y="75187"/>
                      </a:cubicBezTo>
                      <a:cubicBezTo>
                        <a:pt x="1649214" y="75106"/>
                        <a:pt x="1649053" y="75026"/>
                        <a:pt x="1648892" y="74946"/>
                      </a:cubicBezTo>
                      <a:moveTo>
                        <a:pt x="1640458" y="71733"/>
                      </a:moveTo>
                      <a:cubicBezTo>
                        <a:pt x="1640458" y="71733"/>
                        <a:pt x="1640458" y="71733"/>
                        <a:pt x="1640458" y="71733"/>
                      </a:cubicBezTo>
                      <a:cubicBezTo>
                        <a:pt x="1640458" y="71733"/>
                        <a:pt x="1640458" y="71733"/>
                        <a:pt x="1640458" y="71733"/>
                      </a:cubicBezTo>
                      <a:cubicBezTo>
                        <a:pt x="1640458" y="71652"/>
                        <a:pt x="1640458" y="71652"/>
                        <a:pt x="1640458" y="71733"/>
                      </a:cubicBezTo>
                      <a:cubicBezTo>
                        <a:pt x="1640458" y="71652"/>
                        <a:pt x="1640458" y="71652"/>
                        <a:pt x="1640458" y="71733"/>
                      </a:cubicBezTo>
                      <a:cubicBezTo>
                        <a:pt x="1640378" y="71652"/>
                        <a:pt x="1640378" y="71652"/>
                        <a:pt x="1640458" y="71733"/>
                      </a:cubicBezTo>
                      <a:cubicBezTo>
                        <a:pt x="1640378" y="71652"/>
                        <a:pt x="1640378" y="71652"/>
                        <a:pt x="1640458" y="71733"/>
                      </a:cubicBezTo>
                      <a:cubicBezTo>
                        <a:pt x="1640378" y="71733"/>
                        <a:pt x="1640378" y="71733"/>
                        <a:pt x="1640378" y="71733"/>
                      </a:cubicBezTo>
                      <a:lnTo>
                        <a:pt x="1640378" y="71733"/>
                      </a:lnTo>
                      <a:cubicBezTo>
                        <a:pt x="1640378" y="71733"/>
                        <a:pt x="1640378" y="71733"/>
                        <a:pt x="1640378" y="71733"/>
                      </a:cubicBezTo>
                      <a:cubicBezTo>
                        <a:pt x="1640378" y="71733"/>
                        <a:pt x="1640378" y="71733"/>
                        <a:pt x="1640378" y="71733"/>
                      </a:cubicBezTo>
                      <a:cubicBezTo>
                        <a:pt x="1640378" y="71733"/>
                        <a:pt x="1640378" y="71733"/>
                        <a:pt x="1640378" y="71733"/>
                      </a:cubicBezTo>
                      <a:lnTo>
                        <a:pt x="1640378" y="71733"/>
                      </a:lnTo>
                      <a:cubicBezTo>
                        <a:pt x="1640378" y="71733"/>
                        <a:pt x="1640378" y="71733"/>
                        <a:pt x="1640378" y="71733"/>
                      </a:cubicBezTo>
                      <a:lnTo>
                        <a:pt x="1640378" y="71733"/>
                      </a:lnTo>
                      <a:lnTo>
                        <a:pt x="1640378" y="71733"/>
                      </a:lnTo>
                      <a:lnTo>
                        <a:pt x="1640378" y="71733"/>
                      </a:lnTo>
                      <a:cubicBezTo>
                        <a:pt x="1640378" y="71733"/>
                        <a:pt x="1640378" y="71733"/>
                        <a:pt x="1640378" y="71733"/>
                      </a:cubicBezTo>
                      <a:cubicBezTo>
                        <a:pt x="1640378" y="71733"/>
                        <a:pt x="1640378" y="71733"/>
                        <a:pt x="1640378" y="71733"/>
                      </a:cubicBezTo>
                      <a:cubicBezTo>
                        <a:pt x="1640378" y="71652"/>
                        <a:pt x="1640378" y="71652"/>
                        <a:pt x="1640458" y="71733"/>
                      </a:cubicBezTo>
                      <a:moveTo>
                        <a:pt x="1712994" y="122821"/>
                      </a:moveTo>
                      <a:cubicBezTo>
                        <a:pt x="1712673" y="122741"/>
                        <a:pt x="1712432" y="122741"/>
                        <a:pt x="1712110" y="122661"/>
                      </a:cubicBezTo>
                      <a:cubicBezTo>
                        <a:pt x="1712352" y="122741"/>
                        <a:pt x="1712673" y="122741"/>
                        <a:pt x="1712994" y="122821"/>
                      </a:cubicBezTo>
                      <a:cubicBezTo>
                        <a:pt x="1712994" y="122821"/>
                        <a:pt x="1712994" y="122821"/>
                        <a:pt x="1712994" y="122821"/>
                      </a:cubicBezTo>
                      <a:moveTo>
                        <a:pt x="1713717" y="122982"/>
                      </a:moveTo>
                      <a:cubicBezTo>
                        <a:pt x="1713476" y="122902"/>
                        <a:pt x="1713235" y="122902"/>
                        <a:pt x="1712994" y="122821"/>
                      </a:cubicBezTo>
                      <a:cubicBezTo>
                        <a:pt x="1713235" y="122902"/>
                        <a:pt x="1713476" y="122902"/>
                        <a:pt x="1713717" y="122982"/>
                      </a:cubicBezTo>
                      <a:lnTo>
                        <a:pt x="1713717" y="122982"/>
                      </a:lnTo>
                      <a:moveTo>
                        <a:pt x="1714440" y="121857"/>
                      </a:moveTo>
                      <a:cubicBezTo>
                        <a:pt x="1714440" y="121857"/>
                        <a:pt x="1714440" y="121857"/>
                        <a:pt x="1714440" y="121857"/>
                      </a:cubicBezTo>
                      <a:cubicBezTo>
                        <a:pt x="1712753" y="121215"/>
                        <a:pt x="1711066" y="120572"/>
                        <a:pt x="1709299" y="119930"/>
                      </a:cubicBezTo>
                      <a:cubicBezTo>
                        <a:pt x="1709299" y="119930"/>
                        <a:pt x="1709379" y="120010"/>
                        <a:pt x="1709460" y="120010"/>
                      </a:cubicBezTo>
                      <a:cubicBezTo>
                        <a:pt x="1712914" y="122179"/>
                        <a:pt x="1714038" y="122098"/>
                        <a:pt x="1714440" y="121857"/>
                      </a:cubicBezTo>
                      <a:moveTo>
                        <a:pt x="1707853" y="119689"/>
                      </a:moveTo>
                      <a:cubicBezTo>
                        <a:pt x="1707773" y="119608"/>
                        <a:pt x="1707612" y="119608"/>
                        <a:pt x="1707532" y="119528"/>
                      </a:cubicBezTo>
                      <a:cubicBezTo>
                        <a:pt x="1708014" y="120010"/>
                        <a:pt x="1708656" y="120653"/>
                        <a:pt x="1709138" y="121135"/>
                      </a:cubicBezTo>
                      <a:cubicBezTo>
                        <a:pt x="1709540" y="121215"/>
                        <a:pt x="1710584" y="121375"/>
                        <a:pt x="1710343" y="120974"/>
                      </a:cubicBezTo>
                      <a:cubicBezTo>
                        <a:pt x="1710263" y="120894"/>
                        <a:pt x="1709701" y="120492"/>
                        <a:pt x="1707853" y="119689"/>
                      </a:cubicBezTo>
                      <a:moveTo>
                        <a:pt x="1654114" y="79846"/>
                      </a:moveTo>
                      <a:cubicBezTo>
                        <a:pt x="1652748" y="79284"/>
                        <a:pt x="1651383" y="78882"/>
                        <a:pt x="1650017" y="78480"/>
                      </a:cubicBezTo>
                      <a:cubicBezTo>
                        <a:pt x="1650097" y="78480"/>
                        <a:pt x="1650178" y="78561"/>
                        <a:pt x="1650258" y="78561"/>
                      </a:cubicBezTo>
                      <a:cubicBezTo>
                        <a:pt x="1653069" y="79605"/>
                        <a:pt x="1655801" y="80730"/>
                        <a:pt x="1658532" y="81854"/>
                      </a:cubicBezTo>
                      <a:cubicBezTo>
                        <a:pt x="1658371" y="81693"/>
                        <a:pt x="1657809" y="81372"/>
                        <a:pt x="1654114" y="79846"/>
                      </a:cubicBezTo>
                      <a:moveTo>
                        <a:pt x="423168" y="249097"/>
                      </a:moveTo>
                      <a:cubicBezTo>
                        <a:pt x="423168" y="249097"/>
                        <a:pt x="423087" y="249177"/>
                        <a:pt x="423087" y="249177"/>
                      </a:cubicBezTo>
                      <a:cubicBezTo>
                        <a:pt x="425658" y="247169"/>
                        <a:pt x="428228" y="245081"/>
                        <a:pt x="430879" y="243072"/>
                      </a:cubicBezTo>
                      <a:cubicBezTo>
                        <a:pt x="431120" y="242912"/>
                        <a:pt x="431361" y="242751"/>
                        <a:pt x="431602" y="242510"/>
                      </a:cubicBezTo>
                      <a:cubicBezTo>
                        <a:pt x="429353" y="244277"/>
                        <a:pt x="426381" y="246607"/>
                        <a:pt x="424132" y="248374"/>
                      </a:cubicBezTo>
                      <a:lnTo>
                        <a:pt x="424132" y="248374"/>
                      </a:lnTo>
                      <a:cubicBezTo>
                        <a:pt x="423810" y="248615"/>
                        <a:pt x="423489" y="248856"/>
                        <a:pt x="423168" y="249097"/>
                      </a:cubicBezTo>
                      <a:moveTo>
                        <a:pt x="510404" y="471606"/>
                      </a:moveTo>
                      <a:cubicBezTo>
                        <a:pt x="510404" y="471606"/>
                        <a:pt x="510484" y="471686"/>
                        <a:pt x="510484" y="471686"/>
                      </a:cubicBezTo>
                      <a:cubicBezTo>
                        <a:pt x="510966" y="470401"/>
                        <a:pt x="511448" y="469196"/>
                        <a:pt x="511930" y="467911"/>
                      </a:cubicBezTo>
                      <a:cubicBezTo>
                        <a:pt x="511850" y="467911"/>
                        <a:pt x="511850" y="467991"/>
                        <a:pt x="511770" y="467991"/>
                      </a:cubicBezTo>
                      <a:cubicBezTo>
                        <a:pt x="510243" y="469276"/>
                        <a:pt x="509761" y="470401"/>
                        <a:pt x="510404" y="471606"/>
                      </a:cubicBezTo>
                      <a:moveTo>
                        <a:pt x="494579" y="361878"/>
                      </a:move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cubicBezTo>
                        <a:pt x="494579" y="361878"/>
                        <a:pt x="494579" y="361878"/>
                        <a:pt x="494579" y="361878"/>
                      </a:cubicBezTo>
                      <a:cubicBezTo>
                        <a:pt x="494579" y="361878"/>
                        <a:pt x="494579" y="361878"/>
                        <a:pt x="494579" y="361878"/>
                      </a:cubicBez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660" y="361878"/>
                      </a:moveTo>
                      <a:lnTo>
                        <a:pt x="494660" y="361878"/>
                      </a:lnTo>
                      <a:lnTo>
                        <a:pt x="494660" y="361878"/>
                      </a:lnTo>
                      <a:moveTo>
                        <a:pt x="494660" y="361878"/>
                      </a:moveTo>
                      <a:lnTo>
                        <a:pt x="494660" y="361878"/>
                      </a:lnTo>
                      <a:lnTo>
                        <a:pt x="494660" y="361878"/>
                      </a:lnTo>
                      <a:lnTo>
                        <a:pt x="494660" y="361878"/>
                      </a:lnTo>
                      <a:moveTo>
                        <a:pt x="494981" y="361717"/>
                      </a:moveTo>
                      <a:cubicBezTo>
                        <a:pt x="494901" y="361797"/>
                        <a:pt x="494740" y="361797"/>
                        <a:pt x="494660" y="361878"/>
                      </a:cubicBezTo>
                      <a:cubicBezTo>
                        <a:pt x="494740" y="361797"/>
                        <a:pt x="494901" y="361797"/>
                        <a:pt x="494981" y="361717"/>
                      </a:cubicBezTo>
                      <a:cubicBezTo>
                        <a:pt x="494981" y="361717"/>
                        <a:pt x="494981" y="361717"/>
                        <a:pt x="494981" y="361717"/>
                      </a:cubicBezTo>
                      <a:moveTo>
                        <a:pt x="1421645" y="6988"/>
                      </a:moveTo>
                      <a:lnTo>
                        <a:pt x="1382685" y="0"/>
                      </a:lnTo>
                      <a:lnTo>
                        <a:pt x="1382605" y="0"/>
                      </a:lnTo>
                      <a:cubicBezTo>
                        <a:pt x="1391602" y="1446"/>
                        <a:pt x="1400518" y="3534"/>
                        <a:pt x="1409515" y="4900"/>
                      </a:cubicBezTo>
                      <a:cubicBezTo>
                        <a:pt x="1419395" y="6507"/>
                        <a:pt x="1427749" y="8274"/>
                        <a:pt x="1436184" y="9961"/>
                      </a:cubicBezTo>
                      <a:cubicBezTo>
                        <a:pt x="1431364" y="8916"/>
                        <a:pt x="1426545" y="7952"/>
                        <a:pt x="1421725" y="6988"/>
                      </a:cubicBezTo>
                      <a:lnTo>
                        <a:pt x="1421725" y="6988"/>
                      </a:lnTo>
                      <a:cubicBezTo>
                        <a:pt x="1421484" y="6908"/>
                        <a:pt x="1421163" y="6908"/>
                        <a:pt x="1420922" y="6828"/>
                      </a:cubicBezTo>
                      <a:cubicBezTo>
                        <a:pt x="1421163" y="6908"/>
                        <a:pt x="1421404" y="6988"/>
                        <a:pt x="1421645" y="6988"/>
                      </a:cubicBezTo>
                      <a:moveTo>
                        <a:pt x="916301" y="124508"/>
                      </a:moveTo>
                      <a:cubicBezTo>
                        <a:pt x="916542" y="124428"/>
                        <a:pt x="916783" y="124267"/>
                        <a:pt x="917024" y="124107"/>
                      </a:cubicBezTo>
                      <a:cubicBezTo>
                        <a:pt x="916703" y="124187"/>
                        <a:pt x="916301" y="124348"/>
                        <a:pt x="916060" y="124508"/>
                      </a:cubicBezTo>
                      <a:cubicBezTo>
                        <a:pt x="907465" y="127882"/>
                        <a:pt x="898870" y="131979"/>
                        <a:pt x="896300" y="133344"/>
                      </a:cubicBezTo>
                      <a:lnTo>
                        <a:pt x="896059" y="133746"/>
                      </a:lnTo>
                      <a:cubicBezTo>
                        <a:pt x="898468" y="132943"/>
                        <a:pt x="905618" y="130372"/>
                        <a:pt x="916301" y="124508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5" name="Freeform: Shape 424">
                  <a:extLst>
                    <a:ext uri="{FF2B5EF4-FFF2-40B4-BE49-F238E27FC236}">
                      <a16:creationId xmlns:a16="http://schemas.microsoft.com/office/drawing/2014/main" id="{73E0BBB3-EFF4-56F6-DE82-470FD5C307AD}"/>
                    </a:ext>
                  </a:extLst>
                </p:cNvPr>
                <p:cNvSpPr/>
                <p:nvPr/>
              </p:nvSpPr>
              <p:spPr>
                <a:xfrm>
                  <a:off x="-4751595" y="1915156"/>
                  <a:ext cx="792837" cy="765204"/>
                </a:xfrm>
                <a:custGeom>
                  <a:avLst/>
                  <a:gdLst>
                    <a:gd name="connsiteX0" fmla="*/ 65467 w 792837"/>
                    <a:gd name="connsiteY0" fmla="*/ 262592 h 765204"/>
                    <a:gd name="connsiteX1" fmla="*/ 65467 w 792837"/>
                    <a:gd name="connsiteY1" fmla="*/ 262592 h 765204"/>
                    <a:gd name="connsiteX2" fmla="*/ 47394 w 792837"/>
                    <a:gd name="connsiteY2" fmla="*/ 266609 h 765204"/>
                    <a:gd name="connsiteX3" fmla="*/ 65467 w 792837"/>
                    <a:gd name="connsiteY3" fmla="*/ 262592 h 765204"/>
                    <a:gd name="connsiteX4" fmla="*/ 41851 w 792837"/>
                    <a:gd name="connsiteY4" fmla="*/ 249981 h 765204"/>
                    <a:gd name="connsiteX5" fmla="*/ 41931 w 792837"/>
                    <a:gd name="connsiteY5" fmla="*/ 250302 h 765204"/>
                    <a:gd name="connsiteX6" fmla="*/ 43698 w 792837"/>
                    <a:gd name="connsiteY6" fmla="*/ 248856 h 765204"/>
                    <a:gd name="connsiteX7" fmla="*/ 41931 w 792837"/>
                    <a:gd name="connsiteY7" fmla="*/ 245563 h 765204"/>
                    <a:gd name="connsiteX8" fmla="*/ 41851 w 792837"/>
                    <a:gd name="connsiteY8" fmla="*/ 249981 h 765204"/>
                    <a:gd name="connsiteX9" fmla="*/ 28115 w 792837"/>
                    <a:gd name="connsiteY9" fmla="*/ 228212 h 765204"/>
                    <a:gd name="connsiteX10" fmla="*/ 28757 w 792837"/>
                    <a:gd name="connsiteY10" fmla="*/ 228051 h 765204"/>
                    <a:gd name="connsiteX11" fmla="*/ 27472 w 792837"/>
                    <a:gd name="connsiteY11" fmla="*/ 224035 h 765204"/>
                    <a:gd name="connsiteX12" fmla="*/ 0 w 792837"/>
                    <a:gd name="connsiteY12" fmla="*/ 239860 h 765204"/>
                    <a:gd name="connsiteX13" fmla="*/ 20644 w 792837"/>
                    <a:gd name="connsiteY13" fmla="*/ 232068 h 765204"/>
                    <a:gd name="connsiteX14" fmla="*/ 28115 w 792837"/>
                    <a:gd name="connsiteY14" fmla="*/ 228212 h 765204"/>
                    <a:gd name="connsiteX15" fmla="*/ 20484 w 792837"/>
                    <a:gd name="connsiteY15" fmla="*/ 222750 h 765204"/>
                    <a:gd name="connsiteX16" fmla="*/ 31087 w 792837"/>
                    <a:gd name="connsiteY16" fmla="*/ 214958 h 765204"/>
                    <a:gd name="connsiteX17" fmla="*/ 30284 w 792837"/>
                    <a:gd name="connsiteY17" fmla="*/ 215199 h 765204"/>
                    <a:gd name="connsiteX18" fmla="*/ 25705 w 792837"/>
                    <a:gd name="connsiteY18" fmla="*/ 216404 h 765204"/>
                    <a:gd name="connsiteX19" fmla="*/ 24982 w 792837"/>
                    <a:gd name="connsiteY19" fmla="*/ 216564 h 765204"/>
                    <a:gd name="connsiteX20" fmla="*/ 16066 w 792837"/>
                    <a:gd name="connsiteY20" fmla="*/ 222910 h 765204"/>
                    <a:gd name="connsiteX21" fmla="*/ 20484 w 792837"/>
                    <a:gd name="connsiteY21" fmla="*/ 222750 h 765204"/>
                    <a:gd name="connsiteX22" fmla="*/ 69725 w 792837"/>
                    <a:gd name="connsiteY22" fmla="*/ 245000 h 765204"/>
                    <a:gd name="connsiteX23" fmla="*/ 69885 w 792837"/>
                    <a:gd name="connsiteY23" fmla="*/ 244920 h 765204"/>
                    <a:gd name="connsiteX24" fmla="*/ 69805 w 792837"/>
                    <a:gd name="connsiteY24" fmla="*/ 244920 h 765204"/>
                    <a:gd name="connsiteX25" fmla="*/ 67315 w 792837"/>
                    <a:gd name="connsiteY25" fmla="*/ 244759 h 765204"/>
                    <a:gd name="connsiteX26" fmla="*/ 69725 w 792837"/>
                    <a:gd name="connsiteY26" fmla="*/ 245000 h 765204"/>
                    <a:gd name="connsiteX27" fmla="*/ 60728 w 792837"/>
                    <a:gd name="connsiteY27" fmla="*/ 230782 h 765204"/>
                    <a:gd name="connsiteX28" fmla="*/ 61049 w 792837"/>
                    <a:gd name="connsiteY28" fmla="*/ 230622 h 765204"/>
                    <a:gd name="connsiteX29" fmla="*/ 60728 w 792837"/>
                    <a:gd name="connsiteY29" fmla="*/ 230782 h 765204"/>
                    <a:gd name="connsiteX30" fmla="*/ 54784 w 792837"/>
                    <a:gd name="connsiteY30" fmla="*/ 233755 h 765204"/>
                    <a:gd name="connsiteX31" fmla="*/ 60728 w 792837"/>
                    <a:gd name="connsiteY31" fmla="*/ 230782 h 765204"/>
                    <a:gd name="connsiteX32" fmla="*/ 782475 w 792837"/>
                    <a:gd name="connsiteY32" fmla="*/ 160817 h 765204"/>
                    <a:gd name="connsiteX33" fmla="*/ 781270 w 792837"/>
                    <a:gd name="connsiteY33" fmla="*/ 159451 h 765204"/>
                    <a:gd name="connsiteX34" fmla="*/ 735724 w 792837"/>
                    <a:gd name="connsiteY34" fmla="*/ 151097 h 765204"/>
                    <a:gd name="connsiteX35" fmla="*/ 729539 w 792837"/>
                    <a:gd name="connsiteY35" fmla="*/ 151418 h 765204"/>
                    <a:gd name="connsiteX36" fmla="*/ 737170 w 792837"/>
                    <a:gd name="connsiteY36" fmla="*/ 157925 h 765204"/>
                    <a:gd name="connsiteX37" fmla="*/ 743917 w 792837"/>
                    <a:gd name="connsiteY37" fmla="*/ 160335 h 765204"/>
                    <a:gd name="connsiteX38" fmla="*/ 761027 w 792837"/>
                    <a:gd name="connsiteY38" fmla="*/ 164190 h 765204"/>
                    <a:gd name="connsiteX39" fmla="*/ 766088 w 792837"/>
                    <a:gd name="connsiteY39" fmla="*/ 166681 h 765204"/>
                    <a:gd name="connsiteX40" fmla="*/ 785929 w 792837"/>
                    <a:gd name="connsiteY40" fmla="*/ 173268 h 765204"/>
                    <a:gd name="connsiteX41" fmla="*/ 782475 w 792837"/>
                    <a:gd name="connsiteY41" fmla="*/ 160817 h 765204"/>
                    <a:gd name="connsiteX42" fmla="*/ 82336 w 792837"/>
                    <a:gd name="connsiteY42" fmla="*/ 242269 h 765204"/>
                    <a:gd name="connsiteX43" fmla="*/ 88441 w 792837"/>
                    <a:gd name="connsiteY43" fmla="*/ 228372 h 765204"/>
                    <a:gd name="connsiteX44" fmla="*/ 86674 w 792837"/>
                    <a:gd name="connsiteY44" fmla="*/ 229337 h 765204"/>
                    <a:gd name="connsiteX45" fmla="*/ 72295 w 792837"/>
                    <a:gd name="connsiteY45" fmla="*/ 243876 h 765204"/>
                    <a:gd name="connsiteX46" fmla="*/ 69885 w 792837"/>
                    <a:gd name="connsiteY46" fmla="*/ 244920 h 765204"/>
                    <a:gd name="connsiteX47" fmla="*/ 82336 w 792837"/>
                    <a:gd name="connsiteY47" fmla="*/ 242269 h 765204"/>
                    <a:gd name="connsiteX48" fmla="*/ 50607 w 792837"/>
                    <a:gd name="connsiteY48" fmla="*/ 216886 h 765204"/>
                    <a:gd name="connsiteX49" fmla="*/ 50848 w 792837"/>
                    <a:gd name="connsiteY49" fmla="*/ 217127 h 765204"/>
                    <a:gd name="connsiteX50" fmla="*/ 62897 w 792837"/>
                    <a:gd name="connsiteY50" fmla="*/ 209737 h 765204"/>
                    <a:gd name="connsiteX51" fmla="*/ 65387 w 792837"/>
                    <a:gd name="connsiteY51" fmla="*/ 204515 h 765204"/>
                    <a:gd name="connsiteX52" fmla="*/ 55908 w 792837"/>
                    <a:gd name="connsiteY52" fmla="*/ 207327 h 765204"/>
                    <a:gd name="connsiteX53" fmla="*/ 42574 w 792837"/>
                    <a:gd name="connsiteY53" fmla="*/ 211423 h 765204"/>
                    <a:gd name="connsiteX54" fmla="*/ 47233 w 792837"/>
                    <a:gd name="connsiteY54" fmla="*/ 212307 h 765204"/>
                    <a:gd name="connsiteX55" fmla="*/ 50607 w 792837"/>
                    <a:gd name="connsiteY55" fmla="*/ 216886 h 765204"/>
                    <a:gd name="connsiteX56" fmla="*/ 704396 w 792837"/>
                    <a:gd name="connsiteY56" fmla="*/ 181220 h 765204"/>
                    <a:gd name="connsiteX57" fmla="*/ 704878 w 792837"/>
                    <a:gd name="connsiteY57" fmla="*/ 180658 h 765204"/>
                    <a:gd name="connsiteX58" fmla="*/ 697086 w 792837"/>
                    <a:gd name="connsiteY58" fmla="*/ 177284 h 765204"/>
                    <a:gd name="connsiteX59" fmla="*/ 695962 w 792837"/>
                    <a:gd name="connsiteY59" fmla="*/ 176963 h 765204"/>
                    <a:gd name="connsiteX60" fmla="*/ 688089 w 792837"/>
                    <a:gd name="connsiteY60" fmla="*/ 175356 h 765204"/>
                    <a:gd name="connsiteX61" fmla="*/ 683591 w 792837"/>
                    <a:gd name="connsiteY61" fmla="*/ 172946 h 765204"/>
                    <a:gd name="connsiteX62" fmla="*/ 669694 w 792837"/>
                    <a:gd name="connsiteY62" fmla="*/ 168287 h 765204"/>
                    <a:gd name="connsiteX63" fmla="*/ 670819 w 792837"/>
                    <a:gd name="connsiteY63" fmla="*/ 169010 h 765204"/>
                    <a:gd name="connsiteX64" fmla="*/ 704396 w 792837"/>
                    <a:gd name="connsiteY64" fmla="*/ 181220 h 765204"/>
                    <a:gd name="connsiteX65" fmla="*/ 697809 w 792837"/>
                    <a:gd name="connsiteY65" fmla="*/ 142582 h 765204"/>
                    <a:gd name="connsiteX66" fmla="*/ 697407 w 792837"/>
                    <a:gd name="connsiteY66" fmla="*/ 142422 h 765204"/>
                    <a:gd name="connsiteX67" fmla="*/ 697488 w 792837"/>
                    <a:gd name="connsiteY67" fmla="*/ 142422 h 765204"/>
                    <a:gd name="connsiteX68" fmla="*/ 698853 w 792837"/>
                    <a:gd name="connsiteY68" fmla="*/ 142984 h 765204"/>
                    <a:gd name="connsiteX69" fmla="*/ 697809 w 792837"/>
                    <a:gd name="connsiteY69" fmla="*/ 142582 h 765204"/>
                    <a:gd name="connsiteX70" fmla="*/ 47474 w 792837"/>
                    <a:gd name="connsiteY70" fmla="*/ 250302 h 765204"/>
                    <a:gd name="connsiteX71" fmla="*/ 52615 w 792837"/>
                    <a:gd name="connsiteY71" fmla="*/ 249660 h 765204"/>
                    <a:gd name="connsiteX72" fmla="*/ 77998 w 792837"/>
                    <a:gd name="connsiteY72" fmla="*/ 229337 h 765204"/>
                    <a:gd name="connsiteX73" fmla="*/ 80810 w 792837"/>
                    <a:gd name="connsiteY73" fmla="*/ 226686 h 765204"/>
                    <a:gd name="connsiteX74" fmla="*/ 90530 w 792837"/>
                    <a:gd name="connsiteY74" fmla="*/ 213432 h 765204"/>
                    <a:gd name="connsiteX75" fmla="*/ 95992 w 792837"/>
                    <a:gd name="connsiteY75" fmla="*/ 209094 h 765204"/>
                    <a:gd name="connsiteX76" fmla="*/ 110853 w 792837"/>
                    <a:gd name="connsiteY76" fmla="*/ 196563 h 765204"/>
                    <a:gd name="connsiteX77" fmla="*/ 110290 w 792837"/>
                    <a:gd name="connsiteY77" fmla="*/ 196482 h 765204"/>
                    <a:gd name="connsiteX78" fmla="*/ 93020 w 792837"/>
                    <a:gd name="connsiteY78" fmla="*/ 203069 h 765204"/>
                    <a:gd name="connsiteX79" fmla="*/ 75187 w 792837"/>
                    <a:gd name="connsiteY79" fmla="*/ 217849 h 765204"/>
                    <a:gd name="connsiteX80" fmla="*/ 66271 w 792837"/>
                    <a:gd name="connsiteY80" fmla="*/ 227810 h 765204"/>
                    <a:gd name="connsiteX81" fmla="*/ 47474 w 792837"/>
                    <a:gd name="connsiteY81" fmla="*/ 250302 h 765204"/>
                    <a:gd name="connsiteX82" fmla="*/ 686724 w 792837"/>
                    <a:gd name="connsiteY82" fmla="*/ 0 h 765204"/>
                    <a:gd name="connsiteX83" fmla="*/ 676121 w 792837"/>
                    <a:gd name="connsiteY83" fmla="*/ 1607 h 765204"/>
                    <a:gd name="connsiteX84" fmla="*/ 654111 w 792837"/>
                    <a:gd name="connsiteY84" fmla="*/ 2651 h 765204"/>
                    <a:gd name="connsiteX85" fmla="*/ 651139 w 792837"/>
                    <a:gd name="connsiteY85" fmla="*/ 2972 h 765204"/>
                    <a:gd name="connsiteX86" fmla="*/ 651460 w 792837"/>
                    <a:gd name="connsiteY86" fmla="*/ 3053 h 765204"/>
                    <a:gd name="connsiteX87" fmla="*/ 658529 w 792837"/>
                    <a:gd name="connsiteY87" fmla="*/ 3053 h 765204"/>
                    <a:gd name="connsiteX88" fmla="*/ 663027 w 792837"/>
                    <a:gd name="connsiteY88" fmla="*/ 3775 h 765204"/>
                    <a:gd name="connsiteX89" fmla="*/ 664312 w 792837"/>
                    <a:gd name="connsiteY89" fmla="*/ 3775 h 765204"/>
                    <a:gd name="connsiteX90" fmla="*/ 665678 w 792837"/>
                    <a:gd name="connsiteY90" fmla="*/ 3775 h 765204"/>
                    <a:gd name="connsiteX91" fmla="*/ 680378 w 792837"/>
                    <a:gd name="connsiteY91" fmla="*/ 3053 h 765204"/>
                    <a:gd name="connsiteX92" fmla="*/ 684716 w 792837"/>
                    <a:gd name="connsiteY92" fmla="*/ 2812 h 765204"/>
                    <a:gd name="connsiteX93" fmla="*/ 694676 w 792837"/>
                    <a:gd name="connsiteY93" fmla="*/ 3133 h 765204"/>
                    <a:gd name="connsiteX94" fmla="*/ 686724 w 792837"/>
                    <a:gd name="connsiteY94" fmla="*/ 0 h 765204"/>
                    <a:gd name="connsiteX95" fmla="*/ 647443 w 792837"/>
                    <a:gd name="connsiteY95" fmla="*/ 6346 h 765204"/>
                    <a:gd name="connsiteX96" fmla="*/ 647202 w 792837"/>
                    <a:gd name="connsiteY96" fmla="*/ 6346 h 765204"/>
                    <a:gd name="connsiteX97" fmla="*/ 647283 w 792837"/>
                    <a:gd name="connsiteY97" fmla="*/ 6426 h 765204"/>
                    <a:gd name="connsiteX98" fmla="*/ 646640 w 792837"/>
                    <a:gd name="connsiteY98" fmla="*/ 6667 h 765204"/>
                    <a:gd name="connsiteX99" fmla="*/ 646721 w 792837"/>
                    <a:gd name="connsiteY99" fmla="*/ 6667 h 765204"/>
                    <a:gd name="connsiteX100" fmla="*/ 652022 w 792837"/>
                    <a:gd name="connsiteY100" fmla="*/ 6266 h 765204"/>
                    <a:gd name="connsiteX101" fmla="*/ 647443 w 792837"/>
                    <a:gd name="connsiteY101" fmla="*/ 6346 h 765204"/>
                    <a:gd name="connsiteX102" fmla="*/ 663268 w 792837"/>
                    <a:gd name="connsiteY102" fmla="*/ 13174 h 765204"/>
                    <a:gd name="connsiteX103" fmla="*/ 663188 w 792837"/>
                    <a:gd name="connsiteY103" fmla="*/ 13013 h 765204"/>
                    <a:gd name="connsiteX104" fmla="*/ 663750 w 792837"/>
                    <a:gd name="connsiteY104" fmla="*/ 15503 h 765204"/>
                    <a:gd name="connsiteX105" fmla="*/ 663268 w 792837"/>
                    <a:gd name="connsiteY105" fmla="*/ 13174 h 765204"/>
                    <a:gd name="connsiteX106" fmla="*/ 703593 w 792837"/>
                    <a:gd name="connsiteY106" fmla="*/ 145233 h 765204"/>
                    <a:gd name="connsiteX107" fmla="*/ 698773 w 792837"/>
                    <a:gd name="connsiteY107" fmla="*/ 143064 h 765204"/>
                    <a:gd name="connsiteX108" fmla="*/ 700540 w 792837"/>
                    <a:gd name="connsiteY108" fmla="*/ 144189 h 765204"/>
                    <a:gd name="connsiteX109" fmla="*/ 670980 w 792837"/>
                    <a:gd name="connsiteY109" fmla="*/ 136879 h 765204"/>
                    <a:gd name="connsiteX110" fmla="*/ 670739 w 792837"/>
                    <a:gd name="connsiteY110" fmla="*/ 137843 h 765204"/>
                    <a:gd name="connsiteX111" fmla="*/ 676522 w 792837"/>
                    <a:gd name="connsiteY111" fmla="*/ 142502 h 765204"/>
                    <a:gd name="connsiteX112" fmla="*/ 645034 w 792837"/>
                    <a:gd name="connsiteY112" fmla="*/ 131658 h 765204"/>
                    <a:gd name="connsiteX113" fmla="*/ 644552 w 792837"/>
                    <a:gd name="connsiteY113" fmla="*/ 132863 h 765204"/>
                    <a:gd name="connsiteX114" fmla="*/ 691142 w 792837"/>
                    <a:gd name="connsiteY114" fmla="*/ 154069 h 765204"/>
                    <a:gd name="connsiteX115" fmla="*/ 645034 w 792837"/>
                    <a:gd name="connsiteY115" fmla="*/ 139369 h 765204"/>
                    <a:gd name="connsiteX116" fmla="*/ 660055 w 792837"/>
                    <a:gd name="connsiteY116" fmla="*/ 148446 h 765204"/>
                    <a:gd name="connsiteX117" fmla="*/ 659894 w 792837"/>
                    <a:gd name="connsiteY117" fmla="*/ 149651 h 765204"/>
                    <a:gd name="connsiteX118" fmla="*/ 648407 w 792837"/>
                    <a:gd name="connsiteY118" fmla="*/ 148446 h 765204"/>
                    <a:gd name="connsiteX119" fmla="*/ 635635 w 792837"/>
                    <a:gd name="connsiteY119" fmla="*/ 143305 h 765204"/>
                    <a:gd name="connsiteX120" fmla="*/ 640535 w 792837"/>
                    <a:gd name="connsiteY120" fmla="*/ 145635 h 765204"/>
                    <a:gd name="connsiteX121" fmla="*/ 633707 w 792837"/>
                    <a:gd name="connsiteY121" fmla="*/ 144590 h 765204"/>
                    <a:gd name="connsiteX122" fmla="*/ 633145 w 792837"/>
                    <a:gd name="connsiteY122" fmla="*/ 145313 h 765204"/>
                    <a:gd name="connsiteX123" fmla="*/ 635876 w 792837"/>
                    <a:gd name="connsiteY123" fmla="*/ 147723 h 765204"/>
                    <a:gd name="connsiteX124" fmla="*/ 631619 w 792837"/>
                    <a:gd name="connsiteY124" fmla="*/ 146679 h 765204"/>
                    <a:gd name="connsiteX125" fmla="*/ 664071 w 792837"/>
                    <a:gd name="connsiteY125" fmla="*/ 161700 h 765204"/>
                    <a:gd name="connsiteX126" fmla="*/ 676843 w 792837"/>
                    <a:gd name="connsiteY126" fmla="*/ 165958 h 765204"/>
                    <a:gd name="connsiteX127" fmla="*/ 707368 w 792837"/>
                    <a:gd name="connsiteY127" fmla="*/ 172866 h 765204"/>
                    <a:gd name="connsiteX128" fmla="*/ 695640 w 792837"/>
                    <a:gd name="connsiteY128" fmla="*/ 160736 h 765204"/>
                    <a:gd name="connsiteX129" fmla="*/ 709858 w 792837"/>
                    <a:gd name="connsiteY129" fmla="*/ 165958 h 765204"/>
                    <a:gd name="connsiteX130" fmla="*/ 707127 w 792837"/>
                    <a:gd name="connsiteY130" fmla="*/ 160174 h 765204"/>
                    <a:gd name="connsiteX131" fmla="*/ 719337 w 792837"/>
                    <a:gd name="connsiteY131" fmla="*/ 165074 h 765204"/>
                    <a:gd name="connsiteX132" fmla="*/ 721667 w 792837"/>
                    <a:gd name="connsiteY132" fmla="*/ 172384 h 765204"/>
                    <a:gd name="connsiteX133" fmla="*/ 735001 w 792837"/>
                    <a:gd name="connsiteY133" fmla="*/ 183790 h 765204"/>
                    <a:gd name="connsiteX134" fmla="*/ 742552 w 792837"/>
                    <a:gd name="connsiteY134" fmla="*/ 180497 h 765204"/>
                    <a:gd name="connsiteX135" fmla="*/ 792837 w 792837"/>
                    <a:gd name="connsiteY135" fmla="*/ 206684 h 765204"/>
                    <a:gd name="connsiteX136" fmla="*/ 703593 w 792837"/>
                    <a:gd name="connsiteY136" fmla="*/ 145233 h 765204"/>
                    <a:gd name="connsiteX137" fmla="*/ 706565 w 792837"/>
                    <a:gd name="connsiteY137" fmla="*/ 57193 h 765204"/>
                    <a:gd name="connsiteX138" fmla="*/ 706565 w 792837"/>
                    <a:gd name="connsiteY138" fmla="*/ 57193 h 765204"/>
                    <a:gd name="connsiteX139" fmla="*/ 709135 w 792837"/>
                    <a:gd name="connsiteY139" fmla="*/ 58640 h 765204"/>
                    <a:gd name="connsiteX140" fmla="*/ 706565 w 792837"/>
                    <a:gd name="connsiteY140" fmla="*/ 57193 h 765204"/>
                    <a:gd name="connsiteX141" fmla="*/ 711224 w 792837"/>
                    <a:gd name="connsiteY141" fmla="*/ 71733 h 765204"/>
                    <a:gd name="connsiteX142" fmla="*/ 712188 w 792837"/>
                    <a:gd name="connsiteY142" fmla="*/ 71251 h 765204"/>
                    <a:gd name="connsiteX143" fmla="*/ 700299 w 792837"/>
                    <a:gd name="connsiteY143" fmla="*/ 70769 h 765204"/>
                    <a:gd name="connsiteX144" fmla="*/ 700781 w 792837"/>
                    <a:gd name="connsiteY144" fmla="*/ 70930 h 765204"/>
                    <a:gd name="connsiteX145" fmla="*/ 707047 w 792837"/>
                    <a:gd name="connsiteY145" fmla="*/ 72938 h 765204"/>
                    <a:gd name="connsiteX146" fmla="*/ 707448 w 792837"/>
                    <a:gd name="connsiteY146" fmla="*/ 73099 h 765204"/>
                    <a:gd name="connsiteX147" fmla="*/ 711947 w 792837"/>
                    <a:gd name="connsiteY147" fmla="*/ 72456 h 765204"/>
                    <a:gd name="connsiteX148" fmla="*/ 711224 w 792837"/>
                    <a:gd name="connsiteY148" fmla="*/ 71733 h 765204"/>
                    <a:gd name="connsiteX149" fmla="*/ 648166 w 792837"/>
                    <a:gd name="connsiteY149" fmla="*/ 6908 h 765204"/>
                    <a:gd name="connsiteX150" fmla="*/ 639893 w 792837"/>
                    <a:gd name="connsiteY150" fmla="*/ 8274 h 765204"/>
                    <a:gd name="connsiteX151" fmla="*/ 640134 w 792837"/>
                    <a:gd name="connsiteY151" fmla="*/ 8756 h 765204"/>
                    <a:gd name="connsiteX152" fmla="*/ 652504 w 792837"/>
                    <a:gd name="connsiteY152" fmla="*/ 9077 h 765204"/>
                    <a:gd name="connsiteX153" fmla="*/ 631699 w 792837"/>
                    <a:gd name="connsiteY153" fmla="*/ 11487 h 765204"/>
                    <a:gd name="connsiteX154" fmla="*/ 633145 w 792837"/>
                    <a:gd name="connsiteY154" fmla="*/ 11728 h 765204"/>
                    <a:gd name="connsiteX155" fmla="*/ 646399 w 792837"/>
                    <a:gd name="connsiteY155" fmla="*/ 12612 h 765204"/>
                    <a:gd name="connsiteX156" fmla="*/ 643748 w 792837"/>
                    <a:gd name="connsiteY156" fmla="*/ 13254 h 765204"/>
                    <a:gd name="connsiteX157" fmla="*/ 695319 w 792837"/>
                    <a:gd name="connsiteY157" fmla="*/ 8033 h 765204"/>
                    <a:gd name="connsiteX158" fmla="*/ 648166 w 792837"/>
                    <a:gd name="connsiteY158" fmla="*/ 6908 h 765204"/>
                    <a:gd name="connsiteX159" fmla="*/ 702066 w 792837"/>
                    <a:gd name="connsiteY159" fmla="*/ 72617 h 765204"/>
                    <a:gd name="connsiteX160" fmla="*/ 701183 w 792837"/>
                    <a:gd name="connsiteY160" fmla="*/ 72376 h 765204"/>
                    <a:gd name="connsiteX161" fmla="*/ 692186 w 792837"/>
                    <a:gd name="connsiteY161" fmla="*/ 71492 h 765204"/>
                    <a:gd name="connsiteX162" fmla="*/ 702066 w 792837"/>
                    <a:gd name="connsiteY162" fmla="*/ 72617 h 765204"/>
                    <a:gd name="connsiteX163" fmla="*/ 686884 w 792837"/>
                    <a:gd name="connsiteY163" fmla="*/ 62576 h 765204"/>
                    <a:gd name="connsiteX164" fmla="*/ 686884 w 792837"/>
                    <a:gd name="connsiteY164" fmla="*/ 62576 h 765204"/>
                    <a:gd name="connsiteX165" fmla="*/ 692668 w 792837"/>
                    <a:gd name="connsiteY165" fmla="*/ 63138 h 765204"/>
                    <a:gd name="connsiteX166" fmla="*/ 686884 w 792837"/>
                    <a:gd name="connsiteY166" fmla="*/ 62576 h 765204"/>
                    <a:gd name="connsiteX167" fmla="*/ 634591 w 792837"/>
                    <a:gd name="connsiteY167" fmla="*/ 123143 h 765204"/>
                    <a:gd name="connsiteX168" fmla="*/ 632181 w 792837"/>
                    <a:gd name="connsiteY168" fmla="*/ 121697 h 765204"/>
                    <a:gd name="connsiteX169" fmla="*/ 628807 w 792837"/>
                    <a:gd name="connsiteY169" fmla="*/ 121777 h 765204"/>
                    <a:gd name="connsiteX170" fmla="*/ 628807 w 792837"/>
                    <a:gd name="connsiteY170" fmla="*/ 121858 h 765204"/>
                    <a:gd name="connsiteX171" fmla="*/ 634591 w 792837"/>
                    <a:gd name="connsiteY171" fmla="*/ 123143 h 765204"/>
                    <a:gd name="connsiteX172" fmla="*/ 684475 w 792837"/>
                    <a:gd name="connsiteY172" fmla="*/ 65387 h 765204"/>
                    <a:gd name="connsiteX173" fmla="*/ 684475 w 792837"/>
                    <a:gd name="connsiteY173" fmla="*/ 65387 h 765204"/>
                    <a:gd name="connsiteX174" fmla="*/ 693712 w 792837"/>
                    <a:gd name="connsiteY174" fmla="*/ 67475 h 765204"/>
                    <a:gd name="connsiteX175" fmla="*/ 684475 w 792837"/>
                    <a:gd name="connsiteY175" fmla="*/ 65387 h 765204"/>
                    <a:gd name="connsiteX176" fmla="*/ 694917 w 792837"/>
                    <a:gd name="connsiteY176" fmla="*/ 60407 h 765204"/>
                    <a:gd name="connsiteX177" fmla="*/ 685760 w 792837"/>
                    <a:gd name="connsiteY177" fmla="*/ 60487 h 765204"/>
                    <a:gd name="connsiteX178" fmla="*/ 684876 w 792837"/>
                    <a:gd name="connsiteY178" fmla="*/ 61371 h 765204"/>
                    <a:gd name="connsiteX179" fmla="*/ 686001 w 792837"/>
                    <a:gd name="connsiteY179" fmla="*/ 61451 h 765204"/>
                    <a:gd name="connsiteX180" fmla="*/ 701103 w 792837"/>
                    <a:gd name="connsiteY180" fmla="*/ 63138 h 765204"/>
                    <a:gd name="connsiteX181" fmla="*/ 694917 w 792837"/>
                    <a:gd name="connsiteY181" fmla="*/ 60407 h 765204"/>
                    <a:gd name="connsiteX182" fmla="*/ 688330 w 792837"/>
                    <a:gd name="connsiteY182" fmla="*/ 120813 h 765204"/>
                    <a:gd name="connsiteX183" fmla="*/ 643347 w 792837"/>
                    <a:gd name="connsiteY183" fmla="*/ 111495 h 765204"/>
                    <a:gd name="connsiteX184" fmla="*/ 650576 w 792837"/>
                    <a:gd name="connsiteY184" fmla="*/ 116556 h 765204"/>
                    <a:gd name="connsiteX185" fmla="*/ 635475 w 792837"/>
                    <a:gd name="connsiteY185" fmla="*/ 112459 h 765204"/>
                    <a:gd name="connsiteX186" fmla="*/ 635475 w 792837"/>
                    <a:gd name="connsiteY186" fmla="*/ 112700 h 765204"/>
                    <a:gd name="connsiteX187" fmla="*/ 656119 w 792837"/>
                    <a:gd name="connsiteY187" fmla="*/ 120492 h 765204"/>
                    <a:gd name="connsiteX188" fmla="*/ 629771 w 792837"/>
                    <a:gd name="connsiteY188" fmla="*/ 116877 h 765204"/>
                    <a:gd name="connsiteX189" fmla="*/ 629852 w 792837"/>
                    <a:gd name="connsiteY189" fmla="*/ 117359 h 765204"/>
                    <a:gd name="connsiteX190" fmla="*/ 638929 w 792837"/>
                    <a:gd name="connsiteY190" fmla="*/ 121376 h 765204"/>
                    <a:gd name="connsiteX191" fmla="*/ 632503 w 792837"/>
                    <a:gd name="connsiteY191" fmla="*/ 120572 h 765204"/>
                    <a:gd name="connsiteX192" fmla="*/ 643909 w 792837"/>
                    <a:gd name="connsiteY192" fmla="*/ 124267 h 765204"/>
                    <a:gd name="connsiteX193" fmla="*/ 637804 w 792837"/>
                    <a:gd name="connsiteY193" fmla="*/ 125794 h 765204"/>
                    <a:gd name="connsiteX194" fmla="*/ 646801 w 792837"/>
                    <a:gd name="connsiteY194" fmla="*/ 126758 h 765204"/>
                    <a:gd name="connsiteX195" fmla="*/ 668168 w 792837"/>
                    <a:gd name="connsiteY195" fmla="*/ 129007 h 765204"/>
                    <a:gd name="connsiteX196" fmla="*/ 696363 w 792837"/>
                    <a:gd name="connsiteY196" fmla="*/ 127159 h 765204"/>
                    <a:gd name="connsiteX197" fmla="*/ 688330 w 792837"/>
                    <a:gd name="connsiteY197" fmla="*/ 120813 h 765204"/>
                    <a:gd name="connsiteX198" fmla="*/ 686001 w 792837"/>
                    <a:gd name="connsiteY198" fmla="*/ 56792 h 765204"/>
                    <a:gd name="connsiteX199" fmla="*/ 674032 w 792837"/>
                    <a:gd name="connsiteY199" fmla="*/ 58800 h 765204"/>
                    <a:gd name="connsiteX200" fmla="*/ 674112 w 792837"/>
                    <a:gd name="connsiteY200" fmla="*/ 59041 h 765204"/>
                    <a:gd name="connsiteX201" fmla="*/ 696685 w 792837"/>
                    <a:gd name="connsiteY201" fmla="*/ 59363 h 765204"/>
                    <a:gd name="connsiteX202" fmla="*/ 686001 w 792837"/>
                    <a:gd name="connsiteY202" fmla="*/ 56792 h 765204"/>
                    <a:gd name="connsiteX203" fmla="*/ 675076 w 792837"/>
                    <a:gd name="connsiteY203" fmla="*/ 62977 h 765204"/>
                    <a:gd name="connsiteX204" fmla="*/ 665919 w 792837"/>
                    <a:gd name="connsiteY204" fmla="*/ 63138 h 765204"/>
                    <a:gd name="connsiteX205" fmla="*/ 666481 w 792837"/>
                    <a:gd name="connsiteY205" fmla="*/ 63218 h 765204"/>
                    <a:gd name="connsiteX206" fmla="*/ 679173 w 792837"/>
                    <a:gd name="connsiteY206" fmla="*/ 63539 h 765204"/>
                    <a:gd name="connsiteX207" fmla="*/ 675558 w 792837"/>
                    <a:gd name="connsiteY207" fmla="*/ 63058 h 765204"/>
                    <a:gd name="connsiteX208" fmla="*/ 675076 w 792837"/>
                    <a:gd name="connsiteY208" fmla="*/ 62977 h 765204"/>
                    <a:gd name="connsiteX209" fmla="*/ 649050 w 792837"/>
                    <a:gd name="connsiteY209" fmla="*/ 69564 h 765204"/>
                    <a:gd name="connsiteX210" fmla="*/ 649050 w 792837"/>
                    <a:gd name="connsiteY210" fmla="*/ 69564 h 765204"/>
                    <a:gd name="connsiteX211" fmla="*/ 660537 w 792837"/>
                    <a:gd name="connsiteY211" fmla="*/ 75990 h 765204"/>
                    <a:gd name="connsiteX212" fmla="*/ 666401 w 792837"/>
                    <a:gd name="connsiteY212" fmla="*/ 75508 h 765204"/>
                    <a:gd name="connsiteX213" fmla="*/ 664393 w 792837"/>
                    <a:gd name="connsiteY213" fmla="*/ 74785 h 765204"/>
                    <a:gd name="connsiteX214" fmla="*/ 673068 w 792837"/>
                    <a:gd name="connsiteY214" fmla="*/ 75508 h 765204"/>
                    <a:gd name="connsiteX215" fmla="*/ 661340 w 792837"/>
                    <a:gd name="connsiteY215" fmla="*/ 72295 h 765204"/>
                    <a:gd name="connsiteX216" fmla="*/ 651058 w 792837"/>
                    <a:gd name="connsiteY216" fmla="*/ 70448 h 765204"/>
                    <a:gd name="connsiteX217" fmla="*/ 649050 w 792837"/>
                    <a:gd name="connsiteY217" fmla="*/ 69564 h 765204"/>
                    <a:gd name="connsiteX218" fmla="*/ 655878 w 792837"/>
                    <a:gd name="connsiteY218" fmla="*/ 51731 h 765204"/>
                    <a:gd name="connsiteX219" fmla="*/ 649371 w 792837"/>
                    <a:gd name="connsiteY219" fmla="*/ 52695 h 765204"/>
                    <a:gd name="connsiteX220" fmla="*/ 651701 w 792837"/>
                    <a:gd name="connsiteY220" fmla="*/ 53980 h 765204"/>
                    <a:gd name="connsiteX221" fmla="*/ 650255 w 792837"/>
                    <a:gd name="connsiteY221" fmla="*/ 54382 h 765204"/>
                    <a:gd name="connsiteX222" fmla="*/ 670498 w 792837"/>
                    <a:gd name="connsiteY222" fmla="*/ 55748 h 765204"/>
                    <a:gd name="connsiteX223" fmla="*/ 679253 w 792837"/>
                    <a:gd name="connsiteY223" fmla="*/ 54302 h 765204"/>
                    <a:gd name="connsiteX224" fmla="*/ 655878 w 792837"/>
                    <a:gd name="connsiteY224" fmla="*/ 51731 h 765204"/>
                    <a:gd name="connsiteX225" fmla="*/ 657886 w 792837"/>
                    <a:gd name="connsiteY225" fmla="*/ 66110 h 765204"/>
                    <a:gd name="connsiteX226" fmla="*/ 642624 w 792837"/>
                    <a:gd name="connsiteY226" fmla="*/ 66431 h 765204"/>
                    <a:gd name="connsiteX227" fmla="*/ 643186 w 792837"/>
                    <a:gd name="connsiteY227" fmla="*/ 66833 h 765204"/>
                    <a:gd name="connsiteX228" fmla="*/ 666481 w 792837"/>
                    <a:gd name="connsiteY228" fmla="*/ 69805 h 765204"/>
                    <a:gd name="connsiteX229" fmla="*/ 672024 w 792837"/>
                    <a:gd name="connsiteY229" fmla="*/ 71412 h 765204"/>
                    <a:gd name="connsiteX230" fmla="*/ 683752 w 792837"/>
                    <a:gd name="connsiteY230" fmla="*/ 75026 h 765204"/>
                    <a:gd name="connsiteX231" fmla="*/ 698612 w 792837"/>
                    <a:gd name="connsiteY231" fmla="*/ 74946 h 765204"/>
                    <a:gd name="connsiteX232" fmla="*/ 657886 w 792837"/>
                    <a:gd name="connsiteY232" fmla="*/ 66110 h 765204"/>
                    <a:gd name="connsiteX233" fmla="*/ 643909 w 792837"/>
                    <a:gd name="connsiteY233" fmla="*/ 58399 h 765204"/>
                    <a:gd name="connsiteX234" fmla="*/ 643588 w 792837"/>
                    <a:gd name="connsiteY234" fmla="*/ 58399 h 765204"/>
                    <a:gd name="connsiteX235" fmla="*/ 643588 w 792837"/>
                    <a:gd name="connsiteY235" fmla="*/ 58479 h 765204"/>
                    <a:gd name="connsiteX236" fmla="*/ 645435 w 792837"/>
                    <a:gd name="connsiteY236" fmla="*/ 59202 h 765204"/>
                    <a:gd name="connsiteX237" fmla="*/ 652906 w 792837"/>
                    <a:gd name="connsiteY237" fmla="*/ 61692 h 765204"/>
                    <a:gd name="connsiteX238" fmla="*/ 656440 w 792837"/>
                    <a:gd name="connsiteY238" fmla="*/ 61451 h 765204"/>
                    <a:gd name="connsiteX239" fmla="*/ 643909 w 792837"/>
                    <a:gd name="connsiteY239" fmla="*/ 58399 h 765204"/>
                    <a:gd name="connsiteX240" fmla="*/ 641499 w 792837"/>
                    <a:gd name="connsiteY240" fmla="*/ 53177 h 765204"/>
                    <a:gd name="connsiteX241" fmla="*/ 642142 w 792837"/>
                    <a:gd name="connsiteY241" fmla="*/ 53177 h 765204"/>
                    <a:gd name="connsiteX242" fmla="*/ 631940 w 792837"/>
                    <a:gd name="connsiteY242" fmla="*/ 53177 h 765204"/>
                    <a:gd name="connsiteX243" fmla="*/ 641499 w 792837"/>
                    <a:gd name="connsiteY243" fmla="*/ 53177 h 765204"/>
                    <a:gd name="connsiteX244" fmla="*/ 650014 w 792837"/>
                    <a:gd name="connsiteY244" fmla="*/ 56471 h 765204"/>
                    <a:gd name="connsiteX245" fmla="*/ 628245 w 792837"/>
                    <a:gd name="connsiteY245" fmla="*/ 56310 h 765204"/>
                    <a:gd name="connsiteX246" fmla="*/ 629289 w 792837"/>
                    <a:gd name="connsiteY246" fmla="*/ 56310 h 765204"/>
                    <a:gd name="connsiteX247" fmla="*/ 650657 w 792837"/>
                    <a:gd name="connsiteY247" fmla="*/ 56551 h 765204"/>
                    <a:gd name="connsiteX248" fmla="*/ 650014 w 792837"/>
                    <a:gd name="connsiteY248" fmla="*/ 56471 h 765204"/>
                    <a:gd name="connsiteX249" fmla="*/ 627603 w 792837"/>
                    <a:gd name="connsiteY249" fmla="*/ 64905 h 765204"/>
                    <a:gd name="connsiteX250" fmla="*/ 626639 w 792837"/>
                    <a:gd name="connsiteY250" fmla="*/ 65307 h 765204"/>
                    <a:gd name="connsiteX251" fmla="*/ 626639 w 792837"/>
                    <a:gd name="connsiteY251" fmla="*/ 65307 h 765204"/>
                    <a:gd name="connsiteX252" fmla="*/ 626639 w 792837"/>
                    <a:gd name="connsiteY252" fmla="*/ 65307 h 765204"/>
                    <a:gd name="connsiteX253" fmla="*/ 626639 w 792837"/>
                    <a:gd name="connsiteY253" fmla="*/ 65307 h 765204"/>
                    <a:gd name="connsiteX254" fmla="*/ 626639 w 792837"/>
                    <a:gd name="connsiteY254" fmla="*/ 65307 h 765204"/>
                    <a:gd name="connsiteX255" fmla="*/ 626639 w 792837"/>
                    <a:gd name="connsiteY255" fmla="*/ 65307 h 765204"/>
                    <a:gd name="connsiteX256" fmla="*/ 626639 w 792837"/>
                    <a:gd name="connsiteY256" fmla="*/ 65307 h 765204"/>
                    <a:gd name="connsiteX257" fmla="*/ 626639 w 792837"/>
                    <a:gd name="connsiteY257" fmla="*/ 65307 h 765204"/>
                    <a:gd name="connsiteX258" fmla="*/ 626639 w 792837"/>
                    <a:gd name="connsiteY258" fmla="*/ 65307 h 765204"/>
                    <a:gd name="connsiteX259" fmla="*/ 629611 w 792837"/>
                    <a:gd name="connsiteY259" fmla="*/ 65387 h 765204"/>
                    <a:gd name="connsiteX260" fmla="*/ 627603 w 792837"/>
                    <a:gd name="connsiteY260" fmla="*/ 64905 h 765204"/>
                    <a:gd name="connsiteX261" fmla="*/ 642302 w 792837"/>
                    <a:gd name="connsiteY261" fmla="*/ 47876 h 765204"/>
                    <a:gd name="connsiteX262" fmla="*/ 623024 w 792837"/>
                    <a:gd name="connsiteY262" fmla="*/ 48599 h 765204"/>
                    <a:gd name="connsiteX263" fmla="*/ 623184 w 792837"/>
                    <a:gd name="connsiteY263" fmla="*/ 48679 h 765204"/>
                    <a:gd name="connsiteX264" fmla="*/ 632181 w 792837"/>
                    <a:gd name="connsiteY264" fmla="*/ 49241 h 765204"/>
                    <a:gd name="connsiteX265" fmla="*/ 638688 w 792837"/>
                    <a:gd name="connsiteY265" fmla="*/ 50285 h 765204"/>
                    <a:gd name="connsiteX266" fmla="*/ 638848 w 792837"/>
                    <a:gd name="connsiteY266" fmla="*/ 50446 h 765204"/>
                    <a:gd name="connsiteX267" fmla="*/ 655476 w 792837"/>
                    <a:gd name="connsiteY267" fmla="*/ 50044 h 765204"/>
                    <a:gd name="connsiteX268" fmla="*/ 642302 w 792837"/>
                    <a:gd name="connsiteY268" fmla="*/ 47876 h 765204"/>
                    <a:gd name="connsiteX269" fmla="*/ 606075 w 792837"/>
                    <a:gd name="connsiteY269" fmla="*/ 14941 h 765204"/>
                    <a:gd name="connsiteX270" fmla="*/ 573220 w 792837"/>
                    <a:gd name="connsiteY270" fmla="*/ 23054 h 765204"/>
                    <a:gd name="connsiteX271" fmla="*/ 575871 w 792837"/>
                    <a:gd name="connsiteY271" fmla="*/ 22894 h 765204"/>
                    <a:gd name="connsiteX272" fmla="*/ 607601 w 792837"/>
                    <a:gd name="connsiteY272" fmla="*/ 19761 h 765204"/>
                    <a:gd name="connsiteX273" fmla="*/ 643829 w 792837"/>
                    <a:gd name="connsiteY273" fmla="*/ 17110 h 765204"/>
                    <a:gd name="connsiteX274" fmla="*/ 645275 w 792837"/>
                    <a:gd name="connsiteY274" fmla="*/ 14379 h 765204"/>
                    <a:gd name="connsiteX275" fmla="*/ 606075 w 792837"/>
                    <a:gd name="connsiteY275" fmla="*/ 14941 h 765204"/>
                    <a:gd name="connsiteX276" fmla="*/ 165074 w 792837"/>
                    <a:gd name="connsiteY276" fmla="*/ 218010 h 765204"/>
                    <a:gd name="connsiteX277" fmla="*/ 176320 w 792837"/>
                    <a:gd name="connsiteY277" fmla="*/ 208853 h 765204"/>
                    <a:gd name="connsiteX278" fmla="*/ 169010 w 792837"/>
                    <a:gd name="connsiteY278" fmla="*/ 213351 h 765204"/>
                    <a:gd name="connsiteX279" fmla="*/ 203792 w 792837"/>
                    <a:gd name="connsiteY279" fmla="*/ 181782 h 765204"/>
                    <a:gd name="connsiteX280" fmla="*/ 191984 w 792837"/>
                    <a:gd name="connsiteY280" fmla="*/ 189173 h 765204"/>
                    <a:gd name="connsiteX281" fmla="*/ 251427 w 792837"/>
                    <a:gd name="connsiteY281" fmla="*/ 141618 h 765204"/>
                    <a:gd name="connsiteX282" fmla="*/ 248294 w 792837"/>
                    <a:gd name="connsiteY282" fmla="*/ 141859 h 765204"/>
                    <a:gd name="connsiteX283" fmla="*/ 201382 w 792837"/>
                    <a:gd name="connsiteY283" fmla="*/ 168528 h 765204"/>
                    <a:gd name="connsiteX284" fmla="*/ 205399 w 792837"/>
                    <a:gd name="connsiteY284" fmla="*/ 162905 h 765204"/>
                    <a:gd name="connsiteX285" fmla="*/ 181782 w 792837"/>
                    <a:gd name="connsiteY285" fmla="*/ 174472 h 765204"/>
                    <a:gd name="connsiteX286" fmla="*/ 174954 w 792837"/>
                    <a:gd name="connsiteY286" fmla="*/ 180899 h 765204"/>
                    <a:gd name="connsiteX287" fmla="*/ 175597 w 792837"/>
                    <a:gd name="connsiteY287" fmla="*/ 181622 h 765204"/>
                    <a:gd name="connsiteX288" fmla="*/ 180095 w 792837"/>
                    <a:gd name="connsiteY288" fmla="*/ 180417 h 765204"/>
                    <a:gd name="connsiteX289" fmla="*/ 171179 w 792837"/>
                    <a:gd name="connsiteY289" fmla="*/ 184915 h 765204"/>
                    <a:gd name="connsiteX290" fmla="*/ 171018 w 792837"/>
                    <a:gd name="connsiteY290" fmla="*/ 179694 h 765204"/>
                    <a:gd name="connsiteX291" fmla="*/ 150133 w 792837"/>
                    <a:gd name="connsiteY291" fmla="*/ 195197 h 765204"/>
                    <a:gd name="connsiteX292" fmla="*/ 150615 w 792837"/>
                    <a:gd name="connsiteY292" fmla="*/ 195920 h 765204"/>
                    <a:gd name="connsiteX293" fmla="*/ 155354 w 792837"/>
                    <a:gd name="connsiteY293" fmla="*/ 195599 h 765204"/>
                    <a:gd name="connsiteX294" fmla="*/ 135192 w 792837"/>
                    <a:gd name="connsiteY294" fmla="*/ 210861 h 765204"/>
                    <a:gd name="connsiteX295" fmla="*/ 146197 w 792837"/>
                    <a:gd name="connsiteY295" fmla="*/ 211343 h 765204"/>
                    <a:gd name="connsiteX296" fmla="*/ 119930 w 792837"/>
                    <a:gd name="connsiteY296" fmla="*/ 221705 h 765204"/>
                    <a:gd name="connsiteX297" fmla="*/ 106515 w 792837"/>
                    <a:gd name="connsiteY297" fmla="*/ 238494 h 765204"/>
                    <a:gd name="connsiteX298" fmla="*/ 99205 w 792837"/>
                    <a:gd name="connsiteY298" fmla="*/ 254318 h 765204"/>
                    <a:gd name="connsiteX299" fmla="*/ 115833 w 792837"/>
                    <a:gd name="connsiteY299" fmla="*/ 238735 h 765204"/>
                    <a:gd name="connsiteX300" fmla="*/ 110130 w 792837"/>
                    <a:gd name="connsiteY300" fmla="*/ 248937 h 765204"/>
                    <a:gd name="connsiteX301" fmla="*/ 131899 w 792837"/>
                    <a:gd name="connsiteY301" fmla="*/ 234879 h 765204"/>
                    <a:gd name="connsiteX302" fmla="*/ 128284 w 792837"/>
                    <a:gd name="connsiteY302" fmla="*/ 238815 h 765204"/>
                    <a:gd name="connsiteX303" fmla="*/ 165074 w 792837"/>
                    <a:gd name="connsiteY303" fmla="*/ 218010 h 765204"/>
                    <a:gd name="connsiteX304" fmla="*/ 614589 w 792837"/>
                    <a:gd name="connsiteY304" fmla="*/ 55025 h 765204"/>
                    <a:gd name="connsiteX305" fmla="*/ 614830 w 792837"/>
                    <a:gd name="connsiteY305" fmla="*/ 55025 h 765204"/>
                    <a:gd name="connsiteX306" fmla="*/ 608404 w 792837"/>
                    <a:gd name="connsiteY306" fmla="*/ 55266 h 765204"/>
                    <a:gd name="connsiteX307" fmla="*/ 608404 w 792837"/>
                    <a:gd name="connsiteY307" fmla="*/ 55266 h 765204"/>
                    <a:gd name="connsiteX308" fmla="*/ 614589 w 792837"/>
                    <a:gd name="connsiteY308" fmla="*/ 55025 h 765204"/>
                    <a:gd name="connsiteX309" fmla="*/ 603745 w 792837"/>
                    <a:gd name="connsiteY309" fmla="*/ 55748 h 765204"/>
                    <a:gd name="connsiteX310" fmla="*/ 593302 w 792837"/>
                    <a:gd name="connsiteY310" fmla="*/ 56551 h 765204"/>
                    <a:gd name="connsiteX311" fmla="*/ 593945 w 792837"/>
                    <a:gd name="connsiteY311" fmla="*/ 56712 h 765204"/>
                    <a:gd name="connsiteX312" fmla="*/ 614107 w 792837"/>
                    <a:gd name="connsiteY312" fmla="*/ 58238 h 765204"/>
                    <a:gd name="connsiteX313" fmla="*/ 612019 w 792837"/>
                    <a:gd name="connsiteY313" fmla="*/ 58640 h 765204"/>
                    <a:gd name="connsiteX314" fmla="*/ 622943 w 792837"/>
                    <a:gd name="connsiteY314" fmla="*/ 58881 h 765204"/>
                    <a:gd name="connsiteX315" fmla="*/ 620212 w 792837"/>
                    <a:gd name="connsiteY315" fmla="*/ 58318 h 765204"/>
                    <a:gd name="connsiteX316" fmla="*/ 623666 w 792837"/>
                    <a:gd name="connsiteY316" fmla="*/ 58077 h 765204"/>
                    <a:gd name="connsiteX317" fmla="*/ 619168 w 792837"/>
                    <a:gd name="connsiteY317" fmla="*/ 57595 h 765204"/>
                    <a:gd name="connsiteX318" fmla="*/ 624389 w 792837"/>
                    <a:gd name="connsiteY318" fmla="*/ 56872 h 765204"/>
                    <a:gd name="connsiteX319" fmla="*/ 622060 w 792837"/>
                    <a:gd name="connsiteY319" fmla="*/ 56471 h 765204"/>
                    <a:gd name="connsiteX320" fmla="*/ 620293 w 792837"/>
                    <a:gd name="connsiteY320" fmla="*/ 56390 h 765204"/>
                    <a:gd name="connsiteX321" fmla="*/ 608966 w 792837"/>
                    <a:gd name="connsiteY321" fmla="*/ 56390 h 765204"/>
                    <a:gd name="connsiteX322" fmla="*/ 603745 w 792837"/>
                    <a:gd name="connsiteY322" fmla="*/ 55748 h 765204"/>
                    <a:gd name="connsiteX323" fmla="*/ 571614 w 792837"/>
                    <a:gd name="connsiteY323" fmla="*/ 55748 h 765204"/>
                    <a:gd name="connsiteX324" fmla="*/ 571614 w 792837"/>
                    <a:gd name="connsiteY324" fmla="*/ 55748 h 765204"/>
                    <a:gd name="connsiteX325" fmla="*/ 582699 w 792837"/>
                    <a:gd name="connsiteY325" fmla="*/ 56471 h 765204"/>
                    <a:gd name="connsiteX326" fmla="*/ 571614 w 792837"/>
                    <a:gd name="connsiteY326" fmla="*/ 55748 h 765204"/>
                    <a:gd name="connsiteX327" fmla="*/ 571534 w 792837"/>
                    <a:gd name="connsiteY327" fmla="*/ 55748 h 765204"/>
                    <a:gd name="connsiteX328" fmla="*/ 571534 w 792837"/>
                    <a:gd name="connsiteY328" fmla="*/ 55748 h 765204"/>
                    <a:gd name="connsiteX329" fmla="*/ 571534 w 792837"/>
                    <a:gd name="connsiteY329" fmla="*/ 55748 h 765204"/>
                    <a:gd name="connsiteX330" fmla="*/ 571534 w 792837"/>
                    <a:gd name="connsiteY330" fmla="*/ 55748 h 765204"/>
                    <a:gd name="connsiteX331" fmla="*/ 571534 w 792837"/>
                    <a:gd name="connsiteY331" fmla="*/ 55748 h 765204"/>
                    <a:gd name="connsiteX332" fmla="*/ 571534 w 792837"/>
                    <a:gd name="connsiteY332" fmla="*/ 55748 h 765204"/>
                    <a:gd name="connsiteX333" fmla="*/ 571534 w 792837"/>
                    <a:gd name="connsiteY333" fmla="*/ 55748 h 765204"/>
                    <a:gd name="connsiteX334" fmla="*/ 571534 w 792837"/>
                    <a:gd name="connsiteY334" fmla="*/ 55748 h 765204"/>
                    <a:gd name="connsiteX335" fmla="*/ 571534 w 792837"/>
                    <a:gd name="connsiteY335" fmla="*/ 55748 h 765204"/>
                    <a:gd name="connsiteX336" fmla="*/ 571534 w 792837"/>
                    <a:gd name="connsiteY336" fmla="*/ 55748 h 765204"/>
                    <a:gd name="connsiteX337" fmla="*/ 571534 w 792837"/>
                    <a:gd name="connsiteY337" fmla="*/ 55748 h 765204"/>
                    <a:gd name="connsiteX338" fmla="*/ 571534 w 792837"/>
                    <a:gd name="connsiteY338" fmla="*/ 55748 h 765204"/>
                    <a:gd name="connsiteX339" fmla="*/ 571534 w 792837"/>
                    <a:gd name="connsiteY339" fmla="*/ 55748 h 765204"/>
                    <a:gd name="connsiteX340" fmla="*/ 571534 w 792837"/>
                    <a:gd name="connsiteY340" fmla="*/ 55748 h 765204"/>
                    <a:gd name="connsiteX341" fmla="*/ 571534 w 792837"/>
                    <a:gd name="connsiteY341" fmla="*/ 55748 h 765204"/>
                    <a:gd name="connsiteX342" fmla="*/ 571534 w 792837"/>
                    <a:gd name="connsiteY342" fmla="*/ 55748 h 765204"/>
                    <a:gd name="connsiteX343" fmla="*/ 571534 w 792837"/>
                    <a:gd name="connsiteY343" fmla="*/ 55748 h 765204"/>
                    <a:gd name="connsiteX344" fmla="*/ 571534 w 792837"/>
                    <a:gd name="connsiteY344" fmla="*/ 55748 h 765204"/>
                    <a:gd name="connsiteX345" fmla="*/ 571534 w 792837"/>
                    <a:gd name="connsiteY345" fmla="*/ 55748 h 765204"/>
                    <a:gd name="connsiteX346" fmla="*/ 571534 w 792837"/>
                    <a:gd name="connsiteY346" fmla="*/ 55748 h 765204"/>
                    <a:gd name="connsiteX347" fmla="*/ 571534 w 792837"/>
                    <a:gd name="connsiteY347" fmla="*/ 55748 h 765204"/>
                    <a:gd name="connsiteX348" fmla="*/ 571534 w 792837"/>
                    <a:gd name="connsiteY348" fmla="*/ 55748 h 765204"/>
                    <a:gd name="connsiteX349" fmla="*/ 571534 w 792837"/>
                    <a:gd name="connsiteY349" fmla="*/ 55748 h 765204"/>
                    <a:gd name="connsiteX350" fmla="*/ 571534 w 792837"/>
                    <a:gd name="connsiteY350" fmla="*/ 55748 h 765204"/>
                    <a:gd name="connsiteX351" fmla="*/ 571534 w 792837"/>
                    <a:gd name="connsiteY351" fmla="*/ 55748 h 765204"/>
                    <a:gd name="connsiteX352" fmla="*/ 571534 w 792837"/>
                    <a:gd name="connsiteY352" fmla="*/ 55748 h 765204"/>
                    <a:gd name="connsiteX353" fmla="*/ 571534 w 792837"/>
                    <a:gd name="connsiteY353" fmla="*/ 55748 h 765204"/>
                    <a:gd name="connsiteX354" fmla="*/ 571534 w 792837"/>
                    <a:gd name="connsiteY354" fmla="*/ 55748 h 765204"/>
                    <a:gd name="connsiteX355" fmla="*/ 571534 w 792837"/>
                    <a:gd name="connsiteY355" fmla="*/ 55748 h 765204"/>
                    <a:gd name="connsiteX356" fmla="*/ 571534 w 792837"/>
                    <a:gd name="connsiteY356" fmla="*/ 55748 h 765204"/>
                    <a:gd name="connsiteX357" fmla="*/ 571534 w 792837"/>
                    <a:gd name="connsiteY357" fmla="*/ 55748 h 765204"/>
                    <a:gd name="connsiteX358" fmla="*/ 571534 w 792837"/>
                    <a:gd name="connsiteY358" fmla="*/ 55748 h 765204"/>
                    <a:gd name="connsiteX359" fmla="*/ 571534 w 792837"/>
                    <a:gd name="connsiteY359" fmla="*/ 55748 h 765204"/>
                    <a:gd name="connsiteX360" fmla="*/ 571534 w 792837"/>
                    <a:gd name="connsiteY360" fmla="*/ 55748 h 765204"/>
                    <a:gd name="connsiteX361" fmla="*/ 571534 w 792837"/>
                    <a:gd name="connsiteY361" fmla="*/ 55748 h 765204"/>
                    <a:gd name="connsiteX362" fmla="*/ 571534 w 792837"/>
                    <a:gd name="connsiteY362" fmla="*/ 55748 h 765204"/>
                    <a:gd name="connsiteX363" fmla="*/ 571534 w 792837"/>
                    <a:gd name="connsiteY363" fmla="*/ 55748 h 765204"/>
                    <a:gd name="connsiteX364" fmla="*/ 571534 w 792837"/>
                    <a:gd name="connsiteY364" fmla="*/ 55748 h 765204"/>
                    <a:gd name="connsiteX365" fmla="*/ 571534 w 792837"/>
                    <a:gd name="connsiteY365" fmla="*/ 55748 h 765204"/>
                    <a:gd name="connsiteX366" fmla="*/ 571534 w 792837"/>
                    <a:gd name="connsiteY366" fmla="*/ 55748 h 765204"/>
                    <a:gd name="connsiteX367" fmla="*/ 571534 w 792837"/>
                    <a:gd name="connsiteY367" fmla="*/ 55748 h 765204"/>
                    <a:gd name="connsiteX368" fmla="*/ 571534 w 792837"/>
                    <a:gd name="connsiteY368" fmla="*/ 55748 h 765204"/>
                    <a:gd name="connsiteX369" fmla="*/ 571534 w 792837"/>
                    <a:gd name="connsiteY369" fmla="*/ 55748 h 765204"/>
                    <a:gd name="connsiteX370" fmla="*/ 571534 w 792837"/>
                    <a:gd name="connsiteY370" fmla="*/ 55748 h 765204"/>
                    <a:gd name="connsiteX371" fmla="*/ 571534 w 792837"/>
                    <a:gd name="connsiteY371" fmla="*/ 55748 h 765204"/>
                    <a:gd name="connsiteX372" fmla="*/ 571534 w 792837"/>
                    <a:gd name="connsiteY372" fmla="*/ 55748 h 765204"/>
                    <a:gd name="connsiteX373" fmla="*/ 571534 w 792837"/>
                    <a:gd name="connsiteY373" fmla="*/ 55748 h 765204"/>
                    <a:gd name="connsiteX374" fmla="*/ 571534 w 792837"/>
                    <a:gd name="connsiteY374" fmla="*/ 55748 h 765204"/>
                    <a:gd name="connsiteX375" fmla="*/ 571534 w 792837"/>
                    <a:gd name="connsiteY375" fmla="*/ 55748 h 765204"/>
                    <a:gd name="connsiteX376" fmla="*/ 571534 w 792837"/>
                    <a:gd name="connsiteY376" fmla="*/ 55748 h 765204"/>
                    <a:gd name="connsiteX377" fmla="*/ 571534 w 792837"/>
                    <a:gd name="connsiteY377" fmla="*/ 55748 h 765204"/>
                    <a:gd name="connsiteX378" fmla="*/ 571534 w 792837"/>
                    <a:gd name="connsiteY378" fmla="*/ 55748 h 765204"/>
                    <a:gd name="connsiteX379" fmla="*/ 571534 w 792837"/>
                    <a:gd name="connsiteY379" fmla="*/ 55748 h 765204"/>
                    <a:gd name="connsiteX380" fmla="*/ 571534 w 792837"/>
                    <a:gd name="connsiteY380" fmla="*/ 55748 h 765204"/>
                    <a:gd name="connsiteX381" fmla="*/ 571534 w 792837"/>
                    <a:gd name="connsiteY381" fmla="*/ 55748 h 765204"/>
                    <a:gd name="connsiteX382" fmla="*/ 571534 w 792837"/>
                    <a:gd name="connsiteY382" fmla="*/ 55748 h 765204"/>
                    <a:gd name="connsiteX383" fmla="*/ 571534 w 792837"/>
                    <a:gd name="connsiteY383" fmla="*/ 55748 h 765204"/>
                    <a:gd name="connsiteX384" fmla="*/ 571534 w 792837"/>
                    <a:gd name="connsiteY384" fmla="*/ 55748 h 765204"/>
                    <a:gd name="connsiteX385" fmla="*/ 571534 w 792837"/>
                    <a:gd name="connsiteY385" fmla="*/ 55748 h 765204"/>
                    <a:gd name="connsiteX386" fmla="*/ 571534 w 792837"/>
                    <a:gd name="connsiteY386" fmla="*/ 55748 h 765204"/>
                    <a:gd name="connsiteX387" fmla="*/ 571534 w 792837"/>
                    <a:gd name="connsiteY387" fmla="*/ 55748 h 765204"/>
                    <a:gd name="connsiteX388" fmla="*/ 571534 w 792837"/>
                    <a:gd name="connsiteY388" fmla="*/ 55748 h 765204"/>
                    <a:gd name="connsiteX389" fmla="*/ 571534 w 792837"/>
                    <a:gd name="connsiteY389" fmla="*/ 55748 h 765204"/>
                    <a:gd name="connsiteX390" fmla="*/ 571534 w 792837"/>
                    <a:gd name="connsiteY390" fmla="*/ 55748 h 765204"/>
                    <a:gd name="connsiteX391" fmla="*/ 571534 w 792837"/>
                    <a:gd name="connsiteY391" fmla="*/ 55748 h 765204"/>
                    <a:gd name="connsiteX392" fmla="*/ 571534 w 792837"/>
                    <a:gd name="connsiteY392" fmla="*/ 55748 h 765204"/>
                    <a:gd name="connsiteX393" fmla="*/ 571534 w 792837"/>
                    <a:gd name="connsiteY393" fmla="*/ 55748 h 765204"/>
                    <a:gd name="connsiteX394" fmla="*/ 571534 w 792837"/>
                    <a:gd name="connsiteY394" fmla="*/ 55748 h 765204"/>
                    <a:gd name="connsiteX395" fmla="*/ 571534 w 792837"/>
                    <a:gd name="connsiteY395" fmla="*/ 55748 h 765204"/>
                    <a:gd name="connsiteX396" fmla="*/ 571534 w 792837"/>
                    <a:gd name="connsiteY396" fmla="*/ 55748 h 765204"/>
                    <a:gd name="connsiteX397" fmla="*/ 571534 w 792837"/>
                    <a:gd name="connsiteY397" fmla="*/ 55748 h 765204"/>
                    <a:gd name="connsiteX398" fmla="*/ 571534 w 792837"/>
                    <a:gd name="connsiteY398" fmla="*/ 55748 h 765204"/>
                    <a:gd name="connsiteX399" fmla="*/ 571534 w 792837"/>
                    <a:gd name="connsiteY399" fmla="*/ 55748 h 765204"/>
                    <a:gd name="connsiteX400" fmla="*/ 571534 w 792837"/>
                    <a:gd name="connsiteY400" fmla="*/ 55748 h 765204"/>
                    <a:gd name="connsiteX401" fmla="*/ 571534 w 792837"/>
                    <a:gd name="connsiteY401" fmla="*/ 55748 h 765204"/>
                    <a:gd name="connsiteX402" fmla="*/ 571534 w 792837"/>
                    <a:gd name="connsiteY402" fmla="*/ 55748 h 765204"/>
                    <a:gd name="connsiteX403" fmla="*/ 571534 w 792837"/>
                    <a:gd name="connsiteY403" fmla="*/ 55748 h 765204"/>
                    <a:gd name="connsiteX404" fmla="*/ 571534 w 792837"/>
                    <a:gd name="connsiteY404" fmla="*/ 55748 h 765204"/>
                    <a:gd name="connsiteX405" fmla="*/ 571534 w 792837"/>
                    <a:gd name="connsiteY405" fmla="*/ 55748 h 765204"/>
                    <a:gd name="connsiteX406" fmla="*/ 571534 w 792837"/>
                    <a:gd name="connsiteY406" fmla="*/ 55748 h 765204"/>
                    <a:gd name="connsiteX407" fmla="*/ 571534 w 792837"/>
                    <a:gd name="connsiteY407" fmla="*/ 55748 h 765204"/>
                    <a:gd name="connsiteX408" fmla="*/ 571534 w 792837"/>
                    <a:gd name="connsiteY408" fmla="*/ 55748 h 765204"/>
                    <a:gd name="connsiteX409" fmla="*/ 571534 w 792837"/>
                    <a:gd name="connsiteY409" fmla="*/ 55748 h 765204"/>
                    <a:gd name="connsiteX410" fmla="*/ 571534 w 792837"/>
                    <a:gd name="connsiteY410" fmla="*/ 55748 h 765204"/>
                    <a:gd name="connsiteX411" fmla="*/ 571534 w 792837"/>
                    <a:gd name="connsiteY411" fmla="*/ 55748 h 765204"/>
                    <a:gd name="connsiteX412" fmla="*/ 571534 w 792837"/>
                    <a:gd name="connsiteY412" fmla="*/ 55748 h 765204"/>
                    <a:gd name="connsiteX413" fmla="*/ 571534 w 792837"/>
                    <a:gd name="connsiteY413" fmla="*/ 55748 h 765204"/>
                    <a:gd name="connsiteX414" fmla="*/ 571534 w 792837"/>
                    <a:gd name="connsiteY414" fmla="*/ 55748 h 765204"/>
                    <a:gd name="connsiteX415" fmla="*/ 571534 w 792837"/>
                    <a:gd name="connsiteY415" fmla="*/ 55748 h 765204"/>
                    <a:gd name="connsiteX416" fmla="*/ 571534 w 792837"/>
                    <a:gd name="connsiteY416" fmla="*/ 55748 h 765204"/>
                    <a:gd name="connsiteX417" fmla="*/ 571534 w 792837"/>
                    <a:gd name="connsiteY417" fmla="*/ 55748 h 765204"/>
                    <a:gd name="connsiteX418" fmla="*/ 571534 w 792837"/>
                    <a:gd name="connsiteY418" fmla="*/ 55748 h 765204"/>
                    <a:gd name="connsiteX419" fmla="*/ 332477 w 792837"/>
                    <a:gd name="connsiteY419" fmla="*/ 131176 h 765204"/>
                    <a:gd name="connsiteX420" fmla="*/ 312235 w 792837"/>
                    <a:gd name="connsiteY420" fmla="*/ 140494 h 765204"/>
                    <a:gd name="connsiteX421" fmla="*/ 312476 w 792837"/>
                    <a:gd name="connsiteY421" fmla="*/ 140092 h 765204"/>
                    <a:gd name="connsiteX422" fmla="*/ 333200 w 792837"/>
                    <a:gd name="connsiteY422" fmla="*/ 130854 h 765204"/>
                    <a:gd name="connsiteX423" fmla="*/ 332477 w 792837"/>
                    <a:gd name="connsiteY423" fmla="*/ 131176 h 765204"/>
                    <a:gd name="connsiteX424" fmla="*/ 363484 w 792837"/>
                    <a:gd name="connsiteY424" fmla="*/ 113664 h 765204"/>
                    <a:gd name="connsiteX425" fmla="*/ 381397 w 792837"/>
                    <a:gd name="connsiteY425" fmla="*/ 96554 h 765204"/>
                    <a:gd name="connsiteX426" fmla="*/ 368223 w 792837"/>
                    <a:gd name="connsiteY426" fmla="*/ 103061 h 765204"/>
                    <a:gd name="connsiteX427" fmla="*/ 387582 w 792837"/>
                    <a:gd name="connsiteY427" fmla="*/ 88763 h 765204"/>
                    <a:gd name="connsiteX428" fmla="*/ 378907 w 792837"/>
                    <a:gd name="connsiteY428" fmla="*/ 93261 h 765204"/>
                    <a:gd name="connsiteX429" fmla="*/ 385815 w 792837"/>
                    <a:gd name="connsiteY429" fmla="*/ 87798 h 765204"/>
                    <a:gd name="connsiteX430" fmla="*/ 385414 w 792837"/>
                    <a:gd name="connsiteY430" fmla="*/ 87879 h 765204"/>
                    <a:gd name="connsiteX431" fmla="*/ 367018 w 792837"/>
                    <a:gd name="connsiteY431" fmla="*/ 100008 h 765204"/>
                    <a:gd name="connsiteX432" fmla="*/ 382602 w 792837"/>
                    <a:gd name="connsiteY432" fmla="*/ 88441 h 765204"/>
                    <a:gd name="connsiteX433" fmla="*/ 352319 w 792837"/>
                    <a:gd name="connsiteY433" fmla="*/ 106595 h 765204"/>
                    <a:gd name="connsiteX434" fmla="*/ 374168 w 792837"/>
                    <a:gd name="connsiteY434" fmla="*/ 91494 h 765204"/>
                    <a:gd name="connsiteX435" fmla="*/ 357941 w 792837"/>
                    <a:gd name="connsiteY435" fmla="*/ 100731 h 765204"/>
                    <a:gd name="connsiteX436" fmla="*/ 361074 w 792837"/>
                    <a:gd name="connsiteY436" fmla="*/ 98161 h 765204"/>
                    <a:gd name="connsiteX437" fmla="*/ 309263 w 792837"/>
                    <a:gd name="connsiteY437" fmla="*/ 129649 h 765204"/>
                    <a:gd name="connsiteX438" fmla="*/ 329827 w 792837"/>
                    <a:gd name="connsiteY438" fmla="*/ 110692 h 765204"/>
                    <a:gd name="connsiteX439" fmla="*/ 305086 w 792837"/>
                    <a:gd name="connsiteY439" fmla="*/ 124348 h 765204"/>
                    <a:gd name="connsiteX440" fmla="*/ 305809 w 792837"/>
                    <a:gd name="connsiteY440" fmla="*/ 122741 h 765204"/>
                    <a:gd name="connsiteX441" fmla="*/ 301471 w 792837"/>
                    <a:gd name="connsiteY441" fmla="*/ 123866 h 765204"/>
                    <a:gd name="connsiteX442" fmla="*/ 268135 w 792837"/>
                    <a:gd name="connsiteY442" fmla="*/ 135754 h 765204"/>
                    <a:gd name="connsiteX443" fmla="*/ 274400 w 792837"/>
                    <a:gd name="connsiteY443" fmla="*/ 133585 h 765204"/>
                    <a:gd name="connsiteX444" fmla="*/ 260504 w 792837"/>
                    <a:gd name="connsiteY444" fmla="*/ 141618 h 765204"/>
                    <a:gd name="connsiteX445" fmla="*/ 262512 w 792837"/>
                    <a:gd name="connsiteY445" fmla="*/ 142100 h 765204"/>
                    <a:gd name="connsiteX446" fmla="*/ 240100 w 792837"/>
                    <a:gd name="connsiteY446" fmla="*/ 155756 h 765204"/>
                    <a:gd name="connsiteX447" fmla="*/ 263395 w 792837"/>
                    <a:gd name="connsiteY447" fmla="*/ 149651 h 765204"/>
                    <a:gd name="connsiteX448" fmla="*/ 226846 w 792837"/>
                    <a:gd name="connsiteY448" fmla="*/ 167082 h 765204"/>
                    <a:gd name="connsiteX449" fmla="*/ 259620 w 792837"/>
                    <a:gd name="connsiteY449" fmla="*/ 155676 h 765204"/>
                    <a:gd name="connsiteX450" fmla="*/ 222428 w 792837"/>
                    <a:gd name="connsiteY450" fmla="*/ 175838 h 765204"/>
                    <a:gd name="connsiteX451" fmla="*/ 242912 w 792837"/>
                    <a:gd name="connsiteY451" fmla="*/ 170054 h 765204"/>
                    <a:gd name="connsiteX452" fmla="*/ 231264 w 792837"/>
                    <a:gd name="connsiteY452" fmla="*/ 176722 h 765204"/>
                    <a:gd name="connsiteX453" fmla="*/ 273276 w 792837"/>
                    <a:gd name="connsiteY453" fmla="*/ 157844 h 765204"/>
                    <a:gd name="connsiteX454" fmla="*/ 262753 w 792837"/>
                    <a:gd name="connsiteY454" fmla="*/ 166841 h 765204"/>
                    <a:gd name="connsiteX455" fmla="*/ 263877 w 792837"/>
                    <a:gd name="connsiteY455" fmla="*/ 169010 h 765204"/>
                    <a:gd name="connsiteX456" fmla="*/ 199374 w 792837"/>
                    <a:gd name="connsiteY456" fmla="*/ 211584 h 765204"/>
                    <a:gd name="connsiteX457" fmla="*/ 208049 w 792837"/>
                    <a:gd name="connsiteY457" fmla="*/ 183469 h 765204"/>
                    <a:gd name="connsiteX458" fmla="*/ 185317 w 792837"/>
                    <a:gd name="connsiteY458" fmla="*/ 201382 h 765204"/>
                    <a:gd name="connsiteX459" fmla="*/ 155194 w 792837"/>
                    <a:gd name="connsiteY459" fmla="*/ 231264 h 765204"/>
                    <a:gd name="connsiteX460" fmla="*/ 155836 w 792837"/>
                    <a:gd name="connsiteY460" fmla="*/ 233032 h 765204"/>
                    <a:gd name="connsiteX461" fmla="*/ 163307 w 792837"/>
                    <a:gd name="connsiteY461" fmla="*/ 234718 h 765204"/>
                    <a:gd name="connsiteX462" fmla="*/ 121456 w 792837"/>
                    <a:gd name="connsiteY462" fmla="*/ 252551 h 765204"/>
                    <a:gd name="connsiteX463" fmla="*/ 109969 w 792837"/>
                    <a:gd name="connsiteY463" fmla="*/ 261066 h 765204"/>
                    <a:gd name="connsiteX464" fmla="*/ 127882 w 792837"/>
                    <a:gd name="connsiteY464" fmla="*/ 252230 h 765204"/>
                    <a:gd name="connsiteX465" fmla="*/ 121938 w 792837"/>
                    <a:gd name="connsiteY465" fmla="*/ 257210 h 765204"/>
                    <a:gd name="connsiteX466" fmla="*/ 123625 w 792837"/>
                    <a:gd name="connsiteY466" fmla="*/ 257772 h 765204"/>
                    <a:gd name="connsiteX467" fmla="*/ 99125 w 792837"/>
                    <a:gd name="connsiteY467" fmla="*/ 279301 h 765204"/>
                    <a:gd name="connsiteX468" fmla="*/ 107479 w 792837"/>
                    <a:gd name="connsiteY468" fmla="*/ 276409 h 765204"/>
                    <a:gd name="connsiteX469" fmla="*/ 91574 w 792837"/>
                    <a:gd name="connsiteY469" fmla="*/ 285164 h 765204"/>
                    <a:gd name="connsiteX470" fmla="*/ 99205 w 792837"/>
                    <a:gd name="connsiteY470" fmla="*/ 266368 h 765204"/>
                    <a:gd name="connsiteX471" fmla="*/ 74464 w 792837"/>
                    <a:gd name="connsiteY471" fmla="*/ 289984 h 765204"/>
                    <a:gd name="connsiteX472" fmla="*/ 40003 w 792837"/>
                    <a:gd name="connsiteY472" fmla="*/ 312074 h 765204"/>
                    <a:gd name="connsiteX473" fmla="*/ 52133 w 792837"/>
                    <a:gd name="connsiteY473" fmla="*/ 300909 h 765204"/>
                    <a:gd name="connsiteX474" fmla="*/ 40244 w 792837"/>
                    <a:gd name="connsiteY474" fmla="*/ 312797 h 765204"/>
                    <a:gd name="connsiteX475" fmla="*/ 43618 w 792837"/>
                    <a:gd name="connsiteY475" fmla="*/ 313922 h 765204"/>
                    <a:gd name="connsiteX476" fmla="*/ 50767 w 792837"/>
                    <a:gd name="connsiteY476" fmla="*/ 308379 h 765204"/>
                    <a:gd name="connsiteX477" fmla="*/ 48197 w 792837"/>
                    <a:gd name="connsiteY477" fmla="*/ 316251 h 765204"/>
                    <a:gd name="connsiteX478" fmla="*/ 56069 w 792837"/>
                    <a:gd name="connsiteY478" fmla="*/ 309986 h 765204"/>
                    <a:gd name="connsiteX479" fmla="*/ 54462 w 792837"/>
                    <a:gd name="connsiteY479" fmla="*/ 320428 h 765204"/>
                    <a:gd name="connsiteX480" fmla="*/ 70849 w 792837"/>
                    <a:gd name="connsiteY480" fmla="*/ 310147 h 765204"/>
                    <a:gd name="connsiteX481" fmla="*/ 69564 w 792837"/>
                    <a:gd name="connsiteY481" fmla="*/ 318500 h 765204"/>
                    <a:gd name="connsiteX482" fmla="*/ 71251 w 792837"/>
                    <a:gd name="connsiteY482" fmla="*/ 319384 h 765204"/>
                    <a:gd name="connsiteX483" fmla="*/ 81774 w 792837"/>
                    <a:gd name="connsiteY483" fmla="*/ 310789 h 765204"/>
                    <a:gd name="connsiteX484" fmla="*/ 102900 w 792837"/>
                    <a:gd name="connsiteY484" fmla="*/ 304523 h 765204"/>
                    <a:gd name="connsiteX485" fmla="*/ 102659 w 792837"/>
                    <a:gd name="connsiteY485" fmla="*/ 292314 h 765204"/>
                    <a:gd name="connsiteX486" fmla="*/ 112218 w 792837"/>
                    <a:gd name="connsiteY486" fmla="*/ 285084 h 765204"/>
                    <a:gd name="connsiteX487" fmla="*/ 144831 w 792837"/>
                    <a:gd name="connsiteY487" fmla="*/ 280104 h 765204"/>
                    <a:gd name="connsiteX488" fmla="*/ 189735 w 792837"/>
                    <a:gd name="connsiteY488" fmla="*/ 239940 h 765204"/>
                    <a:gd name="connsiteX489" fmla="*/ 182023 w 792837"/>
                    <a:gd name="connsiteY489" fmla="*/ 233915 h 765204"/>
                    <a:gd name="connsiteX490" fmla="*/ 206122 w 792837"/>
                    <a:gd name="connsiteY490" fmla="*/ 231104 h 765204"/>
                    <a:gd name="connsiteX491" fmla="*/ 205961 w 792837"/>
                    <a:gd name="connsiteY491" fmla="*/ 219296 h 765204"/>
                    <a:gd name="connsiteX492" fmla="*/ 227569 w 792837"/>
                    <a:gd name="connsiteY492" fmla="*/ 208773 h 765204"/>
                    <a:gd name="connsiteX493" fmla="*/ 238253 w 792837"/>
                    <a:gd name="connsiteY493" fmla="*/ 211825 h 765204"/>
                    <a:gd name="connsiteX494" fmla="*/ 239940 w 792837"/>
                    <a:gd name="connsiteY494" fmla="*/ 210700 h 765204"/>
                    <a:gd name="connsiteX495" fmla="*/ 263074 w 792837"/>
                    <a:gd name="connsiteY495" fmla="*/ 189333 h 765204"/>
                    <a:gd name="connsiteX496" fmla="*/ 324525 w 792837"/>
                    <a:gd name="connsiteY496" fmla="*/ 148687 h 765204"/>
                    <a:gd name="connsiteX497" fmla="*/ 304363 w 792837"/>
                    <a:gd name="connsiteY497" fmla="*/ 157041 h 765204"/>
                    <a:gd name="connsiteX498" fmla="*/ 363484 w 792837"/>
                    <a:gd name="connsiteY498" fmla="*/ 113664 h 765204"/>
                    <a:gd name="connsiteX499" fmla="*/ 483655 w 792837"/>
                    <a:gd name="connsiteY499" fmla="*/ 142422 h 765204"/>
                    <a:gd name="connsiteX500" fmla="*/ 472650 w 792837"/>
                    <a:gd name="connsiteY500" fmla="*/ 133184 h 765204"/>
                    <a:gd name="connsiteX501" fmla="*/ 458110 w 792837"/>
                    <a:gd name="connsiteY501" fmla="*/ 130372 h 765204"/>
                    <a:gd name="connsiteX502" fmla="*/ 460440 w 792837"/>
                    <a:gd name="connsiteY502" fmla="*/ 162343 h 765204"/>
                    <a:gd name="connsiteX503" fmla="*/ 444053 w 792837"/>
                    <a:gd name="connsiteY503" fmla="*/ 117279 h 765204"/>
                    <a:gd name="connsiteX504" fmla="*/ 442848 w 792837"/>
                    <a:gd name="connsiteY504" fmla="*/ 131336 h 765204"/>
                    <a:gd name="connsiteX505" fmla="*/ 432807 w 792837"/>
                    <a:gd name="connsiteY505" fmla="*/ 122902 h 765204"/>
                    <a:gd name="connsiteX506" fmla="*/ 420838 w 792837"/>
                    <a:gd name="connsiteY506" fmla="*/ 84264 h 765204"/>
                    <a:gd name="connsiteX507" fmla="*/ 417304 w 792837"/>
                    <a:gd name="connsiteY507" fmla="*/ 85469 h 765204"/>
                    <a:gd name="connsiteX508" fmla="*/ 414412 w 792837"/>
                    <a:gd name="connsiteY508" fmla="*/ 70849 h 765204"/>
                    <a:gd name="connsiteX509" fmla="*/ 409351 w 792837"/>
                    <a:gd name="connsiteY509" fmla="*/ 85549 h 765204"/>
                    <a:gd name="connsiteX510" fmla="*/ 410155 w 792837"/>
                    <a:gd name="connsiteY510" fmla="*/ 81854 h 765204"/>
                    <a:gd name="connsiteX511" fmla="*/ 404773 w 792837"/>
                    <a:gd name="connsiteY511" fmla="*/ 100410 h 765204"/>
                    <a:gd name="connsiteX512" fmla="*/ 401078 w 792837"/>
                    <a:gd name="connsiteY512" fmla="*/ 99526 h 765204"/>
                    <a:gd name="connsiteX513" fmla="*/ 386779 w 792837"/>
                    <a:gd name="connsiteY513" fmla="*/ 136397 h 765204"/>
                    <a:gd name="connsiteX514" fmla="*/ 386619 w 792837"/>
                    <a:gd name="connsiteY514" fmla="*/ 112861 h 765204"/>
                    <a:gd name="connsiteX515" fmla="*/ 376256 w 792837"/>
                    <a:gd name="connsiteY515" fmla="*/ 132702 h 765204"/>
                    <a:gd name="connsiteX516" fmla="*/ 379068 w 792837"/>
                    <a:gd name="connsiteY516" fmla="*/ 118163 h 765204"/>
                    <a:gd name="connsiteX517" fmla="*/ 360673 w 792837"/>
                    <a:gd name="connsiteY517" fmla="*/ 142743 h 765204"/>
                    <a:gd name="connsiteX518" fmla="*/ 369428 w 792837"/>
                    <a:gd name="connsiteY518" fmla="*/ 122902 h 765204"/>
                    <a:gd name="connsiteX519" fmla="*/ 344366 w 792837"/>
                    <a:gd name="connsiteY519" fmla="*/ 154310 h 765204"/>
                    <a:gd name="connsiteX520" fmla="*/ 351435 w 792837"/>
                    <a:gd name="connsiteY520" fmla="*/ 137923 h 765204"/>
                    <a:gd name="connsiteX521" fmla="*/ 347740 w 792837"/>
                    <a:gd name="connsiteY521" fmla="*/ 136558 h 765204"/>
                    <a:gd name="connsiteX522" fmla="*/ 280505 w 792837"/>
                    <a:gd name="connsiteY522" fmla="*/ 202668 h 765204"/>
                    <a:gd name="connsiteX523" fmla="*/ 195759 w 792837"/>
                    <a:gd name="connsiteY523" fmla="*/ 304845 h 765204"/>
                    <a:gd name="connsiteX524" fmla="*/ 158166 w 792837"/>
                    <a:gd name="connsiteY524" fmla="*/ 318259 h 765204"/>
                    <a:gd name="connsiteX525" fmla="*/ 166038 w 792837"/>
                    <a:gd name="connsiteY525" fmla="*/ 314404 h 765204"/>
                    <a:gd name="connsiteX526" fmla="*/ 166440 w 792837"/>
                    <a:gd name="connsiteY526" fmla="*/ 349025 h 765204"/>
                    <a:gd name="connsiteX527" fmla="*/ 215681 w 792837"/>
                    <a:gd name="connsiteY527" fmla="*/ 410717 h 765204"/>
                    <a:gd name="connsiteX528" fmla="*/ 225159 w 792837"/>
                    <a:gd name="connsiteY528" fmla="*/ 413529 h 765204"/>
                    <a:gd name="connsiteX529" fmla="*/ 221866 w 792837"/>
                    <a:gd name="connsiteY529" fmla="*/ 433450 h 765204"/>
                    <a:gd name="connsiteX530" fmla="*/ 224999 w 792837"/>
                    <a:gd name="connsiteY530" fmla="*/ 431442 h 765204"/>
                    <a:gd name="connsiteX531" fmla="*/ 221143 w 792837"/>
                    <a:gd name="connsiteY531" fmla="*/ 444696 h 765204"/>
                    <a:gd name="connsiteX532" fmla="*/ 224597 w 792837"/>
                    <a:gd name="connsiteY532" fmla="*/ 444696 h 765204"/>
                    <a:gd name="connsiteX533" fmla="*/ 215118 w 792837"/>
                    <a:gd name="connsiteY533" fmla="*/ 466143 h 765204"/>
                    <a:gd name="connsiteX534" fmla="*/ 221384 w 792837"/>
                    <a:gd name="connsiteY534" fmla="*/ 463171 h 765204"/>
                    <a:gd name="connsiteX535" fmla="*/ 210138 w 792837"/>
                    <a:gd name="connsiteY535" fmla="*/ 487752 h 765204"/>
                    <a:gd name="connsiteX536" fmla="*/ 213833 w 792837"/>
                    <a:gd name="connsiteY536" fmla="*/ 489680 h 765204"/>
                    <a:gd name="connsiteX537" fmla="*/ 232790 w 792837"/>
                    <a:gd name="connsiteY537" fmla="*/ 468714 h 765204"/>
                    <a:gd name="connsiteX538" fmla="*/ 232549 w 792837"/>
                    <a:gd name="connsiteY538" fmla="*/ 477550 h 765204"/>
                    <a:gd name="connsiteX539" fmla="*/ 235040 w 792837"/>
                    <a:gd name="connsiteY539" fmla="*/ 479880 h 765204"/>
                    <a:gd name="connsiteX540" fmla="*/ 232871 w 792837"/>
                    <a:gd name="connsiteY540" fmla="*/ 483334 h 765204"/>
                    <a:gd name="connsiteX541" fmla="*/ 233915 w 792837"/>
                    <a:gd name="connsiteY541" fmla="*/ 487029 h 765204"/>
                    <a:gd name="connsiteX542" fmla="*/ 246687 w 792837"/>
                    <a:gd name="connsiteY542" fmla="*/ 483735 h 765204"/>
                    <a:gd name="connsiteX543" fmla="*/ 241145 w 792837"/>
                    <a:gd name="connsiteY543" fmla="*/ 500685 h 765204"/>
                    <a:gd name="connsiteX544" fmla="*/ 248374 w 792837"/>
                    <a:gd name="connsiteY544" fmla="*/ 502934 h 765204"/>
                    <a:gd name="connsiteX545" fmla="*/ 221786 w 792837"/>
                    <a:gd name="connsiteY545" fmla="*/ 513939 h 765204"/>
                    <a:gd name="connsiteX546" fmla="*/ 243554 w 792837"/>
                    <a:gd name="connsiteY546" fmla="*/ 551291 h 765204"/>
                    <a:gd name="connsiteX547" fmla="*/ 247169 w 792837"/>
                    <a:gd name="connsiteY547" fmla="*/ 550729 h 765204"/>
                    <a:gd name="connsiteX548" fmla="*/ 250141 w 792837"/>
                    <a:gd name="connsiteY548" fmla="*/ 553058 h 765204"/>
                    <a:gd name="connsiteX549" fmla="*/ 212066 w 792837"/>
                    <a:gd name="connsiteY549" fmla="*/ 576594 h 765204"/>
                    <a:gd name="connsiteX550" fmla="*/ 232469 w 792837"/>
                    <a:gd name="connsiteY550" fmla="*/ 574908 h 765204"/>
                    <a:gd name="connsiteX551" fmla="*/ 231586 w 792837"/>
                    <a:gd name="connsiteY551" fmla="*/ 580370 h 765204"/>
                    <a:gd name="connsiteX552" fmla="*/ 209817 w 792837"/>
                    <a:gd name="connsiteY552" fmla="*/ 593142 h 765204"/>
                    <a:gd name="connsiteX553" fmla="*/ 237690 w 792837"/>
                    <a:gd name="connsiteY553" fmla="*/ 588403 h 765204"/>
                    <a:gd name="connsiteX554" fmla="*/ 218090 w 792837"/>
                    <a:gd name="connsiteY554" fmla="*/ 612260 h 765204"/>
                    <a:gd name="connsiteX555" fmla="*/ 203872 w 792837"/>
                    <a:gd name="connsiteY555" fmla="*/ 625032 h 765204"/>
                    <a:gd name="connsiteX556" fmla="*/ 232710 w 792837"/>
                    <a:gd name="connsiteY556" fmla="*/ 611617 h 765204"/>
                    <a:gd name="connsiteX557" fmla="*/ 202105 w 792837"/>
                    <a:gd name="connsiteY557" fmla="*/ 633306 h 765204"/>
                    <a:gd name="connsiteX558" fmla="*/ 205158 w 792837"/>
                    <a:gd name="connsiteY558" fmla="*/ 634993 h 765204"/>
                    <a:gd name="connsiteX559" fmla="*/ 228131 w 792837"/>
                    <a:gd name="connsiteY559" fmla="*/ 640696 h 765204"/>
                    <a:gd name="connsiteX560" fmla="*/ 210459 w 792837"/>
                    <a:gd name="connsiteY560" fmla="*/ 665758 h 765204"/>
                    <a:gd name="connsiteX561" fmla="*/ 227007 w 792837"/>
                    <a:gd name="connsiteY561" fmla="*/ 662465 h 765204"/>
                    <a:gd name="connsiteX562" fmla="*/ 225722 w 792837"/>
                    <a:gd name="connsiteY562" fmla="*/ 665758 h 765204"/>
                    <a:gd name="connsiteX563" fmla="*/ 230622 w 792837"/>
                    <a:gd name="connsiteY563" fmla="*/ 652504 h 765204"/>
                    <a:gd name="connsiteX564" fmla="*/ 241225 w 792837"/>
                    <a:gd name="connsiteY564" fmla="*/ 669694 h 765204"/>
                    <a:gd name="connsiteX565" fmla="*/ 235923 w 792837"/>
                    <a:gd name="connsiteY565" fmla="*/ 664714 h 765204"/>
                    <a:gd name="connsiteX566" fmla="*/ 220099 w 792837"/>
                    <a:gd name="connsiteY566" fmla="*/ 675719 h 765204"/>
                    <a:gd name="connsiteX567" fmla="*/ 235763 w 792837"/>
                    <a:gd name="connsiteY567" fmla="*/ 675558 h 765204"/>
                    <a:gd name="connsiteX568" fmla="*/ 221705 w 792837"/>
                    <a:gd name="connsiteY568" fmla="*/ 680217 h 765204"/>
                    <a:gd name="connsiteX569" fmla="*/ 232469 w 792837"/>
                    <a:gd name="connsiteY569" fmla="*/ 707127 h 765204"/>
                    <a:gd name="connsiteX570" fmla="*/ 238654 w 792837"/>
                    <a:gd name="connsiteY570" fmla="*/ 702790 h 765204"/>
                    <a:gd name="connsiteX571" fmla="*/ 232871 w 792837"/>
                    <a:gd name="connsiteY571" fmla="*/ 712991 h 765204"/>
                    <a:gd name="connsiteX572" fmla="*/ 243072 w 792837"/>
                    <a:gd name="connsiteY572" fmla="*/ 719578 h 765204"/>
                    <a:gd name="connsiteX573" fmla="*/ 242269 w 792837"/>
                    <a:gd name="connsiteY573" fmla="*/ 723434 h 765204"/>
                    <a:gd name="connsiteX574" fmla="*/ 249820 w 792837"/>
                    <a:gd name="connsiteY574" fmla="*/ 723354 h 765204"/>
                    <a:gd name="connsiteX575" fmla="*/ 245081 w 792837"/>
                    <a:gd name="connsiteY575" fmla="*/ 730262 h 765204"/>
                    <a:gd name="connsiteX576" fmla="*/ 263958 w 792837"/>
                    <a:gd name="connsiteY576" fmla="*/ 744882 h 765204"/>
                    <a:gd name="connsiteX577" fmla="*/ 260986 w 792837"/>
                    <a:gd name="connsiteY577" fmla="*/ 748496 h 765204"/>
                    <a:gd name="connsiteX578" fmla="*/ 264199 w 792837"/>
                    <a:gd name="connsiteY578" fmla="*/ 750585 h 765204"/>
                    <a:gd name="connsiteX579" fmla="*/ 266207 w 792837"/>
                    <a:gd name="connsiteY579" fmla="*/ 748577 h 765204"/>
                    <a:gd name="connsiteX580" fmla="*/ 292233 w 792837"/>
                    <a:gd name="connsiteY580" fmla="*/ 740222 h 765204"/>
                    <a:gd name="connsiteX581" fmla="*/ 292795 w 792837"/>
                    <a:gd name="connsiteY581" fmla="*/ 748978 h 765204"/>
                    <a:gd name="connsiteX582" fmla="*/ 309022 w 792837"/>
                    <a:gd name="connsiteY582" fmla="*/ 749380 h 765204"/>
                    <a:gd name="connsiteX583" fmla="*/ 307736 w 792837"/>
                    <a:gd name="connsiteY583" fmla="*/ 752995 h 765204"/>
                    <a:gd name="connsiteX584" fmla="*/ 303399 w 792837"/>
                    <a:gd name="connsiteY584" fmla="*/ 755083 h 765204"/>
                    <a:gd name="connsiteX585" fmla="*/ 318661 w 792837"/>
                    <a:gd name="connsiteY585" fmla="*/ 756127 h 765204"/>
                    <a:gd name="connsiteX586" fmla="*/ 315689 w 792837"/>
                    <a:gd name="connsiteY586" fmla="*/ 762393 h 765204"/>
                    <a:gd name="connsiteX587" fmla="*/ 319705 w 792837"/>
                    <a:gd name="connsiteY587" fmla="*/ 763437 h 765204"/>
                    <a:gd name="connsiteX588" fmla="*/ 320268 w 792837"/>
                    <a:gd name="connsiteY588" fmla="*/ 765205 h 765204"/>
                    <a:gd name="connsiteX589" fmla="*/ 327096 w 792837"/>
                    <a:gd name="connsiteY589" fmla="*/ 764000 h 765204"/>
                    <a:gd name="connsiteX590" fmla="*/ 323641 w 792837"/>
                    <a:gd name="connsiteY590" fmla="*/ 761750 h 765204"/>
                    <a:gd name="connsiteX591" fmla="*/ 346615 w 792837"/>
                    <a:gd name="connsiteY591" fmla="*/ 723434 h 765204"/>
                    <a:gd name="connsiteX592" fmla="*/ 342679 w 792837"/>
                    <a:gd name="connsiteY592" fmla="*/ 722952 h 765204"/>
                    <a:gd name="connsiteX593" fmla="*/ 348864 w 792837"/>
                    <a:gd name="connsiteY593" fmla="*/ 703673 h 765204"/>
                    <a:gd name="connsiteX594" fmla="*/ 340028 w 792837"/>
                    <a:gd name="connsiteY594" fmla="*/ 702468 h 765204"/>
                    <a:gd name="connsiteX595" fmla="*/ 352319 w 792837"/>
                    <a:gd name="connsiteY595" fmla="*/ 698693 h 765204"/>
                    <a:gd name="connsiteX596" fmla="*/ 353202 w 792837"/>
                    <a:gd name="connsiteY596" fmla="*/ 693954 h 765204"/>
                    <a:gd name="connsiteX597" fmla="*/ 348543 w 792837"/>
                    <a:gd name="connsiteY597" fmla="*/ 689455 h 765204"/>
                    <a:gd name="connsiteX598" fmla="*/ 369830 w 792837"/>
                    <a:gd name="connsiteY598" fmla="*/ 670900 h 765204"/>
                    <a:gd name="connsiteX599" fmla="*/ 359628 w 792837"/>
                    <a:gd name="connsiteY599" fmla="*/ 664795 h 765204"/>
                    <a:gd name="connsiteX600" fmla="*/ 374650 w 792837"/>
                    <a:gd name="connsiteY600" fmla="*/ 656922 h 765204"/>
                    <a:gd name="connsiteX601" fmla="*/ 364528 w 792837"/>
                    <a:gd name="connsiteY601" fmla="*/ 648890 h 765204"/>
                    <a:gd name="connsiteX602" fmla="*/ 363323 w 792837"/>
                    <a:gd name="connsiteY602" fmla="*/ 644954 h 765204"/>
                    <a:gd name="connsiteX603" fmla="*/ 383646 w 792837"/>
                    <a:gd name="connsiteY603" fmla="*/ 636358 h 765204"/>
                    <a:gd name="connsiteX604" fmla="*/ 383646 w 792837"/>
                    <a:gd name="connsiteY604" fmla="*/ 636358 h 765204"/>
                    <a:gd name="connsiteX605" fmla="*/ 397222 w 792837"/>
                    <a:gd name="connsiteY605" fmla="*/ 618767 h 765204"/>
                    <a:gd name="connsiteX606" fmla="*/ 400596 w 792837"/>
                    <a:gd name="connsiteY606" fmla="*/ 619811 h 765204"/>
                    <a:gd name="connsiteX607" fmla="*/ 403246 w 792837"/>
                    <a:gd name="connsiteY607" fmla="*/ 617481 h 765204"/>
                    <a:gd name="connsiteX608" fmla="*/ 423168 w 792837"/>
                    <a:gd name="connsiteY608" fmla="*/ 619329 h 765204"/>
                    <a:gd name="connsiteX609" fmla="*/ 423891 w 792837"/>
                    <a:gd name="connsiteY609" fmla="*/ 615393 h 765204"/>
                    <a:gd name="connsiteX610" fmla="*/ 426220 w 792837"/>
                    <a:gd name="connsiteY610" fmla="*/ 618044 h 765204"/>
                    <a:gd name="connsiteX611" fmla="*/ 431843 w 792837"/>
                    <a:gd name="connsiteY611" fmla="*/ 603826 h 765204"/>
                    <a:gd name="connsiteX612" fmla="*/ 472007 w 792837"/>
                    <a:gd name="connsiteY612" fmla="*/ 547757 h 765204"/>
                    <a:gd name="connsiteX613" fmla="*/ 569686 w 792837"/>
                    <a:gd name="connsiteY613" fmla="*/ 498034 h 765204"/>
                    <a:gd name="connsiteX614" fmla="*/ 565750 w 792837"/>
                    <a:gd name="connsiteY614" fmla="*/ 486788 h 765204"/>
                    <a:gd name="connsiteX615" fmla="*/ 524943 w 792837"/>
                    <a:gd name="connsiteY615" fmla="*/ 497712 h 765204"/>
                    <a:gd name="connsiteX616" fmla="*/ 530406 w 792837"/>
                    <a:gd name="connsiteY616" fmla="*/ 488715 h 765204"/>
                    <a:gd name="connsiteX617" fmla="*/ 527755 w 792837"/>
                    <a:gd name="connsiteY617" fmla="*/ 485984 h 765204"/>
                    <a:gd name="connsiteX618" fmla="*/ 502692 w 792837"/>
                    <a:gd name="connsiteY618" fmla="*/ 489278 h 765204"/>
                    <a:gd name="connsiteX619" fmla="*/ 507512 w 792837"/>
                    <a:gd name="connsiteY619" fmla="*/ 473132 h 765204"/>
                    <a:gd name="connsiteX620" fmla="*/ 532173 w 792837"/>
                    <a:gd name="connsiteY620" fmla="*/ 462368 h 765204"/>
                    <a:gd name="connsiteX621" fmla="*/ 530165 w 792837"/>
                    <a:gd name="connsiteY621" fmla="*/ 457307 h 765204"/>
                    <a:gd name="connsiteX622" fmla="*/ 576675 w 792837"/>
                    <a:gd name="connsiteY622" fmla="*/ 465983 h 765204"/>
                    <a:gd name="connsiteX623" fmla="*/ 579727 w 792837"/>
                    <a:gd name="connsiteY623" fmla="*/ 474096 h 765204"/>
                    <a:gd name="connsiteX624" fmla="*/ 582860 w 792837"/>
                    <a:gd name="connsiteY624" fmla="*/ 455379 h 765204"/>
                    <a:gd name="connsiteX625" fmla="*/ 573461 w 792837"/>
                    <a:gd name="connsiteY625" fmla="*/ 439073 h 765204"/>
                    <a:gd name="connsiteX626" fmla="*/ 534583 w 792837"/>
                    <a:gd name="connsiteY626" fmla="*/ 429434 h 765204"/>
                    <a:gd name="connsiteX627" fmla="*/ 534181 w 792837"/>
                    <a:gd name="connsiteY627" fmla="*/ 416983 h 765204"/>
                    <a:gd name="connsiteX628" fmla="*/ 517714 w 792837"/>
                    <a:gd name="connsiteY628" fmla="*/ 420999 h 765204"/>
                    <a:gd name="connsiteX629" fmla="*/ 566473 w 792837"/>
                    <a:gd name="connsiteY629" fmla="*/ 429594 h 765204"/>
                    <a:gd name="connsiteX630" fmla="*/ 517714 w 792837"/>
                    <a:gd name="connsiteY630" fmla="*/ 403166 h 765204"/>
                    <a:gd name="connsiteX631" fmla="*/ 524622 w 792837"/>
                    <a:gd name="connsiteY631" fmla="*/ 399712 h 765204"/>
                    <a:gd name="connsiteX632" fmla="*/ 518758 w 792837"/>
                    <a:gd name="connsiteY632" fmla="*/ 387261 h 765204"/>
                    <a:gd name="connsiteX633" fmla="*/ 529120 w 792837"/>
                    <a:gd name="connsiteY633" fmla="*/ 392001 h 765204"/>
                    <a:gd name="connsiteX634" fmla="*/ 571293 w 792837"/>
                    <a:gd name="connsiteY634" fmla="*/ 387422 h 765204"/>
                    <a:gd name="connsiteX635" fmla="*/ 569766 w 792837"/>
                    <a:gd name="connsiteY635" fmla="*/ 380193 h 765204"/>
                    <a:gd name="connsiteX636" fmla="*/ 549122 w 792837"/>
                    <a:gd name="connsiteY636" fmla="*/ 367581 h 765204"/>
                    <a:gd name="connsiteX637" fmla="*/ 565589 w 792837"/>
                    <a:gd name="connsiteY637" fmla="*/ 354648 h 765204"/>
                    <a:gd name="connsiteX638" fmla="*/ 537796 w 792837"/>
                    <a:gd name="connsiteY638" fmla="*/ 343643 h 765204"/>
                    <a:gd name="connsiteX639" fmla="*/ 517152 w 792837"/>
                    <a:gd name="connsiteY639" fmla="*/ 295848 h 765204"/>
                    <a:gd name="connsiteX640" fmla="*/ 518597 w 792837"/>
                    <a:gd name="connsiteY640" fmla="*/ 292635 h 765204"/>
                    <a:gd name="connsiteX641" fmla="*/ 544061 w 792837"/>
                    <a:gd name="connsiteY641" fmla="*/ 287173 h 765204"/>
                    <a:gd name="connsiteX642" fmla="*/ 519883 w 792837"/>
                    <a:gd name="connsiteY642" fmla="*/ 263878 h 765204"/>
                    <a:gd name="connsiteX643" fmla="*/ 525666 w 792837"/>
                    <a:gd name="connsiteY643" fmla="*/ 258094 h 765204"/>
                    <a:gd name="connsiteX644" fmla="*/ 515304 w 792837"/>
                    <a:gd name="connsiteY644" fmla="*/ 263637 h 765204"/>
                    <a:gd name="connsiteX645" fmla="*/ 483655 w 792837"/>
                    <a:gd name="connsiteY645" fmla="*/ 142422 h 765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</a:cxnLst>
                  <a:rect l="l" t="t" r="r" b="b"/>
                  <a:pathLst>
                    <a:path w="792837" h="765204">
                      <a:moveTo>
                        <a:pt x="65467" y="262592"/>
                      </a:moveTo>
                      <a:lnTo>
                        <a:pt x="65467" y="262592"/>
                      </a:lnTo>
                      <a:cubicBezTo>
                        <a:pt x="59443" y="263958"/>
                        <a:pt x="53418" y="265323"/>
                        <a:pt x="47394" y="266609"/>
                      </a:cubicBezTo>
                      <a:cubicBezTo>
                        <a:pt x="57836" y="264359"/>
                        <a:pt x="65387" y="262673"/>
                        <a:pt x="65467" y="262592"/>
                      </a:cubicBezTo>
                      <a:moveTo>
                        <a:pt x="41851" y="249981"/>
                      </a:moveTo>
                      <a:cubicBezTo>
                        <a:pt x="41851" y="250061"/>
                        <a:pt x="41851" y="250222"/>
                        <a:pt x="41931" y="250302"/>
                      </a:cubicBezTo>
                      <a:cubicBezTo>
                        <a:pt x="42494" y="249901"/>
                        <a:pt x="43136" y="249338"/>
                        <a:pt x="43698" y="248856"/>
                      </a:cubicBezTo>
                      <a:cubicBezTo>
                        <a:pt x="42734" y="246687"/>
                        <a:pt x="42333" y="245723"/>
                        <a:pt x="41931" y="245563"/>
                      </a:cubicBezTo>
                      <a:cubicBezTo>
                        <a:pt x="41369" y="245402"/>
                        <a:pt x="41449" y="247651"/>
                        <a:pt x="41851" y="249981"/>
                      </a:cubicBezTo>
                      <a:moveTo>
                        <a:pt x="28115" y="228212"/>
                      </a:moveTo>
                      <a:cubicBezTo>
                        <a:pt x="28275" y="228131"/>
                        <a:pt x="28597" y="228051"/>
                        <a:pt x="28757" y="228051"/>
                      </a:cubicBezTo>
                      <a:cubicBezTo>
                        <a:pt x="26749" y="228292"/>
                        <a:pt x="28597" y="225159"/>
                        <a:pt x="27472" y="224035"/>
                      </a:cubicBezTo>
                      <a:cubicBezTo>
                        <a:pt x="24661" y="222750"/>
                        <a:pt x="15664" y="227890"/>
                        <a:pt x="0" y="239860"/>
                      </a:cubicBezTo>
                      <a:cubicBezTo>
                        <a:pt x="9077" y="238735"/>
                        <a:pt x="14298" y="235923"/>
                        <a:pt x="20644" y="232068"/>
                      </a:cubicBezTo>
                      <a:cubicBezTo>
                        <a:pt x="23375" y="230381"/>
                        <a:pt x="25705" y="228935"/>
                        <a:pt x="28115" y="228212"/>
                      </a:cubicBezTo>
                      <a:moveTo>
                        <a:pt x="20484" y="222750"/>
                      </a:moveTo>
                      <a:cubicBezTo>
                        <a:pt x="23375" y="221143"/>
                        <a:pt x="27472" y="217849"/>
                        <a:pt x="31087" y="214958"/>
                      </a:cubicBezTo>
                      <a:cubicBezTo>
                        <a:pt x="30846" y="215038"/>
                        <a:pt x="30525" y="215118"/>
                        <a:pt x="30284" y="215199"/>
                      </a:cubicBezTo>
                      <a:cubicBezTo>
                        <a:pt x="29561" y="215440"/>
                        <a:pt x="27312" y="216082"/>
                        <a:pt x="25705" y="216404"/>
                      </a:cubicBezTo>
                      <a:cubicBezTo>
                        <a:pt x="25464" y="216484"/>
                        <a:pt x="25223" y="216484"/>
                        <a:pt x="24982" y="216564"/>
                      </a:cubicBezTo>
                      <a:cubicBezTo>
                        <a:pt x="24982" y="216564"/>
                        <a:pt x="20885" y="218894"/>
                        <a:pt x="16066" y="222910"/>
                      </a:cubicBezTo>
                      <a:cubicBezTo>
                        <a:pt x="16307" y="223714"/>
                        <a:pt x="17029" y="224677"/>
                        <a:pt x="20484" y="222750"/>
                      </a:cubicBezTo>
                      <a:moveTo>
                        <a:pt x="69725" y="245000"/>
                      </a:moveTo>
                      <a:cubicBezTo>
                        <a:pt x="69805" y="245000"/>
                        <a:pt x="69885" y="245000"/>
                        <a:pt x="69885" y="244920"/>
                      </a:cubicBezTo>
                      <a:cubicBezTo>
                        <a:pt x="69885" y="244920"/>
                        <a:pt x="69805" y="244920"/>
                        <a:pt x="69805" y="244920"/>
                      </a:cubicBezTo>
                      <a:cubicBezTo>
                        <a:pt x="69002" y="244920"/>
                        <a:pt x="68118" y="244840"/>
                        <a:pt x="67315" y="244759"/>
                      </a:cubicBezTo>
                      <a:cubicBezTo>
                        <a:pt x="67877" y="245402"/>
                        <a:pt x="68921" y="245241"/>
                        <a:pt x="69725" y="245000"/>
                      </a:cubicBezTo>
                      <a:moveTo>
                        <a:pt x="60728" y="230782"/>
                      </a:moveTo>
                      <a:cubicBezTo>
                        <a:pt x="60808" y="230702"/>
                        <a:pt x="60969" y="230622"/>
                        <a:pt x="61049" y="230622"/>
                      </a:cubicBezTo>
                      <a:cubicBezTo>
                        <a:pt x="60969" y="230622"/>
                        <a:pt x="60808" y="230702"/>
                        <a:pt x="60728" y="230782"/>
                      </a:cubicBezTo>
                      <a:cubicBezTo>
                        <a:pt x="58720" y="231827"/>
                        <a:pt x="56712" y="232791"/>
                        <a:pt x="54784" y="233755"/>
                      </a:cubicBezTo>
                      <a:cubicBezTo>
                        <a:pt x="56792" y="232791"/>
                        <a:pt x="58720" y="231746"/>
                        <a:pt x="60728" y="230782"/>
                      </a:cubicBezTo>
                      <a:moveTo>
                        <a:pt x="782475" y="160817"/>
                      </a:moveTo>
                      <a:cubicBezTo>
                        <a:pt x="782153" y="160415"/>
                        <a:pt x="781672" y="159853"/>
                        <a:pt x="781270" y="159451"/>
                      </a:cubicBezTo>
                      <a:cubicBezTo>
                        <a:pt x="769944" y="159130"/>
                        <a:pt x="757894" y="158246"/>
                        <a:pt x="735724" y="151097"/>
                      </a:cubicBezTo>
                      <a:cubicBezTo>
                        <a:pt x="731788" y="149812"/>
                        <a:pt x="731788" y="149812"/>
                        <a:pt x="729539" y="151418"/>
                      </a:cubicBezTo>
                      <a:cubicBezTo>
                        <a:pt x="727129" y="154069"/>
                        <a:pt x="729458" y="154953"/>
                        <a:pt x="737170" y="157925"/>
                      </a:cubicBezTo>
                      <a:cubicBezTo>
                        <a:pt x="739178" y="158728"/>
                        <a:pt x="741829" y="159692"/>
                        <a:pt x="743917" y="160335"/>
                      </a:cubicBezTo>
                      <a:cubicBezTo>
                        <a:pt x="749540" y="162102"/>
                        <a:pt x="755404" y="162504"/>
                        <a:pt x="761027" y="164190"/>
                      </a:cubicBezTo>
                      <a:cubicBezTo>
                        <a:pt x="762634" y="164672"/>
                        <a:pt x="764562" y="165877"/>
                        <a:pt x="766088" y="166681"/>
                      </a:cubicBezTo>
                      <a:cubicBezTo>
                        <a:pt x="770586" y="168850"/>
                        <a:pt x="781511" y="173910"/>
                        <a:pt x="785929" y="173268"/>
                      </a:cubicBezTo>
                      <a:cubicBezTo>
                        <a:pt x="791793" y="172384"/>
                        <a:pt x="784724" y="163468"/>
                        <a:pt x="782475" y="160817"/>
                      </a:cubicBezTo>
                      <a:moveTo>
                        <a:pt x="82336" y="242269"/>
                      </a:moveTo>
                      <a:cubicBezTo>
                        <a:pt x="87316" y="239056"/>
                        <a:pt x="88200" y="233433"/>
                        <a:pt x="88441" y="228372"/>
                      </a:cubicBezTo>
                      <a:cubicBezTo>
                        <a:pt x="87959" y="228694"/>
                        <a:pt x="87236" y="229096"/>
                        <a:pt x="86674" y="229337"/>
                      </a:cubicBezTo>
                      <a:cubicBezTo>
                        <a:pt x="77918" y="234718"/>
                        <a:pt x="73339" y="239297"/>
                        <a:pt x="72295" y="243876"/>
                      </a:cubicBezTo>
                      <a:cubicBezTo>
                        <a:pt x="71251" y="244358"/>
                        <a:pt x="70689" y="244679"/>
                        <a:pt x="69885" y="244920"/>
                      </a:cubicBezTo>
                      <a:cubicBezTo>
                        <a:pt x="72375" y="245000"/>
                        <a:pt x="77998" y="245081"/>
                        <a:pt x="82336" y="242269"/>
                      </a:cubicBezTo>
                      <a:moveTo>
                        <a:pt x="50607" y="216886"/>
                      </a:moveTo>
                      <a:cubicBezTo>
                        <a:pt x="50687" y="216966"/>
                        <a:pt x="50767" y="217046"/>
                        <a:pt x="50848" y="217127"/>
                      </a:cubicBezTo>
                      <a:cubicBezTo>
                        <a:pt x="54462" y="214958"/>
                        <a:pt x="59282" y="211986"/>
                        <a:pt x="62897" y="209737"/>
                      </a:cubicBezTo>
                      <a:cubicBezTo>
                        <a:pt x="66431" y="205720"/>
                        <a:pt x="66351" y="204997"/>
                        <a:pt x="65387" y="204515"/>
                      </a:cubicBezTo>
                      <a:cubicBezTo>
                        <a:pt x="63861" y="204435"/>
                        <a:pt x="62656" y="204676"/>
                        <a:pt x="55908" y="207327"/>
                      </a:cubicBezTo>
                      <a:cubicBezTo>
                        <a:pt x="48116" y="210379"/>
                        <a:pt x="45707" y="211182"/>
                        <a:pt x="42574" y="211423"/>
                      </a:cubicBezTo>
                      <a:cubicBezTo>
                        <a:pt x="43538" y="211423"/>
                        <a:pt x="45948" y="211343"/>
                        <a:pt x="47233" y="212307"/>
                      </a:cubicBezTo>
                      <a:cubicBezTo>
                        <a:pt x="48920" y="213432"/>
                        <a:pt x="49402" y="215440"/>
                        <a:pt x="50607" y="216886"/>
                      </a:cubicBezTo>
                      <a:moveTo>
                        <a:pt x="704396" y="181220"/>
                      </a:moveTo>
                      <a:lnTo>
                        <a:pt x="704878" y="180658"/>
                      </a:lnTo>
                      <a:cubicBezTo>
                        <a:pt x="702307" y="179373"/>
                        <a:pt x="700380" y="178489"/>
                        <a:pt x="697086" y="177284"/>
                      </a:cubicBezTo>
                      <a:cubicBezTo>
                        <a:pt x="696765" y="177204"/>
                        <a:pt x="696363" y="177043"/>
                        <a:pt x="695962" y="176963"/>
                      </a:cubicBezTo>
                      <a:cubicBezTo>
                        <a:pt x="693391" y="176159"/>
                        <a:pt x="690660" y="176159"/>
                        <a:pt x="688089" y="175356"/>
                      </a:cubicBezTo>
                      <a:cubicBezTo>
                        <a:pt x="686483" y="174794"/>
                        <a:pt x="685117" y="173669"/>
                        <a:pt x="683591" y="172946"/>
                      </a:cubicBezTo>
                      <a:cubicBezTo>
                        <a:pt x="676924" y="169733"/>
                        <a:pt x="671863" y="168689"/>
                        <a:pt x="669694" y="168287"/>
                      </a:cubicBezTo>
                      <a:cubicBezTo>
                        <a:pt x="670016" y="168528"/>
                        <a:pt x="670498" y="168769"/>
                        <a:pt x="670819" y="169010"/>
                      </a:cubicBezTo>
                      <a:cubicBezTo>
                        <a:pt x="675398" y="171420"/>
                        <a:pt x="689214" y="177123"/>
                        <a:pt x="704396" y="181220"/>
                      </a:cubicBezTo>
                      <a:moveTo>
                        <a:pt x="697809" y="142582"/>
                      </a:moveTo>
                      <a:cubicBezTo>
                        <a:pt x="697648" y="142502"/>
                        <a:pt x="697488" y="142502"/>
                        <a:pt x="697407" y="142422"/>
                      </a:cubicBezTo>
                      <a:cubicBezTo>
                        <a:pt x="697407" y="142422"/>
                        <a:pt x="697407" y="142422"/>
                        <a:pt x="697488" y="142422"/>
                      </a:cubicBezTo>
                      <a:cubicBezTo>
                        <a:pt x="697970" y="142582"/>
                        <a:pt x="698371" y="142823"/>
                        <a:pt x="698853" y="142984"/>
                      </a:cubicBezTo>
                      <a:cubicBezTo>
                        <a:pt x="698452" y="142904"/>
                        <a:pt x="698130" y="142743"/>
                        <a:pt x="697809" y="142582"/>
                      </a:cubicBezTo>
                      <a:moveTo>
                        <a:pt x="47474" y="250302"/>
                      </a:moveTo>
                      <a:lnTo>
                        <a:pt x="52615" y="249660"/>
                      </a:lnTo>
                      <a:cubicBezTo>
                        <a:pt x="60246" y="243876"/>
                        <a:pt x="70689" y="236004"/>
                        <a:pt x="77998" y="229337"/>
                      </a:cubicBezTo>
                      <a:cubicBezTo>
                        <a:pt x="78882" y="228533"/>
                        <a:pt x="80007" y="227489"/>
                        <a:pt x="80810" y="226686"/>
                      </a:cubicBezTo>
                      <a:cubicBezTo>
                        <a:pt x="82738" y="224758"/>
                        <a:pt x="82738" y="224758"/>
                        <a:pt x="90530" y="213432"/>
                      </a:cubicBezTo>
                      <a:cubicBezTo>
                        <a:pt x="91735" y="211745"/>
                        <a:pt x="94225" y="210299"/>
                        <a:pt x="95992" y="209094"/>
                      </a:cubicBezTo>
                      <a:cubicBezTo>
                        <a:pt x="111013" y="198410"/>
                        <a:pt x="110933" y="197366"/>
                        <a:pt x="110853" y="196563"/>
                      </a:cubicBezTo>
                      <a:cubicBezTo>
                        <a:pt x="110692" y="196563"/>
                        <a:pt x="110451" y="196482"/>
                        <a:pt x="110290" y="196482"/>
                      </a:cubicBezTo>
                      <a:cubicBezTo>
                        <a:pt x="107479" y="196884"/>
                        <a:pt x="103302" y="198491"/>
                        <a:pt x="93020" y="203069"/>
                      </a:cubicBezTo>
                      <a:cubicBezTo>
                        <a:pt x="89967" y="211584"/>
                        <a:pt x="75348" y="217769"/>
                        <a:pt x="75187" y="217849"/>
                      </a:cubicBezTo>
                      <a:cubicBezTo>
                        <a:pt x="68921" y="219778"/>
                        <a:pt x="59362" y="223633"/>
                        <a:pt x="66271" y="227810"/>
                      </a:cubicBezTo>
                      <a:cubicBezTo>
                        <a:pt x="64664" y="231023"/>
                        <a:pt x="62816" y="233433"/>
                        <a:pt x="47474" y="250302"/>
                      </a:cubicBezTo>
                      <a:moveTo>
                        <a:pt x="686724" y="0"/>
                      </a:moveTo>
                      <a:cubicBezTo>
                        <a:pt x="683109" y="0"/>
                        <a:pt x="679655" y="1125"/>
                        <a:pt x="676121" y="1607"/>
                      </a:cubicBezTo>
                      <a:cubicBezTo>
                        <a:pt x="668811" y="2651"/>
                        <a:pt x="661421" y="2008"/>
                        <a:pt x="654111" y="2651"/>
                      </a:cubicBezTo>
                      <a:cubicBezTo>
                        <a:pt x="651701" y="2812"/>
                        <a:pt x="651540" y="2892"/>
                        <a:pt x="651139" y="2972"/>
                      </a:cubicBezTo>
                      <a:cubicBezTo>
                        <a:pt x="651219" y="2972"/>
                        <a:pt x="651380" y="3053"/>
                        <a:pt x="651460" y="3053"/>
                      </a:cubicBezTo>
                      <a:cubicBezTo>
                        <a:pt x="653789" y="3133"/>
                        <a:pt x="656199" y="3053"/>
                        <a:pt x="658529" y="3053"/>
                      </a:cubicBezTo>
                      <a:cubicBezTo>
                        <a:pt x="658689" y="3293"/>
                        <a:pt x="659011" y="3775"/>
                        <a:pt x="663027" y="3775"/>
                      </a:cubicBezTo>
                      <a:cubicBezTo>
                        <a:pt x="663429" y="3775"/>
                        <a:pt x="663911" y="3775"/>
                        <a:pt x="664312" y="3775"/>
                      </a:cubicBezTo>
                      <a:cubicBezTo>
                        <a:pt x="664714" y="3775"/>
                        <a:pt x="665276" y="3775"/>
                        <a:pt x="665678" y="3775"/>
                      </a:cubicBezTo>
                      <a:cubicBezTo>
                        <a:pt x="668730" y="3695"/>
                        <a:pt x="675157" y="3374"/>
                        <a:pt x="680378" y="3053"/>
                      </a:cubicBezTo>
                      <a:cubicBezTo>
                        <a:pt x="681663" y="2972"/>
                        <a:pt x="683430" y="2651"/>
                        <a:pt x="684716" y="2812"/>
                      </a:cubicBezTo>
                      <a:cubicBezTo>
                        <a:pt x="689294" y="3374"/>
                        <a:pt x="689294" y="3374"/>
                        <a:pt x="694676" y="3133"/>
                      </a:cubicBezTo>
                      <a:cubicBezTo>
                        <a:pt x="694194" y="241"/>
                        <a:pt x="688491" y="0"/>
                        <a:pt x="686724" y="0"/>
                      </a:cubicBezTo>
                      <a:moveTo>
                        <a:pt x="647443" y="6346"/>
                      </a:moveTo>
                      <a:cubicBezTo>
                        <a:pt x="647363" y="6346"/>
                        <a:pt x="647283" y="6346"/>
                        <a:pt x="647202" y="6346"/>
                      </a:cubicBezTo>
                      <a:cubicBezTo>
                        <a:pt x="647283" y="6346"/>
                        <a:pt x="647283" y="6426"/>
                        <a:pt x="647283" y="6426"/>
                      </a:cubicBezTo>
                      <a:cubicBezTo>
                        <a:pt x="647202" y="6507"/>
                        <a:pt x="647122" y="6587"/>
                        <a:pt x="646640" y="6667"/>
                      </a:cubicBezTo>
                      <a:cubicBezTo>
                        <a:pt x="646640" y="6667"/>
                        <a:pt x="646721" y="6667"/>
                        <a:pt x="646721" y="6667"/>
                      </a:cubicBezTo>
                      <a:cubicBezTo>
                        <a:pt x="647283" y="6748"/>
                        <a:pt x="647283" y="6748"/>
                        <a:pt x="652022" y="6266"/>
                      </a:cubicBezTo>
                      <a:cubicBezTo>
                        <a:pt x="651621" y="6266"/>
                        <a:pt x="650496" y="6105"/>
                        <a:pt x="647443" y="6346"/>
                      </a:cubicBezTo>
                      <a:moveTo>
                        <a:pt x="663268" y="13174"/>
                      </a:moveTo>
                      <a:cubicBezTo>
                        <a:pt x="663268" y="13094"/>
                        <a:pt x="663188" y="13094"/>
                        <a:pt x="663188" y="13013"/>
                      </a:cubicBezTo>
                      <a:cubicBezTo>
                        <a:pt x="663509" y="13897"/>
                        <a:pt x="663509" y="13977"/>
                        <a:pt x="663750" y="15503"/>
                      </a:cubicBezTo>
                      <a:cubicBezTo>
                        <a:pt x="663830" y="15503"/>
                        <a:pt x="663750" y="14459"/>
                        <a:pt x="663268" y="13174"/>
                      </a:cubicBezTo>
                      <a:moveTo>
                        <a:pt x="703593" y="145233"/>
                      </a:moveTo>
                      <a:cubicBezTo>
                        <a:pt x="702147" y="144590"/>
                        <a:pt x="700219" y="143707"/>
                        <a:pt x="698773" y="143064"/>
                      </a:cubicBezTo>
                      <a:cubicBezTo>
                        <a:pt x="699335" y="143386"/>
                        <a:pt x="700058" y="143787"/>
                        <a:pt x="700540" y="144189"/>
                      </a:cubicBezTo>
                      <a:cubicBezTo>
                        <a:pt x="689455" y="146679"/>
                        <a:pt x="680860" y="139209"/>
                        <a:pt x="670980" y="136879"/>
                      </a:cubicBezTo>
                      <a:cubicBezTo>
                        <a:pt x="670899" y="137200"/>
                        <a:pt x="670819" y="137521"/>
                        <a:pt x="670739" y="137843"/>
                      </a:cubicBezTo>
                      <a:cubicBezTo>
                        <a:pt x="671943" y="139048"/>
                        <a:pt x="672908" y="139771"/>
                        <a:pt x="676522" y="142502"/>
                      </a:cubicBezTo>
                      <a:cubicBezTo>
                        <a:pt x="665357" y="136236"/>
                        <a:pt x="657484" y="133505"/>
                        <a:pt x="645034" y="131658"/>
                      </a:cubicBezTo>
                      <a:cubicBezTo>
                        <a:pt x="644873" y="132059"/>
                        <a:pt x="644712" y="132541"/>
                        <a:pt x="644552" y="132863"/>
                      </a:cubicBezTo>
                      <a:cubicBezTo>
                        <a:pt x="648166" y="136718"/>
                        <a:pt x="655798" y="140735"/>
                        <a:pt x="691142" y="154069"/>
                      </a:cubicBezTo>
                      <a:cubicBezTo>
                        <a:pt x="672345" y="148125"/>
                        <a:pt x="672345" y="148125"/>
                        <a:pt x="645034" y="139369"/>
                      </a:cubicBezTo>
                      <a:cubicBezTo>
                        <a:pt x="653709" y="143707"/>
                        <a:pt x="657726" y="145876"/>
                        <a:pt x="660055" y="148446"/>
                      </a:cubicBezTo>
                      <a:cubicBezTo>
                        <a:pt x="659975" y="148768"/>
                        <a:pt x="659975" y="149250"/>
                        <a:pt x="659894" y="149651"/>
                      </a:cubicBezTo>
                      <a:cubicBezTo>
                        <a:pt x="658047" y="149972"/>
                        <a:pt x="656842" y="150213"/>
                        <a:pt x="648407" y="148446"/>
                      </a:cubicBezTo>
                      <a:cubicBezTo>
                        <a:pt x="645998" y="143145"/>
                        <a:pt x="642463" y="137682"/>
                        <a:pt x="635635" y="143305"/>
                      </a:cubicBezTo>
                      <a:cubicBezTo>
                        <a:pt x="637322" y="144349"/>
                        <a:pt x="637885" y="144671"/>
                        <a:pt x="640535" y="145635"/>
                      </a:cubicBezTo>
                      <a:cubicBezTo>
                        <a:pt x="636037" y="144590"/>
                        <a:pt x="635314" y="144590"/>
                        <a:pt x="633707" y="144590"/>
                      </a:cubicBezTo>
                      <a:cubicBezTo>
                        <a:pt x="633547" y="144831"/>
                        <a:pt x="633306" y="145072"/>
                        <a:pt x="633145" y="145313"/>
                      </a:cubicBezTo>
                      <a:cubicBezTo>
                        <a:pt x="633948" y="146197"/>
                        <a:pt x="634029" y="146358"/>
                        <a:pt x="635876" y="147723"/>
                      </a:cubicBezTo>
                      <a:cubicBezTo>
                        <a:pt x="633145" y="146920"/>
                        <a:pt x="632503" y="146840"/>
                        <a:pt x="631619" y="146679"/>
                      </a:cubicBezTo>
                      <a:cubicBezTo>
                        <a:pt x="632181" y="147562"/>
                        <a:pt x="654271" y="158085"/>
                        <a:pt x="664071" y="161700"/>
                      </a:cubicBezTo>
                      <a:cubicBezTo>
                        <a:pt x="664955" y="160254"/>
                        <a:pt x="666642" y="157603"/>
                        <a:pt x="676843" y="165958"/>
                      </a:cubicBezTo>
                      <a:cubicBezTo>
                        <a:pt x="680619" y="169010"/>
                        <a:pt x="704155" y="176159"/>
                        <a:pt x="707368" y="172866"/>
                      </a:cubicBezTo>
                      <a:cubicBezTo>
                        <a:pt x="707288" y="170456"/>
                        <a:pt x="705521" y="167966"/>
                        <a:pt x="695640" y="160736"/>
                      </a:cubicBezTo>
                      <a:cubicBezTo>
                        <a:pt x="706163" y="166440"/>
                        <a:pt x="708011" y="166761"/>
                        <a:pt x="709858" y="165958"/>
                      </a:cubicBezTo>
                      <a:cubicBezTo>
                        <a:pt x="710019" y="164672"/>
                        <a:pt x="710099" y="164030"/>
                        <a:pt x="707127" y="160174"/>
                      </a:cubicBezTo>
                      <a:cubicBezTo>
                        <a:pt x="713071" y="164994"/>
                        <a:pt x="716044" y="166199"/>
                        <a:pt x="719337" y="165074"/>
                      </a:cubicBezTo>
                      <a:cubicBezTo>
                        <a:pt x="717650" y="167725"/>
                        <a:pt x="717730" y="169171"/>
                        <a:pt x="721667" y="172384"/>
                      </a:cubicBezTo>
                      <a:cubicBezTo>
                        <a:pt x="719578" y="176079"/>
                        <a:pt x="725121" y="186682"/>
                        <a:pt x="735001" y="183790"/>
                      </a:cubicBezTo>
                      <a:cubicBezTo>
                        <a:pt x="737330" y="183068"/>
                        <a:pt x="739981" y="181782"/>
                        <a:pt x="742552" y="180497"/>
                      </a:cubicBezTo>
                      <a:cubicBezTo>
                        <a:pt x="732430" y="191422"/>
                        <a:pt x="775888" y="203551"/>
                        <a:pt x="792837" y="206684"/>
                      </a:cubicBezTo>
                      <a:cubicBezTo>
                        <a:pt x="758858" y="174231"/>
                        <a:pt x="725522" y="155354"/>
                        <a:pt x="703593" y="145233"/>
                      </a:cubicBezTo>
                      <a:moveTo>
                        <a:pt x="706565" y="57193"/>
                      </a:moveTo>
                      <a:lnTo>
                        <a:pt x="706565" y="57193"/>
                      </a:lnTo>
                      <a:cubicBezTo>
                        <a:pt x="707448" y="57675"/>
                        <a:pt x="708252" y="58158"/>
                        <a:pt x="709135" y="58640"/>
                      </a:cubicBezTo>
                      <a:cubicBezTo>
                        <a:pt x="708252" y="58077"/>
                        <a:pt x="707368" y="57595"/>
                        <a:pt x="706565" y="57193"/>
                      </a:cubicBezTo>
                      <a:moveTo>
                        <a:pt x="711224" y="71733"/>
                      </a:moveTo>
                      <a:lnTo>
                        <a:pt x="712188" y="71251"/>
                      </a:lnTo>
                      <a:cubicBezTo>
                        <a:pt x="707127" y="70849"/>
                        <a:pt x="703994" y="70689"/>
                        <a:pt x="700299" y="70769"/>
                      </a:cubicBezTo>
                      <a:cubicBezTo>
                        <a:pt x="700460" y="70849"/>
                        <a:pt x="700621" y="70849"/>
                        <a:pt x="700781" y="70930"/>
                      </a:cubicBezTo>
                      <a:cubicBezTo>
                        <a:pt x="701986" y="71251"/>
                        <a:pt x="704396" y="71974"/>
                        <a:pt x="707047" y="72938"/>
                      </a:cubicBezTo>
                      <a:cubicBezTo>
                        <a:pt x="707207" y="73018"/>
                        <a:pt x="707368" y="73099"/>
                        <a:pt x="707448" y="73099"/>
                      </a:cubicBezTo>
                      <a:cubicBezTo>
                        <a:pt x="707529" y="73099"/>
                        <a:pt x="712348" y="73339"/>
                        <a:pt x="711947" y="72456"/>
                      </a:cubicBezTo>
                      <a:cubicBezTo>
                        <a:pt x="711947" y="72135"/>
                        <a:pt x="711465" y="71894"/>
                        <a:pt x="711224" y="71733"/>
                      </a:cubicBezTo>
                      <a:moveTo>
                        <a:pt x="648166" y="6908"/>
                      </a:moveTo>
                      <a:cubicBezTo>
                        <a:pt x="641580" y="7470"/>
                        <a:pt x="640535" y="7953"/>
                        <a:pt x="639893" y="8274"/>
                      </a:cubicBezTo>
                      <a:cubicBezTo>
                        <a:pt x="639973" y="8435"/>
                        <a:pt x="640053" y="8595"/>
                        <a:pt x="640134" y="8756"/>
                      </a:cubicBezTo>
                      <a:cubicBezTo>
                        <a:pt x="642865" y="9559"/>
                        <a:pt x="642865" y="9559"/>
                        <a:pt x="652504" y="9077"/>
                      </a:cubicBezTo>
                      <a:cubicBezTo>
                        <a:pt x="643186" y="9639"/>
                        <a:pt x="638125" y="10202"/>
                        <a:pt x="631699" y="11487"/>
                      </a:cubicBezTo>
                      <a:cubicBezTo>
                        <a:pt x="632181" y="11567"/>
                        <a:pt x="632744" y="11648"/>
                        <a:pt x="633145" y="11728"/>
                      </a:cubicBezTo>
                      <a:cubicBezTo>
                        <a:pt x="637483" y="12290"/>
                        <a:pt x="640857" y="12451"/>
                        <a:pt x="646399" y="12612"/>
                      </a:cubicBezTo>
                      <a:cubicBezTo>
                        <a:pt x="645596" y="12772"/>
                        <a:pt x="644552" y="13094"/>
                        <a:pt x="643748" y="13254"/>
                      </a:cubicBezTo>
                      <a:cubicBezTo>
                        <a:pt x="694917" y="8354"/>
                        <a:pt x="694917" y="8354"/>
                        <a:pt x="695319" y="8033"/>
                      </a:cubicBezTo>
                      <a:cubicBezTo>
                        <a:pt x="692427" y="6185"/>
                        <a:pt x="669052" y="4980"/>
                        <a:pt x="648166" y="6908"/>
                      </a:cubicBezTo>
                      <a:moveTo>
                        <a:pt x="702066" y="72617"/>
                      </a:moveTo>
                      <a:lnTo>
                        <a:pt x="701183" y="72376"/>
                      </a:lnTo>
                      <a:cubicBezTo>
                        <a:pt x="694516" y="71653"/>
                        <a:pt x="692266" y="71412"/>
                        <a:pt x="692186" y="71492"/>
                      </a:cubicBezTo>
                      <a:cubicBezTo>
                        <a:pt x="695480" y="71974"/>
                        <a:pt x="698773" y="72215"/>
                        <a:pt x="702066" y="72617"/>
                      </a:cubicBezTo>
                      <a:moveTo>
                        <a:pt x="686884" y="62576"/>
                      </a:moveTo>
                      <a:lnTo>
                        <a:pt x="686884" y="62576"/>
                      </a:lnTo>
                      <a:cubicBezTo>
                        <a:pt x="688812" y="62736"/>
                        <a:pt x="690740" y="62977"/>
                        <a:pt x="692668" y="63138"/>
                      </a:cubicBezTo>
                      <a:cubicBezTo>
                        <a:pt x="690740" y="62977"/>
                        <a:pt x="688812" y="62736"/>
                        <a:pt x="686884" y="62576"/>
                      </a:cubicBezTo>
                      <a:moveTo>
                        <a:pt x="634591" y="123143"/>
                      </a:moveTo>
                      <a:lnTo>
                        <a:pt x="632181" y="121697"/>
                      </a:lnTo>
                      <a:cubicBezTo>
                        <a:pt x="630012" y="121617"/>
                        <a:pt x="628968" y="121617"/>
                        <a:pt x="628807" y="121777"/>
                      </a:cubicBezTo>
                      <a:cubicBezTo>
                        <a:pt x="628807" y="121777"/>
                        <a:pt x="628807" y="121777"/>
                        <a:pt x="628807" y="121858"/>
                      </a:cubicBezTo>
                      <a:cubicBezTo>
                        <a:pt x="628888" y="121938"/>
                        <a:pt x="629691" y="122259"/>
                        <a:pt x="634591" y="123143"/>
                      </a:cubicBezTo>
                      <a:moveTo>
                        <a:pt x="684475" y="65387"/>
                      </a:moveTo>
                      <a:lnTo>
                        <a:pt x="684475" y="65387"/>
                      </a:lnTo>
                      <a:cubicBezTo>
                        <a:pt x="687527" y="66030"/>
                        <a:pt x="690660" y="66753"/>
                        <a:pt x="693712" y="67475"/>
                      </a:cubicBezTo>
                      <a:cubicBezTo>
                        <a:pt x="690660" y="66672"/>
                        <a:pt x="687607" y="66030"/>
                        <a:pt x="684475" y="65387"/>
                      </a:cubicBezTo>
                      <a:moveTo>
                        <a:pt x="694917" y="60407"/>
                      </a:moveTo>
                      <a:cubicBezTo>
                        <a:pt x="690740" y="60005"/>
                        <a:pt x="685760" y="60487"/>
                        <a:pt x="685760" y="60487"/>
                      </a:cubicBezTo>
                      <a:cubicBezTo>
                        <a:pt x="685358" y="60487"/>
                        <a:pt x="685117" y="61130"/>
                        <a:pt x="684876" y="61371"/>
                      </a:cubicBezTo>
                      <a:lnTo>
                        <a:pt x="686001" y="61451"/>
                      </a:lnTo>
                      <a:cubicBezTo>
                        <a:pt x="692025" y="61772"/>
                        <a:pt x="696524" y="62254"/>
                        <a:pt x="701103" y="63138"/>
                      </a:cubicBezTo>
                      <a:cubicBezTo>
                        <a:pt x="700942" y="62495"/>
                        <a:pt x="700540" y="60889"/>
                        <a:pt x="694917" y="60407"/>
                      </a:cubicBezTo>
                      <a:moveTo>
                        <a:pt x="688330" y="120813"/>
                      </a:moveTo>
                      <a:cubicBezTo>
                        <a:pt x="676683" y="116154"/>
                        <a:pt x="655798" y="113182"/>
                        <a:pt x="643347" y="111495"/>
                      </a:cubicBezTo>
                      <a:cubicBezTo>
                        <a:pt x="648648" y="113584"/>
                        <a:pt x="650576" y="114949"/>
                        <a:pt x="650576" y="116556"/>
                      </a:cubicBezTo>
                      <a:cubicBezTo>
                        <a:pt x="644471" y="114789"/>
                        <a:pt x="638286" y="112941"/>
                        <a:pt x="635475" y="112459"/>
                      </a:cubicBezTo>
                      <a:cubicBezTo>
                        <a:pt x="635475" y="112540"/>
                        <a:pt x="635475" y="112620"/>
                        <a:pt x="635475" y="112700"/>
                      </a:cubicBezTo>
                      <a:cubicBezTo>
                        <a:pt x="636760" y="113263"/>
                        <a:pt x="636760" y="113263"/>
                        <a:pt x="656119" y="120492"/>
                      </a:cubicBezTo>
                      <a:cubicBezTo>
                        <a:pt x="637563" y="117279"/>
                        <a:pt x="632503" y="116476"/>
                        <a:pt x="629771" y="116877"/>
                      </a:cubicBezTo>
                      <a:cubicBezTo>
                        <a:pt x="629771" y="117038"/>
                        <a:pt x="629852" y="117199"/>
                        <a:pt x="629852" y="117359"/>
                      </a:cubicBezTo>
                      <a:cubicBezTo>
                        <a:pt x="631217" y="118404"/>
                        <a:pt x="633225" y="119207"/>
                        <a:pt x="638929" y="121376"/>
                      </a:cubicBezTo>
                      <a:cubicBezTo>
                        <a:pt x="633466" y="120492"/>
                        <a:pt x="633145" y="120492"/>
                        <a:pt x="632503" y="120572"/>
                      </a:cubicBezTo>
                      <a:cubicBezTo>
                        <a:pt x="636117" y="122259"/>
                        <a:pt x="640375" y="122099"/>
                        <a:pt x="643909" y="124267"/>
                      </a:cubicBezTo>
                      <a:cubicBezTo>
                        <a:pt x="641178" y="123866"/>
                        <a:pt x="635635" y="122982"/>
                        <a:pt x="637804" y="125794"/>
                      </a:cubicBezTo>
                      <a:cubicBezTo>
                        <a:pt x="637804" y="125794"/>
                        <a:pt x="640535" y="127641"/>
                        <a:pt x="646801" y="126758"/>
                      </a:cubicBezTo>
                      <a:cubicBezTo>
                        <a:pt x="653147" y="130131"/>
                        <a:pt x="663750" y="135835"/>
                        <a:pt x="668168" y="129007"/>
                      </a:cubicBezTo>
                      <a:cubicBezTo>
                        <a:pt x="688170" y="144510"/>
                        <a:pt x="696363" y="127400"/>
                        <a:pt x="696363" y="127159"/>
                      </a:cubicBezTo>
                      <a:cubicBezTo>
                        <a:pt x="696444" y="125151"/>
                        <a:pt x="693471" y="122822"/>
                        <a:pt x="688330" y="120813"/>
                      </a:cubicBezTo>
                      <a:moveTo>
                        <a:pt x="686001" y="56792"/>
                      </a:moveTo>
                      <a:cubicBezTo>
                        <a:pt x="681984" y="56149"/>
                        <a:pt x="673952" y="57274"/>
                        <a:pt x="674032" y="58800"/>
                      </a:cubicBezTo>
                      <a:cubicBezTo>
                        <a:pt x="674032" y="58881"/>
                        <a:pt x="674112" y="58961"/>
                        <a:pt x="674112" y="59041"/>
                      </a:cubicBezTo>
                      <a:cubicBezTo>
                        <a:pt x="676362" y="59202"/>
                        <a:pt x="696042" y="60487"/>
                        <a:pt x="696685" y="59363"/>
                      </a:cubicBezTo>
                      <a:cubicBezTo>
                        <a:pt x="696363" y="58640"/>
                        <a:pt x="689857" y="57434"/>
                        <a:pt x="686001" y="56792"/>
                      </a:cubicBezTo>
                      <a:moveTo>
                        <a:pt x="675076" y="62977"/>
                      </a:moveTo>
                      <a:cubicBezTo>
                        <a:pt x="671060" y="62656"/>
                        <a:pt x="668007" y="62736"/>
                        <a:pt x="665919" y="63138"/>
                      </a:cubicBezTo>
                      <a:cubicBezTo>
                        <a:pt x="666080" y="63138"/>
                        <a:pt x="666321" y="63138"/>
                        <a:pt x="666481" y="63218"/>
                      </a:cubicBezTo>
                      <a:cubicBezTo>
                        <a:pt x="672747" y="63780"/>
                        <a:pt x="676201" y="63861"/>
                        <a:pt x="679173" y="63539"/>
                      </a:cubicBezTo>
                      <a:cubicBezTo>
                        <a:pt x="678048" y="63379"/>
                        <a:pt x="676603" y="63218"/>
                        <a:pt x="675558" y="63058"/>
                      </a:cubicBezTo>
                      <a:cubicBezTo>
                        <a:pt x="675317" y="63058"/>
                        <a:pt x="675157" y="62977"/>
                        <a:pt x="675076" y="62977"/>
                      </a:cubicBezTo>
                      <a:moveTo>
                        <a:pt x="649050" y="69564"/>
                      </a:moveTo>
                      <a:lnTo>
                        <a:pt x="649050" y="69564"/>
                      </a:lnTo>
                      <a:cubicBezTo>
                        <a:pt x="652826" y="71733"/>
                        <a:pt x="656842" y="73661"/>
                        <a:pt x="660537" y="75990"/>
                      </a:cubicBezTo>
                      <a:cubicBezTo>
                        <a:pt x="662465" y="75187"/>
                        <a:pt x="664553" y="76553"/>
                        <a:pt x="666401" y="75508"/>
                      </a:cubicBezTo>
                      <a:cubicBezTo>
                        <a:pt x="666321" y="75348"/>
                        <a:pt x="666240" y="75187"/>
                        <a:pt x="664393" y="74785"/>
                      </a:cubicBezTo>
                      <a:cubicBezTo>
                        <a:pt x="667284" y="75026"/>
                        <a:pt x="670176" y="75267"/>
                        <a:pt x="673068" y="75508"/>
                      </a:cubicBezTo>
                      <a:cubicBezTo>
                        <a:pt x="669132" y="74464"/>
                        <a:pt x="665357" y="72938"/>
                        <a:pt x="661340" y="72295"/>
                      </a:cubicBezTo>
                      <a:cubicBezTo>
                        <a:pt x="652102" y="70930"/>
                        <a:pt x="651861" y="70849"/>
                        <a:pt x="651058" y="70448"/>
                      </a:cubicBezTo>
                      <a:cubicBezTo>
                        <a:pt x="650416" y="70207"/>
                        <a:pt x="649773" y="69805"/>
                        <a:pt x="649050" y="69564"/>
                      </a:cubicBezTo>
                      <a:moveTo>
                        <a:pt x="655878" y="51731"/>
                      </a:moveTo>
                      <a:cubicBezTo>
                        <a:pt x="649211" y="51571"/>
                        <a:pt x="649291" y="52294"/>
                        <a:pt x="649371" y="52695"/>
                      </a:cubicBezTo>
                      <a:cubicBezTo>
                        <a:pt x="649693" y="53097"/>
                        <a:pt x="650255" y="53418"/>
                        <a:pt x="651701" y="53980"/>
                      </a:cubicBezTo>
                      <a:cubicBezTo>
                        <a:pt x="650576" y="54141"/>
                        <a:pt x="650496" y="54221"/>
                        <a:pt x="650255" y="54382"/>
                      </a:cubicBezTo>
                      <a:cubicBezTo>
                        <a:pt x="651460" y="55346"/>
                        <a:pt x="669212" y="55748"/>
                        <a:pt x="670498" y="55748"/>
                      </a:cubicBezTo>
                      <a:cubicBezTo>
                        <a:pt x="674916" y="55748"/>
                        <a:pt x="679494" y="55587"/>
                        <a:pt x="679253" y="54302"/>
                      </a:cubicBezTo>
                      <a:cubicBezTo>
                        <a:pt x="679093" y="52856"/>
                        <a:pt x="656119" y="51731"/>
                        <a:pt x="655878" y="51731"/>
                      </a:cubicBezTo>
                      <a:moveTo>
                        <a:pt x="657886" y="66110"/>
                      </a:moveTo>
                      <a:cubicBezTo>
                        <a:pt x="651621" y="64825"/>
                        <a:pt x="642704" y="66351"/>
                        <a:pt x="642624" y="66431"/>
                      </a:cubicBezTo>
                      <a:cubicBezTo>
                        <a:pt x="642785" y="66592"/>
                        <a:pt x="643025" y="66753"/>
                        <a:pt x="643186" y="66833"/>
                      </a:cubicBezTo>
                      <a:cubicBezTo>
                        <a:pt x="650898" y="68038"/>
                        <a:pt x="658770" y="68600"/>
                        <a:pt x="666481" y="69805"/>
                      </a:cubicBezTo>
                      <a:cubicBezTo>
                        <a:pt x="668168" y="70046"/>
                        <a:pt x="670498" y="70689"/>
                        <a:pt x="672024" y="71412"/>
                      </a:cubicBezTo>
                      <a:cubicBezTo>
                        <a:pt x="677647" y="73982"/>
                        <a:pt x="682466" y="74785"/>
                        <a:pt x="683752" y="75026"/>
                      </a:cubicBezTo>
                      <a:cubicBezTo>
                        <a:pt x="685198" y="75267"/>
                        <a:pt x="685198" y="75267"/>
                        <a:pt x="698612" y="74946"/>
                      </a:cubicBezTo>
                      <a:cubicBezTo>
                        <a:pt x="685117" y="72054"/>
                        <a:pt x="671542" y="68922"/>
                        <a:pt x="657886" y="66110"/>
                      </a:cubicBezTo>
                      <a:moveTo>
                        <a:pt x="643909" y="58399"/>
                      </a:moveTo>
                      <a:cubicBezTo>
                        <a:pt x="643829" y="58399"/>
                        <a:pt x="643668" y="58399"/>
                        <a:pt x="643588" y="58399"/>
                      </a:cubicBezTo>
                      <a:cubicBezTo>
                        <a:pt x="643588" y="58399"/>
                        <a:pt x="643588" y="58479"/>
                        <a:pt x="643588" y="58479"/>
                      </a:cubicBezTo>
                      <a:cubicBezTo>
                        <a:pt x="644150" y="58800"/>
                        <a:pt x="644793" y="58961"/>
                        <a:pt x="645435" y="59202"/>
                      </a:cubicBezTo>
                      <a:cubicBezTo>
                        <a:pt x="647925" y="60085"/>
                        <a:pt x="650416" y="60889"/>
                        <a:pt x="652906" y="61692"/>
                      </a:cubicBezTo>
                      <a:cubicBezTo>
                        <a:pt x="653147" y="61451"/>
                        <a:pt x="654030" y="61371"/>
                        <a:pt x="656440" y="61451"/>
                      </a:cubicBezTo>
                      <a:cubicBezTo>
                        <a:pt x="646801" y="58720"/>
                        <a:pt x="643909" y="58399"/>
                        <a:pt x="643909" y="58399"/>
                      </a:cubicBezTo>
                      <a:moveTo>
                        <a:pt x="641499" y="53177"/>
                      </a:moveTo>
                      <a:cubicBezTo>
                        <a:pt x="641740" y="53177"/>
                        <a:pt x="641981" y="53177"/>
                        <a:pt x="642142" y="53177"/>
                      </a:cubicBezTo>
                      <a:cubicBezTo>
                        <a:pt x="638768" y="53177"/>
                        <a:pt x="635314" y="53177"/>
                        <a:pt x="631940" y="53177"/>
                      </a:cubicBezTo>
                      <a:cubicBezTo>
                        <a:pt x="635153" y="53177"/>
                        <a:pt x="638286" y="53177"/>
                        <a:pt x="641499" y="53177"/>
                      </a:cubicBezTo>
                      <a:moveTo>
                        <a:pt x="650014" y="56471"/>
                      </a:moveTo>
                      <a:cubicBezTo>
                        <a:pt x="649853" y="56471"/>
                        <a:pt x="632261" y="55989"/>
                        <a:pt x="628245" y="56310"/>
                      </a:cubicBezTo>
                      <a:lnTo>
                        <a:pt x="629289" y="56310"/>
                      </a:lnTo>
                      <a:cubicBezTo>
                        <a:pt x="636439" y="56310"/>
                        <a:pt x="643507" y="56712"/>
                        <a:pt x="650657" y="56551"/>
                      </a:cubicBezTo>
                      <a:cubicBezTo>
                        <a:pt x="650416" y="56471"/>
                        <a:pt x="650175" y="56471"/>
                        <a:pt x="650014" y="56471"/>
                      </a:cubicBezTo>
                      <a:moveTo>
                        <a:pt x="627603" y="64905"/>
                      </a:moveTo>
                      <a:cubicBezTo>
                        <a:pt x="626799" y="64825"/>
                        <a:pt x="626719" y="65146"/>
                        <a:pt x="626639" y="65307"/>
                      </a:cubicBezTo>
                      <a:cubicBezTo>
                        <a:pt x="626639" y="65307"/>
                        <a:pt x="626639" y="65307"/>
                        <a:pt x="626639" y="65307"/>
                      </a:cubicBezTo>
                      <a:lnTo>
                        <a:pt x="626639" y="65307"/>
                      </a:lnTo>
                      <a:lnTo>
                        <a:pt x="626639" y="65307"/>
                      </a:lnTo>
                      <a:cubicBezTo>
                        <a:pt x="626639" y="65307"/>
                        <a:pt x="626639" y="65307"/>
                        <a:pt x="626639" y="65307"/>
                      </a:cubicBezTo>
                      <a:cubicBezTo>
                        <a:pt x="626639" y="65307"/>
                        <a:pt x="626639" y="65307"/>
                        <a:pt x="626639" y="65307"/>
                      </a:cubicBezTo>
                      <a:cubicBezTo>
                        <a:pt x="626639" y="65307"/>
                        <a:pt x="626639" y="65307"/>
                        <a:pt x="626639" y="65307"/>
                      </a:cubicBezTo>
                      <a:lnTo>
                        <a:pt x="626639" y="65307"/>
                      </a:lnTo>
                      <a:cubicBezTo>
                        <a:pt x="626639" y="65307"/>
                        <a:pt x="626639" y="65307"/>
                        <a:pt x="626639" y="65307"/>
                      </a:cubicBezTo>
                      <a:lnTo>
                        <a:pt x="629611" y="65387"/>
                      </a:lnTo>
                      <a:cubicBezTo>
                        <a:pt x="629289" y="65387"/>
                        <a:pt x="628325" y="64985"/>
                        <a:pt x="627603" y="64905"/>
                      </a:cubicBezTo>
                      <a:moveTo>
                        <a:pt x="642302" y="47876"/>
                      </a:moveTo>
                      <a:cubicBezTo>
                        <a:pt x="636439" y="47313"/>
                        <a:pt x="623104" y="48599"/>
                        <a:pt x="623024" y="48599"/>
                      </a:cubicBezTo>
                      <a:cubicBezTo>
                        <a:pt x="623104" y="48599"/>
                        <a:pt x="623184" y="48679"/>
                        <a:pt x="623184" y="48679"/>
                      </a:cubicBezTo>
                      <a:cubicBezTo>
                        <a:pt x="626157" y="49081"/>
                        <a:pt x="629209" y="49081"/>
                        <a:pt x="632181" y="49241"/>
                      </a:cubicBezTo>
                      <a:cubicBezTo>
                        <a:pt x="637965" y="49643"/>
                        <a:pt x="638447" y="50044"/>
                        <a:pt x="638688" y="50285"/>
                      </a:cubicBezTo>
                      <a:cubicBezTo>
                        <a:pt x="638768" y="50366"/>
                        <a:pt x="638768" y="50446"/>
                        <a:pt x="638848" y="50446"/>
                      </a:cubicBezTo>
                      <a:cubicBezTo>
                        <a:pt x="639009" y="50446"/>
                        <a:pt x="654673" y="51008"/>
                        <a:pt x="655476" y="50044"/>
                      </a:cubicBezTo>
                      <a:cubicBezTo>
                        <a:pt x="654352" y="49161"/>
                        <a:pt x="646721" y="48358"/>
                        <a:pt x="642302" y="47876"/>
                      </a:cubicBezTo>
                      <a:moveTo>
                        <a:pt x="606075" y="14941"/>
                      </a:moveTo>
                      <a:cubicBezTo>
                        <a:pt x="601416" y="15503"/>
                        <a:pt x="601416" y="15503"/>
                        <a:pt x="573220" y="23054"/>
                      </a:cubicBezTo>
                      <a:cubicBezTo>
                        <a:pt x="574024" y="22974"/>
                        <a:pt x="575068" y="22974"/>
                        <a:pt x="575871" y="22894"/>
                      </a:cubicBezTo>
                      <a:cubicBezTo>
                        <a:pt x="582940" y="22412"/>
                        <a:pt x="591696" y="21689"/>
                        <a:pt x="607601" y="19761"/>
                      </a:cubicBezTo>
                      <a:cubicBezTo>
                        <a:pt x="619650" y="18315"/>
                        <a:pt x="631860" y="18877"/>
                        <a:pt x="643829" y="17110"/>
                      </a:cubicBezTo>
                      <a:cubicBezTo>
                        <a:pt x="643909" y="17110"/>
                        <a:pt x="646961" y="15584"/>
                        <a:pt x="645275" y="14379"/>
                      </a:cubicBezTo>
                      <a:cubicBezTo>
                        <a:pt x="642785" y="12531"/>
                        <a:pt x="628486" y="12130"/>
                        <a:pt x="606075" y="14941"/>
                      </a:cubicBezTo>
                      <a:moveTo>
                        <a:pt x="165074" y="218010"/>
                      </a:moveTo>
                      <a:cubicBezTo>
                        <a:pt x="168528" y="215359"/>
                        <a:pt x="173026" y="211664"/>
                        <a:pt x="176320" y="208853"/>
                      </a:cubicBezTo>
                      <a:cubicBezTo>
                        <a:pt x="173589" y="210459"/>
                        <a:pt x="171340" y="211825"/>
                        <a:pt x="169010" y="213351"/>
                      </a:cubicBezTo>
                      <a:cubicBezTo>
                        <a:pt x="180336" y="202507"/>
                        <a:pt x="194153" y="194474"/>
                        <a:pt x="203792" y="181782"/>
                      </a:cubicBezTo>
                      <a:cubicBezTo>
                        <a:pt x="202667" y="182184"/>
                        <a:pt x="201623" y="182586"/>
                        <a:pt x="191984" y="189173"/>
                      </a:cubicBezTo>
                      <a:cubicBezTo>
                        <a:pt x="217930" y="166279"/>
                        <a:pt x="228694" y="156881"/>
                        <a:pt x="251427" y="141618"/>
                      </a:cubicBezTo>
                      <a:cubicBezTo>
                        <a:pt x="250463" y="141699"/>
                        <a:pt x="249258" y="141779"/>
                        <a:pt x="248294" y="141859"/>
                      </a:cubicBezTo>
                      <a:cubicBezTo>
                        <a:pt x="231023" y="150695"/>
                        <a:pt x="226043" y="153346"/>
                        <a:pt x="201382" y="168528"/>
                      </a:cubicBezTo>
                      <a:cubicBezTo>
                        <a:pt x="204836" y="164512"/>
                        <a:pt x="204917" y="164190"/>
                        <a:pt x="205399" y="162905"/>
                      </a:cubicBezTo>
                      <a:cubicBezTo>
                        <a:pt x="201302" y="163066"/>
                        <a:pt x="182023" y="174392"/>
                        <a:pt x="181782" y="174472"/>
                      </a:cubicBezTo>
                      <a:cubicBezTo>
                        <a:pt x="180899" y="175035"/>
                        <a:pt x="180899" y="175035"/>
                        <a:pt x="174954" y="180899"/>
                      </a:cubicBezTo>
                      <a:cubicBezTo>
                        <a:pt x="175115" y="181140"/>
                        <a:pt x="175436" y="181381"/>
                        <a:pt x="175597" y="181622"/>
                      </a:cubicBezTo>
                      <a:cubicBezTo>
                        <a:pt x="176802" y="181381"/>
                        <a:pt x="177444" y="181300"/>
                        <a:pt x="180095" y="180417"/>
                      </a:cubicBezTo>
                      <a:cubicBezTo>
                        <a:pt x="176882" y="181622"/>
                        <a:pt x="174713" y="182746"/>
                        <a:pt x="171179" y="184915"/>
                      </a:cubicBezTo>
                      <a:cubicBezTo>
                        <a:pt x="169171" y="184031"/>
                        <a:pt x="168689" y="183068"/>
                        <a:pt x="171018" y="179694"/>
                      </a:cubicBezTo>
                      <a:cubicBezTo>
                        <a:pt x="155033" y="189333"/>
                        <a:pt x="151338" y="192546"/>
                        <a:pt x="150133" y="195197"/>
                      </a:cubicBezTo>
                      <a:cubicBezTo>
                        <a:pt x="150294" y="195438"/>
                        <a:pt x="150454" y="195679"/>
                        <a:pt x="150615" y="195920"/>
                      </a:cubicBezTo>
                      <a:cubicBezTo>
                        <a:pt x="151900" y="196161"/>
                        <a:pt x="152462" y="196241"/>
                        <a:pt x="155354" y="195599"/>
                      </a:cubicBezTo>
                      <a:cubicBezTo>
                        <a:pt x="141940" y="202266"/>
                        <a:pt x="130372" y="208451"/>
                        <a:pt x="135192" y="210861"/>
                      </a:cubicBezTo>
                      <a:cubicBezTo>
                        <a:pt x="137280" y="211905"/>
                        <a:pt x="143787" y="211504"/>
                        <a:pt x="146197" y="211343"/>
                      </a:cubicBezTo>
                      <a:cubicBezTo>
                        <a:pt x="131899" y="213994"/>
                        <a:pt x="126758" y="217046"/>
                        <a:pt x="119930" y="221705"/>
                      </a:cubicBezTo>
                      <a:cubicBezTo>
                        <a:pt x="102820" y="233353"/>
                        <a:pt x="105390" y="236968"/>
                        <a:pt x="106515" y="238494"/>
                      </a:cubicBezTo>
                      <a:cubicBezTo>
                        <a:pt x="95189" y="247009"/>
                        <a:pt x="93743" y="250061"/>
                        <a:pt x="99205" y="254318"/>
                      </a:cubicBezTo>
                      <a:cubicBezTo>
                        <a:pt x="105792" y="247972"/>
                        <a:pt x="109889" y="244197"/>
                        <a:pt x="115833" y="238735"/>
                      </a:cubicBezTo>
                      <a:cubicBezTo>
                        <a:pt x="109166" y="247089"/>
                        <a:pt x="109648" y="247892"/>
                        <a:pt x="110130" y="248937"/>
                      </a:cubicBezTo>
                      <a:cubicBezTo>
                        <a:pt x="112941" y="248696"/>
                        <a:pt x="117198" y="245964"/>
                        <a:pt x="131899" y="234879"/>
                      </a:cubicBezTo>
                      <a:cubicBezTo>
                        <a:pt x="129971" y="236727"/>
                        <a:pt x="129328" y="237450"/>
                        <a:pt x="128284" y="238815"/>
                      </a:cubicBezTo>
                      <a:cubicBezTo>
                        <a:pt x="133666" y="236727"/>
                        <a:pt x="147723" y="231023"/>
                        <a:pt x="165074" y="218010"/>
                      </a:cubicBezTo>
                      <a:moveTo>
                        <a:pt x="614589" y="55025"/>
                      </a:moveTo>
                      <a:cubicBezTo>
                        <a:pt x="614670" y="55025"/>
                        <a:pt x="614750" y="55025"/>
                        <a:pt x="614830" y="55025"/>
                      </a:cubicBezTo>
                      <a:cubicBezTo>
                        <a:pt x="612662" y="55105"/>
                        <a:pt x="610573" y="55185"/>
                        <a:pt x="608404" y="55266"/>
                      </a:cubicBezTo>
                      <a:lnTo>
                        <a:pt x="608404" y="55266"/>
                      </a:lnTo>
                      <a:cubicBezTo>
                        <a:pt x="610493" y="55185"/>
                        <a:pt x="612501" y="55105"/>
                        <a:pt x="614589" y="55025"/>
                      </a:cubicBezTo>
                      <a:moveTo>
                        <a:pt x="603745" y="55748"/>
                      </a:moveTo>
                      <a:cubicBezTo>
                        <a:pt x="600371" y="55748"/>
                        <a:pt x="596435" y="56149"/>
                        <a:pt x="593302" y="56551"/>
                      </a:cubicBezTo>
                      <a:cubicBezTo>
                        <a:pt x="593463" y="56551"/>
                        <a:pt x="593704" y="56631"/>
                        <a:pt x="593945" y="56712"/>
                      </a:cubicBezTo>
                      <a:cubicBezTo>
                        <a:pt x="596997" y="57274"/>
                        <a:pt x="601416" y="57675"/>
                        <a:pt x="614107" y="58238"/>
                      </a:cubicBezTo>
                      <a:cubicBezTo>
                        <a:pt x="612340" y="58399"/>
                        <a:pt x="612179" y="58479"/>
                        <a:pt x="612019" y="58640"/>
                      </a:cubicBezTo>
                      <a:cubicBezTo>
                        <a:pt x="612340" y="58881"/>
                        <a:pt x="612983" y="59282"/>
                        <a:pt x="622943" y="58881"/>
                      </a:cubicBezTo>
                      <a:cubicBezTo>
                        <a:pt x="622140" y="58720"/>
                        <a:pt x="621016" y="58479"/>
                        <a:pt x="620212" y="58318"/>
                      </a:cubicBezTo>
                      <a:cubicBezTo>
                        <a:pt x="622381" y="58238"/>
                        <a:pt x="623184" y="58158"/>
                        <a:pt x="623666" y="58077"/>
                      </a:cubicBezTo>
                      <a:cubicBezTo>
                        <a:pt x="623345" y="57917"/>
                        <a:pt x="623184" y="57836"/>
                        <a:pt x="619168" y="57595"/>
                      </a:cubicBezTo>
                      <a:cubicBezTo>
                        <a:pt x="622462" y="57274"/>
                        <a:pt x="623747" y="57113"/>
                        <a:pt x="624389" y="56872"/>
                      </a:cubicBezTo>
                      <a:cubicBezTo>
                        <a:pt x="624148" y="56631"/>
                        <a:pt x="624068" y="56551"/>
                        <a:pt x="622060" y="56471"/>
                      </a:cubicBezTo>
                      <a:cubicBezTo>
                        <a:pt x="621498" y="56471"/>
                        <a:pt x="620775" y="56390"/>
                        <a:pt x="620293" y="56390"/>
                      </a:cubicBezTo>
                      <a:cubicBezTo>
                        <a:pt x="616517" y="56230"/>
                        <a:pt x="612742" y="56551"/>
                        <a:pt x="608966" y="56390"/>
                      </a:cubicBezTo>
                      <a:cubicBezTo>
                        <a:pt x="607199" y="56230"/>
                        <a:pt x="605512" y="55828"/>
                        <a:pt x="603745" y="55748"/>
                      </a:cubicBezTo>
                      <a:moveTo>
                        <a:pt x="571614" y="55748"/>
                      </a:moveTo>
                      <a:lnTo>
                        <a:pt x="571614" y="55748"/>
                      </a:lnTo>
                      <a:cubicBezTo>
                        <a:pt x="575309" y="55908"/>
                        <a:pt x="579004" y="56149"/>
                        <a:pt x="582699" y="56471"/>
                      </a:cubicBezTo>
                      <a:cubicBezTo>
                        <a:pt x="579004" y="56230"/>
                        <a:pt x="575309" y="55989"/>
                        <a:pt x="571614" y="55748"/>
                      </a:cubicBez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moveTo>
                        <a:pt x="332477" y="131176"/>
                      </a:moveTo>
                      <a:cubicBezTo>
                        <a:pt x="321714" y="137040"/>
                        <a:pt x="314564" y="139610"/>
                        <a:pt x="312235" y="140494"/>
                      </a:cubicBezTo>
                      <a:lnTo>
                        <a:pt x="312476" y="140092"/>
                      </a:lnTo>
                      <a:cubicBezTo>
                        <a:pt x="314886" y="138807"/>
                        <a:pt x="324204" y="134308"/>
                        <a:pt x="333200" y="130854"/>
                      </a:cubicBezTo>
                      <a:cubicBezTo>
                        <a:pt x="333040" y="130854"/>
                        <a:pt x="332718" y="131015"/>
                        <a:pt x="332477" y="131176"/>
                      </a:cubicBezTo>
                      <a:moveTo>
                        <a:pt x="363484" y="113664"/>
                      </a:moveTo>
                      <a:cubicBezTo>
                        <a:pt x="366296" y="111174"/>
                        <a:pt x="377702" y="100571"/>
                        <a:pt x="381397" y="96554"/>
                      </a:cubicBezTo>
                      <a:cubicBezTo>
                        <a:pt x="376819" y="98402"/>
                        <a:pt x="372641" y="100892"/>
                        <a:pt x="368223" y="103061"/>
                      </a:cubicBezTo>
                      <a:cubicBezTo>
                        <a:pt x="383968" y="91735"/>
                        <a:pt x="385253" y="90690"/>
                        <a:pt x="387582" y="88763"/>
                      </a:cubicBezTo>
                      <a:cubicBezTo>
                        <a:pt x="384771" y="89967"/>
                        <a:pt x="384771" y="89967"/>
                        <a:pt x="378907" y="93261"/>
                      </a:cubicBezTo>
                      <a:cubicBezTo>
                        <a:pt x="381237" y="91413"/>
                        <a:pt x="383566" y="89646"/>
                        <a:pt x="385815" y="87798"/>
                      </a:cubicBezTo>
                      <a:cubicBezTo>
                        <a:pt x="385655" y="87798"/>
                        <a:pt x="385494" y="87879"/>
                        <a:pt x="385414" y="87879"/>
                      </a:cubicBezTo>
                      <a:cubicBezTo>
                        <a:pt x="379148" y="91574"/>
                        <a:pt x="374328" y="94867"/>
                        <a:pt x="367018" y="100008"/>
                      </a:cubicBezTo>
                      <a:cubicBezTo>
                        <a:pt x="380835" y="89967"/>
                        <a:pt x="380835" y="89967"/>
                        <a:pt x="382602" y="88441"/>
                      </a:cubicBezTo>
                      <a:cubicBezTo>
                        <a:pt x="381317" y="88602"/>
                        <a:pt x="381317" y="88602"/>
                        <a:pt x="352319" y="106595"/>
                      </a:cubicBezTo>
                      <a:cubicBezTo>
                        <a:pt x="360271" y="100731"/>
                        <a:pt x="360512" y="100571"/>
                        <a:pt x="374168" y="91494"/>
                      </a:cubicBezTo>
                      <a:cubicBezTo>
                        <a:pt x="372641" y="92136"/>
                        <a:pt x="370553" y="93020"/>
                        <a:pt x="357941" y="100731"/>
                      </a:cubicBezTo>
                      <a:cubicBezTo>
                        <a:pt x="358905" y="100008"/>
                        <a:pt x="360110" y="98964"/>
                        <a:pt x="361074" y="98161"/>
                      </a:cubicBezTo>
                      <a:cubicBezTo>
                        <a:pt x="360914" y="98161"/>
                        <a:pt x="339948" y="104587"/>
                        <a:pt x="309263" y="129649"/>
                      </a:cubicBezTo>
                      <a:cubicBezTo>
                        <a:pt x="325168" y="114708"/>
                        <a:pt x="325168" y="114708"/>
                        <a:pt x="329827" y="110692"/>
                      </a:cubicBezTo>
                      <a:cubicBezTo>
                        <a:pt x="328461" y="111013"/>
                        <a:pt x="325248" y="111897"/>
                        <a:pt x="305086" y="124348"/>
                      </a:cubicBezTo>
                      <a:cubicBezTo>
                        <a:pt x="305327" y="123866"/>
                        <a:pt x="305648" y="123223"/>
                        <a:pt x="305809" y="122741"/>
                      </a:cubicBezTo>
                      <a:cubicBezTo>
                        <a:pt x="304443" y="122902"/>
                        <a:pt x="302756" y="123384"/>
                        <a:pt x="301471" y="123866"/>
                      </a:cubicBezTo>
                      <a:cubicBezTo>
                        <a:pt x="299061" y="122420"/>
                        <a:pt x="297374" y="121376"/>
                        <a:pt x="268135" y="135754"/>
                      </a:cubicBezTo>
                      <a:cubicBezTo>
                        <a:pt x="272151" y="134067"/>
                        <a:pt x="272151" y="134067"/>
                        <a:pt x="274400" y="133585"/>
                      </a:cubicBezTo>
                      <a:cubicBezTo>
                        <a:pt x="269982" y="136638"/>
                        <a:pt x="265002" y="138646"/>
                        <a:pt x="260504" y="141618"/>
                      </a:cubicBezTo>
                      <a:cubicBezTo>
                        <a:pt x="261066" y="141779"/>
                        <a:pt x="261869" y="141940"/>
                        <a:pt x="262512" y="142100"/>
                      </a:cubicBezTo>
                      <a:cubicBezTo>
                        <a:pt x="251105" y="148286"/>
                        <a:pt x="240181" y="155756"/>
                        <a:pt x="240100" y="155756"/>
                      </a:cubicBezTo>
                      <a:cubicBezTo>
                        <a:pt x="244197" y="156238"/>
                        <a:pt x="244920" y="156318"/>
                        <a:pt x="263395" y="149651"/>
                      </a:cubicBezTo>
                      <a:cubicBezTo>
                        <a:pt x="227489" y="164512"/>
                        <a:pt x="227489" y="164512"/>
                        <a:pt x="226846" y="167082"/>
                      </a:cubicBezTo>
                      <a:cubicBezTo>
                        <a:pt x="228051" y="167163"/>
                        <a:pt x="228051" y="167163"/>
                        <a:pt x="259620" y="155676"/>
                      </a:cubicBezTo>
                      <a:cubicBezTo>
                        <a:pt x="222428" y="171661"/>
                        <a:pt x="222428" y="171661"/>
                        <a:pt x="222428" y="175838"/>
                      </a:cubicBezTo>
                      <a:cubicBezTo>
                        <a:pt x="223874" y="176159"/>
                        <a:pt x="223874" y="176159"/>
                        <a:pt x="242912" y="170054"/>
                      </a:cubicBezTo>
                      <a:cubicBezTo>
                        <a:pt x="238976" y="172223"/>
                        <a:pt x="235120" y="174472"/>
                        <a:pt x="231264" y="176722"/>
                      </a:cubicBezTo>
                      <a:cubicBezTo>
                        <a:pt x="245804" y="171581"/>
                        <a:pt x="255604" y="167163"/>
                        <a:pt x="273276" y="157844"/>
                      </a:cubicBezTo>
                      <a:cubicBezTo>
                        <a:pt x="265002" y="162905"/>
                        <a:pt x="264681" y="163387"/>
                        <a:pt x="262753" y="166841"/>
                      </a:cubicBezTo>
                      <a:cubicBezTo>
                        <a:pt x="263074" y="167484"/>
                        <a:pt x="263556" y="168368"/>
                        <a:pt x="263877" y="169010"/>
                      </a:cubicBezTo>
                      <a:cubicBezTo>
                        <a:pt x="229818" y="178328"/>
                        <a:pt x="229256" y="178971"/>
                        <a:pt x="199374" y="211584"/>
                      </a:cubicBezTo>
                      <a:cubicBezTo>
                        <a:pt x="202266" y="202186"/>
                        <a:pt x="204595" y="192627"/>
                        <a:pt x="208049" y="183469"/>
                      </a:cubicBezTo>
                      <a:cubicBezTo>
                        <a:pt x="198330" y="190538"/>
                        <a:pt x="193430" y="194072"/>
                        <a:pt x="185317" y="201382"/>
                      </a:cubicBezTo>
                      <a:cubicBezTo>
                        <a:pt x="174794" y="210861"/>
                        <a:pt x="171741" y="227810"/>
                        <a:pt x="155194" y="231264"/>
                      </a:cubicBezTo>
                      <a:cubicBezTo>
                        <a:pt x="155354" y="231827"/>
                        <a:pt x="155676" y="232469"/>
                        <a:pt x="155836" y="233032"/>
                      </a:cubicBezTo>
                      <a:cubicBezTo>
                        <a:pt x="159531" y="234076"/>
                        <a:pt x="159531" y="234076"/>
                        <a:pt x="163307" y="234718"/>
                      </a:cubicBezTo>
                      <a:cubicBezTo>
                        <a:pt x="122661" y="242751"/>
                        <a:pt x="122661" y="242751"/>
                        <a:pt x="121456" y="252551"/>
                      </a:cubicBezTo>
                      <a:cubicBezTo>
                        <a:pt x="117359" y="255764"/>
                        <a:pt x="114628" y="257772"/>
                        <a:pt x="109969" y="261066"/>
                      </a:cubicBezTo>
                      <a:cubicBezTo>
                        <a:pt x="115753" y="260102"/>
                        <a:pt x="120090" y="257933"/>
                        <a:pt x="127882" y="252230"/>
                      </a:cubicBezTo>
                      <a:cubicBezTo>
                        <a:pt x="126115" y="253676"/>
                        <a:pt x="123705" y="255684"/>
                        <a:pt x="121938" y="257210"/>
                      </a:cubicBezTo>
                      <a:cubicBezTo>
                        <a:pt x="122420" y="257371"/>
                        <a:pt x="123143" y="257612"/>
                        <a:pt x="123625" y="257772"/>
                      </a:cubicBezTo>
                      <a:cubicBezTo>
                        <a:pt x="119448" y="269501"/>
                        <a:pt x="103221" y="267492"/>
                        <a:pt x="99125" y="279301"/>
                      </a:cubicBezTo>
                      <a:cubicBezTo>
                        <a:pt x="102338" y="278658"/>
                        <a:pt x="102338" y="278658"/>
                        <a:pt x="107479" y="276409"/>
                      </a:cubicBezTo>
                      <a:cubicBezTo>
                        <a:pt x="94948" y="284522"/>
                        <a:pt x="94948" y="284522"/>
                        <a:pt x="91574" y="285164"/>
                      </a:cubicBezTo>
                      <a:cubicBezTo>
                        <a:pt x="90690" y="281871"/>
                        <a:pt x="90369" y="280505"/>
                        <a:pt x="99205" y="266368"/>
                      </a:cubicBezTo>
                      <a:cubicBezTo>
                        <a:pt x="88843" y="270705"/>
                        <a:pt x="88843" y="270705"/>
                        <a:pt x="74464" y="289984"/>
                      </a:cubicBezTo>
                      <a:cubicBezTo>
                        <a:pt x="56230" y="291751"/>
                        <a:pt x="47152" y="297535"/>
                        <a:pt x="40003" y="312074"/>
                      </a:cubicBezTo>
                      <a:cubicBezTo>
                        <a:pt x="44100" y="307737"/>
                        <a:pt x="46992" y="305005"/>
                        <a:pt x="52133" y="300909"/>
                      </a:cubicBezTo>
                      <a:cubicBezTo>
                        <a:pt x="47072" y="305568"/>
                        <a:pt x="44261" y="308379"/>
                        <a:pt x="40244" y="312797"/>
                      </a:cubicBezTo>
                      <a:cubicBezTo>
                        <a:pt x="41289" y="312958"/>
                        <a:pt x="42654" y="313360"/>
                        <a:pt x="43618" y="313922"/>
                      </a:cubicBezTo>
                      <a:cubicBezTo>
                        <a:pt x="46430" y="312637"/>
                        <a:pt x="48598" y="310468"/>
                        <a:pt x="50767" y="308379"/>
                      </a:cubicBezTo>
                      <a:cubicBezTo>
                        <a:pt x="46510" y="312958"/>
                        <a:pt x="46992" y="313922"/>
                        <a:pt x="48197" y="316251"/>
                      </a:cubicBezTo>
                      <a:cubicBezTo>
                        <a:pt x="51330" y="313440"/>
                        <a:pt x="52293" y="312717"/>
                        <a:pt x="56069" y="309986"/>
                      </a:cubicBezTo>
                      <a:cubicBezTo>
                        <a:pt x="52615" y="317456"/>
                        <a:pt x="53177" y="318340"/>
                        <a:pt x="54462" y="320428"/>
                      </a:cubicBezTo>
                      <a:cubicBezTo>
                        <a:pt x="58961" y="319866"/>
                        <a:pt x="62334" y="317296"/>
                        <a:pt x="70849" y="310147"/>
                      </a:cubicBezTo>
                      <a:cubicBezTo>
                        <a:pt x="69162" y="315287"/>
                        <a:pt x="69323" y="316733"/>
                        <a:pt x="69564" y="318500"/>
                      </a:cubicBezTo>
                      <a:cubicBezTo>
                        <a:pt x="70046" y="318741"/>
                        <a:pt x="70769" y="319143"/>
                        <a:pt x="71251" y="319384"/>
                      </a:cubicBezTo>
                      <a:cubicBezTo>
                        <a:pt x="74062" y="318179"/>
                        <a:pt x="75428" y="317456"/>
                        <a:pt x="81774" y="310789"/>
                      </a:cubicBezTo>
                      <a:cubicBezTo>
                        <a:pt x="95510" y="324525"/>
                        <a:pt x="102659" y="322437"/>
                        <a:pt x="102900" y="304523"/>
                      </a:cubicBezTo>
                      <a:cubicBezTo>
                        <a:pt x="102980" y="300828"/>
                        <a:pt x="102739" y="296009"/>
                        <a:pt x="102659" y="292314"/>
                      </a:cubicBezTo>
                      <a:cubicBezTo>
                        <a:pt x="106836" y="292233"/>
                        <a:pt x="109166" y="292153"/>
                        <a:pt x="112218" y="285084"/>
                      </a:cubicBezTo>
                      <a:cubicBezTo>
                        <a:pt x="124026" y="289824"/>
                        <a:pt x="136477" y="285004"/>
                        <a:pt x="144831" y="280104"/>
                      </a:cubicBezTo>
                      <a:cubicBezTo>
                        <a:pt x="145313" y="279783"/>
                        <a:pt x="193108" y="245643"/>
                        <a:pt x="189735" y="239940"/>
                      </a:cubicBezTo>
                      <a:cubicBezTo>
                        <a:pt x="188530" y="237931"/>
                        <a:pt x="185397" y="236004"/>
                        <a:pt x="182023" y="233915"/>
                      </a:cubicBezTo>
                      <a:cubicBezTo>
                        <a:pt x="189815" y="237289"/>
                        <a:pt x="196804" y="236486"/>
                        <a:pt x="206122" y="231104"/>
                      </a:cubicBezTo>
                      <a:cubicBezTo>
                        <a:pt x="201864" y="230220"/>
                        <a:pt x="200338" y="227890"/>
                        <a:pt x="205961" y="219296"/>
                      </a:cubicBezTo>
                      <a:cubicBezTo>
                        <a:pt x="219938" y="227890"/>
                        <a:pt x="224356" y="216805"/>
                        <a:pt x="227569" y="208773"/>
                      </a:cubicBezTo>
                      <a:cubicBezTo>
                        <a:pt x="228694" y="212869"/>
                        <a:pt x="230863" y="216404"/>
                        <a:pt x="238253" y="211825"/>
                      </a:cubicBezTo>
                      <a:cubicBezTo>
                        <a:pt x="238815" y="211504"/>
                        <a:pt x="239458" y="211022"/>
                        <a:pt x="239940" y="210700"/>
                      </a:cubicBezTo>
                      <a:cubicBezTo>
                        <a:pt x="248454" y="204435"/>
                        <a:pt x="254881" y="195920"/>
                        <a:pt x="263074" y="189333"/>
                      </a:cubicBezTo>
                      <a:cubicBezTo>
                        <a:pt x="282273" y="173910"/>
                        <a:pt x="305568" y="164592"/>
                        <a:pt x="324525" y="148687"/>
                      </a:cubicBezTo>
                      <a:cubicBezTo>
                        <a:pt x="318018" y="152061"/>
                        <a:pt x="310950" y="153989"/>
                        <a:pt x="304363" y="157041"/>
                      </a:cubicBezTo>
                      <a:cubicBezTo>
                        <a:pt x="324043" y="146197"/>
                        <a:pt x="334164" y="139610"/>
                        <a:pt x="363484" y="113664"/>
                      </a:cubicBezTo>
                      <a:moveTo>
                        <a:pt x="483655" y="142422"/>
                      </a:moveTo>
                      <a:cubicBezTo>
                        <a:pt x="481245" y="138807"/>
                        <a:pt x="476666" y="134710"/>
                        <a:pt x="472650" y="133184"/>
                      </a:cubicBezTo>
                      <a:cubicBezTo>
                        <a:pt x="466384" y="138245"/>
                        <a:pt x="464617" y="136558"/>
                        <a:pt x="458110" y="130372"/>
                      </a:cubicBezTo>
                      <a:cubicBezTo>
                        <a:pt x="459637" y="140333"/>
                        <a:pt x="460440" y="145795"/>
                        <a:pt x="460440" y="162343"/>
                      </a:cubicBezTo>
                      <a:cubicBezTo>
                        <a:pt x="456825" y="142181"/>
                        <a:pt x="453692" y="133746"/>
                        <a:pt x="444053" y="117279"/>
                      </a:cubicBezTo>
                      <a:cubicBezTo>
                        <a:pt x="442848" y="119528"/>
                        <a:pt x="442848" y="119528"/>
                        <a:pt x="442848" y="131336"/>
                      </a:cubicBezTo>
                      <a:cubicBezTo>
                        <a:pt x="439474" y="129328"/>
                        <a:pt x="439474" y="129328"/>
                        <a:pt x="432807" y="122902"/>
                      </a:cubicBezTo>
                      <a:cubicBezTo>
                        <a:pt x="434012" y="109567"/>
                        <a:pt x="434012" y="109567"/>
                        <a:pt x="420838" y="84264"/>
                      </a:cubicBezTo>
                      <a:cubicBezTo>
                        <a:pt x="419794" y="84585"/>
                        <a:pt x="418348" y="85067"/>
                        <a:pt x="417304" y="85469"/>
                      </a:cubicBezTo>
                      <a:cubicBezTo>
                        <a:pt x="417224" y="81694"/>
                        <a:pt x="417224" y="81694"/>
                        <a:pt x="414412" y="70849"/>
                      </a:cubicBezTo>
                      <a:cubicBezTo>
                        <a:pt x="413769" y="73741"/>
                        <a:pt x="413769" y="73741"/>
                        <a:pt x="409351" y="85549"/>
                      </a:cubicBezTo>
                      <a:cubicBezTo>
                        <a:pt x="409592" y="84425"/>
                        <a:pt x="409914" y="82899"/>
                        <a:pt x="410155" y="81854"/>
                      </a:cubicBezTo>
                      <a:cubicBezTo>
                        <a:pt x="402042" y="91494"/>
                        <a:pt x="402523" y="93020"/>
                        <a:pt x="404773" y="100410"/>
                      </a:cubicBezTo>
                      <a:cubicBezTo>
                        <a:pt x="403648" y="100169"/>
                        <a:pt x="402202" y="99767"/>
                        <a:pt x="401078" y="99526"/>
                      </a:cubicBezTo>
                      <a:cubicBezTo>
                        <a:pt x="393848" y="110853"/>
                        <a:pt x="392563" y="124508"/>
                        <a:pt x="386779" y="136397"/>
                      </a:cubicBezTo>
                      <a:cubicBezTo>
                        <a:pt x="385574" y="131176"/>
                        <a:pt x="385574" y="131176"/>
                        <a:pt x="386619" y="112861"/>
                      </a:cubicBezTo>
                      <a:cubicBezTo>
                        <a:pt x="382281" y="117359"/>
                        <a:pt x="382281" y="117359"/>
                        <a:pt x="376256" y="132702"/>
                      </a:cubicBezTo>
                      <a:cubicBezTo>
                        <a:pt x="375614" y="128605"/>
                        <a:pt x="375614" y="128605"/>
                        <a:pt x="379068" y="118163"/>
                      </a:cubicBezTo>
                      <a:cubicBezTo>
                        <a:pt x="372240" y="125874"/>
                        <a:pt x="366938" y="134710"/>
                        <a:pt x="360673" y="142743"/>
                      </a:cubicBezTo>
                      <a:cubicBezTo>
                        <a:pt x="364046" y="134549"/>
                        <a:pt x="364046" y="134549"/>
                        <a:pt x="369428" y="122902"/>
                      </a:cubicBezTo>
                      <a:cubicBezTo>
                        <a:pt x="365171" y="125071"/>
                        <a:pt x="362119" y="126677"/>
                        <a:pt x="344366" y="154310"/>
                      </a:cubicBezTo>
                      <a:cubicBezTo>
                        <a:pt x="346696" y="148848"/>
                        <a:pt x="349186" y="143466"/>
                        <a:pt x="351435" y="137923"/>
                      </a:cubicBezTo>
                      <a:cubicBezTo>
                        <a:pt x="350310" y="137521"/>
                        <a:pt x="348864" y="136959"/>
                        <a:pt x="347740" y="136558"/>
                      </a:cubicBezTo>
                      <a:cubicBezTo>
                        <a:pt x="276730" y="195438"/>
                        <a:pt x="276730" y="195438"/>
                        <a:pt x="280505" y="202668"/>
                      </a:cubicBezTo>
                      <a:cubicBezTo>
                        <a:pt x="180256" y="274240"/>
                        <a:pt x="180256" y="274240"/>
                        <a:pt x="195759" y="304845"/>
                      </a:cubicBezTo>
                      <a:cubicBezTo>
                        <a:pt x="172303" y="296169"/>
                        <a:pt x="159531" y="314564"/>
                        <a:pt x="158166" y="318259"/>
                      </a:cubicBezTo>
                      <a:cubicBezTo>
                        <a:pt x="160656" y="317537"/>
                        <a:pt x="163869" y="315930"/>
                        <a:pt x="166038" y="314404"/>
                      </a:cubicBezTo>
                      <a:cubicBezTo>
                        <a:pt x="157523" y="333361"/>
                        <a:pt x="156399" y="335771"/>
                        <a:pt x="166440" y="349025"/>
                      </a:cubicBezTo>
                      <a:cubicBezTo>
                        <a:pt x="195759" y="335369"/>
                        <a:pt x="231666" y="345571"/>
                        <a:pt x="215681" y="410717"/>
                      </a:cubicBezTo>
                      <a:cubicBezTo>
                        <a:pt x="218653" y="410637"/>
                        <a:pt x="222830" y="411681"/>
                        <a:pt x="225159" y="413529"/>
                      </a:cubicBezTo>
                      <a:cubicBezTo>
                        <a:pt x="225079" y="420357"/>
                        <a:pt x="220018" y="426301"/>
                        <a:pt x="221866" y="433450"/>
                      </a:cubicBezTo>
                      <a:cubicBezTo>
                        <a:pt x="222830" y="432807"/>
                        <a:pt x="224035" y="432004"/>
                        <a:pt x="224999" y="431442"/>
                      </a:cubicBezTo>
                      <a:cubicBezTo>
                        <a:pt x="220741" y="440117"/>
                        <a:pt x="220741" y="440117"/>
                        <a:pt x="221143" y="444696"/>
                      </a:cubicBezTo>
                      <a:cubicBezTo>
                        <a:pt x="222187" y="444696"/>
                        <a:pt x="223553" y="444696"/>
                        <a:pt x="224597" y="444696"/>
                      </a:cubicBezTo>
                      <a:cubicBezTo>
                        <a:pt x="215761" y="463573"/>
                        <a:pt x="215761" y="463573"/>
                        <a:pt x="215118" y="466143"/>
                      </a:cubicBezTo>
                      <a:cubicBezTo>
                        <a:pt x="217127" y="465742"/>
                        <a:pt x="219777" y="464457"/>
                        <a:pt x="221384" y="463171"/>
                      </a:cubicBezTo>
                      <a:cubicBezTo>
                        <a:pt x="211745" y="478915"/>
                        <a:pt x="211504" y="480442"/>
                        <a:pt x="210138" y="487752"/>
                      </a:cubicBezTo>
                      <a:cubicBezTo>
                        <a:pt x="211263" y="488314"/>
                        <a:pt x="212708" y="489117"/>
                        <a:pt x="213833" y="489680"/>
                      </a:cubicBezTo>
                      <a:cubicBezTo>
                        <a:pt x="224276" y="486306"/>
                        <a:pt x="227087" y="485422"/>
                        <a:pt x="232790" y="468714"/>
                      </a:cubicBezTo>
                      <a:cubicBezTo>
                        <a:pt x="232630" y="471365"/>
                        <a:pt x="232469" y="474899"/>
                        <a:pt x="232549" y="477550"/>
                      </a:cubicBezTo>
                      <a:cubicBezTo>
                        <a:pt x="233272" y="478273"/>
                        <a:pt x="234317" y="479156"/>
                        <a:pt x="235040" y="479880"/>
                      </a:cubicBezTo>
                      <a:cubicBezTo>
                        <a:pt x="234397" y="480924"/>
                        <a:pt x="233513" y="482289"/>
                        <a:pt x="232871" y="483334"/>
                      </a:cubicBezTo>
                      <a:cubicBezTo>
                        <a:pt x="233192" y="484458"/>
                        <a:pt x="233594" y="485904"/>
                        <a:pt x="233915" y="487029"/>
                      </a:cubicBezTo>
                      <a:cubicBezTo>
                        <a:pt x="238895" y="486547"/>
                        <a:pt x="239056" y="486547"/>
                        <a:pt x="246687" y="483735"/>
                      </a:cubicBezTo>
                      <a:cubicBezTo>
                        <a:pt x="239136" y="495543"/>
                        <a:pt x="239136" y="495543"/>
                        <a:pt x="241145" y="500685"/>
                      </a:cubicBezTo>
                      <a:cubicBezTo>
                        <a:pt x="243233" y="501568"/>
                        <a:pt x="246125" y="502452"/>
                        <a:pt x="248374" y="502934"/>
                      </a:cubicBezTo>
                      <a:cubicBezTo>
                        <a:pt x="247812" y="515224"/>
                        <a:pt x="229577" y="514742"/>
                        <a:pt x="221786" y="513939"/>
                      </a:cubicBezTo>
                      <a:cubicBezTo>
                        <a:pt x="234317" y="518678"/>
                        <a:pt x="234317" y="518678"/>
                        <a:pt x="243554" y="551291"/>
                      </a:cubicBezTo>
                      <a:cubicBezTo>
                        <a:pt x="244599" y="551130"/>
                        <a:pt x="246045" y="550890"/>
                        <a:pt x="247169" y="550729"/>
                      </a:cubicBezTo>
                      <a:cubicBezTo>
                        <a:pt x="248053" y="551452"/>
                        <a:pt x="249258" y="552335"/>
                        <a:pt x="250141" y="553058"/>
                      </a:cubicBezTo>
                      <a:cubicBezTo>
                        <a:pt x="240422" y="565670"/>
                        <a:pt x="224758" y="568722"/>
                        <a:pt x="212066" y="576594"/>
                      </a:cubicBezTo>
                      <a:cubicBezTo>
                        <a:pt x="222910" y="574908"/>
                        <a:pt x="222910" y="574908"/>
                        <a:pt x="232469" y="574908"/>
                      </a:cubicBezTo>
                      <a:cubicBezTo>
                        <a:pt x="232228" y="576514"/>
                        <a:pt x="231827" y="578763"/>
                        <a:pt x="231586" y="580370"/>
                      </a:cubicBezTo>
                      <a:cubicBezTo>
                        <a:pt x="225561" y="584627"/>
                        <a:pt x="223633" y="585993"/>
                        <a:pt x="209817" y="593142"/>
                      </a:cubicBezTo>
                      <a:cubicBezTo>
                        <a:pt x="217207" y="590250"/>
                        <a:pt x="223633" y="587680"/>
                        <a:pt x="237690" y="588403"/>
                      </a:cubicBezTo>
                      <a:cubicBezTo>
                        <a:pt x="211905" y="592901"/>
                        <a:pt x="206925" y="596194"/>
                        <a:pt x="218090" y="612260"/>
                      </a:cubicBezTo>
                      <a:cubicBezTo>
                        <a:pt x="208853" y="619891"/>
                        <a:pt x="208290" y="620534"/>
                        <a:pt x="203872" y="625032"/>
                      </a:cubicBezTo>
                      <a:cubicBezTo>
                        <a:pt x="211263" y="624470"/>
                        <a:pt x="211263" y="624470"/>
                        <a:pt x="232710" y="611617"/>
                      </a:cubicBezTo>
                      <a:cubicBezTo>
                        <a:pt x="222027" y="620373"/>
                        <a:pt x="214556" y="625675"/>
                        <a:pt x="202105" y="633306"/>
                      </a:cubicBezTo>
                      <a:cubicBezTo>
                        <a:pt x="202989" y="633788"/>
                        <a:pt x="204274" y="634431"/>
                        <a:pt x="205158" y="634993"/>
                      </a:cubicBezTo>
                      <a:cubicBezTo>
                        <a:pt x="206041" y="645676"/>
                        <a:pt x="208531" y="649773"/>
                        <a:pt x="228131" y="640696"/>
                      </a:cubicBezTo>
                      <a:cubicBezTo>
                        <a:pt x="210459" y="665116"/>
                        <a:pt x="210459" y="665116"/>
                        <a:pt x="210459" y="665758"/>
                      </a:cubicBezTo>
                      <a:cubicBezTo>
                        <a:pt x="214958" y="666240"/>
                        <a:pt x="216163" y="666321"/>
                        <a:pt x="227007" y="662465"/>
                      </a:cubicBezTo>
                      <a:cubicBezTo>
                        <a:pt x="226605" y="663429"/>
                        <a:pt x="226123" y="664795"/>
                        <a:pt x="225722" y="665758"/>
                      </a:cubicBezTo>
                      <a:cubicBezTo>
                        <a:pt x="232549" y="662465"/>
                        <a:pt x="234558" y="660939"/>
                        <a:pt x="230622" y="652504"/>
                      </a:cubicBezTo>
                      <a:cubicBezTo>
                        <a:pt x="236245" y="661421"/>
                        <a:pt x="236486" y="661822"/>
                        <a:pt x="241225" y="669694"/>
                      </a:cubicBezTo>
                      <a:cubicBezTo>
                        <a:pt x="239940" y="667927"/>
                        <a:pt x="237771" y="665919"/>
                        <a:pt x="235923" y="664714"/>
                      </a:cubicBezTo>
                      <a:cubicBezTo>
                        <a:pt x="233031" y="665598"/>
                        <a:pt x="229417" y="666722"/>
                        <a:pt x="220099" y="675719"/>
                      </a:cubicBezTo>
                      <a:cubicBezTo>
                        <a:pt x="225320" y="676683"/>
                        <a:pt x="230541" y="673149"/>
                        <a:pt x="235763" y="675558"/>
                      </a:cubicBezTo>
                      <a:cubicBezTo>
                        <a:pt x="230059" y="677727"/>
                        <a:pt x="230059" y="677727"/>
                        <a:pt x="221705" y="680217"/>
                      </a:cubicBezTo>
                      <a:cubicBezTo>
                        <a:pt x="217367" y="689696"/>
                        <a:pt x="226605" y="701183"/>
                        <a:pt x="232469" y="707127"/>
                      </a:cubicBezTo>
                      <a:cubicBezTo>
                        <a:pt x="234236" y="705681"/>
                        <a:pt x="236727" y="703914"/>
                        <a:pt x="238654" y="702790"/>
                      </a:cubicBezTo>
                      <a:cubicBezTo>
                        <a:pt x="234236" y="708573"/>
                        <a:pt x="234236" y="708573"/>
                        <a:pt x="232871" y="712991"/>
                      </a:cubicBezTo>
                      <a:cubicBezTo>
                        <a:pt x="235522" y="717329"/>
                        <a:pt x="235522" y="717329"/>
                        <a:pt x="243072" y="719578"/>
                      </a:cubicBezTo>
                      <a:cubicBezTo>
                        <a:pt x="242831" y="720783"/>
                        <a:pt x="242510" y="722309"/>
                        <a:pt x="242269" y="723434"/>
                      </a:cubicBezTo>
                      <a:cubicBezTo>
                        <a:pt x="244438" y="723916"/>
                        <a:pt x="247571" y="723836"/>
                        <a:pt x="249820" y="723354"/>
                      </a:cubicBezTo>
                      <a:cubicBezTo>
                        <a:pt x="248053" y="725121"/>
                        <a:pt x="246125" y="728013"/>
                        <a:pt x="245081" y="730262"/>
                      </a:cubicBezTo>
                      <a:cubicBezTo>
                        <a:pt x="245161" y="730422"/>
                        <a:pt x="257933" y="745123"/>
                        <a:pt x="263958" y="744882"/>
                      </a:cubicBezTo>
                      <a:cubicBezTo>
                        <a:pt x="263074" y="745926"/>
                        <a:pt x="261869" y="747372"/>
                        <a:pt x="260986" y="748496"/>
                      </a:cubicBezTo>
                      <a:cubicBezTo>
                        <a:pt x="261950" y="749139"/>
                        <a:pt x="263235" y="749942"/>
                        <a:pt x="264199" y="750585"/>
                      </a:cubicBezTo>
                      <a:cubicBezTo>
                        <a:pt x="264761" y="749942"/>
                        <a:pt x="265564" y="749139"/>
                        <a:pt x="266207" y="748577"/>
                      </a:cubicBezTo>
                      <a:cubicBezTo>
                        <a:pt x="278095" y="748496"/>
                        <a:pt x="282915" y="746568"/>
                        <a:pt x="292233" y="740222"/>
                      </a:cubicBezTo>
                      <a:cubicBezTo>
                        <a:pt x="292554" y="742873"/>
                        <a:pt x="292795" y="746408"/>
                        <a:pt x="292795" y="748978"/>
                      </a:cubicBezTo>
                      <a:cubicBezTo>
                        <a:pt x="297695" y="753236"/>
                        <a:pt x="298097" y="753557"/>
                        <a:pt x="309022" y="749380"/>
                      </a:cubicBezTo>
                      <a:cubicBezTo>
                        <a:pt x="308620" y="750424"/>
                        <a:pt x="308138" y="751870"/>
                        <a:pt x="307736" y="752995"/>
                      </a:cubicBezTo>
                      <a:cubicBezTo>
                        <a:pt x="306451" y="753637"/>
                        <a:pt x="304684" y="754441"/>
                        <a:pt x="303399" y="755083"/>
                      </a:cubicBezTo>
                      <a:cubicBezTo>
                        <a:pt x="304443" y="758939"/>
                        <a:pt x="308058" y="766891"/>
                        <a:pt x="318661" y="756127"/>
                      </a:cubicBezTo>
                      <a:cubicBezTo>
                        <a:pt x="317456" y="757814"/>
                        <a:pt x="316171" y="760385"/>
                        <a:pt x="315689" y="762393"/>
                      </a:cubicBezTo>
                      <a:cubicBezTo>
                        <a:pt x="316894" y="762714"/>
                        <a:pt x="318500" y="763116"/>
                        <a:pt x="319705" y="763437"/>
                      </a:cubicBezTo>
                      <a:cubicBezTo>
                        <a:pt x="319866" y="764000"/>
                        <a:pt x="320107" y="764642"/>
                        <a:pt x="320268" y="765205"/>
                      </a:cubicBezTo>
                      <a:cubicBezTo>
                        <a:pt x="322356" y="765124"/>
                        <a:pt x="325087" y="764642"/>
                        <a:pt x="327096" y="764000"/>
                      </a:cubicBezTo>
                      <a:cubicBezTo>
                        <a:pt x="326051" y="763357"/>
                        <a:pt x="324686" y="762473"/>
                        <a:pt x="323641" y="761750"/>
                      </a:cubicBezTo>
                      <a:cubicBezTo>
                        <a:pt x="336735" y="744801"/>
                        <a:pt x="336735" y="744801"/>
                        <a:pt x="346615" y="723434"/>
                      </a:cubicBezTo>
                      <a:cubicBezTo>
                        <a:pt x="345410" y="723273"/>
                        <a:pt x="343884" y="723113"/>
                        <a:pt x="342679" y="722952"/>
                      </a:cubicBezTo>
                      <a:cubicBezTo>
                        <a:pt x="348704" y="716445"/>
                        <a:pt x="349748" y="714437"/>
                        <a:pt x="348864" y="703673"/>
                      </a:cubicBezTo>
                      <a:cubicBezTo>
                        <a:pt x="346214" y="703593"/>
                        <a:pt x="342599" y="703111"/>
                        <a:pt x="340028" y="702468"/>
                      </a:cubicBezTo>
                      <a:cubicBezTo>
                        <a:pt x="343723" y="701424"/>
                        <a:pt x="348623" y="699898"/>
                        <a:pt x="352319" y="698693"/>
                      </a:cubicBezTo>
                      <a:cubicBezTo>
                        <a:pt x="352559" y="697247"/>
                        <a:pt x="352961" y="695399"/>
                        <a:pt x="353202" y="693954"/>
                      </a:cubicBezTo>
                      <a:cubicBezTo>
                        <a:pt x="351837" y="692588"/>
                        <a:pt x="349909" y="690821"/>
                        <a:pt x="348543" y="689455"/>
                      </a:cubicBezTo>
                      <a:cubicBezTo>
                        <a:pt x="368946" y="695881"/>
                        <a:pt x="369830" y="671141"/>
                        <a:pt x="369830" y="670900"/>
                      </a:cubicBezTo>
                      <a:cubicBezTo>
                        <a:pt x="367018" y="668249"/>
                        <a:pt x="367018" y="668249"/>
                        <a:pt x="359628" y="664795"/>
                      </a:cubicBezTo>
                      <a:cubicBezTo>
                        <a:pt x="366537" y="663991"/>
                        <a:pt x="368384" y="663750"/>
                        <a:pt x="374650" y="656922"/>
                      </a:cubicBezTo>
                      <a:cubicBezTo>
                        <a:pt x="374409" y="652424"/>
                        <a:pt x="373364" y="648167"/>
                        <a:pt x="364528" y="648890"/>
                      </a:cubicBezTo>
                      <a:cubicBezTo>
                        <a:pt x="364127" y="647685"/>
                        <a:pt x="363645" y="646158"/>
                        <a:pt x="363323" y="644954"/>
                      </a:cubicBezTo>
                      <a:cubicBezTo>
                        <a:pt x="376096" y="643668"/>
                        <a:pt x="378425" y="643508"/>
                        <a:pt x="383646" y="636358"/>
                      </a:cubicBezTo>
                      <a:lnTo>
                        <a:pt x="383646" y="636358"/>
                      </a:lnTo>
                      <a:cubicBezTo>
                        <a:pt x="393768" y="623104"/>
                        <a:pt x="393768" y="623104"/>
                        <a:pt x="397222" y="618767"/>
                      </a:cubicBezTo>
                      <a:cubicBezTo>
                        <a:pt x="398266" y="619088"/>
                        <a:pt x="399632" y="619489"/>
                        <a:pt x="400596" y="619811"/>
                      </a:cubicBezTo>
                      <a:cubicBezTo>
                        <a:pt x="401399" y="619088"/>
                        <a:pt x="402443" y="618204"/>
                        <a:pt x="403246" y="617481"/>
                      </a:cubicBezTo>
                      <a:cubicBezTo>
                        <a:pt x="409673" y="622863"/>
                        <a:pt x="411842" y="624631"/>
                        <a:pt x="423168" y="619329"/>
                      </a:cubicBezTo>
                      <a:cubicBezTo>
                        <a:pt x="423409" y="618124"/>
                        <a:pt x="423650" y="616598"/>
                        <a:pt x="423891" y="615393"/>
                      </a:cubicBezTo>
                      <a:cubicBezTo>
                        <a:pt x="424614" y="616196"/>
                        <a:pt x="425578" y="617240"/>
                        <a:pt x="426220" y="618044"/>
                      </a:cubicBezTo>
                      <a:cubicBezTo>
                        <a:pt x="432727" y="614831"/>
                        <a:pt x="436502" y="612501"/>
                        <a:pt x="431843" y="603826"/>
                      </a:cubicBezTo>
                      <a:cubicBezTo>
                        <a:pt x="456263" y="591455"/>
                        <a:pt x="469035" y="573703"/>
                        <a:pt x="472007" y="547757"/>
                      </a:cubicBezTo>
                      <a:cubicBezTo>
                        <a:pt x="502452" y="566794"/>
                        <a:pt x="562296" y="508556"/>
                        <a:pt x="569686" y="498034"/>
                      </a:cubicBezTo>
                      <a:cubicBezTo>
                        <a:pt x="569445" y="497632"/>
                        <a:pt x="569445" y="497632"/>
                        <a:pt x="565750" y="486788"/>
                      </a:cubicBezTo>
                      <a:cubicBezTo>
                        <a:pt x="560047" y="485020"/>
                        <a:pt x="557878" y="484298"/>
                        <a:pt x="524943" y="497712"/>
                      </a:cubicBezTo>
                      <a:cubicBezTo>
                        <a:pt x="526791" y="495142"/>
                        <a:pt x="529120" y="491607"/>
                        <a:pt x="530406" y="488715"/>
                      </a:cubicBezTo>
                      <a:cubicBezTo>
                        <a:pt x="529602" y="487912"/>
                        <a:pt x="528558" y="486788"/>
                        <a:pt x="527755" y="485984"/>
                      </a:cubicBezTo>
                      <a:cubicBezTo>
                        <a:pt x="526630" y="486065"/>
                        <a:pt x="526630" y="486065"/>
                        <a:pt x="502692" y="489278"/>
                      </a:cubicBezTo>
                      <a:cubicBezTo>
                        <a:pt x="516750" y="481245"/>
                        <a:pt x="513135" y="478032"/>
                        <a:pt x="507512" y="473132"/>
                      </a:cubicBezTo>
                      <a:cubicBezTo>
                        <a:pt x="512171" y="470080"/>
                        <a:pt x="512171" y="470080"/>
                        <a:pt x="532173" y="462368"/>
                      </a:cubicBezTo>
                      <a:cubicBezTo>
                        <a:pt x="531611" y="460842"/>
                        <a:pt x="530807" y="458833"/>
                        <a:pt x="530165" y="457307"/>
                      </a:cubicBezTo>
                      <a:cubicBezTo>
                        <a:pt x="556512" y="464296"/>
                        <a:pt x="571453" y="465661"/>
                        <a:pt x="576675" y="465983"/>
                      </a:cubicBezTo>
                      <a:cubicBezTo>
                        <a:pt x="577558" y="468392"/>
                        <a:pt x="578843" y="471606"/>
                        <a:pt x="579727" y="474096"/>
                      </a:cubicBezTo>
                      <a:cubicBezTo>
                        <a:pt x="583904" y="463975"/>
                        <a:pt x="583743" y="463171"/>
                        <a:pt x="582860" y="455379"/>
                      </a:cubicBezTo>
                      <a:cubicBezTo>
                        <a:pt x="568561" y="446222"/>
                        <a:pt x="568561" y="446222"/>
                        <a:pt x="573461" y="439073"/>
                      </a:cubicBezTo>
                      <a:cubicBezTo>
                        <a:pt x="564224" y="434896"/>
                        <a:pt x="550006" y="429835"/>
                        <a:pt x="534583" y="429434"/>
                      </a:cubicBezTo>
                      <a:cubicBezTo>
                        <a:pt x="536350" y="421642"/>
                        <a:pt x="536029" y="420838"/>
                        <a:pt x="534181" y="416983"/>
                      </a:cubicBezTo>
                      <a:cubicBezTo>
                        <a:pt x="527193" y="415858"/>
                        <a:pt x="527193" y="415858"/>
                        <a:pt x="517714" y="420999"/>
                      </a:cubicBezTo>
                      <a:cubicBezTo>
                        <a:pt x="535065" y="407022"/>
                        <a:pt x="549443" y="416179"/>
                        <a:pt x="566473" y="429594"/>
                      </a:cubicBezTo>
                      <a:cubicBezTo>
                        <a:pt x="551371" y="417063"/>
                        <a:pt x="537956" y="408227"/>
                        <a:pt x="517714" y="403166"/>
                      </a:cubicBezTo>
                      <a:cubicBezTo>
                        <a:pt x="519963" y="402604"/>
                        <a:pt x="522855" y="401238"/>
                        <a:pt x="524622" y="399712"/>
                      </a:cubicBezTo>
                      <a:cubicBezTo>
                        <a:pt x="524542" y="394892"/>
                        <a:pt x="524542" y="394170"/>
                        <a:pt x="518758" y="387261"/>
                      </a:cubicBezTo>
                      <a:cubicBezTo>
                        <a:pt x="523899" y="391679"/>
                        <a:pt x="523899" y="391679"/>
                        <a:pt x="529120" y="392001"/>
                      </a:cubicBezTo>
                      <a:cubicBezTo>
                        <a:pt x="541973" y="379389"/>
                        <a:pt x="558279" y="398748"/>
                        <a:pt x="571293" y="387422"/>
                      </a:cubicBezTo>
                      <a:cubicBezTo>
                        <a:pt x="570730" y="385253"/>
                        <a:pt x="570168" y="382361"/>
                        <a:pt x="569766" y="380193"/>
                      </a:cubicBezTo>
                      <a:cubicBezTo>
                        <a:pt x="549363" y="375453"/>
                        <a:pt x="549363" y="375453"/>
                        <a:pt x="549122" y="367581"/>
                      </a:cubicBezTo>
                      <a:cubicBezTo>
                        <a:pt x="569043" y="374891"/>
                        <a:pt x="565670" y="354889"/>
                        <a:pt x="565589" y="354648"/>
                      </a:cubicBezTo>
                      <a:cubicBezTo>
                        <a:pt x="562938" y="346937"/>
                        <a:pt x="551933" y="345169"/>
                        <a:pt x="537796" y="343643"/>
                      </a:cubicBezTo>
                      <a:cubicBezTo>
                        <a:pt x="544945" y="310387"/>
                        <a:pt x="544945" y="310387"/>
                        <a:pt x="517152" y="295848"/>
                      </a:cubicBezTo>
                      <a:cubicBezTo>
                        <a:pt x="517553" y="294884"/>
                        <a:pt x="518196" y="293599"/>
                        <a:pt x="518597" y="292635"/>
                      </a:cubicBezTo>
                      <a:cubicBezTo>
                        <a:pt x="527112" y="290868"/>
                        <a:pt x="535547" y="288779"/>
                        <a:pt x="544061" y="287173"/>
                      </a:cubicBezTo>
                      <a:cubicBezTo>
                        <a:pt x="542535" y="272633"/>
                        <a:pt x="525827" y="273919"/>
                        <a:pt x="519883" y="263878"/>
                      </a:cubicBezTo>
                      <a:cubicBezTo>
                        <a:pt x="521650" y="262191"/>
                        <a:pt x="523979" y="259942"/>
                        <a:pt x="525666" y="258094"/>
                      </a:cubicBezTo>
                      <a:cubicBezTo>
                        <a:pt x="522132" y="259861"/>
                        <a:pt x="518758" y="261869"/>
                        <a:pt x="515304" y="263637"/>
                      </a:cubicBezTo>
                      <a:cubicBezTo>
                        <a:pt x="503978" y="223633"/>
                        <a:pt x="508235" y="179292"/>
                        <a:pt x="483655" y="142422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6" name="Freeform: Shape 425">
                  <a:extLst>
                    <a:ext uri="{FF2B5EF4-FFF2-40B4-BE49-F238E27FC236}">
                      <a16:creationId xmlns:a16="http://schemas.microsoft.com/office/drawing/2014/main" id="{7B221119-D24D-896D-3F57-A0D2372969C4}"/>
                    </a:ext>
                  </a:extLst>
                </p:cNvPr>
                <p:cNvSpPr/>
                <p:nvPr/>
              </p:nvSpPr>
              <p:spPr>
                <a:xfrm>
                  <a:off x="-5007033" y="1910256"/>
                  <a:ext cx="2039198" cy="1686927"/>
                </a:xfrm>
                <a:custGeom>
                  <a:avLst/>
                  <a:gdLst>
                    <a:gd name="connsiteX0" fmla="*/ 166194 w 2039198"/>
                    <a:gd name="connsiteY0" fmla="*/ 373445 h 1686927"/>
                    <a:gd name="connsiteX1" fmla="*/ 166194 w 2039198"/>
                    <a:gd name="connsiteY1" fmla="*/ 373445 h 1686927"/>
                    <a:gd name="connsiteX2" fmla="*/ 166194 w 2039198"/>
                    <a:gd name="connsiteY2" fmla="*/ 373445 h 1686927"/>
                    <a:gd name="connsiteX3" fmla="*/ 166194 w 2039198"/>
                    <a:gd name="connsiteY3" fmla="*/ 373445 h 1686927"/>
                    <a:gd name="connsiteX4" fmla="*/ 166194 w 2039198"/>
                    <a:gd name="connsiteY4" fmla="*/ 373445 h 1686927"/>
                    <a:gd name="connsiteX5" fmla="*/ 166194 w 2039198"/>
                    <a:gd name="connsiteY5" fmla="*/ 373445 h 1686927"/>
                    <a:gd name="connsiteX6" fmla="*/ 166194 w 2039198"/>
                    <a:gd name="connsiteY6" fmla="*/ 373445 h 1686927"/>
                    <a:gd name="connsiteX7" fmla="*/ 166194 w 2039198"/>
                    <a:gd name="connsiteY7" fmla="*/ 373445 h 1686927"/>
                    <a:gd name="connsiteX8" fmla="*/ 166194 w 2039198"/>
                    <a:gd name="connsiteY8" fmla="*/ 373445 h 1686927"/>
                    <a:gd name="connsiteX9" fmla="*/ 166194 w 2039198"/>
                    <a:gd name="connsiteY9" fmla="*/ 373445 h 1686927"/>
                    <a:gd name="connsiteX10" fmla="*/ 166194 w 2039198"/>
                    <a:gd name="connsiteY10" fmla="*/ 373445 h 1686927"/>
                    <a:gd name="connsiteX11" fmla="*/ 166194 w 2039198"/>
                    <a:gd name="connsiteY11" fmla="*/ 373445 h 1686927"/>
                    <a:gd name="connsiteX12" fmla="*/ 166194 w 2039198"/>
                    <a:gd name="connsiteY12" fmla="*/ 373445 h 1686927"/>
                    <a:gd name="connsiteX13" fmla="*/ 166194 w 2039198"/>
                    <a:gd name="connsiteY13" fmla="*/ 373445 h 1686927"/>
                    <a:gd name="connsiteX14" fmla="*/ 166194 w 2039198"/>
                    <a:gd name="connsiteY14" fmla="*/ 373445 h 1686927"/>
                    <a:gd name="connsiteX15" fmla="*/ 166194 w 2039198"/>
                    <a:gd name="connsiteY15" fmla="*/ 373445 h 1686927"/>
                    <a:gd name="connsiteX16" fmla="*/ 166194 w 2039198"/>
                    <a:gd name="connsiteY16" fmla="*/ 373445 h 1686927"/>
                    <a:gd name="connsiteX17" fmla="*/ 166194 w 2039198"/>
                    <a:gd name="connsiteY17" fmla="*/ 373445 h 1686927"/>
                    <a:gd name="connsiteX18" fmla="*/ 166194 w 2039198"/>
                    <a:gd name="connsiteY18" fmla="*/ 373445 h 1686927"/>
                    <a:gd name="connsiteX19" fmla="*/ 166194 w 2039198"/>
                    <a:gd name="connsiteY19" fmla="*/ 373445 h 1686927"/>
                    <a:gd name="connsiteX20" fmla="*/ 166194 w 2039198"/>
                    <a:gd name="connsiteY20" fmla="*/ 373445 h 1686927"/>
                    <a:gd name="connsiteX21" fmla="*/ 166194 w 2039198"/>
                    <a:gd name="connsiteY21" fmla="*/ 373445 h 1686927"/>
                    <a:gd name="connsiteX22" fmla="*/ 166194 w 2039198"/>
                    <a:gd name="connsiteY22" fmla="*/ 373445 h 1686927"/>
                    <a:gd name="connsiteX23" fmla="*/ 166194 w 2039198"/>
                    <a:gd name="connsiteY23" fmla="*/ 373445 h 1686927"/>
                    <a:gd name="connsiteX24" fmla="*/ 166194 w 2039198"/>
                    <a:gd name="connsiteY24" fmla="*/ 373445 h 1686927"/>
                    <a:gd name="connsiteX25" fmla="*/ 166194 w 2039198"/>
                    <a:gd name="connsiteY25" fmla="*/ 373445 h 1686927"/>
                    <a:gd name="connsiteX26" fmla="*/ 166194 w 2039198"/>
                    <a:gd name="connsiteY26" fmla="*/ 373445 h 1686927"/>
                    <a:gd name="connsiteX27" fmla="*/ 166194 w 2039198"/>
                    <a:gd name="connsiteY27" fmla="*/ 373445 h 1686927"/>
                    <a:gd name="connsiteX28" fmla="*/ 166194 w 2039198"/>
                    <a:gd name="connsiteY28" fmla="*/ 373445 h 1686927"/>
                    <a:gd name="connsiteX29" fmla="*/ 166194 w 2039198"/>
                    <a:gd name="connsiteY29" fmla="*/ 373445 h 1686927"/>
                    <a:gd name="connsiteX30" fmla="*/ 166194 w 2039198"/>
                    <a:gd name="connsiteY30" fmla="*/ 373445 h 1686927"/>
                    <a:gd name="connsiteX31" fmla="*/ 166194 w 2039198"/>
                    <a:gd name="connsiteY31" fmla="*/ 373445 h 1686927"/>
                    <a:gd name="connsiteX32" fmla="*/ 166194 w 2039198"/>
                    <a:gd name="connsiteY32" fmla="*/ 373445 h 1686927"/>
                    <a:gd name="connsiteX33" fmla="*/ 166194 w 2039198"/>
                    <a:gd name="connsiteY33" fmla="*/ 373445 h 1686927"/>
                    <a:gd name="connsiteX34" fmla="*/ 166194 w 2039198"/>
                    <a:gd name="connsiteY34" fmla="*/ 373445 h 1686927"/>
                    <a:gd name="connsiteX35" fmla="*/ 166194 w 2039198"/>
                    <a:gd name="connsiteY35" fmla="*/ 373445 h 1686927"/>
                    <a:gd name="connsiteX36" fmla="*/ 166194 w 2039198"/>
                    <a:gd name="connsiteY36" fmla="*/ 373445 h 1686927"/>
                    <a:gd name="connsiteX37" fmla="*/ 166194 w 2039198"/>
                    <a:gd name="connsiteY37" fmla="*/ 373445 h 1686927"/>
                    <a:gd name="connsiteX38" fmla="*/ 166194 w 2039198"/>
                    <a:gd name="connsiteY38" fmla="*/ 373445 h 1686927"/>
                    <a:gd name="connsiteX39" fmla="*/ 166194 w 2039198"/>
                    <a:gd name="connsiteY39" fmla="*/ 373445 h 1686927"/>
                    <a:gd name="connsiteX40" fmla="*/ 166194 w 2039198"/>
                    <a:gd name="connsiteY40" fmla="*/ 373445 h 1686927"/>
                    <a:gd name="connsiteX41" fmla="*/ 166194 w 2039198"/>
                    <a:gd name="connsiteY41" fmla="*/ 373445 h 1686927"/>
                    <a:gd name="connsiteX42" fmla="*/ 166194 w 2039198"/>
                    <a:gd name="connsiteY42" fmla="*/ 373445 h 1686927"/>
                    <a:gd name="connsiteX43" fmla="*/ 166194 w 2039198"/>
                    <a:gd name="connsiteY43" fmla="*/ 373445 h 1686927"/>
                    <a:gd name="connsiteX44" fmla="*/ 166194 w 2039198"/>
                    <a:gd name="connsiteY44" fmla="*/ 373445 h 1686927"/>
                    <a:gd name="connsiteX45" fmla="*/ 166194 w 2039198"/>
                    <a:gd name="connsiteY45" fmla="*/ 373445 h 1686927"/>
                    <a:gd name="connsiteX46" fmla="*/ 166194 w 2039198"/>
                    <a:gd name="connsiteY46" fmla="*/ 373445 h 1686927"/>
                    <a:gd name="connsiteX47" fmla="*/ 166194 w 2039198"/>
                    <a:gd name="connsiteY47" fmla="*/ 373445 h 1686927"/>
                    <a:gd name="connsiteX48" fmla="*/ 166194 w 2039198"/>
                    <a:gd name="connsiteY48" fmla="*/ 373445 h 1686927"/>
                    <a:gd name="connsiteX49" fmla="*/ 166194 w 2039198"/>
                    <a:gd name="connsiteY49" fmla="*/ 373445 h 1686927"/>
                    <a:gd name="connsiteX50" fmla="*/ 166194 w 2039198"/>
                    <a:gd name="connsiteY50" fmla="*/ 373445 h 1686927"/>
                    <a:gd name="connsiteX51" fmla="*/ 166194 w 2039198"/>
                    <a:gd name="connsiteY51" fmla="*/ 373445 h 1686927"/>
                    <a:gd name="connsiteX52" fmla="*/ 166194 w 2039198"/>
                    <a:gd name="connsiteY52" fmla="*/ 373445 h 1686927"/>
                    <a:gd name="connsiteX53" fmla="*/ 166194 w 2039198"/>
                    <a:gd name="connsiteY53" fmla="*/ 373445 h 1686927"/>
                    <a:gd name="connsiteX54" fmla="*/ 166194 w 2039198"/>
                    <a:gd name="connsiteY54" fmla="*/ 373445 h 1686927"/>
                    <a:gd name="connsiteX55" fmla="*/ 166194 w 2039198"/>
                    <a:gd name="connsiteY55" fmla="*/ 373445 h 1686927"/>
                    <a:gd name="connsiteX56" fmla="*/ 166194 w 2039198"/>
                    <a:gd name="connsiteY56" fmla="*/ 373445 h 1686927"/>
                    <a:gd name="connsiteX57" fmla="*/ 166194 w 2039198"/>
                    <a:gd name="connsiteY57" fmla="*/ 373445 h 1686927"/>
                    <a:gd name="connsiteX58" fmla="*/ 166194 w 2039198"/>
                    <a:gd name="connsiteY58" fmla="*/ 373445 h 1686927"/>
                    <a:gd name="connsiteX59" fmla="*/ 166194 w 2039198"/>
                    <a:gd name="connsiteY59" fmla="*/ 373445 h 1686927"/>
                    <a:gd name="connsiteX60" fmla="*/ 166194 w 2039198"/>
                    <a:gd name="connsiteY60" fmla="*/ 373445 h 1686927"/>
                    <a:gd name="connsiteX61" fmla="*/ 166194 w 2039198"/>
                    <a:gd name="connsiteY61" fmla="*/ 373445 h 1686927"/>
                    <a:gd name="connsiteX62" fmla="*/ 166194 w 2039198"/>
                    <a:gd name="connsiteY62" fmla="*/ 373445 h 1686927"/>
                    <a:gd name="connsiteX63" fmla="*/ 166194 w 2039198"/>
                    <a:gd name="connsiteY63" fmla="*/ 373445 h 1686927"/>
                    <a:gd name="connsiteX64" fmla="*/ 166194 w 2039198"/>
                    <a:gd name="connsiteY64" fmla="*/ 373445 h 1686927"/>
                    <a:gd name="connsiteX65" fmla="*/ 166194 w 2039198"/>
                    <a:gd name="connsiteY65" fmla="*/ 373445 h 1686927"/>
                    <a:gd name="connsiteX66" fmla="*/ 166194 w 2039198"/>
                    <a:gd name="connsiteY66" fmla="*/ 373445 h 1686927"/>
                    <a:gd name="connsiteX67" fmla="*/ 166194 w 2039198"/>
                    <a:gd name="connsiteY67" fmla="*/ 373445 h 1686927"/>
                    <a:gd name="connsiteX68" fmla="*/ 166194 w 2039198"/>
                    <a:gd name="connsiteY68" fmla="*/ 373445 h 1686927"/>
                    <a:gd name="connsiteX69" fmla="*/ 166194 w 2039198"/>
                    <a:gd name="connsiteY69" fmla="*/ 373445 h 1686927"/>
                    <a:gd name="connsiteX70" fmla="*/ 166194 w 2039198"/>
                    <a:gd name="connsiteY70" fmla="*/ 373445 h 1686927"/>
                    <a:gd name="connsiteX71" fmla="*/ 166194 w 2039198"/>
                    <a:gd name="connsiteY71" fmla="*/ 373445 h 1686927"/>
                    <a:gd name="connsiteX72" fmla="*/ 166194 w 2039198"/>
                    <a:gd name="connsiteY72" fmla="*/ 373445 h 1686927"/>
                    <a:gd name="connsiteX73" fmla="*/ 166194 w 2039198"/>
                    <a:gd name="connsiteY73" fmla="*/ 373445 h 1686927"/>
                    <a:gd name="connsiteX74" fmla="*/ 166194 w 2039198"/>
                    <a:gd name="connsiteY74" fmla="*/ 373445 h 1686927"/>
                    <a:gd name="connsiteX75" fmla="*/ 166194 w 2039198"/>
                    <a:gd name="connsiteY75" fmla="*/ 373445 h 1686927"/>
                    <a:gd name="connsiteX76" fmla="*/ 166194 w 2039198"/>
                    <a:gd name="connsiteY76" fmla="*/ 373445 h 1686927"/>
                    <a:gd name="connsiteX77" fmla="*/ 166194 w 2039198"/>
                    <a:gd name="connsiteY77" fmla="*/ 373445 h 1686927"/>
                    <a:gd name="connsiteX78" fmla="*/ 166194 w 2039198"/>
                    <a:gd name="connsiteY78" fmla="*/ 373445 h 1686927"/>
                    <a:gd name="connsiteX79" fmla="*/ 166194 w 2039198"/>
                    <a:gd name="connsiteY79" fmla="*/ 373445 h 1686927"/>
                    <a:gd name="connsiteX80" fmla="*/ 166194 w 2039198"/>
                    <a:gd name="connsiteY80" fmla="*/ 373445 h 1686927"/>
                    <a:gd name="connsiteX81" fmla="*/ 166194 w 2039198"/>
                    <a:gd name="connsiteY81" fmla="*/ 373445 h 1686927"/>
                    <a:gd name="connsiteX82" fmla="*/ 166194 w 2039198"/>
                    <a:gd name="connsiteY82" fmla="*/ 373445 h 1686927"/>
                    <a:gd name="connsiteX83" fmla="*/ 166194 w 2039198"/>
                    <a:gd name="connsiteY83" fmla="*/ 373445 h 1686927"/>
                    <a:gd name="connsiteX84" fmla="*/ 166194 w 2039198"/>
                    <a:gd name="connsiteY84" fmla="*/ 373445 h 1686927"/>
                    <a:gd name="connsiteX85" fmla="*/ 166194 w 2039198"/>
                    <a:gd name="connsiteY85" fmla="*/ 373445 h 1686927"/>
                    <a:gd name="connsiteX86" fmla="*/ 166275 w 2039198"/>
                    <a:gd name="connsiteY86" fmla="*/ 373445 h 1686927"/>
                    <a:gd name="connsiteX87" fmla="*/ 166275 w 2039198"/>
                    <a:gd name="connsiteY87" fmla="*/ 373445 h 1686927"/>
                    <a:gd name="connsiteX88" fmla="*/ 166275 w 2039198"/>
                    <a:gd name="connsiteY88" fmla="*/ 373445 h 1686927"/>
                    <a:gd name="connsiteX89" fmla="*/ 166275 w 2039198"/>
                    <a:gd name="connsiteY89" fmla="*/ 373445 h 1686927"/>
                    <a:gd name="connsiteX90" fmla="*/ 166275 w 2039198"/>
                    <a:gd name="connsiteY90" fmla="*/ 373445 h 1686927"/>
                    <a:gd name="connsiteX91" fmla="*/ 166275 w 2039198"/>
                    <a:gd name="connsiteY91" fmla="*/ 373445 h 1686927"/>
                    <a:gd name="connsiteX92" fmla="*/ 166275 w 2039198"/>
                    <a:gd name="connsiteY92" fmla="*/ 373445 h 1686927"/>
                    <a:gd name="connsiteX93" fmla="*/ 142096 w 2039198"/>
                    <a:gd name="connsiteY93" fmla="*/ 416179 h 1686927"/>
                    <a:gd name="connsiteX94" fmla="*/ 145068 w 2039198"/>
                    <a:gd name="connsiteY94" fmla="*/ 412163 h 1686927"/>
                    <a:gd name="connsiteX95" fmla="*/ 141373 w 2039198"/>
                    <a:gd name="connsiteY95" fmla="*/ 411681 h 1686927"/>
                    <a:gd name="connsiteX96" fmla="*/ 158965 w 2039198"/>
                    <a:gd name="connsiteY96" fmla="*/ 388305 h 1686927"/>
                    <a:gd name="connsiteX97" fmla="*/ 166596 w 2039198"/>
                    <a:gd name="connsiteY97" fmla="*/ 373284 h 1686927"/>
                    <a:gd name="connsiteX98" fmla="*/ 166275 w 2039198"/>
                    <a:gd name="connsiteY98" fmla="*/ 373445 h 1686927"/>
                    <a:gd name="connsiteX99" fmla="*/ 166596 w 2039198"/>
                    <a:gd name="connsiteY99" fmla="*/ 373284 h 1686927"/>
                    <a:gd name="connsiteX100" fmla="*/ 165070 w 2039198"/>
                    <a:gd name="connsiteY100" fmla="*/ 372561 h 1686927"/>
                    <a:gd name="connsiteX101" fmla="*/ 148361 w 2039198"/>
                    <a:gd name="connsiteY101" fmla="*/ 380915 h 1686927"/>
                    <a:gd name="connsiteX102" fmla="*/ 146353 w 2039198"/>
                    <a:gd name="connsiteY102" fmla="*/ 377461 h 1686927"/>
                    <a:gd name="connsiteX103" fmla="*/ 145871 w 2039198"/>
                    <a:gd name="connsiteY103" fmla="*/ 377702 h 1686927"/>
                    <a:gd name="connsiteX104" fmla="*/ 146112 w 2039198"/>
                    <a:gd name="connsiteY104" fmla="*/ 384450 h 1686927"/>
                    <a:gd name="connsiteX105" fmla="*/ 144747 w 2039198"/>
                    <a:gd name="connsiteY105" fmla="*/ 389028 h 1686927"/>
                    <a:gd name="connsiteX106" fmla="*/ 135991 w 2039198"/>
                    <a:gd name="connsiteY106" fmla="*/ 393768 h 1686927"/>
                    <a:gd name="connsiteX107" fmla="*/ 128360 w 2039198"/>
                    <a:gd name="connsiteY107" fmla="*/ 395696 h 1686927"/>
                    <a:gd name="connsiteX108" fmla="*/ 125307 w 2039198"/>
                    <a:gd name="connsiteY108" fmla="*/ 393366 h 1686927"/>
                    <a:gd name="connsiteX109" fmla="*/ 120970 w 2039198"/>
                    <a:gd name="connsiteY109" fmla="*/ 393205 h 1686927"/>
                    <a:gd name="connsiteX110" fmla="*/ 115989 w 2039198"/>
                    <a:gd name="connsiteY110" fmla="*/ 429433 h 1686927"/>
                    <a:gd name="connsiteX111" fmla="*/ 115989 w 2039198"/>
                    <a:gd name="connsiteY111" fmla="*/ 429433 h 1686927"/>
                    <a:gd name="connsiteX112" fmla="*/ 115989 w 2039198"/>
                    <a:gd name="connsiteY112" fmla="*/ 429433 h 1686927"/>
                    <a:gd name="connsiteX113" fmla="*/ 115989 w 2039198"/>
                    <a:gd name="connsiteY113" fmla="*/ 429433 h 1686927"/>
                    <a:gd name="connsiteX114" fmla="*/ 115989 w 2039198"/>
                    <a:gd name="connsiteY114" fmla="*/ 429433 h 1686927"/>
                    <a:gd name="connsiteX115" fmla="*/ 115989 w 2039198"/>
                    <a:gd name="connsiteY115" fmla="*/ 429433 h 1686927"/>
                    <a:gd name="connsiteX116" fmla="*/ 115989 w 2039198"/>
                    <a:gd name="connsiteY116" fmla="*/ 429433 h 1686927"/>
                    <a:gd name="connsiteX117" fmla="*/ 115989 w 2039198"/>
                    <a:gd name="connsiteY117" fmla="*/ 429433 h 1686927"/>
                    <a:gd name="connsiteX118" fmla="*/ 115989 w 2039198"/>
                    <a:gd name="connsiteY118" fmla="*/ 429433 h 1686927"/>
                    <a:gd name="connsiteX119" fmla="*/ 115989 w 2039198"/>
                    <a:gd name="connsiteY119" fmla="*/ 429433 h 1686927"/>
                    <a:gd name="connsiteX120" fmla="*/ 115989 w 2039198"/>
                    <a:gd name="connsiteY120" fmla="*/ 429433 h 1686927"/>
                    <a:gd name="connsiteX121" fmla="*/ 115989 w 2039198"/>
                    <a:gd name="connsiteY121" fmla="*/ 429433 h 1686927"/>
                    <a:gd name="connsiteX122" fmla="*/ 115989 w 2039198"/>
                    <a:gd name="connsiteY122" fmla="*/ 429433 h 1686927"/>
                    <a:gd name="connsiteX123" fmla="*/ 115989 w 2039198"/>
                    <a:gd name="connsiteY123" fmla="*/ 429433 h 1686927"/>
                    <a:gd name="connsiteX124" fmla="*/ 115989 w 2039198"/>
                    <a:gd name="connsiteY124" fmla="*/ 429433 h 1686927"/>
                    <a:gd name="connsiteX125" fmla="*/ 115989 w 2039198"/>
                    <a:gd name="connsiteY125" fmla="*/ 429433 h 1686927"/>
                    <a:gd name="connsiteX126" fmla="*/ 115989 w 2039198"/>
                    <a:gd name="connsiteY126" fmla="*/ 429433 h 1686927"/>
                    <a:gd name="connsiteX127" fmla="*/ 126834 w 2039198"/>
                    <a:gd name="connsiteY127" fmla="*/ 429996 h 1686927"/>
                    <a:gd name="connsiteX128" fmla="*/ 132216 w 2039198"/>
                    <a:gd name="connsiteY128" fmla="*/ 424212 h 1686927"/>
                    <a:gd name="connsiteX129" fmla="*/ 136553 w 2039198"/>
                    <a:gd name="connsiteY129" fmla="*/ 420517 h 1686927"/>
                    <a:gd name="connsiteX130" fmla="*/ 142096 w 2039198"/>
                    <a:gd name="connsiteY130" fmla="*/ 416179 h 1686927"/>
                    <a:gd name="connsiteX131" fmla="*/ 189811 w 2039198"/>
                    <a:gd name="connsiteY131" fmla="*/ 406379 h 1686927"/>
                    <a:gd name="connsiteX132" fmla="*/ 190293 w 2039198"/>
                    <a:gd name="connsiteY132" fmla="*/ 406058 h 1686927"/>
                    <a:gd name="connsiteX133" fmla="*/ 188365 w 2039198"/>
                    <a:gd name="connsiteY133" fmla="*/ 383566 h 1686927"/>
                    <a:gd name="connsiteX134" fmla="*/ 177199 w 2039198"/>
                    <a:gd name="connsiteY134" fmla="*/ 392161 h 1686927"/>
                    <a:gd name="connsiteX135" fmla="*/ 159768 w 2039198"/>
                    <a:gd name="connsiteY135" fmla="*/ 414974 h 1686927"/>
                    <a:gd name="connsiteX136" fmla="*/ 171416 w 2039198"/>
                    <a:gd name="connsiteY136" fmla="*/ 418669 h 1686927"/>
                    <a:gd name="connsiteX137" fmla="*/ 184991 w 2039198"/>
                    <a:gd name="connsiteY137" fmla="*/ 409191 h 1686927"/>
                    <a:gd name="connsiteX138" fmla="*/ 186678 w 2039198"/>
                    <a:gd name="connsiteY138" fmla="*/ 407343 h 1686927"/>
                    <a:gd name="connsiteX139" fmla="*/ 189811 w 2039198"/>
                    <a:gd name="connsiteY139" fmla="*/ 406379 h 1686927"/>
                    <a:gd name="connsiteX140" fmla="*/ 177119 w 2039198"/>
                    <a:gd name="connsiteY140" fmla="*/ 368705 h 1686927"/>
                    <a:gd name="connsiteX141" fmla="*/ 177761 w 2039198"/>
                    <a:gd name="connsiteY141" fmla="*/ 368464 h 1686927"/>
                    <a:gd name="connsiteX142" fmla="*/ 177761 w 2039198"/>
                    <a:gd name="connsiteY142" fmla="*/ 368464 h 1686927"/>
                    <a:gd name="connsiteX143" fmla="*/ 166596 w 2039198"/>
                    <a:gd name="connsiteY143" fmla="*/ 373284 h 1686927"/>
                    <a:gd name="connsiteX144" fmla="*/ 166676 w 2039198"/>
                    <a:gd name="connsiteY144" fmla="*/ 373204 h 1686927"/>
                    <a:gd name="connsiteX145" fmla="*/ 177119 w 2039198"/>
                    <a:gd name="connsiteY145" fmla="*/ 368705 h 1686927"/>
                    <a:gd name="connsiteX146" fmla="*/ 1093259 w 2039198"/>
                    <a:gd name="connsiteY146" fmla="*/ 18556 h 1686927"/>
                    <a:gd name="connsiteX147" fmla="*/ 1092617 w 2039198"/>
                    <a:gd name="connsiteY147" fmla="*/ 18395 h 1686927"/>
                    <a:gd name="connsiteX148" fmla="*/ 1092617 w 2039198"/>
                    <a:gd name="connsiteY148" fmla="*/ 18395 h 1686927"/>
                    <a:gd name="connsiteX149" fmla="*/ 1093420 w 2039198"/>
                    <a:gd name="connsiteY149" fmla="*/ 18556 h 1686927"/>
                    <a:gd name="connsiteX150" fmla="*/ 1093259 w 2039198"/>
                    <a:gd name="connsiteY150" fmla="*/ 18556 h 1686927"/>
                    <a:gd name="connsiteX151" fmla="*/ 40320 w 2039198"/>
                    <a:gd name="connsiteY151" fmla="*/ 465099 h 1686927"/>
                    <a:gd name="connsiteX152" fmla="*/ 38553 w 2039198"/>
                    <a:gd name="connsiteY152" fmla="*/ 465581 h 1686927"/>
                    <a:gd name="connsiteX153" fmla="*/ 40320 w 2039198"/>
                    <a:gd name="connsiteY153" fmla="*/ 461484 h 1686927"/>
                    <a:gd name="connsiteX154" fmla="*/ 40320 w 2039198"/>
                    <a:gd name="connsiteY154" fmla="*/ 465099 h 1686927"/>
                    <a:gd name="connsiteX155" fmla="*/ 54297 w 2039198"/>
                    <a:gd name="connsiteY155" fmla="*/ 477068 h 1686927"/>
                    <a:gd name="connsiteX156" fmla="*/ 119122 w 2039198"/>
                    <a:gd name="connsiteY156" fmla="*/ 363645 h 1686927"/>
                    <a:gd name="connsiteX157" fmla="*/ 81127 w 2039198"/>
                    <a:gd name="connsiteY157" fmla="*/ 402604 h 1686927"/>
                    <a:gd name="connsiteX158" fmla="*/ 102012 w 2039198"/>
                    <a:gd name="connsiteY158" fmla="*/ 364930 h 1686927"/>
                    <a:gd name="connsiteX159" fmla="*/ 84902 w 2039198"/>
                    <a:gd name="connsiteY159" fmla="*/ 377060 h 1686927"/>
                    <a:gd name="connsiteX160" fmla="*/ 79440 w 2039198"/>
                    <a:gd name="connsiteY160" fmla="*/ 379710 h 1686927"/>
                    <a:gd name="connsiteX161" fmla="*/ 91971 w 2039198"/>
                    <a:gd name="connsiteY161" fmla="*/ 361476 h 1686927"/>
                    <a:gd name="connsiteX162" fmla="*/ 83858 w 2039198"/>
                    <a:gd name="connsiteY162" fmla="*/ 362841 h 1686927"/>
                    <a:gd name="connsiteX163" fmla="*/ 104342 w 2039198"/>
                    <a:gd name="connsiteY163" fmla="*/ 344045 h 1686927"/>
                    <a:gd name="connsiteX164" fmla="*/ 84340 w 2039198"/>
                    <a:gd name="connsiteY164" fmla="*/ 348784 h 1686927"/>
                    <a:gd name="connsiteX165" fmla="*/ 124665 w 2039198"/>
                    <a:gd name="connsiteY165" fmla="*/ 309664 h 1686927"/>
                    <a:gd name="connsiteX166" fmla="*/ 123701 w 2039198"/>
                    <a:gd name="connsiteY166" fmla="*/ 309182 h 1686927"/>
                    <a:gd name="connsiteX167" fmla="*/ 122496 w 2039198"/>
                    <a:gd name="connsiteY167" fmla="*/ 309584 h 1686927"/>
                    <a:gd name="connsiteX168" fmla="*/ 133902 w 2039198"/>
                    <a:gd name="connsiteY168" fmla="*/ 290386 h 1686927"/>
                    <a:gd name="connsiteX169" fmla="*/ 127797 w 2039198"/>
                    <a:gd name="connsiteY169" fmla="*/ 288779 h 1686927"/>
                    <a:gd name="connsiteX170" fmla="*/ 56948 w 2039198"/>
                    <a:gd name="connsiteY170" fmla="*/ 338422 h 1686927"/>
                    <a:gd name="connsiteX171" fmla="*/ 47068 w 2039198"/>
                    <a:gd name="connsiteY171" fmla="*/ 355933 h 1686927"/>
                    <a:gd name="connsiteX172" fmla="*/ 72933 w 2039198"/>
                    <a:gd name="connsiteY172" fmla="*/ 355371 h 1686927"/>
                    <a:gd name="connsiteX173" fmla="*/ 50763 w 2039198"/>
                    <a:gd name="connsiteY173" fmla="*/ 375453 h 1686927"/>
                    <a:gd name="connsiteX174" fmla="*/ 50763 w 2039198"/>
                    <a:gd name="connsiteY174" fmla="*/ 375453 h 1686927"/>
                    <a:gd name="connsiteX175" fmla="*/ 50763 w 2039198"/>
                    <a:gd name="connsiteY175" fmla="*/ 375453 h 1686927"/>
                    <a:gd name="connsiteX176" fmla="*/ 50763 w 2039198"/>
                    <a:gd name="connsiteY176" fmla="*/ 375453 h 1686927"/>
                    <a:gd name="connsiteX177" fmla="*/ 50763 w 2039198"/>
                    <a:gd name="connsiteY177" fmla="*/ 375453 h 1686927"/>
                    <a:gd name="connsiteX178" fmla="*/ 50763 w 2039198"/>
                    <a:gd name="connsiteY178" fmla="*/ 375453 h 1686927"/>
                    <a:gd name="connsiteX179" fmla="*/ 50763 w 2039198"/>
                    <a:gd name="connsiteY179" fmla="*/ 375453 h 1686927"/>
                    <a:gd name="connsiteX180" fmla="*/ 50763 w 2039198"/>
                    <a:gd name="connsiteY180" fmla="*/ 375453 h 1686927"/>
                    <a:gd name="connsiteX181" fmla="*/ 50763 w 2039198"/>
                    <a:gd name="connsiteY181" fmla="*/ 375453 h 1686927"/>
                    <a:gd name="connsiteX182" fmla="*/ 41204 w 2039198"/>
                    <a:gd name="connsiteY182" fmla="*/ 389591 h 1686927"/>
                    <a:gd name="connsiteX183" fmla="*/ 28432 w 2039198"/>
                    <a:gd name="connsiteY183" fmla="*/ 428309 h 1686927"/>
                    <a:gd name="connsiteX184" fmla="*/ 11965 w 2039198"/>
                    <a:gd name="connsiteY184" fmla="*/ 414010 h 1686927"/>
                    <a:gd name="connsiteX185" fmla="*/ 32930 w 2039198"/>
                    <a:gd name="connsiteY185" fmla="*/ 482691 h 1686927"/>
                    <a:gd name="connsiteX186" fmla="*/ 54860 w 2039198"/>
                    <a:gd name="connsiteY186" fmla="*/ 472007 h 1686927"/>
                    <a:gd name="connsiteX187" fmla="*/ 52530 w 2039198"/>
                    <a:gd name="connsiteY187" fmla="*/ 476425 h 1686927"/>
                    <a:gd name="connsiteX188" fmla="*/ 53253 w 2039198"/>
                    <a:gd name="connsiteY188" fmla="*/ 477148 h 1686927"/>
                    <a:gd name="connsiteX189" fmla="*/ 54297 w 2039198"/>
                    <a:gd name="connsiteY189" fmla="*/ 477068 h 1686927"/>
                    <a:gd name="connsiteX190" fmla="*/ 204029 w 2039198"/>
                    <a:gd name="connsiteY190" fmla="*/ 360994 h 1686927"/>
                    <a:gd name="connsiteX191" fmla="*/ 204029 w 2039198"/>
                    <a:gd name="connsiteY191" fmla="*/ 360994 h 1686927"/>
                    <a:gd name="connsiteX192" fmla="*/ 201378 w 2039198"/>
                    <a:gd name="connsiteY192" fmla="*/ 360673 h 1686927"/>
                    <a:gd name="connsiteX193" fmla="*/ 204029 w 2039198"/>
                    <a:gd name="connsiteY193" fmla="*/ 360994 h 1686927"/>
                    <a:gd name="connsiteX194" fmla="*/ 195112 w 2039198"/>
                    <a:gd name="connsiteY194" fmla="*/ 356897 h 1686927"/>
                    <a:gd name="connsiteX195" fmla="*/ 196398 w 2039198"/>
                    <a:gd name="connsiteY195" fmla="*/ 354969 h 1686927"/>
                    <a:gd name="connsiteX196" fmla="*/ 196157 w 2039198"/>
                    <a:gd name="connsiteY196" fmla="*/ 355050 h 1686927"/>
                    <a:gd name="connsiteX197" fmla="*/ 190373 w 2039198"/>
                    <a:gd name="connsiteY197" fmla="*/ 359146 h 1686927"/>
                    <a:gd name="connsiteX198" fmla="*/ 193586 w 2039198"/>
                    <a:gd name="connsiteY198" fmla="*/ 358022 h 1686927"/>
                    <a:gd name="connsiteX199" fmla="*/ 195112 w 2039198"/>
                    <a:gd name="connsiteY199" fmla="*/ 356897 h 1686927"/>
                    <a:gd name="connsiteX200" fmla="*/ 241140 w 2039198"/>
                    <a:gd name="connsiteY200" fmla="*/ 370151 h 1686927"/>
                    <a:gd name="connsiteX201" fmla="*/ 241140 w 2039198"/>
                    <a:gd name="connsiteY201" fmla="*/ 370151 h 1686927"/>
                    <a:gd name="connsiteX202" fmla="*/ 241140 w 2039198"/>
                    <a:gd name="connsiteY202" fmla="*/ 370151 h 1686927"/>
                    <a:gd name="connsiteX203" fmla="*/ 241140 w 2039198"/>
                    <a:gd name="connsiteY203" fmla="*/ 370151 h 1686927"/>
                    <a:gd name="connsiteX204" fmla="*/ 241140 w 2039198"/>
                    <a:gd name="connsiteY204" fmla="*/ 370151 h 1686927"/>
                    <a:gd name="connsiteX205" fmla="*/ 189971 w 2039198"/>
                    <a:gd name="connsiteY205" fmla="*/ 324525 h 1686927"/>
                    <a:gd name="connsiteX206" fmla="*/ 192542 w 2039198"/>
                    <a:gd name="connsiteY206" fmla="*/ 318581 h 1686927"/>
                    <a:gd name="connsiteX207" fmla="*/ 192381 w 2039198"/>
                    <a:gd name="connsiteY207" fmla="*/ 318902 h 1686927"/>
                    <a:gd name="connsiteX208" fmla="*/ 189971 w 2039198"/>
                    <a:gd name="connsiteY208" fmla="*/ 324525 h 1686927"/>
                    <a:gd name="connsiteX209" fmla="*/ 222103 w 2039198"/>
                    <a:gd name="connsiteY209" fmla="*/ 355933 h 1686927"/>
                    <a:gd name="connsiteX210" fmla="*/ 239453 w 2039198"/>
                    <a:gd name="connsiteY210" fmla="*/ 334405 h 1686927"/>
                    <a:gd name="connsiteX211" fmla="*/ 238409 w 2039198"/>
                    <a:gd name="connsiteY211" fmla="*/ 334004 h 1686927"/>
                    <a:gd name="connsiteX212" fmla="*/ 227565 w 2039198"/>
                    <a:gd name="connsiteY212" fmla="*/ 336655 h 1686927"/>
                    <a:gd name="connsiteX213" fmla="*/ 210535 w 2039198"/>
                    <a:gd name="connsiteY213" fmla="*/ 348945 h 1686927"/>
                    <a:gd name="connsiteX214" fmla="*/ 211901 w 2039198"/>
                    <a:gd name="connsiteY214" fmla="*/ 348222 h 1686927"/>
                    <a:gd name="connsiteX215" fmla="*/ 217524 w 2039198"/>
                    <a:gd name="connsiteY215" fmla="*/ 353684 h 1686927"/>
                    <a:gd name="connsiteX216" fmla="*/ 222103 w 2039198"/>
                    <a:gd name="connsiteY216" fmla="*/ 355933 h 1686927"/>
                    <a:gd name="connsiteX217" fmla="*/ 231180 w 2039198"/>
                    <a:gd name="connsiteY217" fmla="*/ 331353 h 1686927"/>
                    <a:gd name="connsiteX218" fmla="*/ 233830 w 2039198"/>
                    <a:gd name="connsiteY218" fmla="*/ 327015 h 1686927"/>
                    <a:gd name="connsiteX219" fmla="*/ 232866 w 2039198"/>
                    <a:gd name="connsiteY219" fmla="*/ 327497 h 1686927"/>
                    <a:gd name="connsiteX220" fmla="*/ 223709 w 2039198"/>
                    <a:gd name="connsiteY220" fmla="*/ 332799 h 1686927"/>
                    <a:gd name="connsiteX221" fmla="*/ 229091 w 2039198"/>
                    <a:gd name="connsiteY221" fmla="*/ 331353 h 1686927"/>
                    <a:gd name="connsiteX222" fmla="*/ 229091 w 2039198"/>
                    <a:gd name="connsiteY222" fmla="*/ 331353 h 1686927"/>
                    <a:gd name="connsiteX223" fmla="*/ 229091 w 2039198"/>
                    <a:gd name="connsiteY223" fmla="*/ 331353 h 1686927"/>
                    <a:gd name="connsiteX224" fmla="*/ 229091 w 2039198"/>
                    <a:gd name="connsiteY224" fmla="*/ 331353 h 1686927"/>
                    <a:gd name="connsiteX225" fmla="*/ 229091 w 2039198"/>
                    <a:gd name="connsiteY225" fmla="*/ 331353 h 1686927"/>
                    <a:gd name="connsiteX226" fmla="*/ 229091 w 2039198"/>
                    <a:gd name="connsiteY226" fmla="*/ 331353 h 1686927"/>
                    <a:gd name="connsiteX227" fmla="*/ 229091 w 2039198"/>
                    <a:gd name="connsiteY227" fmla="*/ 331353 h 1686927"/>
                    <a:gd name="connsiteX228" fmla="*/ 229091 w 2039198"/>
                    <a:gd name="connsiteY228" fmla="*/ 331353 h 1686927"/>
                    <a:gd name="connsiteX229" fmla="*/ 229091 w 2039198"/>
                    <a:gd name="connsiteY229" fmla="*/ 331353 h 1686927"/>
                    <a:gd name="connsiteX230" fmla="*/ 231180 w 2039198"/>
                    <a:gd name="connsiteY230" fmla="*/ 331353 h 1686927"/>
                    <a:gd name="connsiteX231" fmla="*/ 249494 w 2039198"/>
                    <a:gd name="connsiteY231" fmla="*/ 324043 h 1686927"/>
                    <a:gd name="connsiteX232" fmla="*/ 249494 w 2039198"/>
                    <a:gd name="connsiteY232" fmla="*/ 324043 h 1686927"/>
                    <a:gd name="connsiteX233" fmla="*/ 247325 w 2039198"/>
                    <a:gd name="connsiteY233" fmla="*/ 323722 h 1686927"/>
                    <a:gd name="connsiteX234" fmla="*/ 248611 w 2039198"/>
                    <a:gd name="connsiteY234" fmla="*/ 323883 h 1686927"/>
                    <a:gd name="connsiteX235" fmla="*/ 249494 w 2039198"/>
                    <a:gd name="connsiteY235" fmla="*/ 324043 h 1686927"/>
                    <a:gd name="connsiteX236" fmla="*/ 184188 w 2039198"/>
                    <a:gd name="connsiteY236" fmla="*/ 262753 h 1686927"/>
                    <a:gd name="connsiteX237" fmla="*/ 187080 w 2039198"/>
                    <a:gd name="connsiteY237" fmla="*/ 260825 h 1686927"/>
                    <a:gd name="connsiteX238" fmla="*/ 186919 w 2039198"/>
                    <a:gd name="connsiteY238" fmla="*/ 260905 h 1686927"/>
                    <a:gd name="connsiteX239" fmla="*/ 180653 w 2039198"/>
                    <a:gd name="connsiteY239" fmla="*/ 264038 h 1686927"/>
                    <a:gd name="connsiteX240" fmla="*/ 180412 w 2039198"/>
                    <a:gd name="connsiteY240" fmla="*/ 264681 h 1686927"/>
                    <a:gd name="connsiteX241" fmla="*/ 184188 w 2039198"/>
                    <a:gd name="connsiteY241" fmla="*/ 262753 h 1686927"/>
                    <a:gd name="connsiteX242" fmla="*/ 194952 w 2039198"/>
                    <a:gd name="connsiteY242" fmla="*/ 266207 h 1686927"/>
                    <a:gd name="connsiteX243" fmla="*/ 196157 w 2039198"/>
                    <a:gd name="connsiteY243" fmla="*/ 265725 h 1686927"/>
                    <a:gd name="connsiteX244" fmla="*/ 194871 w 2039198"/>
                    <a:gd name="connsiteY244" fmla="*/ 266287 h 1686927"/>
                    <a:gd name="connsiteX245" fmla="*/ 176155 w 2039198"/>
                    <a:gd name="connsiteY245" fmla="*/ 274240 h 1686927"/>
                    <a:gd name="connsiteX246" fmla="*/ 194952 w 2039198"/>
                    <a:gd name="connsiteY246" fmla="*/ 266207 h 1686927"/>
                    <a:gd name="connsiteX247" fmla="*/ 338257 w 2039198"/>
                    <a:gd name="connsiteY247" fmla="*/ 343081 h 1686927"/>
                    <a:gd name="connsiteX248" fmla="*/ 341550 w 2039198"/>
                    <a:gd name="connsiteY248" fmla="*/ 338823 h 1686927"/>
                    <a:gd name="connsiteX249" fmla="*/ 340908 w 2039198"/>
                    <a:gd name="connsiteY249" fmla="*/ 339145 h 1686927"/>
                    <a:gd name="connsiteX250" fmla="*/ 331268 w 2039198"/>
                    <a:gd name="connsiteY250" fmla="*/ 347660 h 1686927"/>
                    <a:gd name="connsiteX251" fmla="*/ 333678 w 2039198"/>
                    <a:gd name="connsiteY251" fmla="*/ 347820 h 1686927"/>
                    <a:gd name="connsiteX252" fmla="*/ 338257 w 2039198"/>
                    <a:gd name="connsiteY252" fmla="*/ 343081 h 1686927"/>
                    <a:gd name="connsiteX253" fmla="*/ 222825 w 2039198"/>
                    <a:gd name="connsiteY253" fmla="*/ 306210 h 1686927"/>
                    <a:gd name="connsiteX254" fmla="*/ 230698 w 2039198"/>
                    <a:gd name="connsiteY254" fmla="*/ 298338 h 1686927"/>
                    <a:gd name="connsiteX255" fmla="*/ 229573 w 2039198"/>
                    <a:gd name="connsiteY255" fmla="*/ 294241 h 1686927"/>
                    <a:gd name="connsiteX256" fmla="*/ 220496 w 2039198"/>
                    <a:gd name="connsiteY256" fmla="*/ 301150 h 1686927"/>
                    <a:gd name="connsiteX257" fmla="*/ 212383 w 2039198"/>
                    <a:gd name="connsiteY257" fmla="*/ 309182 h 1686927"/>
                    <a:gd name="connsiteX258" fmla="*/ 222825 w 2039198"/>
                    <a:gd name="connsiteY258" fmla="*/ 306210 h 1686927"/>
                    <a:gd name="connsiteX259" fmla="*/ 230537 w 2039198"/>
                    <a:gd name="connsiteY259" fmla="*/ 323481 h 1686927"/>
                    <a:gd name="connsiteX260" fmla="*/ 258089 w 2039198"/>
                    <a:gd name="connsiteY260" fmla="*/ 292876 h 1686927"/>
                    <a:gd name="connsiteX261" fmla="*/ 257366 w 2039198"/>
                    <a:gd name="connsiteY261" fmla="*/ 293518 h 1686927"/>
                    <a:gd name="connsiteX262" fmla="*/ 252868 w 2039198"/>
                    <a:gd name="connsiteY262" fmla="*/ 297696 h 1686927"/>
                    <a:gd name="connsiteX263" fmla="*/ 238811 w 2039198"/>
                    <a:gd name="connsiteY263" fmla="*/ 305969 h 1686927"/>
                    <a:gd name="connsiteX264" fmla="*/ 237847 w 2039198"/>
                    <a:gd name="connsiteY264" fmla="*/ 297294 h 1686927"/>
                    <a:gd name="connsiteX265" fmla="*/ 221139 w 2039198"/>
                    <a:gd name="connsiteY265" fmla="*/ 313199 h 1686927"/>
                    <a:gd name="connsiteX266" fmla="*/ 210696 w 2039198"/>
                    <a:gd name="connsiteY266" fmla="*/ 314805 h 1686927"/>
                    <a:gd name="connsiteX267" fmla="*/ 224111 w 2039198"/>
                    <a:gd name="connsiteY267" fmla="*/ 319946 h 1686927"/>
                    <a:gd name="connsiteX268" fmla="*/ 200976 w 2039198"/>
                    <a:gd name="connsiteY268" fmla="*/ 336092 h 1686927"/>
                    <a:gd name="connsiteX269" fmla="*/ 211821 w 2039198"/>
                    <a:gd name="connsiteY269" fmla="*/ 336976 h 1686927"/>
                    <a:gd name="connsiteX270" fmla="*/ 211419 w 2039198"/>
                    <a:gd name="connsiteY270" fmla="*/ 338823 h 1686927"/>
                    <a:gd name="connsiteX271" fmla="*/ 230537 w 2039198"/>
                    <a:gd name="connsiteY271" fmla="*/ 323481 h 1686927"/>
                    <a:gd name="connsiteX272" fmla="*/ 233750 w 2039198"/>
                    <a:gd name="connsiteY272" fmla="*/ 290627 h 1686927"/>
                    <a:gd name="connsiteX273" fmla="*/ 234634 w 2039198"/>
                    <a:gd name="connsiteY273" fmla="*/ 289904 h 1686927"/>
                    <a:gd name="connsiteX274" fmla="*/ 237204 w 2039198"/>
                    <a:gd name="connsiteY274" fmla="*/ 287735 h 1686927"/>
                    <a:gd name="connsiteX275" fmla="*/ 243470 w 2039198"/>
                    <a:gd name="connsiteY275" fmla="*/ 282433 h 1686927"/>
                    <a:gd name="connsiteX276" fmla="*/ 241060 w 2039198"/>
                    <a:gd name="connsiteY276" fmla="*/ 283960 h 1686927"/>
                    <a:gd name="connsiteX277" fmla="*/ 233750 w 2039198"/>
                    <a:gd name="connsiteY277" fmla="*/ 290627 h 1686927"/>
                    <a:gd name="connsiteX278" fmla="*/ 233750 w 2039198"/>
                    <a:gd name="connsiteY278" fmla="*/ 290627 h 1686927"/>
                    <a:gd name="connsiteX279" fmla="*/ 297209 w 2039198"/>
                    <a:gd name="connsiteY279" fmla="*/ 307576 h 1686927"/>
                    <a:gd name="connsiteX280" fmla="*/ 297530 w 2039198"/>
                    <a:gd name="connsiteY280" fmla="*/ 307576 h 1686927"/>
                    <a:gd name="connsiteX281" fmla="*/ 297370 w 2039198"/>
                    <a:gd name="connsiteY281" fmla="*/ 307576 h 1686927"/>
                    <a:gd name="connsiteX282" fmla="*/ 295121 w 2039198"/>
                    <a:gd name="connsiteY282" fmla="*/ 307255 h 1686927"/>
                    <a:gd name="connsiteX283" fmla="*/ 297209 w 2039198"/>
                    <a:gd name="connsiteY283" fmla="*/ 307576 h 1686927"/>
                    <a:gd name="connsiteX284" fmla="*/ 257688 w 2039198"/>
                    <a:gd name="connsiteY284" fmla="*/ 287253 h 1686927"/>
                    <a:gd name="connsiteX285" fmla="*/ 258491 w 2039198"/>
                    <a:gd name="connsiteY285" fmla="*/ 286932 h 1686927"/>
                    <a:gd name="connsiteX286" fmla="*/ 257527 w 2039198"/>
                    <a:gd name="connsiteY286" fmla="*/ 285968 h 1686927"/>
                    <a:gd name="connsiteX287" fmla="*/ 249173 w 2039198"/>
                    <a:gd name="connsiteY287" fmla="*/ 288136 h 1686927"/>
                    <a:gd name="connsiteX288" fmla="*/ 257688 w 2039198"/>
                    <a:gd name="connsiteY288" fmla="*/ 287253 h 1686927"/>
                    <a:gd name="connsiteX289" fmla="*/ 802392 w 2039198"/>
                    <a:gd name="connsiteY289" fmla="*/ 292313 h 1686927"/>
                    <a:gd name="connsiteX290" fmla="*/ 802231 w 2039198"/>
                    <a:gd name="connsiteY290" fmla="*/ 292233 h 1686927"/>
                    <a:gd name="connsiteX291" fmla="*/ 802231 w 2039198"/>
                    <a:gd name="connsiteY291" fmla="*/ 292233 h 1686927"/>
                    <a:gd name="connsiteX292" fmla="*/ 802392 w 2039198"/>
                    <a:gd name="connsiteY292" fmla="*/ 292474 h 1686927"/>
                    <a:gd name="connsiteX293" fmla="*/ 802392 w 2039198"/>
                    <a:gd name="connsiteY293" fmla="*/ 292313 h 1686927"/>
                    <a:gd name="connsiteX294" fmla="*/ 198406 w 2039198"/>
                    <a:gd name="connsiteY294" fmla="*/ 308700 h 1686927"/>
                    <a:gd name="connsiteX295" fmla="*/ 202904 w 2039198"/>
                    <a:gd name="connsiteY295" fmla="*/ 305648 h 1686927"/>
                    <a:gd name="connsiteX296" fmla="*/ 199048 w 2039198"/>
                    <a:gd name="connsiteY296" fmla="*/ 303238 h 1686927"/>
                    <a:gd name="connsiteX297" fmla="*/ 205635 w 2039198"/>
                    <a:gd name="connsiteY297" fmla="*/ 296491 h 1686927"/>
                    <a:gd name="connsiteX298" fmla="*/ 205314 w 2039198"/>
                    <a:gd name="connsiteY298" fmla="*/ 296089 h 1686927"/>
                    <a:gd name="connsiteX299" fmla="*/ 200896 w 2039198"/>
                    <a:gd name="connsiteY299" fmla="*/ 297133 h 1686927"/>
                    <a:gd name="connsiteX300" fmla="*/ 239052 w 2039198"/>
                    <a:gd name="connsiteY300" fmla="*/ 266689 h 1686927"/>
                    <a:gd name="connsiteX301" fmla="*/ 231421 w 2039198"/>
                    <a:gd name="connsiteY301" fmla="*/ 271830 h 1686927"/>
                    <a:gd name="connsiteX302" fmla="*/ 187963 w 2039198"/>
                    <a:gd name="connsiteY302" fmla="*/ 302756 h 1686927"/>
                    <a:gd name="connsiteX303" fmla="*/ 212222 w 2039198"/>
                    <a:gd name="connsiteY303" fmla="*/ 262672 h 1686927"/>
                    <a:gd name="connsiteX304" fmla="*/ 202261 w 2039198"/>
                    <a:gd name="connsiteY304" fmla="*/ 270625 h 1686927"/>
                    <a:gd name="connsiteX305" fmla="*/ 191176 w 2039198"/>
                    <a:gd name="connsiteY305" fmla="*/ 277453 h 1686927"/>
                    <a:gd name="connsiteX306" fmla="*/ 179770 w 2039198"/>
                    <a:gd name="connsiteY306" fmla="*/ 278497 h 1686927"/>
                    <a:gd name="connsiteX307" fmla="*/ 183625 w 2039198"/>
                    <a:gd name="connsiteY307" fmla="*/ 282112 h 1686927"/>
                    <a:gd name="connsiteX308" fmla="*/ 160411 w 2039198"/>
                    <a:gd name="connsiteY308" fmla="*/ 295928 h 1686927"/>
                    <a:gd name="connsiteX309" fmla="*/ 175191 w 2039198"/>
                    <a:gd name="connsiteY309" fmla="*/ 292153 h 1686927"/>
                    <a:gd name="connsiteX310" fmla="*/ 173584 w 2039198"/>
                    <a:gd name="connsiteY310" fmla="*/ 293920 h 1686927"/>
                    <a:gd name="connsiteX311" fmla="*/ 173986 w 2039198"/>
                    <a:gd name="connsiteY311" fmla="*/ 294322 h 1686927"/>
                    <a:gd name="connsiteX312" fmla="*/ 175352 w 2039198"/>
                    <a:gd name="connsiteY312" fmla="*/ 294081 h 1686927"/>
                    <a:gd name="connsiteX313" fmla="*/ 166917 w 2039198"/>
                    <a:gd name="connsiteY313" fmla="*/ 305246 h 1686927"/>
                    <a:gd name="connsiteX314" fmla="*/ 173102 w 2039198"/>
                    <a:gd name="connsiteY314" fmla="*/ 305407 h 1686927"/>
                    <a:gd name="connsiteX315" fmla="*/ 147397 w 2039198"/>
                    <a:gd name="connsiteY315" fmla="*/ 311110 h 1686927"/>
                    <a:gd name="connsiteX316" fmla="*/ 146675 w 2039198"/>
                    <a:gd name="connsiteY316" fmla="*/ 320830 h 1686927"/>
                    <a:gd name="connsiteX317" fmla="*/ 172299 w 2039198"/>
                    <a:gd name="connsiteY317" fmla="*/ 315368 h 1686927"/>
                    <a:gd name="connsiteX318" fmla="*/ 169970 w 2039198"/>
                    <a:gd name="connsiteY318" fmla="*/ 317617 h 1686927"/>
                    <a:gd name="connsiteX319" fmla="*/ 198406 w 2039198"/>
                    <a:gd name="connsiteY319" fmla="*/ 308700 h 1686927"/>
                    <a:gd name="connsiteX320" fmla="*/ 232786 w 2039198"/>
                    <a:gd name="connsiteY320" fmla="*/ 253515 h 1686927"/>
                    <a:gd name="connsiteX321" fmla="*/ 233268 w 2039198"/>
                    <a:gd name="connsiteY321" fmla="*/ 253274 h 1686927"/>
                    <a:gd name="connsiteX322" fmla="*/ 233107 w 2039198"/>
                    <a:gd name="connsiteY322" fmla="*/ 253354 h 1686927"/>
                    <a:gd name="connsiteX323" fmla="*/ 225958 w 2039198"/>
                    <a:gd name="connsiteY323" fmla="*/ 256487 h 1686927"/>
                    <a:gd name="connsiteX324" fmla="*/ 232786 w 2039198"/>
                    <a:gd name="connsiteY324" fmla="*/ 253515 h 1686927"/>
                    <a:gd name="connsiteX325" fmla="*/ 1138886 w 2039198"/>
                    <a:gd name="connsiteY325" fmla="*/ 67556 h 1686927"/>
                    <a:gd name="connsiteX326" fmla="*/ 1131335 w 2039198"/>
                    <a:gd name="connsiteY326" fmla="*/ 65708 h 1686927"/>
                    <a:gd name="connsiteX327" fmla="*/ 1133102 w 2039198"/>
                    <a:gd name="connsiteY327" fmla="*/ 68038 h 1686927"/>
                    <a:gd name="connsiteX328" fmla="*/ 1169892 w 2039198"/>
                    <a:gd name="connsiteY328" fmla="*/ 88361 h 1686927"/>
                    <a:gd name="connsiteX329" fmla="*/ 1220901 w 2039198"/>
                    <a:gd name="connsiteY329" fmla="*/ 116958 h 1686927"/>
                    <a:gd name="connsiteX330" fmla="*/ 1246445 w 2039198"/>
                    <a:gd name="connsiteY330" fmla="*/ 125794 h 1686927"/>
                    <a:gd name="connsiteX331" fmla="*/ 1248453 w 2039198"/>
                    <a:gd name="connsiteY331" fmla="*/ 125633 h 1686927"/>
                    <a:gd name="connsiteX332" fmla="*/ 1292232 w 2039198"/>
                    <a:gd name="connsiteY332" fmla="*/ 147081 h 1686927"/>
                    <a:gd name="connsiteX333" fmla="*/ 1293276 w 2039198"/>
                    <a:gd name="connsiteY333" fmla="*/ 146117 h 1686927"/>
                    <a:gd name="connsiteX334" fmla="*/ 1358824 w 2039198"/>
                    <a:gd name="connsiteY334" fmla="*/ 180577 h 1686927"/>
                    <a:gd name="connsiteX335" fmla="*/ 1360189 w 2039198"/>
                    <a:gd name="connsiteY335" fmla="*/ 181220 h 1686927"/>
                    <a:gd name="connsiteX336" fmla="*/ 1372720 w 2039198"/>
                    <a:gd name="connsiteY336" fmla="*/ 185718 h 1686927"/>
                    <a:gd name="connsiteX337" fmla="*/ 1372319 w 2039198"/>
                    <a:gd name="connsiteY337" fmla="*/ 185076 h 1686927"/>
                    <a:gd name="connsiteX338" fmla="*/ 1358904 w 2039198"/>
                    <a:gd name="connsiteY338" fmla="*/ 180497 h 1686927"/>
                    <a:gd name="connsiteX339" fmla="*/ 1367820 w 2039198"/>
                    <a:gd name="connsiteY339" fmla="*/ 179212 h 1686927"/>
                    <a:gd name="connsiteX340" fmla="*/ 1375853 w 2039198"/>
                    <a:gd name="connsiteY340" fmla="*/ 185718 h 1686927"/>
                    <a:gd name="connsiteX341" fmla="*/ 1382601 w 2039198"/>
                    <a:gd name="connsiteY341" fmla="*/ 183790 h 1686927"/>
                    <a:gd name="connsiteX342" fmla="*/ 1380673 w 2039198"/>
                    <a:gd name="connsiteY342" fmla="*/ 182746 h 1686927"/>
                    <a:gd name="connsiteX343" fmla="*/ 1385011 w 2039198"/>
                    <a:gd name="connsiteY343" fmla="*/ 178971 h 1686927"/>
                    <a:gd name="connsiteX344" fmla="*/ 1383806 w 2039198"/>
                    <a:gd name="connsiteY344" fmla="*/ 178248 h 1686927"/>
                    <a:gd name="connsiteX345" fmla="*/ 1385412 w 2039198"/>
                    <a:gd name="connsiteY345" fmla="*/ 178167 h 1686927"/>
                    <a:gd name="connsiteX346" fmla="*/ 1384368 w 2039198"/>
                    <a:gd name="connsiteY346" fmla="*/ 177364 h 1686927"/>
                    <a:gd name="connsiteX347" fmla="*/ 1295365 w 2039198"/>
                    <a:gd name="connsiteY347" fmla="*/ 142903 h 1686927"/>
                    <a:gd name="connsiteX348" fmla="*/ 1248212 w 2039198"/>
                    <a:gd name="connsiteY348" fmla="*/ 118162 h 1686927"/>
                    <a:gd name="connsiteX349" fmla="*/ 1247971 w 2039198"/>
                    <a:gd name="connsiteY349" fmla="*/ 116636 h 1686927"/>
                    <a:gd name="connsiteX350" fmla="*/ 1240099 w 2039198"/>
                    <a:gd name="connsiteY350" fmla="*/ 113584 h 1686927"/>
                    <a:gd name="connsiteX351" fmla="*/ 1242830 w 2039198"/>
                    <a:gd name="connsiteY351" fmla="*/ 113423 h 1686927"/>
                    <a:gd name="connsiteX352" fmla="*/ 1138886 w 2039198"/>
                    <a:gd name="connsiteY352" fmla="*/ 67556 h 1686927"/>
                    <a:gd name="connsiteX353" fmla="*/ 305644 w 2039198"/>
                    <a:gd name="connsiteY353" fmla="*/ 371919 h 1686927"/>
                    <a:gd name="connsiteX354" fmla="*/ 299539 w 2039198"/>
                    <a:gd name="connsiteY354" fmla="*/ 351114 h 1686927"/>
                    <a:gd name="connsiteX355" fmla="*/ 277930 w 2039198"/>
                    <a:gd name="connsiteY355" fmla="*/ 353443 h 1686927"/>
                    <a:gd name="connsiteX356" fmla="*/ 277047 w 2039198"/>
                    <a:gd name="connsiteY356" fmla="*/ 344446 h 1686927"/>
                    <a:gd name="connsiteX357" fmla="*/ 271504 w 2039198"/>
                    <a:gd name="connsiteY357" fmla="*/ 348141 h 1686927"/>
                    <a:gd name="connsiteX358" fmla="*/ 273191 w 2039198"/>
                    <a:gd name="connsiteY358" fmla="*/ 345009 h 1686927"/>
                    <a:gd name="connsiteX359" fmla="*/ 268693 w 2039198"/>
                    <a:gd name="connsiteY359" fmla="*/ 346214 h 1686927"/>
                    <a:gd name="connsiteX360" fmla="*/ 262588 w 2039198"/>
                    <a:gd name="connsiteY360" fmla="*/ 342117 h 1686927"/>
                    <a:gd name="connsiteX361" fmla="*/ 274958 w 2039198"/>
                    <a:gd name="connsiteY361" fmla="*/ 318822 h 1686927"/>
                    <a:gd name="connsiteX362" fmla="*/ 288775 w 2039198"/>
                    <a:gd name="connsiteY362" fmla="*/ 311512 h 1686927"/>
                    <a:gd name="connsiteX363" fmla="*/ 273271 w 2039198"/>
                    <a:gd name="connsiteY363" fmla="*/ 308058 h 1686927"/>
                    <a:gd name="connsiteX364" fmla="*/ 284116 w 2039198"/>
                    <a:gd name="connsiteY364" fmla="*/ 288217 h 1686927"/>
                    <a:gd name="connsiteX365" fmla="*/ 268693 w 2039198"/>
                    <a:gd name="connsiteY365" fmla="*/ 299463 h 1686927"/>
                    <a:gd name="connsiteX366" fmla="*/ 269416 w 2039198"/>
                    <a:gd name="connsiteY366" fmla="*/ 299945 h 1686927"/>
                    <a:gd name="connsiteX367" fmla="*/ 262186 w 2039198"/>
                    <a:gd name="connsiteY367" fmla="*/ 312797 h 1686927"/>
                    <a:gd name="connsiteX368" fmla="*/ 230296 w 2039198"/>
                    <a:gd name="connsiteY368" fmla="*/ 367019 h 1686927"/>
                    <a:gd name="connsiteX369" fmla="*/ 235035 w 2039198"/>
                    <a:gd name="connsiteY369" fmla="*/ 372320 h 1686927"/>
                    <a:gd name="connsiteX370" fmla="*/ 242747 w 2039198"/>
                    <a:gd name="connsiteY370" fmla="*/ 367179 h 1686927"/>
                    <a:gd name="connsiteX371" fmla="*/ 242988 w 2039198"/>
                    <a:gd name="connsiteY371" fmla="*/ 367661 h 1686927"/>
                    <a:gd name="connsiteX372" fmla="*/ 241301 w 2039198"/>
                    <a:gd name="connsiteY372" fmla="*/ 369991 h 1686927"/>
                    <a:gd name="connsiteX373" fmla="*/ 248611 w 2039198"/>
                    <a:gd name="connsiteY373" fmla="*/ 379951 h 1686927"/>
                    <a:gd name="connsiteX374" fmla="*/ 250057 w 2039198"/>
                    <a:gd name="connsiteY374" fmla="*/ 377783 h 1686927"/>
                    <a:gd name="connsiteX375" fmla="*/ 258973 w 2039198"/>
                    <a:gd name="connsiteY375" fmla="*/ 378586 h 1686927"/>
                    <a:gd name="connsiteX376" fmla="*/ 258411 w 2039198"/>
                    <a:gd name="connsiteY376" fmla="*/ 381156 h 1686927"/>
                    <a:gd name="connsiteX377" fmla="*/ 258812 w 2039198"/>
                    <a:gd name="connsiteY377" fmla="*/ 381478 h 1686927"/>
                    <a:gd name="connsiteX378" fmla="*/ 261785 w 2039198"/>
                    <a:gd name="connsiteY378" fmla="*/ 379068 h 1686927"/>
                    <a:gd name="connsiteX379" fmla="*/ 279296 w 2039198"/>
                    <a:gd name="connsiteY379" fmla="*/ 372481 h 1686927"/>
                    <a:gd name="connsiteX380" fmla="*/ 279537 w 2039198"/>
                    <a:gd name="connsiteY380" fmla="*/ 375051 h 1686927"/>
                    <a:gd name="connsiteX381" fmla="*/ 279858 w 2039198"/>
                    <a:gd name="connsiteY381" fmla="*/ 375694 h 1686927"/>
                    <a:gd name="connsiteX382" fmla="*/ 279296 w 2039198"/>
                    <a:gd name="connsiteY382" fmla="*/ 378184 h 1686927"/>
                    <a:gd name="connsiteX383" fmla="*/ 283553 w 2039198"/>
                    <a:gd name="connsiteY383" fmla="*/ 387181 h 1686927"/>
                    <a:gd name="connsiteX384" fmla="*/ 305644 w 2039198"/>
                    <a:gd name="connsiteY384" fmla="*/ 371919 h 1686927"/>
                    <a:gd name="connsiteX385" fmla="*/ 230296 w 2039198"/>
                    <a:gd name="connsiteY385" fmla="*/ 247651 h 1686927"/>
                    <a:gd name="connsiteX386" fmla="*/ 249896 w 2039198"/>
                    <a:gd name="connsiteY386" fmla="*/ 233272 h 1686927"/>
                    <a:gd name="connsiteX387" fmla="*/ 247807 w 2039198"/>
                    <a:gd name="connsiteY387" fmla="*/ 233353 h 1686927"/>
                    <a:gd name="connsiteX388" fmla="*/ 194068 w 2039198"/>
                    <a:gd name="connsiteY388" fmla="*/ 250623 h 1686927"/>
                    <a:gd name="connsiteX389" fmla="*/ 195193 w 2039198"/>
                    <a:gd name="connsiteY389" fmla="*/ 250543 h 1686927"/>
                    <a:gd name="connsiteX390" fmla="*/ 189650 w 2039198"/>
                    <a:gd name="connsiteY390" fmla="*/ 263476 h 1686927"/>
                    <a:gd name="connsiteX391" fmla="*/ 204029 w 2039198"/>
                    <a:gd name="connsiteY391" fmla="*/ 254318 h 1686927"/>
                    <a:gd name="connsiteX392" fmla="*/ 219693 w 2039198"/>
                    <a:gd name="connsiteY392" fmla="*/ 249017 h 1686927"/>
                    <a:gd name="connsiteX393" fmla="*/ 203065 w 2039198"/>
                    <a:gd name="connsiteY393" fmla="*/ 261708 h 1686927"/>
                    <a:gd name="connsiteX394" fmla="*/ 230296 w 2039198"/>
                    <a:gd name="connsiteY394" fmla="*/ 247651 h 1686927"/>
                    <a:gd name="connsiteX395" fmla="*/ 323557 w 2039198"/>
                    <a:gd name="connsiteY395" fmla="*/ 284200 h 1686927"/>
                    <a:gd name="connsiteX396" fmla="*/ 323557 w 2039198"/>
                    <a:gd name="connsiteY396" fmla="*/ 284682 h 1686927"/>
                    <a:gd name="connsiteX397" fmla="*/ 323557 w 2039198"/>
                    <a:gd name="connsiteY397" fmla="*/ 283638 h 1686927"/>
                    <a:gd name="connsiteX398" fmla="*/ 323557 w 2039198"/>
                    <a:gd name="connsiteY398" fmla="*/ 279863 h 1686927"/>
                    <a:gd name="connsiteX399" fmla="*/ 323557 w 2039198"/>
                    <a:gd name="connsiteY399" fmla="*/ 277614 h 1686927"/>
                    <a:gd name="connsiteX400" fmla="*/ 323557 w 2039198"/>
                    <a:gd name="connsiteY400" fmla="*/ 284200 h 1686927"/>
                    <a:gd name="connsiteX401" fmla="*/ 267729 w 2039198"/>
                    <a:gd name="connsiteY401" fmla="*/ 263235 h 1686927"/>
                    <a:gd name="connsiteX402" fmla="*/ 278332 w 2039198"/>
                    <a:gd name="connsiteY402" fmla="*/ 250222 h 1686927"/>
                    <a:gd name="connsiteX403" fmla="*/ 278332 w 2039198"/>
                    <a:gd name="connsiteY403" fmla="*/ 250222 h 1686927"/>
                    <a:gd name="connsiteX404" fmla="*/ 267729 w 2039198"/>
                    <a:gd name="connsiteY404" fmla="*/ 263235 h 1686927"/>
                    <a:gd name="connsiteX405" fmla="*/ 1951082 w 2039198"/>
                    <a:gd name="connsiteY405" fmla="*/ 1408873 h 1686927"/>
                    <a:gd name="connsiteX406" fmla="*/ 1950761 w 2039198"/>
                    <a:gd name="connsiteY406" fmla="*/ 1409917 h 1686927"/>
                    <a:gd name="connsiteX407" fmla="*/ 1949074 w 2039198"/>
                    <a:gd name="connsiteY407" fmla="*/ 1411363 h 1686927"/>
                    <a:gd name="connsiteX408" fmla="*/ 1941764 w 2039198"/>
                    <a:gd name="connsiteY408" fmla="*/ 1420681 h 1686927"/>
                    <a:gd name="connsiteX409" fmla="*/ 1936462 w 2039198"/>
                    <a:gd name="connsiteY409" fmla="*/ 1430802 h 1686927"/>
                    <a:gd name="connsiteX410" fmla="*/ 1936703 w 2039198"/>
                    <a:gd name="connsiteY410" fmla="*/ 1430722 h 1686927"/>
                    <a:gd name="connsiteX411" fmla="*/ 1932767 w 2039198"/>
                    <a:gd name="connsiteY411" fmla="*/ 1436586 h 1686927"/>
                    <a:gd name="connsiteX412" fmla="*/ 1943451 w 2039198"/>
                    <a:gd name="connsiteY412" fmla="*/ 1415058 h 1686927"/>
                    <a:gd name="connsiteX413" fmla="*/ 1951243 w 2039198"/>
                    <a:gd name="connsiteY413" fmla="*/ 1408471 h 1686927"/>
                    <a:gd name="connsiteX414" fmla="*/ 1951082 w 2039198"/>
                    <a:gd name="connsiteY414" fmla="*/ 1408873 h 1686927"/>
                    <a:gd name="connsiteX415" fmla="*/ 1956705 w 2039198"/>
                    <a:gd name="connsiteY415" fmla="*/ 1338666 h 1686927"/>
                    <a:gd name="connsiteX416" fmla="*/ 1953251 w 2039198"/>
                    <a:gd name="connsiteY416" fmla="*/ 1342923 h 1686927"/>
                    <a:gd name="connsiteX417" fmla="*/ 1957026 w 2039198"/>
                    <a:gd name="connsiteY417" fmla="*/ 1338345 h 1686927"/>
                    <a:gd name="connsiteX418" fmla="*/ 1956705 w 2039198"/>
                    <a:gd name="connsiteY418" fmla="*/ 1338666 h 1686927"/>
                    <a:gd name="connsiteX419" fmla="*/ 1999118 w 2039198"/>
                    <a:gd name="connsiteY419" fmla="*/ 1296494 h 1686927"/>
                    <a:gd name="connsiteX420" fmla="*/ 1998716 w 2039198"/>
                    <a:gd name="connsiteY420" fmla="*/ 1325813 h 1686927"/>
                    <a:gd name="connsiteX421" fmla="*/ 1999198 w 2039198"/>
                    <a:gd name="connsiteY421" fmla="*/ 1339389 h 1686927"/>
                    <a:gd name="connsiteX422" fmla="*/ 1998556 w 2039198"/>
                    <a:gd name="connsiteY422" fmla="*/ 1294405 h 1686927"/>
                    <a:gd name="connsiteX423" fmla="*/ 1998957 w 2039198"/>
                    <a:gd name="connsiteY423" fmla="*/ 1294646 h 1686927"/>
                    <a:gd name="connsiteX424" fmla="*/ 1999118 w 2039198"/>
                    <a:gd name="connsiteY424" fmla="*/ 1296494 h 1686927"/>
                    <a:gd name="connsiteX425" fmla="*/ 1975502 w 2039198"/>
                    <a:gd name="connsiteY425" fmla="*/ 1285569 h 1686927"/>
                    <a:gd name="connsiteX426" fmla="*/ 1969959 w 2039198"/>
                    <a:gd name="connsiteY426" fmla="*/ 1286453 h 1686927"/>
                    <a:gd name="connsiteX427" fmla="*/ 1971405 w 2039198"/>
                    <a:gd name="connsiteY427" fmla="*/ 1286212 h 1686927"/>
                    <a:gd name="connsiteX428" fmla="*/ 1975903 w 2039198"/>
                    <a:gd name="connsiteY428" fmla="*/ 1285489 h 1686927"/>
                    <a:gd name="connsiteX429" fmla="*/ 1975502 w 2039198"/>
                    <a:gd name="connsiteY429" fmla="*/ 1285569 h 1686927"/>
                    <a:gd name="connsiteX430" fmla="*/ 1964577 w 2039198"/>
                    <a:gd name="connsiteY430" fmla="*/ 1302759 h 1686927"/>
                    <a:gd name="connsiteX431" fmla="*/ 1959115 w 2039198"/>
                    <a:gd name="connsiteY431" fmla="*/ 1305651 h 1686927"/>
                    <a:gd name="connsiteX432" fmla="*/ 1947708 w 2039198"/>
                    <a:gd name="connsiteY432" fmla="*/ 1290791 h 1686927"/>
                    <a:gd name="connsiteX433" fmla="*/ 1940720 w 2039198"/>
                    <a:gd name="connsiteY433" fmla="*/ 1268138 h 1686927"/>
                    <a:gd name="connsiteX434" fmla="*/ 1939756 w 2039198"/>
                    <a:gd name="connsiteY434" fmla="*/ 1262435 h 1686927"/>
                    <a:gd name="connsiteX435" fmla="*/ 1965059 w 2039198"/>
                    <a:gd name="connsiteY435" fmla="*/ 1302518 h 1686927"/>
                    <a:gd name="connsiteX436" fmla="*/ 1964577 w 2039198"/>
                    <a:gd name="connsiteY436" fmla="*/ 1302759 h 1686927"/>
                    <a:gd name="connsiteX437" fmla="*/ 1995262 w 2039198"/>
                    <a:gd name="connsiteY437" fmla="*/ 1208213 h 1686927"/>
                    <a:gd name="connsiteX438" fmla="*/ 1994218 w 2039198"/>
                    <a:gd name="connsiteY438" fmla="*/ 1211346 h 1686927"/>
                    <a:gd name="connsiteX439" fmla="*/ 1995262 w 2039198"/>
                    <a:gd name="connsiteY439" fmla="*/ 1208213 h 1686927"/>
                    <a:gd name="connsiteX440" fmla="*/ 1995262 w 2039198"/>
                    <a:gd name="connsiteY440" fmla="*/ 1208213 h 1686927"/>
                    <a:gd name="connsiteX441" fmla="*/ 1936382 w 2039198"/>
                    <a:gd name="connsiteY441" fmla="*/ 1238979 h 1686927"/>
                    <a:gd name="connsiteX442" fmla="*/ 1933892 w 2039198"/>
                    <a:gd name="connsiteY442" fmla="*/ 1248538 h 1686927"/>
                    <a:gd name="connsiteX443" fmla="*/ 1933811 w 2039198"/>
                    <a:gd name="connsiteY443" fmla="*/ 1247654 h 1686927"/>
                    <a:gd name="connsiteX444" fmla="*/ 1936382 w 2039198"/>
                    <a:gd name="connsiteY444" fmla="*/ 1238979 h 1686927"/>
                    <a:gd name="connsiteX445" fmla="*/ 1936382 w 2039198"/>
                    <a:gd name="connsiteY445" fmla="*/ 1238979 h 1686927"/>
                    <a:gd name="connsiteX446" fmla="*/ 1808259 w 2039198"/>
                    <a:gd name="connsiteY446" fmla="*/ 1310632 h 1686927"/>
                    <a:gd name="connsiteX447" fmla="*/ 1808178 w 2039198"/>
                    <a:gd name="connsiteY447" fmla="*/ 1312238 h 1686927"/>
                    <a:gd name="connsiteX448" fmla="*/ 1803600 w 2039198"/>
                    <a:gd name="connsiteY448" fmla="*/ 1310792 h 1686927"/>
                    <a:gd name="connsiteX449" fmla="*/ 1808259 w 2039198"/>
                    <a:gd name="connsiteY449" fmla="*/ 1310632 h 1686927"/>
                    <a:gd name="connsiteX450" fmla="*/ 1978795 w 2039198"/>
                    <a:gd name="connsiteY450" fmla="*/ 1184195 h 1686927"/>
                    <a:gd name="connsiteX451" fmla="*/ 1976064 w 2039198"/>
                    <a:gd name="connsiteY451" fmla="*/ 1198253 h 1686927"/>
                    <a:gd name="connsiteX452" fmla="*/ 1976546 w 2039198"/>
                    <a:gd name="connsiteY452" fmla="*/ 1200181 h 1686927"/>
                    <a:gd name="connsiteX453" fmla="*/ 1972288 w 2039198"/>
                    <a:gd name="connsiteY453" fmla="*/ 1209418 h 1686927"/>
                    <a:gd name="connsiteX454" fmla="*/ 1974136 w 2039198"/>
                    <a:gd name="connsiteY454" fmla="*/ 1208454 h 1686927"/>
                    <a:gd name="connsiteX455" fmla="*/ 1974216 w 2039198"/>
                    <a:gd name="connsiteY455" fmla="*/ 1208695 h 1686927"/>
                    <a:gd name="connsiteX456" fmla="*/ 1972047 w 2039198"/>
                    <a:gd name="connsiteY456" fmla="*/ 1211989 h 1686927"/>
                    <a:gd name="connsiteX457" fmla="*/ 1976144 w 2039198"/>
                    <a:gd name="connsiteY457" fmla="*/ 1208695 h 1686927"/>
                    <a:gd name="connsiteX458" fmla="*/ 1976465 w 2039198"/>
                    <a:gd name="connsiteY458" fmla="*/ 1208856 h 1686927"/>
                    <a:gd name="connsiteX459" fmla="*/ 1974056 w 2039198"/>
                    <a:gd name="connsiteY459" fmla="*/ 1214800 h 1686927"/>
                    <a:gd name="connsiteX460" fmla="*/ 1971325 w 2039198"/>
                    <a:gd name="connsiteY460" fmla="*/ 1222512 h 1686927"/>
                    <a:gd name="connsiteX461" fmla="*/ 1969879 w 2039198"/>
                    <a:gd name="connsiteY461" fmla="*/ 1225644 h 1686927"/>
                    <a:gd name="connsiteX462" fmla="*/ 1967870 w 2039198"/>
                    <a:gd name="connsiteY462" fmla="*/ 1221146 h 1686927"/>
                    <a:gd name="connsiteX463" fmla="*/ 1963934 w 2039198"/>
                    <a:gd name="connsiteY463" fmla="*/ 1222833 h 1686927"/>
                    <a:gd name="connsiteX464" fmla="*/ 1963051 w 2039198"/>
                    <a:gd name="connsiteY464" fmla="*/ 1228697 h 1686927"/>
                    <a:gd name="connsiteX465" fmla="*/ 1961525 w 2039198"/>
                    <a:gd name="connsiteY465" fmla="*/ 1230625 h 1686927"/>
                    <a:gd name="connsiteX466" fmla="*/ 1961284 w 2039198"/>
                    <a:gd name="connsiteY466" fmla="*/ 1229018 h 1686927"/>
                    <a:gd name="connsiteX467" fmla="*/ 1961203 w 2039198"/>
                    <a:gd name="connsiteY467" fmla="*/ 1228617 h 1686927"/>
                    <a:gd name="connsiteX468" fmla="*/ 1962488 w 2039198"/>
                    <a:gd name="connsiteY468" fmla="*/ 1189738 h 1686927"/>
                    <a:gd name="connsiteX469" fmla="*/ 1963292 w 2039198"/>
                    <a:gd name="connsiteY469" fmla="*/ 1190140 h 1686927"/>
                    <a:gd name="connsiteX470" fmla="*/ 1963051 w 2039198"/>
                    <a:gd name="connsiteY470" fmla="*/ 1191184 h 1686927"/>
                    <a:gd name="connsiteX471" fmla="*/ 1964095 w 2039198"/>
                    <a:gd name="connsiteY471" fmla="*/ 1190461 h 1686927"/>
                    <a:gd name="connsiteX472" fmla="*/ 1966665 w 2039198"/>
                    <a:gd name="connsiteY472" fmla="*/ 1183874 h 1686927"/>
                    <a:gd name="connsiteX473" fmla="*/ 1968031 w 2039198"/>
                    <a:gd name="connsiteY473" fmla="*/ 1182026 h 1686927"/>
                    <a:gd name="connsiteX474" fmla="*/ 1969075 w 2039198"/>
                    <a:gd name="connsiteY474" fmla="*/ 1183713 h 1686927"/>
                    <a:gd name="connsiteX475" fmla="*/ 1971646 w 2039198"/>
                    <a:gd name="connsiteY475" fmla="*/ 1182669 h 1686927"/>
                    <a:gd name="connsiteX476" fmla="*/ 1978795 w 2039198"/>
                    <a:gd name="connsiteY476" fmla="*/ 1184195 h 1686927"/>
                    <a:gd name="connsiteX477" fmla="*/ 1966103 w 2039198"/>
                    <a:gd name="connsiteY477" fmla="*/ 1168049 h 1686927"/>
                    <a:gd name="connsiteX478" fmla="*/ 1964577 w 2039198"/>
                    <a:gd name="connsiteY478" fmla="*/ 1171423 h 1686927"/>
                    <a:gd name="connsiteX479" fmla="*/ 1964979 w 2039198"/>
                    <a:gd name="connsiteY479" fmla="*/ 1171343 h 1686927"/>
                    <a:gd name="connsiteX480" fmla="*/ 1964657 w 2039198"/>
                    <a:gd name="connsiteY480" fmla="*/ 1172628 h 1686927"/>
                    <a:gd name="connsiteX481" fmla="*/ 1965621 w 2039198"/>
                    <a:gd name="connsiteY481" fmla="*/ 1171503 h 1686927"/>
                    <a:gd name="connsiteX482" fmla="*/ 1965541 w 2039198"/>
                    <a:gd name="connsiteY482" fmla="*/ 1174154 h 1686927"/>
                    <a:gd name="connsiteX483" fmla="*/ 1962328 w 2039198"/>
                    <a:gd name="connsiteY483" fmla="*/ 1175841 h 1686927"/>
                    <a:gd name="connsiteX484" fmla="*/ 1961043 w 2039198"/>
                    <a:gd name="connsiteY484" fmla="*/ 1176644 h 1686927"/>
                    <a:gd name="connsiteX485" fmla="*/ 1958954 w 2039198"/>
                    <a:gd name="connsiteY485" fmla="*/ 1176002 h 1686927"/>
                    <a:gd name="connsiteX486" fmla="*/ 1960962 w 2039198"/>
                    <a:gd name="connsiteY486" fmla="*/ 1173512 h 1686927"/>
                    <a:gd name="connsiteX487" fmla="*/ 1963051 w 2039198"/>
                    <a:gd name="connsiteY487" fmla="*/ 1171262 h 1686927"/>
                    <a:gd name="connsiteX488" fmla="*/ 1966344 w 2039198"/>
                    <a:gd name="connsiteY488" fmla="*/ 1167728 h 1686927"/>
                    <a:gd name="connsiteX489" fmla="*/ 1966103 w 2039198"/>
                    <a:gd name="connsiteY489" fmla="*/ 1168049 h 1686927"/>
                    <a:gd name="connsiteX490" fmla="*/ 1947708 w 2039198"/>
                    <a:gd name="connsiteY490" fmla="*/ 1174235 h 1686927"/>
                    <a:gd name="connsiteX491" fmla="*/ 1941764 w 2039198"/>
                    <a:gd name="connsiteY491" fmla="*/ 1194798 h 1686927"/>
                    <a:gd name="connsiteX492" fmla="*/ 1947628 w 2039198"/>
                    <a:gd name="connsiteY492" fmla="*/ 1174074 h 1686927"/>
                    <a:gd name="connsiteX493" fmla="*/ 1947708 w 2039198"/>
                    <a:gd name="connsiteY493" fmla="*/ 1174235 h 1686927"/>
                    <a:gd name="connsiteX494" fmla="*/ 1987631 w 2039198"/>
                    <a:gd name="connsiteY494" fmla="*/ 1128367 h 1686927"/>
                    <a:gd name="connsiteX495" fmla="*/ 1986426 w 2039198"/>
                    <a:gd name="connsiteY495" fmla="*/ 1127885 h 1686927"/>
                    <a:gd name="connsiteX496" fmla="*/ 1987631 w 2039198"/>
                    <a:gd name="connsiteY496" fmla="*/ 1128367 h 1686927"/>
                    <a:gd name="connsiteX497" fmla="*/ 1987631 w 2039198"/>
                    <a:gd name="connsiteY497" fmla="*/ 1128367 h 1686927"/>
                    <a:gd name="connsiteX498" fmla="*/ 1987551 w 2039198"/>
                    <a:gd name="connsiteY498" fmla="*/ 1078323 h 1686927"/>
                    <a:gd name="connsiteX499" fmla="*/ 1986185 w 2039198"/>
                    <a:gd name="connsiteY499" fmla="*/ 1086436 h 1686927"/>
                    <a:gd name="connsiteX500" fmla="*/ 1986105 w 2039198"/>
                    <a:gd name="connsiteY500" fmla="*/ 1086516 h 1686927"/>
                    <a:gd name="connsiteX501" fmla="*/ 1987471 w 2039198"/>
                    <a:gd name="connsiteY501" fmla="*/ 1077921 h 1686927"/>
                    <a:gd name="connsiteX502" fmla="*/ 1987551 w 2039198"/>
                    <a:gd name="connsiteY502" fmla="*/ 1078323 h 1686927"/>
                    <a:gd name="connsiteX503" fmla="*/ 1506145 w 2039198"/>
                    <a:gd name="connsiteY503" fmla="*/ 1344851 h 1686927"/>
                    <a:gd name="connsiteX504" fmla="*/ 1507029 w 2039198"/>
                    <a:gd name="connsiteY504" fmla="*/ 1352241 h 1686927"/>
                    <a:gd name="connsiteX505" fmla="*/ 1507993 w 2039198"/>
                    <a:gd name="connsiteY505" fmla="*/ 1351117 h 1686927"/>
                    <a:gd name="connsiteX506" fmla="*/ 1489839 w 2039198"/>
                    <a:gd name="connsiteY506" fmla="*/ 1356418 h 1686927"/>
                    <a:gd name="connsiteX507" fmla="*/ 1495140 w 2039198"/>
                    <a:gd name="connsiteY507" fmla="*/ 1354651 h 1686927"/>
                    <a:gd name="connsiteX508" fmla="*/ 1503896 w 2039198"/>
                    <a:gd name="connsiteY508" fmla="*/ 1350635 h 1686927"/>
                    <a:gd name="connsiteX509" fmla="*/ 1502450 w 2039198"/>
                    <a:gd name="connsiteY509" fmla="*/ 1350474 h 1686927"/>
                    <a:gd name="connsiteX510" fmla="*/ 1502771 w 2039198"/>
                    <a:gd name="connsiteY510" fmla="*/ 1347823 h 1686927"/>
                    <a:gd name="connsiteX511" fmla="*/ 1501165 w 2039198"/>
                    <a:gd name="connsiteY511" fmla="*/ 1347663 h 1686927"/>
                    <a:gd name="connsiteX512" fmla="*/ 1503575 w 2039198"/>
                    <a:gd name="connsiteY512" fmla="*/ 1345735 h 1686927"/>
                    <a:gd name="connsiteX513" fmla="*/ 1499317 w 2039198"/>
                    <a:gd name="connsiteY513" fmla="*/ 1344691 h 1686927"/>
                    <a:gd name="connsiteX514" fmla="*/ 1499317 w 2039198"/>
                    <a:gd name="connsiteY514" fmla="*/ 1345494 h 1686927"/>
                    <a:gd name="connsiteX515" fmla="*/ 1495944 w 2039198"/>
                    <a:gd name="connsiteY515" fmla="*/ 1345815 h 1686927"/>
                    <a:gd name="connsiteX516" fmla="*/ 1500522 w 2039198"/>
                    <a:gd name="connsiteY516" fmla="*/ 1343807 h 1686927"/>
                    <a:gd name="connsiteX517" fmla="*/ 1490803 w 2039198"/>
                    <a:gd name="connsiteY517" fmla="*/ 1346538 h 1686927"/>
                    <a:gd name="connsiteX518" fmla="*/ 1495221 w 2039198"/>
                    <a:gd name="connsiteY518" fmla="*/ 1343486 h 1686927"/>
                    <a:gd name="connsiteX519" fmla="*/ 1498032 w 2039198"/>
                    <a:gd name="connsiteY519" fmla="*/ 1342120 h 1686927"/>
                    <a:gd name="connsiteX520" fmla="*/ 1491686 w 2039198"/>
                    <a:gd name="connsiteY520" fmla="*/ 1341558 h 1686927"/>
                    <a:gd name="connsiteX521" fmla="*/ 1488955 w 2039198"/>
                    <a:gd name="connsiteY521" fmla="*/ 1340273 h 1686927"/>
                    <a:gd name="connsiteX522" fmla="*/ 1487348 w 2039198"/>
                    <a:gd name="connsiteY522" fmla="*/ 1341718 h 1686927"/>
                    <a:gd name="connsiteX523" fmla="*/ 1487268 w 2039198"/>
                    <a:gd name="connsiteY523" fmla="*/ 1341558 h 1686927"/>
                    <a:gd name="connsiteX524" fmla="*/ 1483734 w 2039198"/>
                    <a:gd name="connsiteY524" fmla="*/ 1340032 h 1686927"/>
                    <a:gd name="connsiteX525" fmla="*/ 1482208 w 2039198"/>
                    <a:gd name="connsiteY525" fmla="*/ 1339790 h 1686927"/>
                    <a:gd name="connsiteX526" fmla="*/ 1480521 w 2039198"/>
                    <a:gd name="connsiteY526" fmla="*/ 1339630 h 1686927"/>
                    <a:gd name="connsiteX527" fmla="*/ 1476906 w 2039198"/>
                    <a:gd name="connsiteY527" fmla="*/ 1339790 h 1686927"/>
                    <a:gd name="connsiteX528" fmla="*/ 1474094 w 2039198"/>
                    <a:gd name="connsiteY528" fmla="*/ 1339148 h 1686927"/>
                    <a:gd name="connsiteX529" fmla="*/ 1466463 w 2039198"/>
                    <a:gd name="connsiteY529" fmla="*/ 1342281 h 1686927"/>
                    <a:gd name="connsiteX530" fmla="*/ 1478030 w 2039198"/>
                    <a:gd name="connsiteY530" fmla="*/ 1337140 h 1686927"/>
                    <a:gd name="connsiteX531" fmla="*/ 1475460 w 2039198"/>
                    <a:gd name="connsiteY531" fmla="*/ 1333123 h 1686927"/>
                    <a:gd name="connsiteX532" fmla="*/ 1484698 w 2039198"/>
                    <a:gd name="connsiteY532" fmla="*/ 1335774 h 1686927"/>
                    <a:gd name="connsiteX533" fmla="*/ 1495140 w 2039198"/>
                    <a:gd name="connsiteY533" fmla="*/ 1337702 h 1686927"/>
                    <a:gd name="connsiteX534" fmla="*/ 1492650 w 2039198"/>
                    <a:gd name="connsiteY534" fmla="*/ 1338907 h 1686927"/>
                    <a:gd name="connsiteX535" fmla="*/ 1500281 w 2039198"/>
                    <a:gd name="connsiteY535" fmla="*/ 1335212 h 1686927"/>
                    <a:gd name="connsiteX536" fmla="*/ 1502049 w 2039198"/>
                    <a:gd name="connsiteY536" fmla="*/ 1333043 h 1686927"/>
                    <a:gd name="connsiteX537" fmla="*/ 1500763 w 2039198"/>
                    <a:gd name="connsiteY537" fmla="*/ 1328786 h 1686927"/>
                    <a:gd name="connsiteX538" fmla="*/ 1503414 w 2039198"/>
                    <a:gd name="connsiteY538" fmla="*/ 1332882 h 1686927"/>
                    <a:gd name="connsiteX539" fmla="*/ 1502209 w 2039198"/>
                    <a:gd name="connsiteY539" fmla="*/ 1333525 h 1686927"/>
                    <a:gd name="connsiteX540" fmla="*/ 1503896 w 2039198"/>
                    <a:gd name="connsiteY540" fmla="*/ 1338023 h 1686927"/>
                    <a:gd name="connsiteX541" fmla="*/ 1505181 w 2039198"/>
                    <a:gd name="connsiteY541" fmla="*/ 1341558 h 1686927"/>
                    <a:gd name="connsiteX542" fmla="*/ 1504780 w 2039198"/>
                    <a:gd name="connsiteY542" fmla="*/ 1342763 h 1686927"/>
                    <a:gd name="connsiteX543" fmla="*/ 1505904 w 2039198"/>
                    <a:gd name="connsiteY543" fmla="*/ 1341718 h 1686927"/>
                    <a:gd name="connsiteX544" fmla="*/ 1506145 w 2039198"/>
                    <a:gd name="connsiteY544" fmla="*/ 1344851 h 1686927"/>
                    <a:gd name="connsiteX545" fmla="*/ 1996306 w 2039198"/>
                    <a:gd name="connsiteY545" fmla="*/ 990364 h 1686927"/>
                    <a:gd name="connsiteX546" fmla="*/ 1996306 w 2039198"/>
                    <a:gd name="connsiteY546" fmla="*/ 990364 h 1686927"/>
                    <a:gd name="connsiteX547" fmla="*/ 1996226 w 2039198"/>
                    <a:gd name="connsiteY547" fmla="*/ 990283 h 1686927"/>
                    <a:gd name="connsiteX548" fmla="*/ 1995985 w 2039198"/>
                    <a:gd name="connsiteY548" fmla="*/ 989962 h 1686927"/>
                    <a:gd name="connsiteX549" fmla="*/ 1995985 w 2039198"/>
                    <a:gd name="connsiteY549" fmla="*/ 989721 h 1686927"/>
                    <a:gd name="connsiteX550" fmla="*/ 1996306 w 2039198"/>
                    <a:gd name="connsiteY550" fmla="*/ 990364 h 1686927"/>
                    <a:gd name="connsiteX551" fmla="*/ 1966183 w 2039198"/>
                    <a:gd name="connsiteY551" fmla="*/ 1022415 h 1686927"/>
                    <a:gd name="connsiteX552" fmla="*/ 1965782 w 2039198"/>
                    <a:gd name="connsiteY552" fmla="*/ 1022897 h 1686927"/>
                    <a:gd name="connsiteX553" fmla="*/ 1964979 w 2039198"/>
                    <a:gd name="connsiteY553" fmla="*/ 1023861 h 1686927"/>
                    <a:gd name="connsiteX554" fmla="*/ 1963051 w 2039198"/>
                    <a:gd name="connsiteY554" fmla="*/ 1026190 h 1686927"/>
                    <a:gd name="connsiteX555" fmla="*/ 1966183 w 2039198"/>
                    <a:gd name="connsiteY555" fmla="*/ 1022415 h 1686927"/>
                    <a:gd name="connsiteX556" fmla="*/ 1966183 w 2039198"/>
                    <a:gd name="connsiteY556" fmla="*/ 1022415 h 1686927"/>
                    <a:gd name="connsiteX557" fmla="*/ 1724798 w 2039198"/>
                    <a:gd name="connsiteY557" fmla="*/ 1178010 h 1686927"/>
                    <a:gd name="connsiteX558" fmla="*/ 1719577 w 2039198"/>
                    <a:gd name="connsiteY558" fmla="*/ 1180821 h 1686927"/>
                    <a:gd name="connsiteX559" fmla="*/ 1719577 w 2039198"/>
                    <a:gd name="connsiteY559" fmla="*/ 1180821 h 1686927"/>
                    <a:gd name="connsiteX560" fmla="*/ 1725521 w 2039198"/>
                    <a:gd name="connsiteY560" fmla="*/ 1177689 h 1686927"/>
                    <a:gd name="connsiteX561" fmla="*/ 1724798 w 2039198"/>
                    <a:gd name="connsiteY561" fmla="*/ 1178010 h 1686927"/>
                    <a:gd name="connsiteX562" fmla="*/ 1884972 w 2039198"/>
                    <a:gd name="connsiteY562" fmla="*/ 939115 h 1686927"/>
                    <a:gd name="connsiteX563" fmla="*/ 1884651 w 2039198"/>
                    <a:gd name="connsiteY563" fmla="*/ 941524 h 1686927"/>
                    <a:gd name="connsiteX564" fmla="*/ 1882482 w 2039198"/>
                    <a:gd name="connsiteY564" fmla="*/ 942569 h 1686927"/>
                    <a:gd name="connsiteX565" fmla="*/ 1881438 w 2039198"/>
                    <a:gd name="connsiteY565" fmla="*/ 948352 h 1686927"/>
                    <a:gd name="connsiteX566" fmla="*/ 1879831 w 2039198"/>
                    <a:gd name="connsiteY566" fmla="*/ 954296 h 1686927"/>
                    <a:gd name="connsiteX567" fmla="*/ 1879188 w 2039198"/>
                    <a:gd name="connsiteY567" fmla="*/ 960642 h 1686927"/>
                    <a:gd name="connsiteX568" fmla="*/ 1881116 w 2039198"/>
                    <a:gd name="connsiteY568" fmla="*/ 945621 h 1686927"/>
                    <a:gd name="connsiteX569" fmla="*/ 1879510 w 2039198"/>
                    <a:gd name="connsiteY569" fmla="*/ 944818 h 1686927"/>
                    <a:gd name="connsiteX570" fmla="*/ 1885052 w 2039198"/>
                    <a:gd name="connsiteY570" fmla="*/ 938793 h 1686927"/>
                    <a:gd name="connsiteX571" fmla="*/ 1884972 w 2039198"/>
                    <a:gd name="connsiteY571" fmla="*/ 939115 h 1686927"/>
                    <a:gd name="connsiteX572" fmla="*/ 1886739 w 2039198"/>
                    <a:gd name="connsiteY572" fmla="*/ 928672 h 1686927"/>
                    <a:gd name="connsiteX573" fmla="*/ 1888747 w 2039198"/>
                    <a:gd name="connsiteY573" fmla="*/ 931564 h 1686927"/>
                    <a:gd name="connsiteX574" fmla="*/ 1885695 w 2039198"/>
                    <a:gd name="connsiteY574" fmla="*/ 936223 h 1686927"/>
                    <a:gd name="connsiteX575" fmla="*/ 1882964 w 2039198"/>
                    <a:gd name="connsiteY575" fmla="*/ 928190 h 1686927"/>
                    <a:gd name="connsiteX576" fmla="*/ 1883446 w 2039198"/>
                    <a:gd name="connsiteY576" fmla="*/ 926503 h 1686927"/>
                    <a:gd name="connsiteX577" fmla="*/ 1882964 w 2039198"/>
                    <a:gd name="connsiteY577" fmla="*/ 927065 h 1686927"/>
                    <a:gd name="connsiteX578" fmla="*/ 1884088 w 2039198"/>
                    <a:gd name="connsiteY578" fmla="*/ 925780 h 1686927"/>
                    <a:gd name="connsiteX579" fmla="*/ 1882883 w 2039198"/>
                    <a:gd name="connsiteY579" fmla="*/ 920559 h 1686927"/>
                    <a:gd name="connsiteX580" fmla="*/ 1886096 w 2039198"/>
                    <a:gd name="connsiteY580" fmla="*/ 925137 h 1686927"/>
                    <a:gd name="connsiteX581" fmla="*/ 1886739 w 2039198"/>
                    <a:gd name="connsiteY581" fmla="*/ 928672 h 1686927"/>
                    <a:gd name="connsiteX582" fmla="*/ 1968031 w 2039198"/>
                    <a:gd name="connsiteY582" fmla="*/ 734198 h 1686927"/>
                    <a:gd name="connsiteX583" fmla="*/ 1975100 w 2039198"/>
                    <a:gd name="connsiteY583" fmla="*/ 761831 h 1686927"/>
                    <a:gd name="connsiteX584" fmla="*/ 1973172 w 2039198"/>
                    <a:gd name="connsiteY584" fmla="*/ 786491 h 1686927"/>
                    <a:gd name="connsiteX585" fmla="*/ 1972610 w 2039198"/>
                    <a:gd name="connsiteY585" fmla="*/ 787375 h 1686927"/>
                    <a:gd name="connsiteX586" fmla="*/ 1971646 w 2039198"/>
                    <a:gd name="connsiteY586" fmla="*/ 784162 h 1686927"/>
                    <a:gd name="connsiteX587" fmla="*/ 1971164 w 2039198"/>
                    <a:gd name="connsiteY587" fmla="*/ 784644 h 1686927"/>
                    <a:gd name="connsiteX588" fmla="*/ 1964898 w 2039198"/>
                    <a:gd name="connsiteY588" fmla="*/ 770747 h 1686927"/>
                    <a:gd name="connsiteX589" fmla="*/ 1969236 w 2039198"/>
                    <a:gd name="connsiteY589" fmla="*/ 785768 h 1686927"/>
                    <a:gd name="connsiteX590" fmla="*/ 1957669 w 2039198"/>
                    <a:gd name="connsiteY590" fmla="*/ 769301 h 1686927"/>
                    <a:gd name="connsiteX591" fmla="*/ 1950921 w 2039198"/>
                    <a:gd name="connsiteY591" fmla="*/ 767132 h 1686927"/>
                    <a:gd name="connsiteX592" fmla="*/ 1937025 w 2039198"/>
                    <a:gd name="connsiteY592" fmla="*/ 755886 h 1686927"/>
                    <a:gd name="connsiteX593" fmla="*/ 1935578 w 2039198"/>
                    <a:gd name="connsiteY593" fmla="*/ 749942 h 1686927"/>
                    <a:gd name="connsiteX594" fmla="*/ 1932687 w 2039198"/>
                    <a:gd name="connsiteY594" fmla="*/ 733957 h 1686927"/>
                    <a:gd name="connsiteX595" fmla="*/ 1932285 w 2039198"/>
                    <a:gd name="connsiteY595" fmla="*/ 733555 h 1686927"/>
                    <a:gd name="connsiteX596" fmla="*/ 1933008 w 2039198"/>
                    <a:gd name="connsiteY596" fmla="*/ 732913 h 1686927"/>
                    <a:gd name="connsiteX597" fmla="*/ 1933329 w 2039198"/>
                    <a:gd name="connsiteY597" fmla="*/ 732993 h 1686927"/>
                    <a:gd name="connsiteX598" fmla="*/ 1933088 w 2039198"/>
                    <a:gd name="connsiteY598" fmla="*/ 735001 h 1686927"/>
                    <a:gd name="connsiteX599" fmla="*/ 1967951 w 2039198"/>
                    <a:gd name="connsiteY599" fmla="*/ 733555 h 1686927"/>
                    <a:gd name="connsiteX600" fmla="*/ 1968031 w 2039198"/>
                    <a:gd name="connsiteY600" fmla="*/ 734198 h 1686927"/>
                    <a:gd name="connsiteX601" fmla="*/ 1927144 w 2039198"/>
                    <a:gd name="connsiteY601" fmla="*/ 741267 h 1686927"/>
                    <a:gd name="connsiteX602" fmla="*/ 1923690 w 2039198"/>
                    <a:gd name="connsiteY602" fmla="*/ 744319 h 1686927"/>
                    <a:gd name="connsiteX603" fmla="*/ 1923770 w 2039198"/>
                    <a:gd name="connsiteY603" fmla="*/ 744158 h 1686927"/>
                    <a:gd name="connsiteX604" fmla="*/ 1924333 w 2039198"/>
                    <a:gd name="connsiteY604" fmla="*/ 743596 h 1686927"/>
                    <a:gd name="connsiteX605" fmla="*/ 1927064 w 2039198"/>
                    <a:gd name="connsiteY605" fmla="*/ 740785 h 1686927"/>
                    <a:gd name="connsiteX606" fmla="*/ 1927144 w 2039198"/>
                    <a:gd name="connsiteY606" fmla="*/ 741267 h 1686927"/>
                    <a:gd name="connsiteX607" fmla="*/ 1863364 w 2039198"/>
                    <a:gd name="connsiteY607" fmla="*/ 818542 h 1686927"/>
                    <a:gd name="connsiteX608" fmla="*/ 1862480 w 2039198"/>
                    <a:gd name="connsiteY608" fmla="*/ 819105 h 1686927"/>
                    <a:gd name="connsiteX609" fmla="*/ 1863364 w 2039198"/>
                    <a:gd name="connsiteY609" fmla="*/ 818542 h 1686927"/>
                    <a:gd name="connsiteX610" fmla="*/ 1863364 w 2039198"/>
                    <a:gd name="connsiteY610" fmla="*/ 818542 h 1686927"/>
                    <a:gd name="connsiteX611" fmla="*/ 1861115 w 2039198"/>
                    <a:gd name="connsiteY611" fmla="*/ 813401 h 1686927"/>
                    <a:gd name="connsiteX612" fmla="*/ 1860311 w 2039198"/>
                    <a:gd name="connsiteY612" fmla="*/ 815731 h 1686927"/>
                    <a:gd name="connsiteX613" fmla="*/ 1861195 w 2039198"/>
                    <a:gd name="connsiteY613" fmla="*/ 813160 h 1686927"/>
                    <a:gd name="connsiteX614" fmla="*/ 1861115 w 2039198"/>
                    <a:gd name="connsiteY614" fmla="*/ 813401 h 1686927"/>
                    <a:gd name="connsiteX615" fmla="*/ 1861356 w 2039198"/>
                    <a:gd name="connsiteY615" fmla="*/ 812759 h 1686927"/>
                    <a:gd name="connsiteX616" fmla="*/ 1861356 w 2039198"/>
                    <a:gd name="connsiteY616" fmla="*/ 812759 h 1686927"/>
                    <a:gd name="connsiteX617" fmla="*/ 1861356 w 2039198"/>
                    <a:gd name="connsiteY617" fmla="*/ 812759 h 1686927"/>
                    <a:gd name="connsiteX618" fmla="*/ 1861356 w 2039198"/>
                    <a:gd name="connsiteY618" fmla="*/ 812759 h 1686927"/>
                    <a:gd name="connsiteX619" fmla="*/ 1854046 w 2039198"/>
                    <a:gd name="connsiteY619" fmla="*/ 799504 h 1686927"/>
                    <a:gd name="connsiteX620" fmla="*/ 1853082 w 2039198"/>
                    <a:gd name="connsiteY620" fmla="*/ 797657 h 1686927"/>
                    <a:gd name="connsiteX621" fmla="*/ 1854046 w 2039198"/>
                    <a:gd name="connsiteY621" fmla="*/ 798460 h 1686927"/>
                    <a:gd name="connsiteX622" fmla="*/ 1854046 w 2039198"/>
                    <a:gd name="connsiteY622" fmla="*/ 799504 h 1686927"/>
                    <a:gd name="connsiteX623" fmla="*/ 1901038 w 2039198"/>
                    <a:gd name="connsiteY623" fmla="*/ 743998 h 1686927"/>
                    <a:gd name="connsiteX624" fmla="*/ 1900636 w 2039198"/>
                    <a:gd name="connsiteY624" fmla="*/ 744721 h 1686927"/>
                    <a:gd name="connsiteX625" fmla="*/ 1896620 w 2039198"/>
                    <a:gd name="connsiteY625" fmla="*/ 740544 h 1686927"/>
                    <a:gd name="connsiteX626" fmla="*/ 1901118 w 2039198"/>
                    <a:gd name="connsiteY626" fmla="*/ 743917 h 1686927"/>
                    <a:gd name="connsiteX627" fmla="*/ 1901038 w 2039198"/>
                    <a:gd name="connsiteY627" fmla="*/ 743998 h 1686927"/>
                    <a:gd name="connsiteX628" fmla="*/ 1895415 w 2039198"/>
                    <a:gd name="connsiteY628" fmla="*/ 738696 h 1686927"/>
                    <a:gd name="connsiteX629" fmla="*/ 1895415 w 2039198"/>
                    <a:gd name="connsiteY629" fmla="*/ 739018 h 1686927"/>
                    <a:gd name="connsiteX630" fmla="*/ 1893969 w 2039198"/>
                    <a:gd name="connsiteY630" fmla="*/ 739660 h 1686927"/>
                    <a:gd name="connsiteX631" fmla="*/ 1893487 w 2039198"/>
                    <a:gd name="connsiteY631" fmla="*/ 737652 h 1686927"/>
                    <a:gd name="connsiteX632" fmla="*/ 1895415 w 2039198"/>
                    <a:gd name="connsiteY632" fmla="*/ 738696 h 1686927"/>
                    <a:gd name="connsiteX633" fmla="*/ 1890836 w 2039198"/>
                    <a:gd name="connsiteY633" fmla="*/ 731868 h 1686927"/>
                    <a:gd name="connsiteX634" fmla="*/ 1890997 w 2039198"/>
                    <a:gd name="connsiteY634" fmla="*/ 735001 h 1686927"/>
                    <a:gd name="connsiteX635" fmla="*/ 1886257 w 2039198"/>
                    <a:gd name="connsiteY635" fmla="*/ 728896 h 1686927"/>
                    <a:gd name="connsiteX636" fmla="*/ 1890836 w 2039198"/>
                    <a:gd name="connsiteY636" fmla="*/ 731868 h 1686927"/>
                    <a:gd name="connsiteX637" fmla="*/ 1875252 w 2039198"/>
                    <a:gd name="connsiteY637" fmla="*/ 675237 h 1686927"/>
                    <a:gd name="connsiteX638" fmla="*/ 1875011 w 2039198"/>
                    <a:gd name="connsiteY638" fmla="*/ 675719 h 1686927"/>
                    <a:gd name="connsiteX639" fmla="*/ 1866175 w 2039198"/>
                    <a:gd name="connsiteY639" fmla="*/ 671060 h 1686927"/>
                    <a:gd name="connsiteX640" fmla="*/ 1875252 w 2039198"/>
                    <a:gd name="connsiteY640" fmla="*/ 675237 h 1686927"/>
                    <a:gd name="connsiteX641" fmla="*/ 1875252 w 2039198"/>
                    <a:gd name="connsiteY641" fmla="*/ 675237 h 1686927"/>
                    <a:gd name="connsiteX642" fmla="*/ 1854367 w 2039198"/>
                    <a:gd name="connsiteY642" fmla="*/ 671462 h 1686927"/>
                    <a:gd name="connsiteX643" fmla="*/ 1856295 w 2039198"/>
                    <a:gd name="connsiteY643" fmla="*/ 681824 h 1686927"/>
                    <a:gd name="connsiteX644" fmla="*/ 1852198 w 2039198"/>
                    <a:gd name="connsiteY644" fmla="*/ 684234 h 1686927"/>
                    <a:gd name="connsiteX645" fmla="*/ 1854206 w 2039198"/>
                    <a:gd name="connsiteY645" fmla="*/ 670417 h 1686927"/>
                    <a:gd name="connsiteX646" fmla="*/ 1854367 w 2039198"/>
                    <a:gd name="connsiteY646" fmla="*/ 671462 h 1686927"/>
                    <a:gd name="connsiteX647" fmla="*/ 1799182 w 2039198"/>
                    <a:gd name="connsiteY647" fmla="*/ 742231 h 1686927"/>
                    <a:gd name="connsiteX648" fmla="*/ 1792996 w 2039198"/>
                    <a:gd name="connsiteY648" fmla="*/ 737250 h 1686927"/>
                    <a:gd name="connsiteX649" fmla="*/ 1799423 w 2039198"/>
                    <a:gd name="connsiteY649" fmla="*/ 741990 h 1686927"/>
                    <a:gd name="connsiteX650" fmla="*/ 1799182 w 2039198"/>
                    <a:gd name="connsiteY650" fmla="*/ 742231 h 1686927"/>
                    <a:gd name="connsiteX651" fmla="*/ 1851315 w 2039198"/>
                    <a:gd name="connsiteY651" fmla="*/ 642544 h 1686927"/>
                    <a:gd name="connsiteX652" fmla="*/ 1851315 w 2039198"/>
                    <a:gd name="connsiteY652" fmla="*/ 642544 h 1686927"/>
                    <a:gd name="connsiteX653" fmla="*/ 1846656 w 2039198"/>
                    <a:gd name="connsiteY653" fmla="*/ 642303 h 1686927"/>
                    <a:gd name="connsiteX654" fmla="*/ 1846173 w 2039198"/>
                    <a:gd name="connsiteY654" fmla="*/ 641339 h 1686927"/>
                    <a:gd name="connsiteX655" fmla="*/ 1851315 w 2039198"/>
                    <a:gd name="connsiteY655" fmla="*/ 642544 h 1686927"/>
                    <a:gd name="connsiteX656" fmla="*/ 1845210 w 2039198"/>
                    <a:gd name="connsiteY656" fmla="*/ 494499 h 1686927"/>
                    <a:gd name="connsiteX657" fmla="*/ 1846173 w 2039198"/>
                    <a:gd name="connsiteY657" fmla="*/ 495865 h 1686927"/>
                    <a:gd name="connsiteX658" fmla="*/ 1846415 w 2039198"/>
                    <a:gd name="connsiteY658" fmla="*/ 496266 h 1686927"/>
                    <a:gd name="connsiteX659" fmla="*/ 1844808 w 2039198"/>
                    <a:gd name="connsiteY659" fmla="*/ 493856 h 1686927"/>
                    <a:gd name="connsiteX660" fmla="*/ 1844808 w 2039198"/>
                    <a:gd name="connsiteY660" fmla="*/ 493856 h 1686927"/>
                    <a:gd name="connsiteX661" fmla="*/ 1845210 w 2039198"/>
                    <a:gd name="connsiteY661" fmla="*/ 494499 h 1686927"/>
                    <a:gd name="connsiteX662" fmla="*/ 1859588 w 2039198"/>
                    <a:gd name="connsiteY662" fmla="*/ 548399 h 1686927"/>
                    <a:gd name="connsiteX663" fmla="*/ 1860392 w 2039198"/>
                    <a:gd name="connsiteY663" fmla="*/ 551532 h 1686927"/>
                    <a:gd name="connsiteX664" fmla="*/ 1859267 w 2039198"/>
                    <a:gd name="connsiteY664" fmla="*/ 552255 h 1686927"/>
                    <a:gd name="connsiteX665" fmla="*/ 1854769 w 2039198"/>
                    <a:gd name="connsiteY665" fmla="*/ 543740 h 1686927"/>
                    <a:gd name="connsiteX666" fmla="*/ 1859588 w 2039198"/>
                    <a:gd name="connsiteY666" fmla="*/ 548399 h 1686927"/>
                    <a:gd name="connsiteX667" fmla="*/ 1639972 w 2039198"/>
                    <a:gd name="connsiteY667" fmla="*/ 792114 h 1686927"/>
                    <a:gd name="connsiteX668" fmla="*/ 1634429 w 2039198"/>
                    <a:gd name="connsiteY668" fmla="*/ 791793 h 1686927"/>
                    <a:gd name="connsiteX669" fmla="*/ 1635795 w 2039198"/>
                    <a:gd name="connsiteY669" fmla="*/ 791231 h 1686927"/>
                    <a:gd name="connsiteX670" fmla="*/ 1637321 w 2039198"/>
                    <a:gd name="connsiteY670" fmla="*/ 790026 h 1686927"/>
                    <a:gd name="connsiteX671" fmla="*/ 1640132 w 2039198"/>
                    <a:gd name="connsiteY671" fmla="*/ 792034 h 1686927"/>
                    <a:gd name="connsiteX672" fmla="*/ 1639972 w 2039198"/>
                    <a:gd name="connsiteY672" fmla="*/ 792114 h 1686927"/>
                    <a:gd name="connsiteX673" fmla="*/ 1754198 w 2039198"/>
                    <a:gd name="connsiteY673" fmla="*/ 644712 h 1686927"/>
                    <a:gd name="connsiteX674" fmla="*/ 1744398 w 2039198"/>
                    <a:gd name="connsiteY674" fmla="*/ 643989 h 1686927"/>
                    <a:gd name="connsiteX675" fmla="*/ 1739980 w 2039198"/>
                    <a:gd name="connsiteY675" fmla="*/ 642785 h 1686927"/>
                    <a:gd name="connsiteX676" fmla="*/ 1740703 w 2039198"/>
                    <a:gd name="connsiteY676" fmla="*/ 644070 h 1686927"/>
                    <a:gd name="connsiteX677" fmla="*/ 1735562 w 2039198"/>
                    <a:gd name="connsiteY677" fmla="*/ 643507 h 1686927"/>
                    <a:gd name="connsiteX678" fmla="*/ 1738373 w 2039198"/>
                    <a:gd name="connsiteY678" fmla="*/ 641740 h 1686927"/>
                    <a:gd name="connsiteX679" fmla="*/ 1737570 w 2039198"/>
                    <a:gd name="connsiteY679" fmla="*/ 639732 h 1686927"/>
                    <a:gd name="connsiteX680" fmla="*/ 1742470 w 2039198"/>
                    <a:gd name="connsiteY680" fmla="*/ 638527 h 1686927"/>
                    <a:gd name="connsiteX681" fmla="*/ 1743434 w 2039198"/>
                    <a:gd name="connsiteY681" fmla="*/ 638929 h 1686927"/>
                    <a:gd name="connsiteX682" fmla="*/ 1747129 w 2039198"/>
                    <a:gd name="connsiteY682" fmla="*/ 641178 h 1686927"/>
                    <a:gd name="connsiteX683" fmla="*/ 1749137 w 2039198"/>
                    <a:gd name="connsiteY683" fmla="*/ 641901 h 1686927"/>
                    <a:gd name="connsiteX684" fmla="*/ 1754278 w 2039198"/>
                    <a:gd name="connsiteY684" fmla="*/ 644471 h 1686927"/>
                    <a:gd name="connsiteX685" fmla="*/ 1754198 w 2039198"/>
                    <a:gd name="connsiteY685" fmla="*/ 644712 h 1686927"/>
                    <a:gd name="connsiteX686" fmla="*/ 1442606 w 2039198"/>
                    <a:gd name="connsiteY686" fmla="*/ 813160 h 1686927"/>
                    <a:gd name="connsiteX687" fmla="*/ 1433609 w 2039198"/>
                    <a:gd name="connsiteY687" fmla="*/ 820390 h 1686927"/>
                    <a:gd name="connsiteX688" fmla="*/ 1442927 w 2039198"/>
                    <a:gd name="connsiteY688" fmla="*/ 813080 h 1686927"/>
                    <a:gd name="connsiteX689" fmla="*/ 1442606 w 2039198"/>
                    <a:gd name="connsiteY689" fmla="*/ 813160 h 1686927"/>
                    <a:gd name="connsiteX690" fmla="*/ 1813239 w 2039198"/>
                    <a:gd name="connsiteY690" fmla="*/ 473935 h 1686927"/>
                    <a:gd name="connsiteX691" fmla="*/ 1832598 w 2039198"/>
                    <a:gd name="connsiteY691" fmla="*/ 504942 h 1686927"/>
                    <a:gd name="connsiteX692" fmla="*/ 1820549 w 2039198"/>
                    <a:gd name="connsiteY692" fmla="*/ 490965 h 1686927"/>
                    <a:gd name="connsiteX693" fmla="*/ 1820870 w 2039198"/>
                    <a:gd name="connsiteY693" fmla="*/ 491125 h 1686927"/>
                    <a:gd name="connsiteX694" fmla="*/ 1813560 w 2039198"/>
                    <a:gd name="connsiteY694" fmla="*/ 477791 h 1686927"/>
                    <a:gd name="connsiteX695" fmla="*/ 1813159 w 2039198"/>
                    <a:gd name="connsiteY695" fmla="*/ 477148 h 1686927"/>
                    <a:gd name="connsiteX696" fmla="*/ 1811632 w 2039198"/>
                    <a:gd name="connsiteY696" fmla="*/ 475542 h 1686927"/>
                    <a:gd name="connsiteX697" fmla="*/ 1810267 w 2039198"/>
                    <a:gd name="connsiteY697" fmla="*/ 472810 h 1686927"/>
                    <a:gd name="connsiteX698" fmla="*/ 1808901 w 2039198"/>
                    <a:gd name="connsiteY698" fmla="*/ 471686 h 1686927"/>
                    <a:gd name="connsiteX699" fmla="*/ 1813239 w 2039198"/>
                    <a:gd name="connsiteY699" fmla="*/ 473935 h 1686927"/>
                    <a:gd name="connsiteX700" fmla="*/ 1584706 w 2039198"/>
                    <a:gd name="connsiteY700" fmla="*/ 734198 h 1686927"/>
                    <a:gd name="connsiteX701" fmla="*/ 1578199 w 2039198"/>
                    <a:gd name="connsiteY701" fmla="*/ 741106 h 1686927"/>
                    <a:gd name="connsiteX702" fmla="*/ 1585188 w 2039198"/>
                    <a:gd name="connsiteY702" fmla="*/ 733716 h 1686927"/>
                    <a:gd name="connsiteX703" fmla="*/ 1584706 w 2039198"/>
                    <a:gd name="connsiteY703" fmla="*/ 734198 h 1686927"/>
                    <a:gd name="connsiteX704" fmla="*/ 1865613 w 2039198"/>
                    <a:gd name="connsiteY704" fmla="*/ 576514 h 1686927"/>
                    <a:gd name="connsiteX705" fmla="*/ 1866738 w 2039198"/>
                    <a:gd name="connsiteY705" fmla="*/ 583663 h 1686927"/>
                    <a:gd name="connsiteX706" fmla="*/ 1862480 w 2039198"/>
                    <a:gd name="connsiteY706" fmla="*/ 585591 h 1686927"/>
                    <a:gd name="connsiteX707" fmla="*/ 1873324 w 2039198"/>
                    <a:gd name="connsiteY707" fmla="*/ 600050 h 1686927"/>
                    <a:gd name="connsiteX708" fmla="*/ 1872200 w 2039198"/>
                    <a:gd name="connsiteY708" fmla="*/ 596194 h 1686927"/>
                    <a:gd name="connsiteX709" fmla="*/ 1875814 w 2039198"/>
                    <a:gd name="connsiteY709" fmla="*/ 600532 h 1686927"/>
                    <a:gd name="connsiteX710" fmla="*/ 1875172 w 2039198"/>
                    <a:gd name="connsiteY710" fmla="*/ 600773 h 1686927"/>
                    <a:gd name="connsiteX711" fmla="*/ 1877662 w 2039198"/>
                    <a:gd name="connsiteY711" fmla="*/ 605191 h 1686927"/>
                    <a:gd name="connsiteX712" fmla="*/ 1878305 w 2039198"/>
                    <a:gd name="connsiteY712" fmla="*/ 602380 h 1686927"/>
                    <a:gd name="connsiteX713" fmla="*/ 1888747 w 2039198"/>
                    <a:gd name="connsiteY713" fmla="*/ 648890 h 1686927"/>
                    <a:gd name="connsiteX714" fmla="*/ 1870995 w 2039198"/>
                    <a:gd name="connsiteY714" fmla="*/ 633145 h 1686927"/>
                    <a:gd name="connsiteX715" fmla="*/ 1872280 w 2039198"/>
                    <a:gd name="connsiteY715" fmla="*/ 633948 h 1686927"/>
                    <a:gd name="connsiteX716" fmla="*/ 1864649 w 2039198"/>
                    <a:gd name="connsiteY716" fmla="*/ 610734 h 1686927"/>
                    <a:gd name="connsiteX717" fmla="*/ 1825850 w 2039198"/>
                    <a:gd name="connsiteY717" fmla="*/ 584225 h 1686927"/>
                    <a:gd name="connsiteX718" fmla="*/ 1828421 w 2039198"/>
                    <a:gd name="connsiteY718" fmla="*/ 589447 h 1686927"/>
                    <a:gd name="connsiteX719" fmla="*/ 1814444 w 2039198"/>
                    <a:gd name="connsiteY719" fmla="*/ 575871 h 1686927"/>
                    <a:gd name="connsiteX720" fmla="*/ 1815247 w 2039198"/>
                    <a:gd name="connsiteY720" fmla="*/ 576112 h 1686927"/>
                    <a:gd name="connsiteX721" fmla="*/ 1807857 w 2039198"/>
                    <a:gd name="connsiteY721" fmla="*/ 563019 h 1686927"/>
                    <a:gd name="connsiteX722" fmla="*/ 1809303 w 2039198"/>
                    <a:gd name="connsiteY722" fmla="*/ 563179 h 1686927"/>
                    <a:gd name="connsiteX723" fmla="*/ 1805046 w 2039198"/>
                    <a:gd name="connsiteY723" fmla="*/ 542696 h 1686927"/>
                    <a:gd name="connsiteX724" fmla="*/ 1805367 w 2039198"/>
                    <a:gd name="connsiteY724" fmla="*/ 542134 h 1686927"/>
                    <a:gd name="connsiteX725" fmla="*/ 1812275 w 2039198"/>
                    <a:gd name="connsiteY725" fmla="*/ 521088 h 1686927"/>
                    <a:gd name="connsiteX726" fmla="*/ 1822959 w 2039198"/>
                    <a:gd name="connsiteY726" fmla="*/ 532253 h 1686927"/>
                    <a:gd name="connsiteX727" fmla="*/ 1821513 w 2039198"/>
                    <a:gd name="connsiteY727" fmla="*/ 544945 h 1686927"/>
                    <a:gd name="connsiteX728" fmla="*/ 1822557 w 2039198"/>
                    <a:gd name="connsiteY728" fmla="*/ 546793 h 1686927"/>
                    <a:gd name="connsiteX729" fmla="*/ 1828501 w 2039198"/>
                    <a:gd name="connsiteY729" fmla="*/ 552014 h 1686927"/>
                    <a:gd name="connsiteX730" fmla="*/ 1832839 w 2039198"/>
                    <a:gd name="connsiteY730" fmla="*/ 560127 h 1686927"/>
                    <a:gd name="connsiteX731" fmla="*/ 1861034 w 2039198"/>
                    <a:gd name="connsiteY731" fmla="*/ 584145 h 1686927"/>
                    <a:gd name="connsiteX732" fmla="*/ 1855010 w 2039198"/>
                    <a:gd name="connsiteY732" fmla="*/ 569445 h 1686927"/>
                    <a:gd name="connsiteX733" fmla="*/ 1865613 w 2039198"/>
                    <a:gd name="connsiteY733" fmla="*/ 576514 h 1686927"/>
                    <a:gd name="connsiteX734" fmla="*/ 1865613 w 2039198"/>
                    <a:gd name="connsiteY734" fmla="*/ 576514 h 1686927"/>
                    <a:gd name="connsiteX735" fmla="*/ 1732750 w 2039198"/>
                    <a:gd name="connsiteY735" fmla="*/ 617160 h 1686927"/>
                    <a:gd name="connsiteX736" fmla="*/ 1727770 w 2039198"/>
                    <a:gd name="connsiteY736" fmla="*/ 636358 h 1686927"/>
                    <a:gd name="connsiteX737" fmla="*/ 1726405 w 2039198"/>
                    <a:gd name="connsiteY737" fmla="*/ 632663 h 1686927"/>
                    <a:gd name="connsiteX738" fmla="*/ 1726565 w 2039198"/>
                    <a:gd name="connsiteY738" fmla="*/ 632663 h 1686927"/>
                    <a:gd name="connsiteX739" fmla="*/ 1733152 w 2039198"/>
                    <a:gd name="connsiteY739" fmla="*/ 616919 h 1686927"/>
                    <a:gd name="connsiteX740" fmla="*/ 1732750 w 2039198"/>
                    <a:gd name="connsiteY740" fmla="*/ 617160 h 1686927"/>
                    <a:gd name="connsiteX741" fmla="*/ 1461965 w 2039198"/>
                    <a:gd name="connsiteY741" fmla="*/ 782073 h 1686927"/>
                    <a:gd name="connsiteX742" fmla="*/ 1462848 w 2039198"/>
                    <a:gd name="connsiteY742" fmla="*/ 779904 h 1686927"/>
                    <a:gd name="connsiteX743" fmla="*/ 1465419 w 2039198"/>
                    <a:gd name="connsiteY743" fmla="*/ 780306 h 1686927"/>
                    <a:gd name="connsiteX744" fmla="*/ 1461965 w 2039198"/>
                    <a:gd name="connsiteY744" fmla="*/ 782073 h 1686927"/>
                    <a:gd name="connsiteX745" fmla="*/ 1474737 w 2039198"/>
                    <a:gd name="connsiteY745" fmla="*/ 779021 h 1686927"/>
                    <a:gd name="connsiteX746" fmla="*/ 1473532 w 2039198"/>
                    <a:gd name="connsiteY746" fmla="*/ 779663 h 1686927"/>
                    <a:gd name="connsiteX747" fmla="*/ 1464294 w 2039198"/>
                    <a:gd name="connsiteY747" fmla="*/ 779021 h 1686927"/>
                    <a:gd name="connsiteX748" fmla="*/ 1474817 w 2039198"/>
                    <a:gd name="connsiteY748" fmla="*/ 778780 h 1686927"/>
                    <a:gd name="connsiteX749" fmla="*/ 1474737 w 2039198"/>
                    <a:gd name="connsiteY749" fmla="*/ 779021 h 1686927"/>
                    <a:gd name="connsiteX750" fmla="*/ 1703029 w 2039198"/>
                    <a:gd name="connsiteY750" fmla="*/ 609609 h 1686927"/>
                    <a:gd name="connsiteX751" fmla="*/ 1687927 w 2039198"/>
                    <a:gd name="connsiteY751" fmla="*/ 609850 h 1686927"/>
                    <a:gd name="connsiteX752" fmla="*/ 1693229 w 2039198"/>
                    <a:gd name="connsiteY752" fmla="*/ 608163 h 1686927"/>
                    <a:gd name="connsiteX753" fmla="*/ 1693791 w 2039198"/>
                    <a:gd name="connsiteY753" fmla="*/ 604548 h 1686927"/>
                    <a:gd name="connsiteX754" fmla="*/ 1702226 w 2039198"/>
                    <a:gd name="connsiteY754" fmla="*/ 608003 h 1686927"/>
                    <a:gd name="connsiteX755" fmla="*/ 1703029 w 2039198"/>
                    <a:gd name="connsiteY755" fmla="*/ 609609 h 1686927"/>
                    <a:gd name="connsiteX756" fmla="*/ 1745522 w 2039198"/>
                    <a:gd name="connsiteY756" fmla="*/ 378104 h 1686927"/>
                    <a:gd name="connsiteX757" fmla="*/ 1750664 w 2039198"/>
                    <a:gd name="connsiteY757" fmla="*/ 383727 h 1686927"/>
                    <a:gd name="connsiteX758" fmla="*/ 1750262 w 2039198"/>
                    <a:gd name="connsiteY758" fmla="*/ 383968 h 1686927"/>
                    <a:gd name="connsiteX759" fmla="*/ 1745041 w 2039198"/>
                    <a:gd name="connsiteY759" fmla="*/ 377542 h 1686927"/>
                    <a:gd name="connsiteX760" fmla="*/ 1745522 w 2039198"/>
                    <a:gd name="connsiteY760" fmla="*/ 378104 h 1686927"/>
                    <a:gd name="connsiteX761" fmla="*/ 1731385 w 2039198"/>
                    <a:gd name="connsiteY761" fmla="*/ 374409 h 1686927"/>
                    <a:gd name="connsiteX762" fmla="*/ 1736205 w 2039198"/>
                    <a:gd name="connsiteY762" fmla="*/ 380514 h 1686927"/>
                    <a:gd name="connsiteX763" fmla="*/ 1730260 w 2039198"/>
                    <a:gd name="connsiteY763" fmla="*/ 373445 h 1686927"/>
                    <a:gd name="connsiteX764" fmla="*/ 1731385 w 2039198"/>
                    <a:gd name="connsiteY764" fmla="*/ 374409 h 1686927"/>
                    <a:gd name="connsiteX765" fmla="*/ 1378022 w 2039198"/>
                    <a:gd name="connsiteY765" fmla="*/ 728093 h 1686927"/>
                    <a:gd name="connsiteX766" fmla="*/ 1372640 w 2039198"/>
                    <a:gd name="connsiteY766" fmla="*/ 732431 h 1686927"/>
                    <a:gd name="connsiteX767" fmla="*/ 1367017 w 2039198"/>
                    <a:gd name="connsiteY767" fmla="*/ 729860 h 1686927"/>
                    <a:gd name="connsiteX768" fmla="*/ 1366776 w 2039198"/>
                    <a:gd name="connsiteY768" fmla="*/ 719819 h 1686927"/>
                    <a:gd name="connsiteX769" fmla="*/ 1372640 w 2039198"/>
                    <a:gd name="connsiteY769" fmla="*/ 721586 h 1686927"/>
                    <a:gd name="connsiteX770" fmla="*/ 1378343 w 2039198"/>
                    <a:gd name="connsiteY770" fmla="*/ 727691 h 1686927"/>
                    <a:gd name="connsiteX771" fmla="*/ 1378022 w 2039198"/>
                    <a:gd name="connsiteY771" fmla="*/ 728093 h 1686927"/>
                    <a:gd name="connsiteX772" fmla="*/ 1697326 w 2039198"/>
                    <a:gd name="connsiteY772" fmla="*/ 328140 h 1686927"/>
                    <a:gd name="connsiteX773" fmla="*/ 1699414 w 2039198"/>
                    <a:gd name="connsiteY773" fmla="*/ 330068 h 1686927"/>
                    <a:gd name="connsiteX774" fmla="*/ 1697085 w 2039198"/>
                    <a:gd name="connsiteY774" fmla="*/ 327899 h 1686927"/>
                    <a:gd name="connsiteX775" fmla="*/ 1697326 w 2039198"/>
                    <a:gd name="connsiteY775" fmla="*/ 328140 h 1686927"/>
                    <a:gd name="connsiteX776" fmla="*/ 1528958 w 2039198"/>
                    <a:gd name="connsiteY776" fmla="*/ 608886 h 1686927"/>
                    <a:gd name="connsiteX777" fmla="*/ 1528798 w 2039198"/>
                    <a:gd name="connsiteY777" fmla="*/ 609609 h 1686927"/>
                    <a:gd name="connsiteX778" fmla="*/ 1526950 w 2039198"/>
                    <a:gd name="connsiteY778" fmla="*/ 614268 h 1686927"/>
                    <a:gd name="connsiteX779" fmla="*/ 1523496 w 2039198"/>
                    <a:gd name="connsiteY779" fmla="*/ 618204 h 1686927"/>
                    <a:gd name="connsiteX780" fmla="*/ 1530806 w 2039198"/>
                    <a:gd name="connsiteY780" fmla="*/ 605593 h 1686927"/>
                    <a:gd name="connsiteX781" fmla="*/ 1528958 w 2039198"/>
                    <a:gd name="connsiteY781" fmla="*/ 608886 h 1686927"/>
                    <a:gd name="connsiteX782" fmla="*/ 1683911 w 2039198"/>
                    <a:gd name="connsiteY782" fmla="*/ 324605 h 1686927"/>
                    <a:gd name="connsiteX783" fmla="*/ 1684554 w 2039198"/>
                    <a:gd name="connsiteY783" fmla="*/ 325891 h 1686927"/>
                    <a:gd name="connsiteX784" fmla="*/ 1683670 w 2039198"/>
                    <a:gd name="connsiteY784" fmla="*/ 324284 h 1686927"/>
                    <a:gd name="connsiteX785" fmla="*/ 1683911 w 2039198"/>
                    <a:gd name="connsiteY785" fmla="*/ 324605 h 1686927"/>
                    <a:gd name="connsiteX786" fmla="*/ 1696924 w 2039198"/>
                    <a:gd name="connsiteY786" fmla="*/ 408307 h 1686927"/>
                    <a:gd name="connsiteX787" fmla="*/ 1700378 w 2039198"/>
                    <a:gd name="connsiteY787" fmla="*/ 415858 h 1686927"/>
                    <a:gd name="connsiteX788" fmla="*/ 1701663 w 2039198"/>
                    <a:gd name="connsiteY788" fmla="*/ 430638 h 1686927"/>
                    <a:gd name="connsiteX789" fmla="*/ 1712588 w 2039198"/>
                    <a:gd name="connsiteY789" fmla="*/ 445178 h 1686927"/>
                    <a:gd name="connsiteX790" fmla="*/ 1713552 w 2039198"/>
                    <a:gd name="connsiteY790" fmla="*/ 439233 h 1686927"/>
                    <a:gd name="connsiteX791" fmla="*/ 1720219 w 2039198"/>
                    <a:gd name="connsiteY791" fmla="*/ 448230 h 1686927"/>
                    <a:gd name="connsiteX792" fmla="*/ 1723593 w 2039198"/>
                    <a:gd name="connsiteY792" fmla="*/ 453853 h 1686927"/>
                    <a:gd name="connsiteX793" fmla="*/ 1722709 w 2039198"/>
                    <a:gd name="connsiteY793" fmla="*/ 453773 h 1686927"/>
                    <a:gd name="connsiteX794" fmla="*/ 1709054 w 2039198"/>
                    <a:gd name="connsiteY794" fmla="*/ 445178 h 1686927"/>
                    <a:gd name="connsiteX795" fmla="*/ 1707608 w 2039198"/>
                    <a:gd name="connsiteY795" fmla="*/ 442687 h 1686927"/>
                    <a:gd name="connsiteX796" fmla="*/ 1694514 w 2039198"/>
                    <a:gd name="connsiteY796" fmla="*/ 426059 h 1686927"/>
                    <a:gd name="connsiteX797" fmla="*/ 1697165 w 2039198"/>
                    <a:gd name="connsiteY797" fmla="*/ 426381 h 1686927"/>
                    <a:gd name="connsiteX798" fmla="*/ 1694273 w 2039198"/>
                    <a:gd name="connsiteY798" fmla="*/ 423489 h 1686927"/>
                    <a:gd name="connsiteX799" fmla="*/ 1697968 w 2039198"/>
                    <a:gd name="connsiteY799" fmla="*/ 420035 h 1686927"/>
                    <a:gd name="connsiteX800" fmla="*/ 1693872 w 2039198"/>
                    <a:gd name="connsiteY800" fmla="*/ 407906 h 1686927"/>
                    <a:gd name="connsiteX801" fmla="*/ 1696603 w 2039198"/>
                    <a:gd name="connsiteY801" fmla="*/ 409914 h 1686927"/>
                    <a:gd name="connsiteX802" fmla="*/ 1696523 w 2039198"/>
                    <a:gd name="connsiteY802" fmla="*/ 407263 h 1686927"/>
                    <a:gd name="connsiteX803" fmla="*/ 1696924 w 2039198"/>
                    <a:gd name="connsiteY803" fmla="*/ 408307 h 1686927"/>
                    <a:gd name="connsiteX804" fmla="*/ 1536911 w 2039198"/>
                    <a:gd name="connsiteY804" fmla="*/ 518196 h 1686927"/>
                    <a:gd name="connsiteX805" fmla="*/ 1532894 w 2039198"/>
                    <a:gd name="connsiteY805" fmla="*/ 515143 h 1686927"/>
                    <a:gd name="connsiteX806" fmla="*/ 1535545 w 2039198"/>
                    <a:gd name="connsiteY806" fmla="*/ 515866 h 1686927"/>
                    <a:gd name="connsiteX807" fmla="*/ 1536911 w 2039198"/>
                    <a:gd name="connsiteY807" fmla="*/ 518196 h 1686927"/>
                    <a:gd name="connsiteX808" fmla="*/ 1576754 w 2039198"/>
                    <a:gd name="connsiteY808" fmla="*/ 485583 h 1686927"/>
                    <a:gd name="connsiteX809" fmla="*/ 1576593 w 2039198"/>
                    <a:gd name="connsiteY809" fmla="*/ 485824 h 1686927"/>
                    <a:gd name="connsiteX810" fmla="*/ 1574424 w 2039198"/>
                    <a:gd name="connsiteY810" fmla="*/ 488394 h 1686927"/>
                    <a:gd name="connsiteX811" fmla="*/ 1570488 w 2039198"/>
                    <a:gd name="connsiteY811" fmla="*/ 483414 h 1686927"/>
                    <a:gd name="connsiteX812" fmla="*/ 1573540 w 2039198"/>
                    <a:gd name="connsiteY812" fmla="*/ 483735 h 1686927"/>
                    <a:gd name="connsiteX813" fmla="*/ 1574103 w 2039198"/>
                    <a:gd name="connsiteY813" fmla="*/ 482851 h 1686927"/>
                    <a:gd name="connsiteX814" fmla="*/ 1577236 w 2039198"/>
                    <a:gd name="connsiteY814" fmla="*/ 485342 h 1686927"/>
                    <a:gd name="connsiteX815" fmla="*/ 1576754 w 2039198"/>
                    <a:gd name="connsiteY815" fmla="*/ 485583 h 1686927"/>
                    <a:gd name="connsiteX816" fmla="*/ 1422524 w 2039198"/>
                    <a:gd name="connsiteY816" fmla="*/ 569686 h 1686927"/>
                    <a:gd name="connsiteX817" fmla="*/ 1427022 w 2039198"/>
                    <a:gd name="connsiteY817" fmla="*/ 591696 h 1686927"/>
                    <a:gd name="connsiteX818" fmla="*/ 1422443 w 2039198"/>
                    <a:gd name="connsiteY818" fmla="*/ 569525 h 1686927"/>
                    <a:gd name="connsiteX819" fmla="*/ 1422524 w 2039198"/>
                    <a:gd name="connsiteY819" fmla="*/ 569686 h 1686927"/>
                    <a:gd name="connsiteX820" fmla="*/ 1616275 w 2039198"/>
                    <a:gd name="connsiteY820" fmla="*/ 443330 h 1686927"/>
                    <a:gd name="connsiteX821" fmla="*/ 1618926 w 2039198"/>
                    <a:gd name="connsiteY821" fmla="*/ 446222 h 1686927"/>
                    <a:gd name="connsiteX822" fmla="*/ 1616676 w 2039198"/>
                    <a:gd name="connsiteY822" fmla="*/ 445820 h 1686927"/>
                    <a:gd name="connsiteX823" fmla="*/ 1618845 w 2039198"/>
                    <a:gd name="connsiteY823" fmla="*/ 449997 h 1686927"/>
                    <a:gd name="connsiteX824" fmla="*/ 1599406 w 2039198"/>
                    <a:gd name="connsiteY824" fmla="*/ 444856 h 1686927"/>
                    <a:gd name="connsiteX825" fmla="*/ 1602699 w 2039198"/>
                    <a:gd name="connsiteY825" fmla="*/ 445097 h 1686927"/>
                    <a:gd name="connsiteX826" fmla="*/ 1606073 w 2039198"/>
                    <a:gd name="connsiteY826" fmla="*/ 446784 h 1686927"/>
                    <a:gd name="connsiteX827" fmla="*/ 1605190 w 2039198"/>
                    <a:gd name="connsiteY827" fmla="*/ 445258 h 1686927"/>
                    <a:gd name="connsiteX828" fmla="*/ 1608965 w 2039198"/>
                    <a:gd name="connsiteY828" fmla="*/ 444214 h 1686927"/>
                    <a:gd name="connsiteX829" fmla="*/ 1605511 w 2039198"/>
                    <a:gd name="connsiteY829" fmla="*/ 441483 h 1686927"/>
                    <a:gd name="connsiteX830" fmla="*/ 1601093 w 2039198"/>
                    <a:gd name="connsiteY830" fmla="*/ 441643 h 1686927"/>
                    <a:gd name="connsiteX831" fmla="*/ 1601334 w 2039198"/>
                    <a:gd name="connsiteY831" fmla="*/ 442848 h 1686927"/>
                    <a:gd name="connsiteX832" fmla="*/ 1597077 w 2039198"/>
                    <a:gd name="connsiteY832" fmla="*/ 437386 h 1686927"/>
                    <a:gd name="connsiteX833" fmla="*/ 1599647 w 2039198"/>
                    <a:gd name="connsiteY833" fmla="*/ 435217 h 1686927"/>
                    <a:gd name="connsiteX834" fmla="*/ 1600611 w 2039198"/>
                    <a:gd name="connsiteY834" fmla="*/ 432887 h 1686927"/>
                    <a:gd name="connsiteX835" fmla="*/ 1616195 w 2039198"/>
                    <a:gd name="connsiteY835" fmla="*/ 442848 h 1686927"/>
                    <a:gd name="connsiteX836" fmla="*/ 1616275 w 2039198"/>
                    <a:gd name="connsiteY836" fmla="*/ 443330 h 1686927"/>
                    <a:gd name="connsiteX837" fmla="*/ 1431280 w 2039198"/>
                    <a:gd name="connsiteY837" fmla="*/ 554183 h 1686927"/>
                    <a:gd name="connsiteX838" fmla="*/ 1420917 w 2039198"/>
                    <a:gd name="connsiteY838" fmla="*/ 560288 h 1686927"/>
                    <a:gd name="connsiteX839" fmla="*/ 1429512 w 2039198"/>
                    <a:gd name="connsiteY839" fmla="*/ 555307 h 1686927"/>
                    <a:gd name="connsiteX840" fmla="*/ 1431521 w 2039198"/>
                    <a:gd name="connsiteY840" fmla="*/ 553701 h 1686927"/>
                    <a:gd name="connsiteX841" fmla="*/ 1431280 w 2039198"/>
                    <a:gd name="connsiteY841" fmla="*/ 554183 h 1686927"/>
                    <a:gd name="connsiteX842" fmla="*/ 1409993 w 2039198"/>
                    <a:gd name="connsiteY842" fmla="*/ 570811 h 1686927"/>
                    <a:gd name="connsiteX843" fmla="*/ 1407743 w 2039198"/>
                    <a:gd name="connsiteY843" fmla="*/ 582619 h 1686927"/>
                    <a:gd name="connsiteX844" fmla="*/ 1404852 w 2039198"/>
                    <a:gd name="connsiteY844" fmla="*/ 586957 h 1686927"/>
                    <a:gd name="connsiteX845" fmla="*/ 1403968 w 2039198"/>
                    <a:gd name="connsiteY845" fmla="*/ 587840 h 1686927"/>
                    <a:gd name="connsiteX846" fmla="*/ 1401157 w 2039198"/>
                    <a:gd name="connsiteY846" fmla="*/ 589848 h 1686927"/>
                    <a:gd name="connsiteX847" fmla="*/ 1401076 w 2039198"/>
                    <a:gd name="connsiteY847" fmla="*/ 590170 h 1686927"/>
                    <a:gd name="connsiteX848" fmla="*/ 1399148 w 2039198"/>
                    <a:gd name="connsiteY848" fmla="*/ 592178 h 1686927"/>
                    <a:gd name="connsiteX849" fmla="*/ 1393606 w 2039198"/>
                    <a:gd name="connsiteY849" fmla="*/ 581816 h 1686927"/>
                    <a:gd name="connsiteX850" fmla="*/ 1396096 w 2039198"/>
                    <a:gd name="connsiteY850" fmla="*/ 583261 h 1686927"/>
                    <a:gd name="connsiteX851" fmla="*/ 1395935 w 2039198"/>
                    <a:gd name="connsiteY851" fmla="*/ 570730 h 1686927"/>
                    <a:gd name="connsiteX852" fmla="*/ 1409511 w 2039198"/>
                    <a:gd name="connsiteY852" fmla="*/ 570007 h 1686927"/>
                    <a:gd name="connsiteX853" fmla="*/ 1409993 w 2039198"/>
                    <a:gd name="connsiteY853" fmla="*/ 570811 h 1686927"/>
                    <a:gd name="connsiteX854" fmla="*/ 1599406 w 2039198"/>
                    <a:gd name="connsiteY854" fmla="*/ 418830 h 1686927"/>
                    <a:gd name="connsiteX855" fmla="*/ 1601494 w 2039198"/>
                    <a:gd name="connsiteY855" fmla="*/ 421079 h 1686927"/>
                    <a:gd name="connsiteX856" fmla="*/ 1592016 w 2039198"/>
                    <a:gd name="connsiteY856" fmla="*/ 418991 h 1686927"/>
                    <a:gd name="connsiteX857" fmla="*/ 1599085 w 2039198"/>
                    <a:gd name="connsiteY857" fmla="*/ 418509 h 1686927"/>
                    <a:gd name="connsiteX858" fmla="*/ 1599406 w 2039198"/>
                    <a:gd name="connsiteY858" fmla="*/ 418830 h 1686927"/>
                    <a:gd name="connsiteX859" fmla="*/ 1306048 w 2039198"/>
                    <a:gd name="connsiteY859" fmla="*/ 588162 h 1686927"/>
                    <a:gd name="connsiteX860" fmla="*/ 1306450 w 2039198"/>
                    <a:gd name="connsiteY860" fmla="*/ 591053 h 1686927"/>
                    <a:gd name="connsiteX861" fmla="*/ 1305325 w 2039198"/>
                    <a:gd name="connsiteY861" fmla="*/ 589447 h 1686927"/>
                    <a:gd name="connsiteX862" fmla="*/ 1306048 w 2039198"/>
                    <a:gd name="connsiteY862" fmla="*/ 588081 h 1686927"/>
                    <a:gd name="connsiteX863" fmla="*/ 1306048 w 2039198"/>
                    <a:gd name="connsiteY863" fmla="*/ 588162 h 1686927"/>
                    <a:gd name="connsiteX864" fmla="*/ 1581011 w 2039198"/>
                    <a:gd name="connsiteY864" fmla="*/ 407906 h 1686927"/>
                    <a:gd name="connsiteX865" fmla="*/ 1583019 w 2039198"/>
                    <a:gd name="connsiteY865" fmla="*/ 411119 h 1686927"/>
                    <a:gd name="connsiteX866" fmla="*/ 1582698 w 2039198"/>
                    <a:gd name="connsiteY866" fmla="*/ 410878 h 1686927"/>
                    <a:gd name="connsiteX867" fmla="*/ 1579083 w 2039198"/>
                    <a:gd name="connsiteY867" fmla="*/ 408950 h 1686927"/>
                    <a:gd name="connsiteX868" fmla="*/ 1575629 w 2039198"/>
                    <a:gd name="connsiteY868" fmla="*/ 406138 h 1686927"/>
                    <a:gd name="connsiteX869" fmla="*/ 1581011 w 2039198"/>
                    <a:gd name="connsiteY869" fmla="*/ 407906 h 1686927"/>
                    <a:gd name="connsiteX870" fmla="*/ 1506467 w 2039198"/>
                    <a:gd name="connsiteY870" fmla="*/ 462528 h 1686927"/>
                    <a:gd name="connsiteX871" fmla="*/ 1506386 w 2039198"/>
                    <a:gd name="connsiteY871" fmla="*/ 464135 h 1686927"/>
                    <a:gd name="connsiteX872" fmla="*/ 1503735 w 2039198"/>
                    <a:gd name="connsiteY872" fmla="*/ 465179 h 1686927"/>
                    <a:gd name="connsiteX873" fmla="*/ 1502450 w 2039198"/>
                    <a:gd name="connsiteY873" fmla="*/ 464537 h 1686927"/>
                    <a:gd name="connsiteX874" fmla="*/ 1504619 w 2039198"/>
                    <a:gd name="connsiteY874" fmla="*/ 464215 h 1686927"/>
                    <a:gd name="connsiteX875" fmla="*/ 1504378 w 2039198"/>
                    <a:gd name="connsiteY875" fmla="*/ 461886 h 1686927"/>
                    <a:gd name="connsiteX876" fmla="*/ 1506467 w 2039198"/>
                    <a:gd name="connsiteY876" fmla="*/ 462528 h 1686927"/>
                    <a:gd name="connsiteX877" fmla="*/ 1463652 w 2039198"/>
                    <a:gd name="connsiteY877" fmla="*/ 480201 h 1686927"/>
                    <a:gd name="connsiteX878" fmla="*/ 1462366 w 2039198"/>
                    <a:gd name="connsiteY878" fmla="*/ 483976 h 1686927"/>
                    <a:gd name="connsiteX879" fmla="*/ 1461644 w 2039198"/>
                    <a:gd name="connsiteY879" fmla="*/ 487591 h 1686927"/>
                    <a:gd name="connsiteX880" fmla="*/ 1463812 w 2039198"/>
                    <a:gd name="connsiteY880" fmla="*/ 479719 h 1686927"/>
                    <a:gd name="connsiteX881" fmla="*/ 1463652 w 2039198"/>
                    <a:gd name="connsiteY881" fmla="*/ 480201 h 1686927"/>
                    <a:gd name="connsiteX882" fmla="*/ 1470078 w 2039198"/>
                    <a:gd name="connsiteY882" fmla="*/ 480602 h 1686927"/>
                    <a:gd name="connsiteX883" fmla="*/ 1465178 w 2039198"/>
                    <a:gd name="connsiteY883" fmla="*/ 480442 h 1686927"/>
                    <a:gd name="connsiteX884" fmla="*/ 1465821 w 2039198"/>
                    <a:gd name="connsiteY884" fmla="*/ 477550 h 1686927"/>
                    <a:gd name="connsiteX885" fmla="*/ 1470239 w 2039198"/>
                    <a:gd name="connsiteY885" fmla="*/ 480602 h 1686927"/>
                    <a:gd name="connsiteX886" fmla="*/ 1470078 w 2039198"/>
                    <a:gd name="connsiteY886" fmla="*/ 480602 h 1686927"/>
                    <a:gd name="connsiteX887" fmla="*/ 1544863 w 2039198"/>
                    <a:gd name="connsiteY887" fmla="*/ 441242 h 1686927"/>
                    <a:gd name="connsiteX888" fmla="*/ 1546149 w 2039198"/>
                    <a:gd name="connsiteY888" fmla="*/ 452648 h 1686927"/>
                    <a:gd name="connsiteX889" fmla="*/ 1545827 w 2039198"/>
                    <a:gd name="connsiteY889" fmla="*/ 461725 h 1686927"/>
                    <a:gd name="connsiteX890" fmla="*/ 1540124 w 2039198"/>
                    <a:gd name="connsiteY890" fmla="*/ 456825 h 1686927"/>
                    <a:gd name="connsiteX891" fmla="*/ 1534019 w 2039198"/>
                    <a:gd name="connsiteY891" fmla="*/ 454335 h 1686927"/>
                    <a:gd name="connsiteX892" fmla="*/ 1518034 w 2039198"/>
                    <a:gd name="connsiteY892" fmla="*/ 446222 h 1686927"/>
                    <a:gd name="connsiteX893" fmla="*/ 1515142 w 2039198"/>
                    <a:gd name="connsiteY893" fmla="*/ 441724 h 1686927"/>
                    <a:gd name="connsiteX894" fmla="*/ 1514580 w 2039198"/>
                    <a:gd name="connsiteY894" fmla="*/ 441081 h 1686927"/>
                    <a:gd name="connsiteX895" fmla="*/ 1516508 w 2039198"/>
                    <a:gd name="connsiteY895" fmla="*/ 434494 h 1686927"/>
                    <a:gd name="connsiteX896" fmla="*/ 1538758 w 2039198"/>
                    <a:gd name="connsiteY896" fmla="*/ 437225 h 1686927"/>
                    <a:gd name="connsiteX897" fmla="*/ 1544863 w 2039198"/>
                    <a:gd name="connsiteY897" fmla="*/ 441242 h 1686927"/>
                    <a:gd name="connsiteX898" fmla="*/ 1471444 w 2039198"/>
                    <a:gd name="connsiteY898" fmla="*/ 468633 h 1686927"/>
                    <a:gd name="connsiteX899" fmla="*/ 1474335 w 2039198"/>
                    <a:gd name="connsiteY899" fmla="*/ 477068 h 1686927"/>
                    <a:gd name="connsiteX900" fmla="*/ 1475781 w 2039198"/>
                    <a:gd name="connsiteY900" fmla="*/ 479478 h 1686927"/>
                    <a:gd name="connsiteX901" fmla="*/ 1477468 w 2039198"/>
                    <a:gd name="connsiteY901" fmla="*/ 478996 h 1686927"/>
                    <a:gd name="connsiteX902" fmla="*/ 1477227 w 2039198"/>
                    <a:gd name="connsiteY902" fmla="*/ 479397 h 1686927"/>
                    <a:gd name="connsiteX903" fmla="*/ 1479798 w 2039198"/>
                    <a:gd name="connsiteY903" fmla="*/ 480602 h 1686927"/>
                    <a:gd name="connsiteX904" fmla="*/ 1470319 w 2039198"/>
                    <a:gd name="connsiteY904" fmla="*/ 479960 h 1686927"/>
                    <a:gd name="connsiteX905" fmla="*/ 1470480 w 2039198"/>
                    <a:gd name="connsiteY905" fmla="*/ 467670 h 1686927"/>
                    <a:gd name="connsiteX906" fmla="*/ 1471444 w 2039198"/>
                    <a:gd name="connsiteY906" fmla="*/ 468633 h 1686927"/>
                    <a:gd name="connsiteX907" fmla="*/ 1486626 w 2039198"/>
                    <a:gd name="connsiteY907" fmla="*/ 459235 h 1686927"/>
                    <a:gd name="connsiteX908" fmla="*/ 1482930 w 2039198"/>
                    <a:gd name="connsiteY908" fmla="*/ 461243 h 1686927"/>
                    <a:gd name="connsiteX909" fmla="*/ 1482850 w 2039198"/>
                    <a:gd name="connsiteY909" fmla="*/ 460681 h 1686927"/>
                    <a:gd name="connsiteX910" fmla="*/ 1483653 w 2039198"/>
                    <a:gd name="connsiteY910" fmla="*/ 462850 h 1686927"/>
                    <a:gd name="connsiteX911" fmla="*/ 1479235 w 2039198"/>
                    <a:gd name="connsiteY911" fmla="*/ 459637 h 1686927"/>
                    <a:gd name="connsiteX912" fmla="*/ 1486947 w 2039198"/>
                    <a:gd name="connsiteY912" fmla="*/ 459235 h 1686927"/>
                    <a:gd name="connsiteX913" fmla="*/ 1486626 w 2039198"/>
                    <a:gd name="connsiteY913" fmla="*/ 459235 h 1686927"/>
                    <a:gd name="connsiteX914" fmla="*/ 1481163 w 2039198"/>
                    <a:gd name="connsiteY914" fmla="*/ 456022 h 1686927"/>
                    <a:gd name="connsiteX915" fmla="*/ 1479637 w 2039198"/>
                    <a:gd name="connsiteY915" fmla="*/ 454174 h 1686927"/>
                    <a:gd name="connsiteX916" fmla="*/ 1481163 w 2039198"/>
                    <a:gd name="connsiteY916" fmla="*/ 456022 h 1686927"/>
                    <a:gd name="connsiteX917" fmla="*/ 1489276 w 2039198"/>
                    <a:gd name="connsiteY917" fmla="*/ 456022 h 1686927"/>
                    <a:gd name="connsiteX918" fmla="*/ 1486947 w 2039198"/>
                    <a:gd name="connsiteY918" fmla="*/ 457066 h 1686927"/>
                    <a:gd name="connsiteX919" fmla="*/ 1489598 w 2039198"/>
                    <a:gd name="connsiteY919" fmla="*/ 458994 h 1686927"/>
                    <a:gd name="connsiteX920" fmla="*/ 1481243 w 2039198"/>
                    <a:gd name="connsiteY920" fmla="*/ 456022 h 1686927"/>
                    <a:gd name="connsiteX921" fmla="*/ 1481243 w 2039198"/>
                    <a:gd name="connsiteY921" fmla="*/ 454094 h 1686927"/>
                    <a:gd name="connsiteX922" fmla="*/ 1483734 w 2039198"/>
                    <a:gd name="connsiteY922" fmla="*/ 453853 h 1686927"/>
                    <a:gd name="connsiteX923" fmla="*/ 1479878 w 2039198"/>
                    <a:gd name="connsiteY923" fmla="*/ 452166 h 1686927"/>
                    <a:gd name="connsiteX924" fmla="*/ 1489598 w 2039198"/>
                    <a:gd name="connsiteY924" fmla="*/ 455942 h 1686927"/>
                    <a:gd name="connsiteX925" fmla="*/ 1489276 w 2039198"/>
                    <a:gd name="connsiteY925" fmla="*/ 456022 h 1686927"/>
                    <a:gd name="connsiteX926" fmla="*/ 1345248 w 2039198"/>
                    <a:gd name="connsiteY926" fmla="*/ 531611 h 1686927"/>
                    <a:gd name="connsiteX927" fmla="*/ 1345088 w 2039198"/>
                    <a:gd name="connsiteY927" fmla="*/ 532896 h 1686927"/>
                    <a:gd name="connsiteX928" fmla="*/ 1343642 w 2039198"/>
                    <a:gd name="connsiteY928" fmla="*/ 530566 h 1686927"/>
                    <a:gd name="connsiteX929" fmla="*/ 1345248 w 2039198"/>
                    <a:gd name="connsiteY929" fmla="*/ 531611 h 1686927"/>
                    <a:gd name="connsiteX930" fmla="*/ 1511849 w 2039198"/>
                    <a:gd name="connsiteY930" fmla="*/ 430237 h 1686927"/>
                    <a:gd name="connsiteX931" fmla="*/ 1511849 w 2039198"/>
                    <a:gd name="connsiteY931" fmla="*/ 430237 h 1686927"/>
                    <a:gd name="connsiteX932" fmla="*/ 1511206 w 2039198"/>
                    <a:gd name="connsiteY932" fmla="*/ 429996 h 1686927"/>
                    <a:gd name="connsiteX933" fmla="*/ 1509198 w 2039198"/>
                    <a:gd name="connsiteY933" fmla="*/ 429192 h 1686927"/>
                    <a:gd name="connsiteX934" fmla="*/ 1508635 w 2039198"/>
                    <a:gd name="connsiteY934" fmla="*/ 428630 h 1686927"/>
                    <a:gd name="connsiteX935" fmla="*/ 1511849 w 2039198"/>
                    <a:gd name="connsiteY935" fmla="*/ 430237 h 1686927"/>
                    <a:gd name="connsiteX936" fmla="*/ 1463893 w 2039198"/>
                    <a:gd name="connsiteY936" fmla="*/ 460601 h 1686927"/>
                    <a:gd name="connsiteX937" fmla="*/ 1467507 w 2039198"/>
                    <a:gd name="connsiteY937" fmla="*/ 464215 h 1686927"/>
                    <a:gd name="connsiteX938" fmla="*/ 1463973 w 2039198"/>
                    <a:gd name="connsiteY938" fmla="*/ 464457 h 1686927"/>
                    <a:gd name="connsiteX939" fmla="*/ 1464134 w 2039198"/>
                    <a:gd name="connsiteY939" fmla="*/ 464617 h 1686927"/>
                    <a:gd name="connsiteX940" fmla="*/ 1461001 w 2039198"/>
                    <a:gd name="connsiteY940" fmla="*/ 465742 h 1686927"/>
                    <a:gd name="connsiteX941" fmla="*/ 1464214 w 2039198"/>
                    <a:gd name="connsiteY941" fmla="*/ 473935 h 1686927"/>
                    <a:gd name="connsiteX942" fmla="*/ 1465178 w 2039198"/>
                    <a:gd name="connsiteY942" fmla="*/ 473694 h 1686927"/>
                    <a:gd name="connsiteX943" fmla="*/ 1465339 w 2039198"/>
                    <a:gd name="connsiteY943" fmla="*/ 476104 h 1686927"/>
                    <a:gd name="connsiteX944" fmla="*/ 1463009 w 2039198"/>
                    <a:gd name="connsiteY944" fmla="*/ 474979 h 1686927"/>
                    <a:gd name="connsiteX945" fmla="*/ 1456422 w 2039198"/>
                    <a:gd name="connsiteY945" fmla="*/ 465019 h 1686927"/>
                    <a:gd name="connsiteX946" fmla="*/ 1456744 w 2039198"/>
                    <a:gd name="connsiteY946" fmla="*/ 462689 h 1686927"/>
                    <a:gd name="connsiteX947" fmla="*/ 1457547 w 2039198"/>
                    <a:gd name="connsiteY947" fmla="*/ 464135 h 1686927"/>
                    <a:gd name="connsiteX948" fmla="*/ 1459394 w 2039198"/>
                    <a:gd name="connsiteY948" fmla="*/ 463010 h 1686927"/>
                    <a:gd name="connsiteX949" fmla="*/ 1464294 w 2039198"/>
                    <a:gd name="connsiteY949" fmla="*/ 462769 h 1686927"/>
                    <a:gd name="connsiteX950" fmla="*/ 1460840 w 2039198"/>
                    <a:gd name="connsiteY950" fmla="*/ 462287 h 1686927"/>
                    <a:gd name="connsiteX951" fmla="*/ 1463893 w 2039198"/>
                    <a:gd name="connsiteY951" fmla="*/ 461886 h 1686927"/>
                    <a:gd name="connsiteX952" fmla="*/ 1461322 w 2039198"/>
                    <a:gd name="connsiteY952" fmla="*/ 458512 h 1686927"/>
                    <a:gd name="connsiteX953" fmla="*/ 1462768 w 2039198"/>
                    <a:gd name="connsiteY953" fmla="*/ 459717 h 1686927"/>
                    <a:gd name="connsiteX954" fmla="*/ 1463009 w 2039198"/>
                    <a:gd name="connsiteY954" fmla="*/ 459396 h 1686927"/>
                    <a:gd name="connsiteX955" fmla="*/ 1463893 w 2039198"/>
                    <a:gd name="connsiteY955" fmla="*/ 460601 h 1686927"/>
                    <a:gd name="connsiteX956" fmla="*/ 1341393 w 2039198"/>
                    <a:gd name="connsiteY956" fmla="*/ 523738 h 1686927"/>
                    <a:gd name="connsiteX957" fmla="*/ 1341634 w 2039198"/>
                    <a:gd name="connsiteY957" fmla="*/ 524461 h 1686927"/>
                    <a:gd name="connsiteX958" fmla="*/ 1343240 w 2039198"/>
                    <a:gd name="connsiteY958" fmla="*/ 527755 h 1686927"/>
                    <a:gd name="connsiteX959" fmla="*/ 1347016 w 2039198"/>
                    <a:gd name="connsiteY959" fmla="*/ 531932 h 1686927"/>
                    <a:gd name="connsiteX960" fmla="*/ 1346534 w 2039198"/>
                    <a:gd name="connsiteY960" fmla="*/ 532173 h 1686927"/>
                    <a:gd name="connsiteX961" fmla="*/ 1339786 w 2039198"/>
                    <a:gd name="connsiteY961" fmla="*/ 523015 h 1686927"/>
                    <a:gd name="connsiteX962" fmla="*/ 1341393 w 2039198"/>
                    <a:gd name="connsiteY962" fmla="*/ 523738 h 1686927"/>
                    <a:gd name="connsiteX963" fmla="*/ 1541088 w 2039198"/>
                    <a:gd name="connsiteY963" fmla="*/ 395053 h 1686927"/>
                    <a:gd name="connsiteX964" fmla="*/ 1536268 w 2039198"/>
                    <a:gd name="connsiteY964" fmla="*/ 391358 h 1686927"/>
                    <a:gd name="connsiteX965" fmla="*/ 1540204 w 2039198"/>
                    <a:gd name="connsiteY965" fmla="*/ 393045 h 1686927"/>
                    <a:gd name="connsiteX966" fmla="*/ 1541088 w 2039198"/>
                    <a:gd name="connsiteY966" fmla="*/ 395053 h 1686927"/>
                    <a:gd name="connsiteX967" fmla="*/ 1488955 w 2039198"/>
                    <a:gd name="connsiteY967" fmla="*/ 426220 h 1686927"/>
                    <a:gd name="connsiteX968" fmla="*/ 1489517 w 2039198"/>
                    <a:gd name="connsiteY968" fmla="*/ 426943 h 1686927"/>
                    <a:gd name="connsiteX969" fmla="*/ 1489196 w 2039198"/>
                    <a:gd name="connsiteY969" fmla="*/ 427265 h 1686927"/>
                    <a:gd name="connsiteX970" fmla="*/ 1485662 w 2039198"/>
                    <a:gd name="connsiteY970" fmla="*/ 425979 h 1686927"/>
                    <a:gd name="connsiteX971" fmla="*/ 1485581 w 2039198"/>
                    <a:gd name="connsiteY971" fmla="*/ 425096 h 1686927"/>
                    <a:gd name="connsiteX972" fmla="*/ 1488955 w 2039198"/>
                    <a:gd name="connsiteY972" fmla="*/ 426220 h 1686927"/>
                    <a:gd name="connsiteX973" fmla="*/ 1554342 w 2039198"/>
                    <a:gd name="connsiteY973" fmla="*/ 412966 h 1686927"/>
                    <a:gd name="connsiteX974" fmla="*/ 1553137 w 2039198"/>
                    <a:gd name="connsiteY974" fmla="*/ 422043 h 1686927"/>
                    <a:gd name="connsiteX975" fmla="*/ 1550647 w 2039198"/>
                    <a:gd name="connsiteY975" fmla="*/ 419874 h 1686927"/>
                    <a:gd name="connsiteX976" fmla="*/ 1551450 w 2039198"/>
                    <a:gd name="connsiteY976" fmla="*/ 417786 h 1686927"/>
                    <a:gd name="connsiteX977" fmla="*/ 1535144 w 2039198"/>
                    <a:gd name="connsiteY977" fmla="*/ 414091 h 1686927"/>
                    <a:gd name="connsiteX978" fmla="*/ 1525344 w 2039198"/>
                    <a:gd name="connsiteY978" fmla="*/ 404612 h 1686927"/>
                    <a:gd name="connsiteX979" fmla="*/ 1526629 w 2039198"/>
                    <a:gd name="connsiteY979" fmla="*/ 404371 h 1686927"/>
                    <a:gd name="connsiteX980" fmla="*/ 1525906 w 2039198"/>
                    <a:gd name="connsiteY980" fmla="*/ 405255 h 1686927"/>
                    <a:gd name="connsiteX981" fmla="*/ 1531609 w 2039198"/>
                    <a:gd name="connsiteY981" fmla="*/ 404532 h 1686927"/>
                    <a:gd name="connsiteX982" fmla="*/ 1531529 w 2039198"/>
                    <a:gd name="connsiteY982" fmla="*/ 404291 h 1686927"/>
                    <a:gd name="connsiteX983" fmla="*/ 1530565 w 2039198"/>
                    <a:gd name="connsiteY983" fmla="*/ 404130 h 1686927"/>
                    <a:gd name="connsiteX984" fmla="*/ 1523817 w 2039198"/>
                    <a:gd name="connsiteY984" fmla="*/ 399310 h 1686927"/>
                    <a:gd name="connsiteX985" fmla="*/ 1515062 w 2039198"/>
                    <a:gd name="connsiteY985" fmla="*/ 395856 h 1686927"/>
                    <a:gd name="connsiteX986" fmla="*/ 1524701 w 2039198"/>
                    <a:gd name="connsiteY986" fmla="*/ 395535 h 1686927"/>
                    <a:gd name="connsiteX987" fmla="*/ 1525665 w 2039198"/>
                    <a:gd name="connsiteY987" fmla="*/ 395455 h 1686927"/>
                    <a:gd name="connsiteX988" fmla="*/ 1527272 w 2039198"/>
                    <a:gd name="connsiteY988" fmla="*/ 396499 h 1686927"/>
                    <a:gd name="connsiteX989" fmla="*/ 1553619 w 2039198"/>
                    <a:gd name="connsiteY989" fmla="*/ 410637 h 1686927"/>
                    <a:gd name="connsiteX990" fmla="*/ 1554342 w 2039198"/>
                    <a:gd name="connsiteY990" fmla="*/ 412966 h 1686927"/>
                    <a:gd name="connsiteX991" fmla="*/ 1488714 w 2039198"/>
                    <a:gd name="connsiteY991" fmla="*/ 422525 h 1686927"/>
                    <a:gd name="connsiteX992" fmla="*/ 1490160 w 2039198"/>
                    <a:gd name="connsiteY992" fmla="*/ 425176 h 1686927"/>
                    <a:gd name="connsiteX993" fmla="*/ 1486143 w 2039198"/>
                    <a:gd name="connsiteY993" fmla="*/ 423810 h 1686927"/>
                    <a:gd name="connsiteX994" fmla="*/ 1484939 w 2039198"/>
                    <a:gd name="connsiteY994" fmla="*/ 422927 h 1686927"/>
                    <a:gd name="connsiteX995" fmla="*/ 1486385 w 2039198"/>
                    <a:gd name="connsiteY995" fmla="*/ 422927 h 1686927"/>
                    <a:gd name="connsiteX996" fmla="*/ 1482609 w 2039198"/>
                    <a:gd name="connsiteY996" fmla="*/ 419874 h 1686927"/>
                    <a:gd name="connsiteX997" fmla="*/ 1488714 w 2039198"/>
                    <a:gd name="connsiteY997" fmla="*/ 422525 h 1686927"/>
                    <a:gd name="connsiteX998" fmla="*/ 1492570 w 2039198"/>
                    <a:gd name="connsiteY998" fmla="*/ 414733 h 1686927"/>
                    <a:gd name="connsiteX999" fmla="*/ 1494819 w 2039198"/>
                    <a:gd name="connsiteY999" fmla="*/ 418188 h 1686927"/>
                    <a:gd name="connsiteX1000" fmla="*/ 1495140 w 2039198"/>
                    <a:gd name="connsiteY1000" fmla="*/ 418428 h 1686927"/>
                    <a:gd name="connsiteX1001" fmla="*/ 1493534 w 2039198"/>
                    <a:gd name="connsiteY1001" fmla="*/ 418991 h 1686927"/>
                    <a:gd name="connsiteX1002" fmla="*/ 1490481 w 2039198"/>
                    <a:gd name="connsiteY1002" fmla="*/ 413287 h 1686927"/>
                    <a:gd name="connsiteX1003" fmla="*/ 1492570 w 2039198"/>
                    <a:gd name="connsiteY1003" fmla="*/ 414733 h 1686927"/>
                    <a:gd name="connsiteX1004" fmla="*/ 1469676 w 2039198"/>
                    <a:gd name="connsiteY1004" fmla="*/ 436181 h 1686927"/>
                    <a:gd name="connsiteX1005" fmla="*/ 1469194 w 2039198"/>
                    <a:gd name="connsiteY1005" fmla="*/ 436583 h 1686927"/>
                    <a:gd name="connsiteX1006" fmla="*/ 1468873 w 2039198"/>
                    <a:gd name="connsiteY1006" fmla="*/ 437868 h 1686927"/>
                    <a:gd name="connsiteX1007" fmla="*/ 1473050 w 2039198"/>
                    <a:gd name="connsiteY1007" fmla="*/ 440519 h 1686927"/>
                    <a:gd name="connsiteX1008" fmla="*/ 1474978 w 2039198"/>
                    <a:gd name="connsiteY1008" fmla="*/ 443330 h 1686927"/>
                    <a:gd name="connsiteX1009" fmla="*/ 1471042 w 2039198"/>
                    <a:gd name="connsiteY1009" fmla="*/ 442205 h 1686927"/>
                    <a:gd name="connsiteX1010" fmla="*/ 1473853 w 2039198"/>
                    <a:gd name="connsiteY1010" fmla="*/ 448311 h 1686927"/>
                    <a:gd name="connsiteX1011" fmla="*/ 1472648 w 2039198"/>
                    <a:gd name="connsiteY1011" fmla="*/ 446061 h 1686927"/>
                    <a:gd name="connsiteX1012" fmla="*/ 1469355 w 2039198"/>
                    <a:gd name="connsiteY1012" fmla="*/ 445097 h 1686927"/>
                    <a:gd name="connsiteX1013" fmla="*/ 1472407 w 2039198"/>
                    <a:gd name="connsiteY1013" fmla="*/ 448632 h 1686927"/>
                    <a:gd name="connsiteX1014" fmla="*/ 1472407 w 2039198"/>
                    <a:gd name="connsiteY1014" fmla="*/ 450399 h 1686927"/>
                    <a:gd name="connsiteX1015" fmla="*/ 1469757 w 2039198"/>
                    <a:gd name="connsiteY1015" fmla="*/ 449596 h 1686927"/>
                    <a:gd name="connsiteX1016" fmla="*/ 1473371 w 2039198"/>
                    <a:gd name="connsiteY1016" fmla="*/ 453612 h 1686927"/>
                    <a:gd name="connsiteX1017" fmla="*/ 1471685 w 2039198"/>
                    <a:gd name="connsiteY1017" fmla="*/ 452969 h 1686927"/>
                    <a:gd name="connsiteX1018" fmla="*/ 1475781 w 2039198"/>
                    <a:gd name="connsiteY1018" fmla="*/ 459637 h 1686927"/>
                    <a:gd name="connsiteX1019" fmla="*/ 1477067 w 2039198"/>
                    <a:gd name="connsiteY1019" fmla="*/ 461565 h 1686927"/>
                    <a:gd name="connsiteX1020" fmla="*/ 1477147 w 2039198"/>
                    <a:gd name="connsiteY1020" fmla="*/ 460440 h 1686927"/>
                    <a:gd name="connsiteX1021" fmla="*/ 1480521 w 2039198"/>
                    <a:gd name="connsiteY1021" fmla="*/ 464055 h 1686927"/>
                    <a:gd name="connsiteX1022" fmla="*/ 1487589 w 2039198"/>
                    <a:gd name="connsiteY1022" fmla="*/ 469115 h 1686927"/>
                    <a:gd name="connsiteX1023" fmla="*/ 1488634 w 2039198"/>
                    <a:gd name="connsiteY1023" fmla="*/ 464697 h 1686927"/>
                    <a:gd name="connsiteX1024" fmla="*/ 1493453 w 2039198"/>
                    <a:gd name="connsiteY1024" fmla="*/ 472891 h 1686927"/>
                    <a:gd name="connsiteX1025" fmla="*/ 1490883 w 2039198"/>
                    <a:gd name="connsiteY1025" fmla="*/ 469838 h 1686927"/>
                    <a:gd name="connsiteX1026" fmla="*/ 1490240 w 2039198"/>
                    <a:gd name="connsiteY1026" fmla="*/ 469758 h 1686927"/>
                    <a:gd name="connsiteX1027" fmla="*/ 1485340 w 2039198"/>
                    <a:gd name="connsiteY1027" fmla="*/ 470079 h 1686927"/>
                    <a:gd name="connsiteX1028" fmla="*/ 1489035 w 2039198"/>
                    <a:gd name="connsiteY1028" fmla="*/ 474256 h 1686927"/>
                    <a:gd name="connsiteX1029" fmla="*/ 1487108 w 2039198"/>
                    <a:gd name="connsiteY1029" fmla="*/ 473774 h 1686927"/>
                    <a:gd name="connsiteX1030" fmla="*/ 1486304 w 2039198"/>
                    <a:gd name="connsiteY1030" fmla="*/ 474658 h 1686927"/>
                    <a:gd name="connsiteX1031" fmla="*/ 1483814 w 2039198"/>
                    <a:gd name="connsiteY1031" fmla="*/ 470642 h 1686927"/>
                    <a:gd name="connsiteX1032" fmla="*/ 1484055 w 2039198"/>
                    <a:gd name="connsiteY1032" fmla="*/ 471365 h 1686927"/>
                    <a:gd name="connsiteX1033" fmla="*/ 1473371 w 2039198"/>
                    <a:gd name="connsiteY1033" fmla="*/ 463412 h 1686927"/>
                    <a:gd name="connsiteX1034" fmla="*/ 1473773 w 2039198"/>
                    <a:gd name="connsiteY1034" fmla="*/ 463171 h 1686927"/>
                    <a:gd name="connsiteX1035" fmla="*/ 1473532 w 2039198"/>
                    <a:gd name="connsiteY1035" fmla="*/ 461565 h 1686927"/>
                    <a:gd name="connsiteX1036" fmla="*/ 1472809 w 2039198"/>
                    <a:gd name="connsiteY1036" fmla="*/ 461484 h 1686927"/>
                    <a:gd name="connsiteX1037" fmla="*/ 1469596 w 2039198"/>
                    <a:gd name="connsiteY1037" fmla="*/ 456182 h 1686927"/>
                    <a:gd name="connsiteX1038" fmla="*/ 1466062 w 2039198"/>
                    <a:gd name="connsiteY1038" fmla="*/ 448953 h 1686927"/>
                    <a:gd name="connsiteX1039" fmla="*/ 1462768 w 2039198"/>
                    <a:gd name="connsiteY1039" fmla="*/ 444214 h 1686927"/>
                    <a:gd name="connsiteX1040" fmla="*/ 1452004 w 2039198"/>
                    <a:gd name="connsiteY1040" fmla="*/ 437225 h 1686927"/>
                    <a:gd name="connsiteX1041" fmla="*/ 1455539 w 2039198"/>
                    <a:gd name="connsiteY1041" fmla="*/ 438510 h 1686927"/>
                    <a:gd name="connsiteX1042" fmla="*/ 1455137 w 2039198"/>
                    <a:gd name="connsiteY1042" fmla="*/ 437627 h 1686927"/>
                    <a:gd name="connsiteX1043" fmla="*/ 1459555 w 2039198"/>
                    <a:gd name="connsiteY1043" fmla="*/ 438912 h 1686927"/>
                    <a:gd name="connsiteX1044" fmla="*/ 1458912 w 2039198"/>
                    <a:gd name="connsiteY1044" fmla="*/ 439073 h 1686927"/>
                    <a:gd name="connsiteX1045" fmla="*/ 1466222 w 2039198"/>
                    <a:gd name="connsiteY1045" fmla="*/ 441643 h 1686927"/>
                    <a:gd name="connsiteX1046" fmla="*/ 1463009 w 2039198"/>
                    <a:gd name="connsiteY1046" fmla="*/ 443169 h 1686927"/>
                    <a:gd name="connsiteX1047" fmla="*/ 1463652 w 2039198"/>
                    <a:gd name="connsiteY1047" fmla="*/ 444053 h 1686927"/>
                    <a:gd name="connsiteX1048" fmla="*/ 1465258 w 2039198"/>
                    <a:gd name="connsiteY1048" fmla="*/ 445097 h 1686927"/>
                    <a:gd name="connsiteX1049" fmla="*/ 1470480 w 2039198"/>
                    <a:gd name="connsiteY1049" fmla="*/ 448471 h 1686927"/>
                    <a:gd name="connsiteX1050" fmla="*/ 1468391 w 2039198"/>
                    <a:gd name="connsiteY1050" fmla="*/ 442768 h 1686927"/>
                    <a:gd name="connsiteX1051" fmla="*/ 1463812 w 2039198"/>
                    <a:gd name="connsiteY1051" fmla="*/ 439555 h 1686927"/>
                    <a:gd name="connsiteX1052" fmla="*/ 1471283 w 2039198"/>
                    <a:gd name="connsiteY1052" fmla="*/ 441402 h 1686927"/>
                    <a:gd name="connsiteX1053" fmla="*/ 1464616 w 2039198"/>
                    <a:gd name="connsiteY1053" fmla="*/ 437627 h 1686927"/>
                    <a:gd name="connsiteX1054" fmla="*/ 1466945 w 2039198"/>
                    <a:gd name="connsiteY1054" fmla="*/ 437868 h 1686927"/>
                    <a:gd name="connsiteX1055" fmla="*/ 1465901 w 2039198"/>
                    <a:gd name="connsiteY1055" fmla="*/ 433209 h 1686927"/>
                    <a:gd name="connsiteX1056" fmla="*/ 1467106 w 2039198"/>
                    <a:gd name="connsiteY1056" fmla="*/ 435378 h 1686927"/>
                    <a:gd name="connsiteX1057" fmla="*/ 1466704 w 2039198"/>
                    <a:gd name="connsiteY1057" fmla="*/ 435619 h 1686927"/>
                    <a:gd name="connsiteX1058" fmla="*/ 1469516 w 2039198"/>
                    <a:gd name="connsiteY1058" fmla="*/ 435779 h 1686927"/>
                    <a:gd name="connsiteX1059" fmla="*/ 1469676 w 2039198"/>
                    <a:gd name="connsiteY1059" fmla="*/ 436181 h 1686927"/>
                    <a:gd name="connsiteX1060" fmla="*/ 1458270 w 2039198"/>
                    <a:gd name="connsiteY1060" fmla="*/ 430719 h 1686927"/>
                    <a:gd name="connsiteX1061" fmla="*/ 1464214 w 2039198"/>
                    <a:gd name="connsiteY1061" fmla="*/ 436583 h 1686927"/>
                    <a:gd name="connsiteX1062" fmla="*/ 1455699 w 2039198"/>
                    <a:gd name="connsiteY1062" fmla="*/ 433369 h 1686927"/>
                    <a:gd name="connsiteX1063" fmla="*/ 1457788 w 2039198"/>
                    <a:gd name="connsiteY1063" fmla="*/ 432566 h 1686927"/>
                    <a:gd name="connsiteX1064" fmla="*/ 1458109 w 2039198"/>
                    <a:gd name="connsiteY1064" fmla="*/ 432164 h 1686927"/>
                    <a:gd name="connsiteX1065" fmla="*/ 1458270 w 2039198"/>
                    <a:gd name="connsiteY1065" fmla="*/ 429996 h 1686927"/>
                    <a:gd name="connsiteX1066" fmla="*/ 1458270 w 2039198"/>
                    <a:gd name="connsiteY1066" fmla="*/ 430719 h 1686927"/>
                    <a:gd name="connsiteX1067" fmla="*/ 1357699 w 2039198"/>
                    <a:gd name="connsiteY1067" fmla="*/ 496186 h 1686927"/>
                    <a:gd name="connsiteX1068" fmla="*/ 1356334 w 2039198"/>
                    <a:gd name="connsiteY1068" fmla="*/ 500765 h 1686927"/>
                    <a:gd name="connsiteX1069" fmla="*/ 1350309 w 2039198"/>
                    <a:gd name="connsiteY1069" fmla="*/ 497873 h 1686927"/>
                    <a:gd name="connsiteX1070" fmla="*/ 1348381 w 2039198"/>
                    <a:gd name="connsiteY1070" fmla="*/ 496989 h 1686927"/>
                    <a:gd name="connsiteX1071" fmla="*/ 1349586 w 2039198"/>
                    <a:gd name="connsiteY1071" fmla="*/ 496829 h 1686927"/>
                    <a:gd name="connsiteX1072" fmla="*/ 1349666 w 2039198"/>
                    <a:gd name="connsiteY1072" fmla="*/ 496748 h 1686927"/>
                    <a:gd name="connsiteX1073" fmla="*/ 1347979 w 2039198"/>
                    <a:gd name="connsiteY1073" fmla="*/ 495704 h 1686927"/>
                    <a:gd name="connsiteX1074" fmla="*/ 1353281 w 2039198"/>
                    <a:gd name="connsiteY1074" fmla="*/ 494580 h 1686927"/>
                    <a:gd name="connsiteX1075" fmla="*/ 1357699 w 2039198"/>
                    <a:gd name="connsiteY1075" fmla="*/ 496186 h 1686927"/>
                    <a:gd name="connsiteX1076" fmla="*/ 1498112 w 2039198"/>
                    <a:gd name="connsiteY1076" fmla="*/ 431040 h 1686927"/>
                    <a:gd name="connsiteX1077" fmla="*/ 1502290 w 2039198"/>
                    <a:gd name="connsiteY1077" fmla="*/ 436904 h 1686927"/>
                    <a:gd name="connsiteX1078" fmla="*/ 1505021 w 2039198"/>
                    <a:gd name="connsiteY1078" fmla="*/ 437627 h 1686927"/>
                    <a:gd name="connsiteX1079" fmla="*/ 1505824 w 2039198"/>
                    <a:gd name="connsiteY1079" fmla="*/ 446222 h 1686927"/>
                    <a:gd name="connsiteX1080" fmla="*/ 1501727 w 2039198"/>
                    <a:gd name="connsiteY1080" fmla="*/ 448230 h 1686927"/>
                    <a:gd name="connsiteX1081" fmla="*/ 1503414 w 2039198"/>
                    <a:gd name="connsiteY1081" fmla="*/ 447668 h 1686927"/>
                    <a:gd name="connsiteX1082" fmla="*/ 1504539 w 2039198"/>
                    <a:gd name="connsiteY1082" fmla="*/ 449917 h 1686927"/>
                    <a:gd name="connsiteX1083" fmla="*/ 1504458 w 2039198"/>
                    <a:gd name="connsiteY1083" fmla="*/ 453612 h 1686927"/>
                    <a:gd name="connsiteX1084" fmla="*/ 1506386 w 2039198"/>
                    <a:gd name="connsiteY1084" fmla="*/ 452006 h 1686927"/>
                    <a:gd name="connsiteX1085" fmla="*/ 1499157 w 2039198"/>
                    <a:gd name="connsiteY1085" fmla="*/ 460601 h 1686927"/>
                    <a:gd name="connsiteX1086" fmla="*/ 1497229 w 2039198"/>
                    <a:gd name="connsiteY1086" fmla="*/ 460119 h 1686927"/>
                    <a:gd name="connsiteX1087" fmla="*/ 1491284 w 2039198"/>
                    <a:gd name="connsiteY1087" fmla="*/ 453853 h 1686927"/>
                    <a:gd name="connsiteX1088" fmla="*/ 1494417 w 2039198"/>
                    <a:gd name="connsiteY1088" fmla="*/ 456022 h 1686927"/>
                    <a:gd name="connsiteX1089" fmla="*/ 1494658 w 2039198"/>
                    <a:gd name="connsiteY1089" fmla="*/ 455861 h 1686927"/>
                    <a:gd name="connsiteX1090" fmla="*/ 1493775 w 2039198"/>
                    <a:gd name="connsiteY1090" fmla="*/ 454255 h 1686927"/>
                    <a:gd name="connsiteX1091" fmla="*/ 1491686 w 2039198"/>
                    <a:gd name="connsiteY1091" fmla="*/ 450560 h 1686927"/>
                    <a:gd name="connsiteX1092" fmla="*/ 1499719 w 2039198"/>
                    <a:gd name="connsiteY1092" fmla="*/ 452969 h 1686927"/>
                    <a:gd name="connsiteX1093" fmla="*/ 1476906 w 2039198"/>
                    <a:gd name="connsiteY1093" fmla="*/ 439956 h 1686927"/>
                    <a:gd name="connsiteX1094" fmla="*/ 1474978 w 2039198"/>
                    <a:gd name="connsiteY1094" fmla="*/ 434574 h 1686927"/>
                    <a:gd name="connsiteX1095" fmla="*/ 1465419 w 2039198"/>
                    <a:gd name="connsiteY1095" fmla="*/ 430638 h 1686927"/>
                    <a:gd name="connsiteX1096" fmla="*/ 1461001 w 2039198"/>
                    <a:gd name="connsiteY1096" fmla="*/ 426301 h 1686927"/>
                    <a:gd name="connsiteX1097" fmla="*/ 1470239 w 2039198"/>
                    <a:gd name="connsiteY1097" fmla="*/ 430397 h 1686927"/>
                    <a:gd name="connsiteX1098" fmla="*/ 1472648 w 2039198"/>
                    <a:gd name="connsiteY1098" fmla="*/ 430638 h 1686927"/>
                    <a:gd name="connsiteX1099" fmla="*/ 1469837 w 2039198"/>
                    <a:gd name="connsiteY1099" fmla="*/ 428068 h 1686927"/>
                    <a:gd name="connsiteX1100" fmla="*/ 1474978 w 2039198"/>
                    <a:gd name="connsiteY1100" fmla="*/ 425979 h 1686927"/>
                    <a:gd name="connsiteX1101" fmla="*/ 1490321 w 2039198"/>
                    <a:gd name="connsiteY1101" fmla="*/ 433851 h 1686927"/>
                    <a:gd name="connsiteX1102" fmla="*/ 1485581 w 2039198"/>
                    <a:gd name="connsiteY1102" fmla="*/ 434092 h 1686927"/>
                    <a:gd name="connsiteX1103" fmla="*/ 1486143 w 2039198"/>
                    <a:gd name="connsiteY1103" fmla="*/ 433771 h 1686927"/>
                    <a:gd name="connsiteX1104" fmla="*/ 1480119 w 2039198"/>
                    <a:gd name="connsiteY1104" fmla="*/ 436422 h 1686927"/>
                    <a:gd name="connsiteX1105" fmla="*/ 1490321 w 2039198"/>
                    <a:gd name="connsiteY1105" fmla="*/ 437868 h 1686927"/>
                    <a:gd name="connsiteX1106" fmla="*/ 1488794 w 2039198"/>
                    <a:gd name="connsiteY1106" fmla="*/ 435056 h 1686927"/>
                    <a:gd name="connsiteX1107" fmla="*/ 1493373 w 2039198"/>
                    <a:gd name="connsiteY1107" fmla="*/ 437868 h 1686927"/>
                    <a:gd name="connsiteX1108" fmla="*/ 1497229 w 2039198"/>
                    <a:gd name="connsiteY1108" fmla="*/ 435137 h 1686927"/>
                    <a:gd name="connsiteX1109" fmla="*/ 1489517 w 2039198"/>
                    <a:gd name="connsiteY1109" fmla="*/ 427988 h 1686927"/>
                    <a:gd name="connsiteX1110" fmla="*/ 1494819 w 2039198"/>
                    <a:gd name="connsiteY1110" fmla="*/ 429514 h 1686927"/>
                    <a:gd name="connsiteX1111" fmla="*/ 1498112 w 2039198"/>
                    <a:gd name="connsiteY1111" fmla="*/ 431040 h 1686927"/>
                    <a:gd name="connsiteX1112" fmla="*/ 1504378 w 2039198"/>
                    <a:gd name="connsiteY1112" fmla="*/ 392402 h 1686927"/>
                    <a:gd name="connsiteX1113" fmla="*/ 1501325 w 2039198"/>
                    <a:gd name="connsiteY1113" fmla="*/ 396258 h 1686927"/>
                    <a:gd name="connsiteX1114" fmla="*/ 1498434 w 2039198"/>
                    <a:gd name="connsiteY1114" fmla="*/ 394170 h 1686927"/>
                    <a:gd name="connsiteX1115" fmla="*/ 1504378 w 2039198"/>
                    <a:gd name="connsiteY1115" fmla="*/ 392402 h 1686927"/>
                    <a:gd name="connsiteX1116" fmla="*/ 1490642 w 2039198"/>
                    <a:gd name="connsiteY1116" fmla="*/ 419553 h 1686927"/>
                    <a:gd name="connsiteX1117" fmla="*/ 1492650 w 2039198"/>
                    <a:gd name="connsiteY1117" fmla="*/ 421963 h 1686927"/>
                    <a:gd name="connsiteX1118" fmla="*/ 1491526 w 2039198"/>
                    <a:gd name="connsiteY1118" fmla="*/ 421802 h 1686927"/>
                    <a:gd name="connsiteX1119" fmla="*/ 1469998 w 2039198"/>
                    <a:gd name="connsiteY1119" fmla="*/ 413207 h 1686927"/>
                    <a:gd name="connsiteX1120" fmla="*/ 1481163 w 2039198"/>
                    <a:gd name="connsiteY1120" fmla="*/ 413689 h 1686927"/>
                    <a:gd name="connsiteX1121" fmla="*/ 1481565 w 2039198"/>
                    <a:gd name="connsiteY1121" fmla="*/ 413528 h 1686927"/>
                    <a:gd name="connsiteX1122" fmla="*/ 1490642 w 2039198"/>
                    <a:gd name="connsiteY1122" fmla="*/ 419553 h 1686927"/>
                    <a:gd name="connsiteX1123" fmla="*/ 1457306 w 2039198"/>
                    <a:gd name="connsiteY1123" fmla="*/ 425176 h 1686927"/>
                    <a:gd name="connsiteX1124" fmla="*/ 1457145 w 2039198"/>
                    <a:gd name="connsiteY1124" fmla="*/ 425256 h 1686927"/>
                    <a:gd name="connsiteX1125" fmla="*/ 1454735 w 2039198"/>
                    <a:gd name="connsiteY1125" fmla="*/ 424453 h 1686927"/>
                    <a:gd name="connsiteX1126" fmla="*/ 1457306 w 2039198"/>
                    <a:gd name="connsiteY1126" fmla="*/ 425176 h 1686927"/>
                    <a:gd name="connsiteX1127" fmla="*/ 1457306 w 2039198"/>
                    <a:gd name="connsiteY1127" fmla="*/ 425176 h 1686927"/>
                    <a:gd name="connsiteX1128" fmla="*/ 1339224 w 2039198"/>
                    <a:gd name="connsiteY1128" fmla="*/ 497230 h 1686927"/>
                    <a:gd name="connsiteX1129" fmla="*/ 1331030 w 2039198"/>
                    <a:gd name="connsiteY1129" fmla="*/ 494499 h 1686927"/>
                    <a:gd name="connsiteX1130" fmla="*/ 1334645 w 2039198"/>
                    <a:gd name="connsiteY1130" fmla="*/ 492491 h 1686927"/>
                    <a:gd name="connsiteX1131" fmla="*/ 1339143 w 2039198"/>
                    <a:gd name="connsiteY1131" fmla="*/ 496668 h 1686927"/>
                    <a:gd name="connsiteX1132" fmla="*/ 1339224 w 2039198"/>
                    <a:gd name="connsiteY1132" fmla="*/ 497230 h 1686927"/>
                    <a:gd name="connsiteX1133" fmla="*/ 1509037 w 2039198"/>
                    <a:gd name="connsiteY1133" fmla="*/ 383486 h 1686927"/>
                    <a:gd name="connsiteX1134" fmla="*/ 1506547 w 2039198"/>
                    <a:gd name="connsiteY1134" fmla="*/ 385173 h 1686927"/>
                    <a:gd name="connsiteX1135" fmla="*/ 1516909 w 2039198"/>
                    <a:gd name="connsiteY1135" fmla="*/ 393928 h 1686927"/>
                    <a:gd name="connsiteX1136" fmla="*/ 1500121 w 2039198"/>
                    <a:gd name="connsiteY1136" fmla="*/ 386056 h 1686927"/>
                    <a:gd name="connsiteX1137" fmla="*/ 1497229 w 2039198"/>
                    <a:gd name="connsiteY1137" fmla="*/ 380915 h 1686927"/>
                    <a:gd name="connsiteX1138" fmla="*/ 1498996 w 2039198"/>
                    <a:gd name="connsiteY1138" fmla="*/ 381076 h 1686927"/>
                    <a:gd name="connsiteX1139" fmla="*/ 1499317 w 2039198"/>
                    <a:gd name="connsiteY1139" fmla="*/ 381638 h 1686927"/>
                    <a:gd name="connsiteX1140" fmla="*/ 1509037 w 2039198"/>
                    <a:gd name="connsiteY1140" fmla="*/ 383486 h 1686927"/>
                    <a:gd name="connsiteX1141" fmla="*/ 1478994 w 2039198"/>
                    <a:gd name="connsiteY1141" fmla="*/ 399069 h 1686927"/>
                    <a:gd name="connsiteX1142" fmla="*/ 1479316 w 2039198"/>
                    <a:gd name="connsiteY1142" fmla="*/ 400033 h 1686927"/>
                    <a:gd name="connsiteX1143" fmla="*/ 1482208 w 2039198"/>
                    <a:gd name="connsiteY1143" fmla="*/ 402122 h 1686927"/>
                    <a:gd name="connsiteX1144" fmla="*/ 1475701 w 2039198"/>
                    <a:gd name="connsiteY1144" fmla="*/ 400676 h 1686927"/>
                    <a:gd name="connsiteX1145" fmla="*/ 1474255 w 2039198"/>
                    <a:gd name="connsiteY1145" fmla="*/ 398668 h 1686927"/>
                    <a:gd name="connsiteX1146" fmla="*/ 1478994 w 2039198"/>
                    <a:gd name="connsiteY1146" fmla="*/ 399069 h 1686927"/>
                    <a:gd name="connsiteX1147" fmla="*/ 1451281 w 2039198"/>
                    <a:gd name="connsiteY1147" fmla="*/ 408227 h 1686927"/>
                    <a:gd name="connsiteX1148" fmla="*/ 1447185 w 2039198"/>
                    <a:gd name="connsiteY1148" fmla="*/ 413368 h 1686927"/>
                    <a:gd name="connsiteX1149" fmla="*/ 1437384 w 2039198"/>
                    <a:gd name="connsiteY1149" fmla="*/ 409673 h 1686927"/>
                    <a:gd name="connsiteX1150" fmla="*/ 1446783 w 2039198"/>
                    <a:gd name="connsiteY1150" fmla="*/ 405496 h 1686927"/>
                    <a:gd name="connsiteX1151" fmla="*/ 1448229 w 2039198"/>
                    <a:gd name="connsiteY1151" fmla="*/ 406781 h 1686927"/>
                    <a:gd name="connsiteX1152" fmla="*/ 1451281 w 2039198"/>
                    <a:gd name="connsiteY1152" fmla="*/ 408227 h 1686927"/>
                    <a:gd name="connsiteX1153" fmla="*/ 1471524 w 2039198"/>
                    <a:gd name="connsiteY1153" fmla="*/ 383887 h 1686927"/>
                    <a:gd name="connsiteX1154" fmla="*/ 1472006 w 2039198"/>
                    <a:gd name="connsiteY1154" fmla="*/ 384450 h 1686927"/>
                    <a:gd name="connsiteX1155" fmla="*/ 1466865 w 2039198"/>
                    <a:gd name="connsiteY1155" fmla="*/ 386779 h 1686927"/>
                    <a:gd name="connsiteX1156" fmla="*/ 1466303 w 2039198"/>
                    <a:gd name="connsiteY1156" fmla="*/ 386056 h 1686927"/>
                    <a:gd name="connsiteX1157" fmla="*/ 1468150 w 2039198"/>
                    <a:gd name="connsiteY1157" fmla="*/ 385414 h 1686927"/>
                    <a:gd name="connsiteX1158" fmla="*/ 1468311 w 2039198"/>
                    <a:gd name="connsiteY1158" fmla="*/ 383566 h 1686927"/>
                    <a:gd name="connsiteX1159" fmla="*/ 1467507 w 2039198"/>
                    <a:gd name="connsiteY1159" fmla="*/ 383084 h 1686927"/>
                    <a:gd name="connsiteX1160" fmla="*/ 1471524 w 2039198"/>
                    <a:gd name="connsiteY1160" fmla="*/ 383887 h 1686927"/>
                    <a:gd name="connsiteX1161" fmla="*/ 1356173 w 2039198"/>
                    <a:gd name="connsiteY1161" fmla="*/ 478433 h 1686927"/>
                    <a:gd name="connsiteX1162" fmla="*/ 1356012 w 2039198"/>
                    <a:gd name="connsiteY1162" fmla="*/ 479799 h 1686927"/>
                    <a:gd name="connsiteX1163" fmla="*/ 1350791 w 2039198"/>
                    <a:gd name="connsiteY1163" fmla="*/ 477871 h 1686927"/>
                    <a:gd name="connsiteX1164" fmla="*/ 1349907 w 2039198"/>
                    <a:gd name="connsiteY1164" fmla="*/ 477630 h 1686927"/>
                    <a:gd name="connsiteX1165" fmla="*/ 1351835 w 2039198"/>
                    <a:gd name="connsiteY1165" fmla="*/ 477630 h 1686927"/>
                    <a:gd name="connsiteX1166" fmla="*/ 1323399 w 2039198"/>
                    <a:gd name="connsiteY1166" fmla="*/ 472891 h 1686927"/>
                    <a:gd name="connsiteX1167" fmla="*/ 1358904 w 2039198"/>
                    <a:gd name="connsiteY1167" fmla="*/ 478594 h 1686927"/>
                    <a:gd name="connsiteX1168" fmla="*/ 1356173 w 2039198"/>
                    <a:gd name="connsiteY1168" fmla="*/ 478433 h 1686927"/>
                    <a:gd name="connsiteX1169" fmla="*/ 1321632 w 2039198"/>
                    <a:gd name="connsiteY1169" fmla="*/ 472168 h 1686927"/>
                    <a:gd name="connsiteX1170" fmla="*/ 1317455 w 2039198"/>
                    <a:gd name="connsiteY1170" fmla="*/ 474337 h 1686927"/>
                    <a:gd name="connsiteX1171" fmla="*/ 1317455 w 2039198"/>
                    <a:gd name="connsiteY1171" fmla="*/ 472891 h 1686927"/>
                    <a:gd name="connsiteX1172" fmla="*/ 1317776 w 2039198"/>
                    <a:gd name="connsiteY1172" fmla="*/ 471365 h 1686927"/>
                    <a:gd name="connsiteX1173" fmla="*/ 1321793 w 2039198"/>
                    <a:gd name="connsiteY1173" fmla="*/ 472088 h 1686927"/>
                    <a:gd name="connsiteX1174" fmla="*/ 1321632 w 2039198"/>
                    <a:gd name="connsiteY1174" fmla="*/ 472168 h 1686927"/>
                    <a:gd name="connsiteX1175" fmla="*/ 1452325 w 2039198"/>
                    <a:gd name="connsiteY1175" fmla="*/ 381237 h 1686927"/>
                    <a:gd name="connsiteX1176" fmla="*/ 1452647 w 2039198"/>
                    <a:gd name="connsiteY1176" fmla="*/ 383004 h 1686927"/>
                    <a:gd name="connsiteX1177" fmla="*/ 1452325 w 2039198"/>
                    <a:gd name="connsiteY1177" fmla="*/ 381237 h 1686927"/>
                    <a:gd name="connsiteX1178" fmla="*/ 1452325 w 2039198"/>
                    <a:gd name="connsiteY1178" fmla="*/ 381237 h 1686927"/>
                    <a:gd name="connsiteX1179" fmla="*/ 1461644 w 2039198"/>
                    <a:gd name="connsiteY1179" fmla="*/ 376738 h 1686927"/>
                    <a:gd name="connsiteX1180" fmla="*/ 1452325 w 2039198"/>
                    <a:gd name="connsiteY1180" fmla="*/ 380915 h 1686927"/>
                    <a:gd name="connsiteX1181" fmla="*/ 1447185 w 2039198"/>
                    <a:gd name="connsiteY1181" fmla="*/ 380112 h 1686927"/>
                    <a:gd name="connsiteX1182" fmla="*/ 1462527 w 2039198"/>
                    <a:gd name="connsiteY1182" fmla="*/ 376979 h 1686927"/>
                    <a:gd name="connsiteX1183" fmla="*/ 1461644 w 2039198"/>
                    <a:gd name="connsiteY1183" fmla="*/ 376738 h 1686927"/>
                    <a:gd name="connsiteX1184" fmla="*/ 1455298 w 2039198"/>
                    <a:gd name="connsiteY1184" fmla="*/ 364528 h 1686927"/>
                    <a:gd name="connsiteX1185" fmla="*/ 1440196 w 2039198"/>
                    <a:gd name="connsiteY1185" fmla="*/ 361476 h 1686927"/>
                    <a:gd name="connsiteX1186" fmla="*/ 1455860 w 2039198"/>
                    <a:gd name="connsiteY1186" fmla="*/ 364368 h 1686927"/>
                    <a:gd name="connsiteX1187" fmla="*/ 1455298 w 2039198"/>
                    <a:gd name="connsiteY1187" fmla="*/ 364528 h 1686927"/>
                    <a:gd name="connsiteX1188" fmla="*/ 1447988 w 2039198"/>
                    <a:gd name="connsiteY1188" fmla="*/ 356014 h 1686927"/>
                    <a:gd name="connsiteX1189" fmla="*/ 1448309 w 2039198"/>
                    <a:gd name="connsiteY1189" fmla="*/ 356335 h 1686927"/>
                    <a:gd name="connsiteX1190" fmla="*/ 1447907 w 2039198"/>
                    <a:gd name="connsiteY1190" fmla="*/ 356174 h 1686927"/>
                    <a:gd name="connsiteX1191" fmla="*/ 1445337 w 2039198"/>
                    <a:gd name="connsiteY1191" fmla="*/ 354889 h 1686927"/>
                    <a:gd name="connsiteX1192" fmla="*/ 1444132 w 2039198"/>
                    <a:gd name="connsiteY1192" fmla="*/ 354487 h 1686927"/>
                    <a:gd name="connsiteX1193" fmla="*/ 1443650 w 2039198"/>
                    <a:gd name="connsiteY1193" fmla="*/ 354246 h 1686927"/>
                    <a:gd name="connsiteX1194" fmla="*/ 1442766 w 2039198"/>
                    <a:gd name="connsiteY1194" fmla="*/ 352399 h 1686927"/>
                    <a:gd name="connsiteX1195" fmla="*/ 1447988 w 2039198"/>
                    <a:gd name="connsiteY1195" fmla="*/ 356014 h 1686927"/>
                    <a:gd name="connsiteX1196" fmla="*/ 1348783 w 2039198"/>
                    <a:gd name="connsiteY1196" fmla="*/ 430638 h 1686927"/>
                    <a:gd name="connsiteX1197" fmla="*/ 1334725 w 2039198"/>
                    <a:gd name="connsiteY1197" fmla="*/ 427666 h 1686927"/>
                    <a:gd name="connsiteX1198" fmla="*/ 1332315 w 2039198"/>
                    <a:gd name="connsiteY1198" fmla="*/ 428068 h 1686927"/>
                    <a:gd name="connsiteX1199" fmla="*/ 1333119 w 2039198"/>
                    <a:gd name="connsiteY1199" fmla="*/ 424453 h 1686927"/>
                    <a:gd name="connsiteX1200" fmla="*/ 1337938 w 2039198"/>
                    <a:gd name="connsiteY1200" fmla="*/ 424855 h 1686927"/>
                    <a:gd name="connsiteX1201" fmla="*/ 1338420 w 2039198"/>
                    <a:gd name="connsiteY1201" fmla="*/ 425497 h 1686927"/>
                    <a:gd name="connsiteX1202" fmla="*/ 1342838 w 2039198"/>
                    <a:gd name="connsiteY1202" fmla="*/ 428630 h 1686927"/>
                    <a:gd name="connsiteX1203" fmla="*/ 1349666 w 2039198"/>
                    <a:gd name="connsiteY1203" fmla="*/ 429835 h 1686927"/>
                    <a:gd name="connsiteX1204" fmla="*/ 1348783 w 2039198"/>
                    <a:gd name="connsiteY1204" fmla="*/ 430638 h 1686927"/>
                    <a:gd name="connsiteX1205" fmla="*/ 1436581 w 2039198"/>
                    <a:gd name="connsiteY1205" fmla="*/ 362359 h 1686927"/>
                    <a:gd name="connsiteX1206" fmla="*/ 1430717 w 2039198"/>
                    <a:gd name="connsiteY1206" fmla="*/ 362761 h 1686927"/>
                    <a:gd name="connsiteX1207" fmla="*/ 1428468 w 2039198"/>
                    <a:gd name="connsiteY1207" fmla="*/ 361476 h 1686927"/>
                    <a:gd name="connsiteX1208" fmla="*/ 1427906 w 2039198"/>
                    <a:gd name="connsiteY1208" fmla="*/ 358986 h 1686927"/>
                    <a:gd name="connsiteX1209" fmla="*/ 1436742 w 2039198"/>
                    <a:gd name="connsiteY1209" fmla="*/ 362199 h 1686927"/>
                    <a:gd name="connsiteX1210" fmla="*/ 1436581 w 2039198"/>
                    <a:gd name="connsiteY1210" fmla="*/ 362359 h 1686927"/>
                    <a:gd name="connsiteX1211" fmla="*/ 1415455 w 2039198"/>
                    <a:gd name="connsiteY1211" fmla="*/ 367179 h 1686927"/>
                    <a:gd name="connsiteX1212" fmla="*/ 1410394 w 2039198"/>
                    <a:gd name="connsiteY1212" fmla="*/ 374650 h 1686927"/>
                    <a:gd name="connsiteX1213" fmla="*/ 1413929 w 2039198"/>
                    <a:gd name="connsiteY1213" fmla="*/ 373605 h 1686927"/>
                    <a:gd name="connsiteX1214" fmla="*/ 1412242 w 2039198"/>
                    <a:gd name="connsiteY1214" fmla="*/ 367661 h 1686927"/>
                    <a:gd name="connsiteX1215" fmla="*/ 1412643 w 2039198"/>
                    <a:gd name="connsiteY1215" fmla="*/ 367179 h 1686927"/>
                    <a:gd name="connsiteX1216" fmla="*/ 1415134 w 2039198"/>
                    <a:gd name="connsiteY1216" fmla="*/ 366456 h 1686927"/>
                    <a:gd name="connsiteX1217" fmla="*/ 1415455 w 2039198"/>
                    <a:gd name="connsiteY1217" fmla="*/ 367179 h 1686927"/>
                    <a:gd name="connsiteX1218" fmla="*/ 1428629 w 2039198"/>
                    <a:gd name="connsiteY1218" fmla="*/ 346294 h 1686927"/>
                    <a:gd name="connsiteX1219" fmla="*/ 1418829 w 2039198"/>
                    <a:gd name="connsiteY1219" fmla="*/ 345892 h 1686927"/>
                    <a:gd name="connsiteX1220" fmla="*/ 1428629 w 2039198"/>
                    <a:gd name="connsiteY1220" fmla="*/ 346294 h 1686927"/>
                    <a:gd name="connsiteX1221" fmla="*/ 1428629 w 2039198"/>
                    <a:gd name="connsiteY1221" fmla="*/ 346294 h 1686927"/>
                    <a:gd name="connsiteX1222" fmla="*/ 1408065 w 2039198"/>
                    <a:gd name="connsiteY1222" fmla="*/ 330791 h 1686927"/>
                    <a:gd name="connsiteX1223" fmla="*/ 1407583 w 2039198"/>
                    <a:gd name="connsiteY1223" fmla="*/ 331915 h 1686927"/>
                    <a:gd name="connsiteX1224" fmla="*/ 1403566 w 2039198"/>
                    <a:gd name="connsiteY1224" fmla="*/ 331192 h 1686927"/>
                    <a:gd name="connsiteX1225" fmla="*/ 1408065 w 2039198"/>
                    <a:gd name="connsiteY1225" fmla="*/ 330630 h 1686927"/>
                    <a:gd name="connsiteX1226" fmla="*/ 1408065 w 2039198"/>
                    <a:gd name="connsiteY1226" fmla="*/ 330791 h 1686927"/>
                    <a:gd name="connsiteX1227" fmla="*/ 1313278 w 2039198"/>
                    <a:gd name="connsiteY1227" fmla="*/ 396740 h 1686927"/>
                    <a:gd name="connsiteX1228" fmla="*/ 1300024 w 2039198"/>
                    <a:gd name="connsiteY1228" fmla="*/ 397222 h 1686927"/>
                    <a:gd name="connsiteX1229" fmla="*/ 1295686 w 2039198"/>
                    <a:gd name="connsiteY1229" fmla="*/ 395615 h 1686927"/>
                    <a:gd name="connsiteX1230" fmla="*/ 1314242 w 2039198"/>
                    <a:gd name="connsiteY1230" fmla="*/ 396901 h 1686927"/>
                    <a:gd name="connsiteX1231" fmla="*/ 1313278 w 2039198"/>
                    <a:gd name="connsiteY1231" fmla="*/ 396740 h 1686927"/>
                    <a:gd name="connsiteX1232" fmla="*/ 1413929 w 2039198"/>
                    <a:gd name="connsiteY1232" fmla="*/ 317135 h 1686927"/>
                    <a:gd name="connsiteX1233" fmla="*/ 1415776 w 2039198"/>
                    <a:gd name="connsiteY1233" fmla="*/ 320107 h 1686927"/>
                    <a:gd name="connsiteX1234" fmla="*/ 1407101 w 2039198"/>
                    <a:gd name="connsiteY1234" fmla="*/ 314805 h 1686927"/>
                    <a:gd name="connsiteX1235" fmla="*/ 1413929 w 2039198"/>
                    <a:gd name="connsiteY1235" fmla="*/ 317135 h 1686927"/>
                    <a:gd name="connsiteX1236" fmla="*/ 1436340 w 2039198"/>
                    <a:gd name="connsiteY1236" fmla="*/ 154471 h 1686927"/>
                    <a:gd name="connsiteX1237" fmla="*/ 1441080 w 2039198"/>
                    <a:gd name="connsiteY1237" fmla="*/ 157363 h 1686927"/>
                    <a:gd name="connsiteX1238" fmla="*/ 1440357 w 2039198"/>
                    <a:gd name="connsiteY1238" fmla="*/ 156961 h 1686927"/>
                    <a:gd name="connsiteX1239" fmla="*/ 1437545 w 2039198"/>
                    <a:gd name="connsiteY1239" fmla="*/ 155354 h 1686927"/>
                    <a:gd name="connsiteX1240" fmla="*/ 1436260 w 2039198"/>
                    <a:gd name="connsiteY1240" fmla="*/ 154390 h 1686927"/>
                    <a:gd name="connsiteX1241" fmla="*/ 1436340 w 2039198"/>
                    <a:gd name="connsiteY1241" fmla="*/ 154471 h 1686927"/>
                    <a:gd name="connsiteX1242" fmla="*/ 1409109 w 2039198"/>
                    <a:gd name="connsiteY1242" fmla="*/ 307897 h 1686927"/>
                    <a:gd name="connsiteX1243" fmla="*/ 1415455 w 2039198"/>
                    <a:gd name="connsiteY1243" fmla="*/ 313761 h 1686927"/>
                    <a:gd name="connsiteX1244" fmla="*/ 1413045 w 2039198"/>
                    <a:gd name="connsiteY1244" fmla="*/ 312877 h 1686927"/>
                    <a:gd name="connsiteX1245" fmla="*/ 1412884 w 2039198"/>
                    <a:gd name="connsiteY1245" fmla="*/ 312717 h 1686927"/>
                    <a:gd name="connsiteX1246" fmla="*/ 1412402 w 2039198"/>
                    <a:gd name="connsiteY1246" fmla="*/ 311913 h 1686927"/>
                    <a:gd name="connsiteX1247" fmla="*/ 1410555 w 2039198"/>
                    <a:gd name="connsiteY1247" fmla="*/ 310146 h 1686927"/>
                    <a:gd name="connsiteX1248" fmla="*/ 1406619 w 2039198"/>
                    <a:gd name="connsiteY1248" fmla="*/ 306291 h 1686927"/>
                    <a:gd name="connsiteX1249" fmla="*/ 1409109 w 2039198"/>
                    <a:gd name="connsiteY1249" fmla="*/ 307897 h 1686927"/>
                    <a:gd name="connsiteX1250" fmla="*/ 1340589 w 2039198"/>
                    <a:gd name="connsiteY1250" fmla="*/ 312958 h 1686927"/>
                    <a:gd name="connsiteX1251" fmla="*/ 1350550 w 2039198"/>
                    <a:gd name="connsiteY1251" fmla="*/ 329666 h 1686927"/>
                    <a:gd name="connsiteX1252" fmla="*/ 1348622 w 2039198"/>
                    <a:gd name="connsiteY1252" fmla="*/ 331674 h 1686927"/>
                    <a:gd name="connsiteX1253" fmla="*/ 1342758 w 2039198"/>
                    <a:gd name="connsiteY1253" fmla="*/ 327578 h 1686927"/>
                    <a:gd name="connsiteX1254" fmla="*/ 1341152 w 2039198"/>
                    <a:gd name="connsiteY1254" fmla="*/ 320187 h 1686927"/>
                    <a:gd name="connsiteX1255" fmla="*/ 1342356 w 2039198"/>
                    <a:gd name="connsiteY1255" fmla="*/ 319866 h 1686927"/>
                    <a:gd name="connsiteX1256" fmla="*/ 1339063 w 2039198"/>
                    <a:gd name="connsiteY1256" fmla="*/ 317296 h 1686927"/>
                    <a:gd name="connsiteX1257" fmla="*/ 1340750 w 2039198"/>
                    <a:gd name="connsiteY1257" fmla="*/ 318259 h 1686927"/>
                    <a:gd name="connsiteX1258" fmla="*/ 1339786 w 2039198"/>
                    <a:gd name="connsiteY1258" fmla="*/ 312235 h 1686927"/>
                    <a:gd name="connsiteX1259" fmla="*/ 1340589 w 2039198"/>
                    <a:gd name="connsiteY1259" fmla="*/ 312958 h 1686927"/>
                    <a:gd name="connsiteX1260" fmla="*/ 1320507 w 2039198"/>
                    <a:gd name="connsiteY1260" fmla="*/ 86513 h 1686927"/>
                    <a:gd name="connsiteX1261" fmla="*/ 1320909 w 2039198"/>
                    <a:gd name="connsiteY1261" fmla="*/ 86674 h 1686927"/>
                    <a:gd name="connsiteX1262" fmla="*/ 1320507 w 2039198"/>
                    <a:gd name="connsiteY1262" fmla="*/ 86513 h 1686927"/>
                    <a:gd name="connsiteX1263" fmla="*/ 1312394 w 2039198"/>
                    <a:gd name="connsiteY1263" fmla="*/ 83380 h 1686927"/>
                    <a:gd name="connsiteX1264" fmla="*/ 1320507 w 2039198"/>
                    <a:gd name="connsiteY1264" fmla="*/ 86513 h 1686927"/>
                    <a:gd name="connsiteX1265" fmla="*/ 1312073 w 2039198"/>
                    <a:gd name="connsiteY1265" fmla="*/ 83300 h 1686927"/>
                    <a:gd name="connsiteX1266" fmla="*/ 1312073 w 2039198"/>
                    <a:gd name="connsiteY1266" fmla="*/ 83300 h 1686927"/>
                    <a:gd name="connsiteX1267" fmla="*/ 1312073 w 2039198"/>
                    <a:gd name="connsiteY1267" fmla="*/ 83300 h 1686927"/>
                    <a:gd name="connsiteX1268" fmla="*/ 1312073 w 2039198"/>
                    <a:gd name="connsiteY1268" fmla="*/ 83300 h 1686927"/>
                    <a:gd name="connsiteX1269" fmla="*/ 1312073 w 2039198"/>
                    <a:gd name="connsiteY1269" fmla="*/ 83300 h 1686927"/>
                    <a:gd name="connsiteX1270" fmla="*/ 1311993 w 2039198"/>
                    <a:gd name="connsiteY1270" fmla="*/ 83300 h 1686927"/>
                    <a:gd name="connsiteX1271" fmla="*/ 1311993 w 2039198"/>
                    <a:gd name="connsiteY1271" fmla="*/ 83300 h 1686927"/>
                    <a:gd name="connsiteX1272" fmla="*/ 1311993 w 2039198"/>
                    <a:gd name="connsiteY1272" fmla="*/ 83300 h 1686927"/>
                    <a:gd name="connsiteX1273" fmla="*/ 1311993 w 2039198"/>
                    <a:gd name="connsiteY1273" fmla="*/ 83300 h 1686927"/>
                    <a:gd name="connsiteX1274" fmla="*/ 1311993 w 2039198"/>
                    <a:gd name="connsiteY1274" fmla="*/ 83300 h 1686927"/>
                    <a:gd name="connsiteX1275" fmla="*/ 1311993 w 2039198"/>
                    <a:gd name="connsiteY1275" fmla="*/ 83300 h 1686927"/>
                    <a:gd name="connsiteX1276" fmla="*/ 1311993 w 2039198"/>
                    <a:gd name="connsiteY1276" fmla="*/ 83300 h 1686927"/>
                    <a:gd name="connsiteX1277" fmla="*/ 1311993 w 2039198"/>
                    <a:gd name="connsiteY1277" fmla="*/ 83300 h 1686927"/>
                    <a:gd name="connsiteX1278" fmla="*/ 1311993 w 2039198"/>
                    <a:gd name="connsiteY1278" fmla="*/ 83300 h 1686927"/>
                    <a:gd name="connsiteX1279" fmla="*/ 1311993 w 2039198"/>
                    <a:gd name="connsiteY1279" fmla="*/ 83300 h 1686927"/>
                    <a:gd name="connsiteX1280" fmla="*/ 1311993 w 2039198"/>
                    <a:gd name="connsiteY1280" fmla="*/ 83300 h 1686927"/>
                    <a:gd name="connsiteX1281" fmla="*/ 1311993 w 2039198"/>
                    <a:gd name="connsiteY1281" fmla="*/ 83300 h 1686927"/>
                    <a:gd name="connsiteX1282" fmla="*/ 1312073 w 2039198"/>
                    <a:gd name="connsiteY1282" fmla="*/ 83300 h 1686927"/>
                    <a:gd name="connsiteX1283" fmla="*/ 1312073 w 2039198"/>
                    <a:gd name="connsiteY1283" fmla="*/ 83300 h 1686927"/>
                    <a:gd name="connsiteX1284" fmla="*/ 1384609 w 2039198"/>
                    <a:gd name="connsiteY1284" fmla="*/ 134389 h 1686927"/>
                    <a:gd name="connsiteX1285" fmla="*/ 1384609 w 2039198"/>
                    <a:gd name="connsiteY1285" fmla="*/ 134389 h 1686927"/>
                    <a:gd name="connsiteX1286" fmla="*/ 1384609 w 2039198"/>
                    <a:gd name="connsiteY1286" fmla="*/ 134389 h 1686927"/>
                    <a:gd name="connsiteX1287" fmla="*/ 1383725 w 2039198"/>
                    <a:gd name="connsiteY1287" fmla="*/ 134228 h 1686927"/>
                    <a:gd name="connsiteX1288" fmla="*/ 1384609 w 2039198"/>
                    <a:gd name="connsiteY1288" fmla="*/ 134389 h 1686927"/>
                    <a:gd name="connsiteX1289" fmla="*/ 1385332 w 2039198"/>
                    <a:gd name="connsiteY1289" fmla="*/ 134549 h 1686927"/>
                    <a:gd name="connsiteX1290" fmla="*/ 1385332 w 2039198"/>
                    <a:gd name="connsiteY1290" fmla="*/ 134549 h 1686927"/>
                    <a:gd name="connsiteX1291" fmla="*/ 1385332 w 2039198"/>
                    <a:gd name="connsiteY1291" fmla="*/ 134549 h 1686927"/>
                    <a:gd name="connsiteX1292" fmla="*/ 1384609 w 2039198"/>
                    <a:gd name="connsiteY1292" fmla="*/ 134389 h 1686927"/>
                    <a:gd name="connsiteX1293" fmla="*/ 1384609 w 2039198"/>
                    <a:gd name="connsiteY1293" fmla="*/ 134389 h 1686927"/>
                    <a:gd name="connsiteX1294" fmla="*/ 1385332 w 2039198"/>
                    <a:gd name="connsiteY1294" fmla="*/ 134549 h 1686927"/>
                    <a:gd name="connsiteX1295" fmla="*/ 1386055 w 2039198"/>
                    <a:gd name="connsiteY1295" fmla="*/ 133425 h 1686927"/>
                    <a:gd name="connsiteX1296" fmla="*/ 1380914 w 2039198"/>
                    <a:gd name="connsiteY1296" fmla="*/ 131497 h 1686927"/>
                    <a:gd name="connsiteX1297" fmla="*/ 1386055 w 2039198"/>
                    <a:gd name="connsiteY1297" fmla="*/ 133425 h 1686927"/>
                    <a:gd name="connsiteX1298" fmla="*/ 1386055 w 2039198"/>
                    <a:gd name="connsiteY1298" fmla="*/ 133425 h 1686927"/>
                    <a:gd name="connsiteX1299" fmla="*/ 1379468 w 2039198"/>
                    <a:gd name="connsiteY1299" fmla="*/ 131256 h 1686927"/>
                    <a:gd name="connsiteX1300" fmla="*/ 1381958 w 2039198"/>
                    <a:gd name="connsiteY1300" fmla="*/ 132621 h 1686927"/>
                    <a:gd name="connsiteX1301" fmla="*/ 1380753 w 2039198"/>
                    <a:gd name="connsiteY1301" fmla="*/ 132782 h 1686927"/>
                    <a:gd name="connsiteX1302" fmla="*/ 1379147 w 2039198"/>
                    <a:gd name="connsiteY1302" fmla="*/ 131176 h 1686927"/>
                    <a:gd name="connsiteX1303" fmla="*/ 1379468 w 2039198"/>
                    <a:gd name="connsiteY1303" fmla="*/ 131256 h 1686927"/>
                    <a:gd name="connsiteX1304" fmla="*/ 1325729 w 2039198"/>
                    <a:gd name="connsiteY1304" fmla="*/ 91413 h 1686927"/>
                    <a:gd name="connsiteX1305" fmla="*/ 1330066 w 2039198"/>
                    <a:gd name="connsiteY1305" fmla="*/ 93341 h 1686927"/>
                    <a:gd name="connsiteX1306" fmla="*/ 1330147 w 2039198"/>
                    <a:gd name="connsiteY1306" fmla="*/ 93421 h 1686927"/>
                    <a:gd name="connsiteX1307" fmla="*/ 1321632 w 2039198"/>
                    <a:gd name="connsiteY1307" fmla="*/ 90048 h 1686927"/>
                    <a:gd name="connsiteX1308" fmla="*/ 1325729 w 2039198"/>
                    <a:gd name="connsiteY1308" fmla="*/ 91413 h 1686927"/>
                    <a:gd name="connsiteX1309" fmla="*/ 1103782 w 2039198"/>
                    <a:gd name="connsiteY1309" fmla="*/ 20725 h 1686927"/>
                    <a:gd name="connsiteX1310" fmla="*/ 1107799 w 2039198"/>
                    <a:gd name="connsiteY1310" fmla="*/ 21608 h 1686927"/>
                    <a:gd name="connsiteX1311" fmla="*/ 1054220 w 2039198"/>
                    <a:gd name="connsiteY1311" fmla="*/ 11567 h 1686927"/>
                    <a:gd name="connsiteX1312" fmla="*/ 1054300 w 2039198"/>
                    <a:gd name="connsiteY1312" fmla="*/ 11567 h 1686927"/>
                    <a:gd name="connsiteX1313" fmla="*/ 1103782 w 2039198"/>
                    <a:gd name="connsiteY1313" fmla="*/ 20725 h 1686927"/>
                    <a:gd name="connsiteX1314" fmla="*/ 1005381 w 2039198"/>
                    <a:gd name="connsiteY1314" fmla="*/ 4579 h 1686927"/>
                    <a:gd name="connsiteX1315" fmla="*/ 960959 w 2039198"/>
                    <a:gd name="connsiteY1315" fmla="*/ 0 h 1686927"/>
                    <a:gd name="connsiteX1316" fmla="*/ 961200 w 2039198"/>
                    <a:gd name="connsiteY1316" fmla="*/ 0 h 1686927"/>
                    <a:gd name="connsiteX1317" fmla="*/ 993412 w 2039198"/>
                    <a:gd name="connsiteY1317" fmla="*/ 3695 h 1686927"/>
                    <a:gd name="connsiteX1318" fmla="*/ 976222 w 2039198"/>
                    <a:gd name="connsiteY1318" fmla="*/ 4659 h 1686927"/>
                    <a:gd name="connsiteX1319" fmla="*/ 1028113 w 2039198"/>
                    <a:gd name="connsiteY1319" fmla="*/ 8997 h 1686927"/>
                    <a:gd name="connsiteX1320" fmla="*/ 1082174 w 2039198"/>
                    <a:gd name="connsiteY1320" fmla="*/ 19198 h 1686927"/>
                    <a:gd name="connsiteX1321" fmla="*/ 1073499 w 2039198"/>
                    <a:gd name="connsiteY1321" fmla="*/ 17913 h 1686927"/>
                    <a:gd name="connsiteX1322" fmla="*/ 1089805 w 2039198"/>
                    <a:gd name="connsiteY1322" fmla="*/ 22492 h 1686927"/>
                    <a:gd name="connsiteX1323" fmla="*/ 1094063 w 2039198"/>
                    <a:gd name="connsiteY1323" fmla="*/ 22653 h 1686927"/>
                    <a:gd name="connsiteX1324" fmla="*/ 1169250 w 2039198"/>
                    <a:gd name="connsiteY1324" fmla="*/ 41851 h 1686927"/>
                    <a:gd name="connsiteX1325" fmla="*/ 1169651 w 2039198"/>
                    <a:gd name="connsiteY1325" fmla="*/ 42735 h 1686927"/>
                    <a:gd name="connsiteX1326" fmla="*/ 1177764 w 2039198"/>
                    <a:gd name="connsiteY1326" fmla="*/ 44903 h 1686927"/>
                    <a:gd name="connsiteX1327" fmla="*/ 1331994 w 2039198"/>
                    <a:gd name="connsiteY1327" fmla="*/ 99767 h 1686927"/>
                    <a:gd name="connsiteX1328" fmla="*/ 1283315 w 2039198"/>
                    <a:gd name="connsiteY1328" fmla="*/ 88200 h 1686927"/>
                    <a:gd name="connsiteX1329" fmla="*/ 1462366 w 2039198"/>
                    <a:gd name="connsiteY1329" fmla="*/ 167805 h 1686927"/>
                    <a:gd name="connsiteX1330" fmla="*/ 1292955 w 2039198"/>
                    <a:gd name="connsiteY1330" fmla="*/ 102418 h 1686927"/>
                    <a:gd name="connsiteX1331" fmla="*/ 1363402 w 2039198"/>
                    <a:gd name="connsiteY1331" fmla="*/ 134871 h 1686927"/>
                    <a:gd name="connsiteX1332" fmla="*/ 1362358 w 2039198"/>
                    <a:gd name="connsiteY1332" fmla="*/ 134067 h 1686927"/>
                    <a:gd name="connsiteX1333" fmla="*/ 1435939 w 2039198"/>
                    <a:gd name="connsiteY1333" fmla="*/ 161620 h 1686927"/>
                    <a:gd name="connsiteX1334" fmla="*/ 1407342 w 2039198"/>
                    <a:gd name="connsiteY1334" fmla="*/ 166118 h 1686927"/>
                    <a:gd name="connsiteX1335" fmla="*/ 1427183 w 2039198"/>
                    <a:gd name="connsiteY1335" fmla="*/ 180818 h 1686927"/>
                    <a:gd name="connsiteX1336" fmla="*/ 1442124 w 2039198"/>
                    <a:gd name="connsiteY1336" fmla="*/ 191823 h 1686927"/>
                    <a:gd name="connsiteX1337" fmla="*/ 1432163 w 2039198"/>
                    <a:gd name="connsiteY1337" fmla="*/ 189815 h 1686927"/>
                    <a:gd name="connsiteX1338" fmla="*/ 1435698 w 2039198"/>
                    <a:gd name="connsiteY1338" fmla="*/ 194956 h 1686927"/>
                    <a:gd name="connsiteX1339" fmla="*/ 1450880 w 2039198"/>
                    <a:gd name="connsiteY1339" fmla="*/ 220822 h 1686927"/>
                    <a:gd name="connsiteX1340" fmla="*/ 1434171 w 2039198"/>
                    <a:gd name="connsiteY1340" fmla="*/ 210218 h 1686927"/>
                    <a:gd name="connsiteX1341" fmla="*/ 1477789 w 2039198"/>
                    <a:gd name="connsiteY1341" fmla="*/ 275766 h 1686927"/>
                    <a:gd name="connsiteX1342" fmla="*/ 1429432 w 2039198"/>
                    <a:gd name="connsiteY1342" fmla="*/ 259138 h 1686927"/>
                    <a:gd name="connsiteX1343" fmla="*/ 1490240 w 2039198"/>
                    <a:gd name="connsiteY1343" fmla="*/ 299061 h 1686927"/>
                    <a:gd name="connsiteX1344" fmla="*/ 1483252 w 2039198"/>
                    <a:gd name="connsiteY1344" fmla="*/ 307656 h 1686927"/>
                    <a:gd name="connsiteX1345" fmla="*/ 1505422 w 2039198"/>
                    <a:gd name="connsiteY1345" fmla="*/ 336574 h 1686927"/>
                    <a:gd name="connsiteX1346" fmla="*/ 1489517 w 2039198"/>
                    <a:gd name="connsiteY1346" fmla="*/ 348704 h 1686927"/>
                    <a:gd name="connsiteX1347" fmla="*/ 1506225 w 2039198"/>
                    <a:gd name="connsiteY1347" fmla="*/ 361717 h 1686927"/>
                    <a:gd name="connsiteX1348" fmla="*/ 1415696 w 2039198"/>
                    <a:gd name="connsiteY1348" fmla="*/ 338582 h 1686927"/>
                    <a:gd name="connsiteX1349" fmla="*/ 1465339 w 2039198"/>
                    <a:gd name="connsiteY1349" fmla="*/ 314163 h 1686927"/>
                    <a:gd name="connsiteX1350" fmla="*/ 1372158 w 2039198"/>
                    <a:gd name="connsiteY1350" fmla="*/ 298981 h 1686927"/>
                    <a:gd name="connsiteX1351" fmla="*/ 1365893 w 2039198"/>
                    <a:gd name="connsiteY1351" fmla="*/ 292233 h 1686927"/>
                    <a:gd name="connsiteX1352" fmla="*/ 1357860 w 2039198"/>
                    <a:gd name="connsiteY1352" fmla="*/ 294884 h 1686927"/>
                    <a:gd name="connsiteX1353" fmla="*/ 1342919 w 2039198"/>
                    <a:gd name="connsiteY1353" fmla="*/ 288297 h 1686927"/>
                    <a:gd name="connsiteX1354" fmla="*/ 1341152 w 2039198"/>
                    <a:gd name="connsiteY1354" fmla="*/ 299141 h 1686927"/>
                    <a:gd name="connsiteX1355" fmla="*/ 1322997 w 2039198"/>
                    <a:gd name="connsiteY1355" fmla="*/ 298900 h 1686927"/>
                    <a:gd name="connsiteX1356" fmla="*/ 1328379 w 2039198"/>
                    <a:gd name="connsiteY1356" fmla="*/ 292233 h 1686927"/>
                    <a:gd name="connsiteX1357" fmla="*/ 1305165 w 2039198"/>
                    <a:gd name="connsiteY1357" fmla="*/ 286610 h 1686927"/>
                    <a:gd name="connsiteX1358" fmla="*/ 1311993 w 2039198"/>
                    <a:gd name="connsiteY1358" fmla="*/ 296250 h 1686927"/>
                    <a:gd name="connsiteX1359" fmla="*/ 1296007 w 2039198"/>
                    <a:gd name="connsiteY1359" fmla="*/ 287976 h 1686927"/>
                    <a:gd name="connsiteX1360" fmla="*/ 1298176 w 2039198"/>
                    <a:gd name="connsiteY1360" fmla="*/ 296812 h 1686927"/>
                    <a:gd name="connsiteX1361" fmla="*/ 1289179 w 2039198"/>
                    <a:gd name="connsiteY1361" fmla="*/ 293840 h 1686927"/>
                    <a:gd name="connsiteX1362" fmla="*/ 1298417 w 2039198"/>
                    <a:gd name="connsiteY1362" fmla="*/ 312476 h 1686927"/>
                    <a:gd name="connsiteX1363" fmla="*/ 1282351 w 2039198"/>
                    <a:gd name="connsiteY1363" fmla="*/ 301310 h 1686927"/>
                    <a:gd name="connsiteX1364" fmla="*/ 1289099 w 2039198"/>
                    <a:gd name="connsiteY1364" fmla="*/ 320107 h 1686927"/>
                    <a:gd name="connsiteX1365" fmla="*/ 1276407 w 2039198"/>
                    <a:gd name="connsiteY1365" fmla="*/ 323481 h 1686927"/>
                    <a:gd name="connsiteX1366" fmla="*/ 1283958 w 2039198"/>
                    <a:gd name="connsiteY1366" fmla="*/ 349909 h 1686927"/>
                    <a:gd name="connsiteX1367" fmla="*/ 1277692 w 2039198"/>
                    <a:gd name="connsiteY1367" fmla="*/ 342840 h 1686927"/>
                    <a:gd name="connsiteX1368" fmla="*/ 1269820 w 2039198"/>
                    <a:gd name="connsiteY1368" fmla="*/ 348302 h 1686927"/>
                    <a:gd name="connsiteX1369" fmla="*/ 1283396 w 2039198"/>
                    <a:gd name="connsiteY1369" fmla="*/ 393045 h 1686927"/>
                    <a:gd name="connsiteX1370" fmla="*/ 1276166 w 2039198"/>
                    <a:gd name="connsiteY1370" fmla="*/ 397463 h 1686927"/>
                    <a:gd name="connsiteX1371" fmla="*/ 1289340 w 2039198"/>
                    <a:gd name="connsiteY1371" fmla="*/ 408709 h 1686927"/>
                    <a:gd name="connsiteX1372" fmla="*/ 1282110 w 2039198"/>
                    <a:gd name="connsiteY1372" fmla="*/ 414332 h 1686927"/>
                    <a:gd name="connsiteX1373" fmla="*/ 1292232 w 2039198"/>
                    <a:gd name="connsiteY1373" fmla="*/ 414010 h 1686927"/>
                    <a:gd name="connsiteX1374" fmla="*/ 1284922 w 2039198"/>
                    <a:gd name="connsiteY1374" fmla="*/ 420035 h 1686927"/>
                    <a:gd name="connsiteX1375" fmla="*/ 1285002 w 2039198"/>
                    <a:gd name="connsiteY1375" fmla="*/ 438510 h 1686927"/>
                    <a:gd name="connsiteX1376" fmla="*/ 1284199 w 2039198"/>
                    <a:gd name="connsiteY1376" fmla="*/ 438832 h 1686927"/>
                    <a:gd name="connsiteX1377" fmla="*/ 1290866 w 2039198"/>
                    <a:gd name="connsiteY1377" fmla="*/ 444133 h 1686927"/>
                    <a:gd name="connsiteX1378" fmla="*/ 1292151 w 2039198"/>
                    <a:gd name="connsiteY1378" fmla="*/ 461243 h 1686927"/>
                    <a:gd name="connsiteX1379" fmla="*/ 1301148 w 2039198"/>
                    <a:gd name="connsiteY1379" fmla="*/ 464697 h 1686927"/>
                    <a:gd name="connsiteX1380" fmla="*/ 1297855 w 2039198"/>
                    <a:gd name="connsiteY1380" fmla="*/ 511609 h 1686927"/>
                    <a:gd name="connsiteX1381" fmla="*/ 1306129 w 2039198"/>
                    <a:gd name="connsiteY1381" fmla="*/ 508075 h 1686927"/>
                    <a:gd name="connsiteX1382" fmla="*/ 1306289 w 2039198"/>
                    <a:gd name="connsiteY1382" fmla="*/ 499479 h 1686927"/>
                    <a:gd name="connsiteX1383" fmla="*/ 1311350 w 2039198"/>
                    <a:gd name="connsiteY1383" fmla="*/ 506709 h 1686927"/>
                    <a:gd name="connsiteX1384" fmla="*/ 1287974 w 2039198"/>
                    <a:gd name="connsiteY1384" fmla="*/ 519079 h 1686927"/>
                    <a:gd name="connsiteX1385" fmla="*/ 1292874 w 2039198"/>
                    <a:gd name="connsiteY1385" fmla="*/ 528879 h 1686927"/>
                    <a:gd name="connsiteX1386" fmla="*/ 1276970 w 2039198"/>
                    <a:gd name="connsiteY1386" fmla="*/ 538278 h 1686927"/>
                    <a:gd name="connsiteX1387" fmla="*/ 1287332 w 2039198"/>
                    <a:gd name="connsiteY1387" fmla="*/ 537635 h 1686927"/>
                    <a:gd name="connsiteX1388" fmla="*/ 1268214 w 2039198"/>
                    <a:gd name="connsiteY1388" fmla="*/ 557878 h 1686927"/>
                    <a:gd name="connsiteX1389" fmla="*/ 1283235 w 2039198"/>
                    <a:gd name="connsiteY1389" fmla="*/ 579486 h 1686927"/>
                    <a:gd name="connsiteX1390" fmla="*/ 1307092 w 2039198"/>
                    <a:gd name="connsiteY1390" fmla="*/ 567598 h 1686927"/>
                    <a:gd name="connsiteX1391" fmla="*/ 1303478 w 2039198"/>
                    <a:gd name="connsiteY1391" fmla="*/ 575309 h 1686927"/>
                    <a:gd name="connsiteX1392" fmla="*/ 1285002 w 2039198"/>
                    <a:gd name="connsiteY1392" fmla="*/ 580530 h 1686927"/>
                    <a:gd name="connsiteX1393" fmla="*/ 1294401 w 2039198"/>
                    <a:gd name="connsiteY1393" fmla="*/ 606235 h 1686927"/>
                    <a:gd name="connsiteX1394" fmla="*/ 1299542 w 2039198"/>
                    <a:gd name="connsiteY1394" fmla="*/ 599407 h 1686927"/>
                    <a:gd name="connsiteX1395" fmla="*/ 1302273 w 2039198"/>
                    <a:gd name="connsiteY1395" fmla="*/ 608083 h 1686927"/>
                    <a:gd name="connsiteX1396" fmla="*/ 1310707 w 2039198"/>
                    <a:gd name="connsiteY1396" fmla="*/ 605914 h 1686927"/>
                    <a:gd name="connsiteX1397" fmla="*/ 1313197 w 2039198"/>
                    <a:gd name="connsiteY1397" fmla="*/ 623425 h 1686927"/>
                    <a:gd name="connsiteX1398" fmla="*/ 1365973 w 2039198"/>
                    <a:gd name="connsiteY1398" fmla="*/ 593222 h 1686927"/>
                    <a:gd name="connsiteX1399" fmla="*/ 1364206 w 2039198"/>
                    <a:gd name="connsiteY1399" fmla="*/ 584949 h 1686927"/>
                    <a:gd name="connsiteX1400" fmla="*/ 1407342 w 2039198"/>
                    <a:gd name="connsiteY1400" fmla="*/ 609368 h 1686927"/>
                    <a:gd name="connsiteX1401" fmla="*/ 1447506 w 2039198"/>
                    <a:gd name="connsiteY1401" fmla="*/ 634671 h 1686927"/>
                    <a:gd name="connsiteX1402" fmla="*/ 1438589 w 2039198"/>
                    <a:gd name="connsiteY1402" fmla="*/ 565991 h 1686927"/>
                    <a:gd name="connsiteX1403" fmla="*/ 1452406 w 2039198"/>
                    <a:gd name="connsiteY1403" fmla="*/ 547917 h 1686927"/>
                    <a:gd name="connsiteX1404" fmla="*/ 1434332 w 2039198"/>
                    <a:gd name="connsiteY1404" fmla="*/ 549122 h 1686927"/>
                    <a:gd name="connsiteX1405" fmla="*/ 1437786 w 2039198"/>
                    <a:gd name="connsiteY1405" fmla="*/ 543419 h 1686927"/>
                    <a:gd name="connsiteX1406" fmla="*/ 1445578 w 2039198"/>
                    <a:gd name="connsiteY1406" fmla="*/ 539001 h 1686927"/>
                    <a:gd name="connsiteX1407" fmla="*/ 1443811 w 2039198"/>
                    <a:gd name="connsiteY1407" fmla="*/ 529522 h 1686927"/>
                    <a:gd name="connsiteX1408" fmla="*/ 1396096 w 2039198"/>
                    <a:gd name="connsiteY1408" fmla="*/ 484137 h 1686927"/>
                    <a:gd name="connsiteX1409" fmla="*/ 1394891 w 2039198"/>
                    <a:gd name="connsiteY1409" fmla="*/ 479237 h 1686927"/>
                    <a:gd name="connsiteX1410" fmla="*/ 1398506 w 2039198"/>
                    <a:gd name="connsiteY1410" fmla="*/ 465501 h 1686927"/>
                    <a:gd name="connsiteX1411" fmla="*/ 1397140 w 2039198"/>
                    <a:gd name="connsiteY1411" fmla="*/ 463974 h 1686927"/>
                    <a:gd name="connsiteX1412" fmla="*/ 1380512 w 2039198"/>
                    <a:gd name="connsiteY1412" fmla="*/ 421642 h 1686927"/>
                    <a:gd name="connsiteX1413" fmla="*/ 1380271 w 2039198"/>
                    <a:gd name="connsiteY1413" fmla="*/ 412966 h 1686927"/>
                    <a:gd name="connsiteX1414" fmla="*/ 1381717 w 2039198"/>
                    <a:gd name="connsiteY1414" fmla="*/ 412404 h 1686927"/>
                    <a:gd name="connsiteX1415" fmla="*/ 1419070 w 2039198"/>
                    <a:gd name="connsiteY1415" fmla="*/ 410556 h 1686927"/>
                    <a:gd name="connsiteX1416" fmla="*/ 1422443 w 2039198"/>
                    <a:gd name="connsiteY1416" fmla="*/ 450399 h 1686927"/>
                    <a:gd name="connsiteX1417" fmla="*/ 1422283 w 2039198"/>
                    <a:gd name="connsiteY1417" fmla="*/ 462127 h 1686927"/>
                    <a:gd name="connsiteX1418" fmla="*/ 1448550 w 2039198"/>
                    <a:gd name="connsiteY1418" fmla="*/ 488394 h 1686927"/>
                    <a:gd name="connsiteX1419" fmla="*/ 1447988 w 2039198"/>
                    <a:gd name="connsiteY1419" fmla="*/ 488715 h 1686927"/>
                    <a:gd name="connsiteX1420" fmla="*/ 1464535 w 2039198"/>
                    <a:gd name="connsiteY1420" fmla="*/ 502130 h 1686927"/>
                    <a:gd name="connsiteX1421" fmla="*/ 1518757 w 2039198"/>
                    <a:gd name="connsiteY1421" fmla="*/ 466384 h 1686927"/>
                    <a:gd name="connsiteX1422" fmla="*/ 1538357 w 2039198"/>
                    <a:gd name="connsiteY1422" fmla="*/ 467509 h 1686927"/>
                    <a:gd name="connsiteX1423" fmla="*/ 1503735 w 2039198"/>
                    <a:gd name="connsiteY1423" fmla="*/ 511047 h 1686927"/>
                    <a:gd name="connsiteX1424" fmla="*/ 1503896 w 2039198"/>
                    <a:gd name="connsiteY1424" fmla="*/ 520124 h 1686927"/>
                    <a:gd name="connsiteX1425" fmla="*/ 1530565 w 2039198"/>
                    <a:gd name="connsiteY1425" fmla="*/ 536029 h 1686927"/>
                    <a:gd name="connsiteX1426" fmla="*/ 1515544 w 2039198"/>
                    <a:gd name="connsiteY1426" fmla="*/ 544543 h 1686927"/>
                    <a:gd name="connsiteX1427" fmla="*/ 1526629 w 2039198"/>
                    <a:gd name="connsiteY1427" fmla="*/ 607601 h 1686927"/>
                    <a:gd name="connsiteX1428" fmla="*/ 1471363 w 2039198"/>
                    <a:gd name="connsiteY1428" fmla="*/ 648890 h 1686927"/>
                    <a:gd name="connsiteX1429" fmla="*/ 1476022 w 2039198"/>
                    <a:gd name="connsiteY1429" fmla="*/ 656039 h 1686927"/>
                    <a:gd name="connsiteX1430" fmla="*/ 1413366 w 2039198"/>
                    <a:gd name="connsiteY1430" fmla="*/ 670899 h 1686927"/>
                    <a:gd name="connsiteX1431" fmla="*/ 1386617 w 2039198"/>
                    <a:gd name="connsiteY1431" fmla="*/ 612662 h 1686927"/>
                    <a:gd name="connsiteX1432" fmla="*/ 1371998 w 2039198"/>
                    <a:gd name="connsiteY1432" fmla="*/ 634109 h 1686927"/>
                    <a:gd name="connsiteX1433" fmla="*/ 1411439 w 2039198"/>
                    <a:gd name="connsiteY1433" fmla="*/ 684555 h 1686927"/>
                    <a:gd name="connsiteX1434" fmla="*/ 1398827 w 2039198"/>
                    <a:gd name="connsiteY1434" fmla="*/ 697247 h 1686927"/>
                    <a:gd name="connsiteX1435" fmla="*/ 1390232 w 2039198"/>
                    <a:gd name="connsiteY1435" fmla="*/ 697729 h 1686927"/>
                    <a:gd name="connsiteX1436" fmla="*/ 1388304 w 2039198"/>
                    <a:gd name="connsiteY1436" fmla="*/ 706083 h 1686927"/>
                    <a:gd name="connsiteX1437" fmla="*/ 1360591 w 2039198"/>
                    <a:gd name="connsiteY1437" fmla="*/ 750986 h 1686927"/>
                    <a:gd name="connsiteX1438" fmla="*/ 1352960 w 2039198"/>
                    <a:gd name="connsiteY1438" fmla="*/ 755003 h 1686927"/>
                    <a:gd name="connsiteX1439" fmla="*/ 1361876 w 2039198"/>
                    <a:gd name="connsiteY1439" fmla="*/ 754199 h 1686927"/>
                    <a:gd name="connsiteX1440" fmla="*/ 1336171 w 2039198"/>
                    <a:gd name="connsiteY1440" fmla="*/ 785688 h 1686927"/>
                    <a:gd name="connsiteX1441" fmla="*/ 1293276 w 2039198"/>
                    <a:gd name="connsiteY1441" fmla="*/ 818301 h 1686927"/>
                    <a:gd name="connsiteX1442" fmla="*/ 1302915 w 2039198"/>
                    <a:gd name="connsiteY1442" fmla="*/ 826896 h 1686927"/>
                    <a:gd name="connsiteX1443" fmla="*/ 1294481 w 2039198"/>
                    <a:gd name="connsiteY1443" fmla="*/ 828985 h 1686927"/>
                    <a:gd name="connsiteX1444" fmla="*/ 1293758 w 2039198"/>
                    <a:gd name="connsiteY1444" fmla="*/ 831314 h 1686927"/>
                    <a:gd name="connsiteX1445" fmla="*/ 1259297 w 2039198"/>
                    <a:gd name="connsiteY1445" fmla="*/ 842801 h 1686927"/>
                    <a:gd name="connsiteX1446" fmla="*/ 1258173 w 2039198"/>
                    <a:gd name="connsiteY1446" fmla="*/ 851396 h 1686927"/>
                    <a:gd name="connsiteX1447" fmla="*/ 1303558 w 2039198"/>
                    <a:gd name="connsiteY1447" fmla="*/ 851557 h 1686927"/>
                    <a:gd name="connsiteX1448" fmla="*/ 1327817 w 2039198"/>
                    <a:gd name="connsiteY1448" fmla="*/ 868988 h 1686927"/>
                    <a:gd name="connsiteX1449" fmla="*/ 1324845 w 2039198"/>
                    <a:gd name="connsiteY1449" fmla="*/ 869631 h 1686927"/>
                    <a:gd name="connsiteX1450" fmla="*/ 1333520 w 2039198"/>
                    <a:gd name="connsiteY1450" fmla="*/ 872362 h 1686927"/>
                    <a:gd name="connsiteX1451" fmla="*/ 1329504 w 2039198"/>
                    <a:gd name="connsiteY1451" fmla="*/ 881118 h 1686927"/>
                    <a:gd name="connsiteX1452" fmla="*/ 1331994 w 2039198"/>
                    <a:gd name="connsiteY1452" fmla="*/ 884170 h 1686927"/>
                    <a:gd name="connsiteX1453" fmla="*/ 1333761 w 2039198"/>
                    <a:gd name="connsiteY1453" fmla="*/ 884813 h 1686927"/>
                    <a:gd name="connsiteX1454" fmla="*/ 1214956 w 2039198"/>
                    <a:gd name="connsiteY1454" fmla="*/ 954055 h 1686927"/>
                    <a:gd name="connsiteX1455" fmla="*/ 1219294 w 2039198"/>
                    <a:gd name="connsiteY1455" fmla="*/ 960964 h 1686927"/>
                    <a:gd name="connsiteX1456" fmla="*/ 1221463 w 2039198"/>
                    <a:gd name="connsiteY1456" fmla="*/ 960562 h 1686927"/>
                    <a:gd name="connsiteX1457" fmla="*/ 1225881 w 2039198"/>
                    <a:gd name="connsiteY1457" fmla="*/ 1005706 h 1686927"/>
                    <a:gd name="connsiteX1458" fmla="*/ 1234396 w 2039198"/>
                    <a:gd name="connsiteY1458" fmla="*/ 1006751 h 1686927"/>
                    <a:gd name="connsiteX1459" fmla="*/ 1230299 w 2039198"/>
                    <a:gd name="connsiteY1459" fmla="*/ 1014221 h 1686927"/>
                    <a:gd name="connsiteX1460" fmla="*/ 1241224 w 2039198"/>
                    <a:gd name="connsiteY1460" fmla="*/ 1030287 h 1686927"/>
                    <a:gd name="connsiteX1461" fmla="*/ 1276648 w 2039198"/>
                    <a:gd name="connsiteY1461" fmla="*/ 1021210 h 1686927"/>
                    <a:gd name="connsiteX1462" fmla="*/ 1289581 w 2039198"/>
                    <a:gd name="connsiteY1462" fmla="*/ 1022656 h 1686927"/>
                    <a:gd name="connsiteX1463" fmla="*/ 1417543 w 2039198"/>
                    <a:gd name="connsiteY1463" fmla="*/ 893729 h 1686927"/>
                    <a:gd name="connsiteX1464" fmla="*/ 1412643 w 2039198"/>
                    <a:gd name="connsiteY1464" fmla="*/ 883929 h 1686927"/>
                    <a:gd name="connsiteX1465" fmla="*/ 1433448 w 2039198"/>
                    <a:gd name="connsiteY1465" fmla="*/ 869229 h 1686927"/>
                    <a:gd name="connsiteX1466" fmla="*/ 1433207 w 2039198"/>
                    <a:gd name="connsiteY1466" fmla="*/ 868988 h 1686927"/>
                    <a:gd name="connsiteX1467" fmla="*/ 1622139 w 2039198"/>
                    <a:gd name="connsiteY1467" fmla="*/ 861437 h 1686927"/>
                    <a:gd name="connsiteX1468" fmla="*/ 1640695 w 2039198"/>
                    <a:gd name="connsiteY1468" fmla="*/ 831154 h 1686927"/>
                    <a:gd name="connsiteX1469" fmla="*/ 1528717 w 2039198"/>
                    <a:gd name="connsiteY1469" fmla="*/ 789865 h 1686927"/>
                    <a:gd name="connsiteX1470" fmla="*/ 1543096 w 2039198"/>
                    <a:gd name="connsiteY1470" fmla="*/ 780547 h 1686927"/>
                    <a:gd name="connsiteX1471" fmla="*/ 1652663 w 2039198"/>
                    <a:gd name="connsiteY1471" fmla="*/ 814927 h 1686927"/>
                    <a:gd name="connsiteX1472" fmla="*/ 1651057 w 2039198"/>
                    <a:gd name="connsiteY1472" fmla="*/ 815249 h 1686927"/>
                    <a:gd name="connsiteX1473" fmla="*/ 1701503 w 2039198"/>
                    <a:gd name="connsiteY1473" fmla="*/ 819346 h 1686927"/>
                    <a:gd name="connsiteX1474" fmla="*/ 1708170 w 2039198"/>
                    <a:gd name="connsiteY1474" fmla="*/ 822639 h 1686927"/>
                    <a:gd name="connsiteX1475" fmla="*/ 1691542 w 2039198"/>
                    <a:gd name="connsiteY1475" fmla="*/ 831636 h 1686927"/>
                    <a:gd name="connsiteX1476" fmla="*/ 1720942 w 2039198"/>
                    <a:gd name="connsiteY1476" fmla="*/ 840150 h 1686927"/>
                    <a:gd name="connsiteX1477" fmla="*/ 1714918 w 2039198"/>
                    <a:gd name="connsiteY1477" fmla="*/ 834206 h 1686927"/>
                    <a:gd name="connsiteX1478" fmla="*/ 1709295 w 2039198"/>
                    <a:gd name="connsiteY1478" fmla="*/ 828342 h 1686927"/>
                    <a:gd name="connsiteX1479" fmla="*/ 1709375 w 2039198"/>
                    <a:gd name="connsiteY1479" fmla="*/ 828262 h 1686927"/>
                    <a:gd name="connsiteX1480" fmla="*/ 1709455 w 2039198"/>
                    <a:gd name="connsiteY1480" fmla="*/ 828182 h 1686927"/>
                    <a:gd name="connsiteX1481" fmla="*/ 1709536 w 2039198"/>
                    <a:gd name="connsiteY1481" fmla="*/ 828101 h 1686927"/>
                    <a:gd name="connsiteX1482" fmla="*/ 1709616 w 2039198"/>
                    <a:gd name="connsiteY1482" fmla="*/ 828021 h 1686927"/>
                    <a:gd name="connsiteX1483" fmla="*/ 1709696 w 2039198"/>
                    <a:gd name="connsiteY1483" fmla="*/ 827941 h 1686927"/>
                    <a:gd name="connsiteX1484" fmla="*/ 1709777 w 2039198"/>
                    <a:gd name="connsiteY1484" fmla="*/ 827941 h 1686927"/>
                    <a:gd name="connsiteX1485" fmla="*/ 1709857 w 2039198"/>
                    <a:gd name="connsiteY1485" fmla="*/ 827860 h 1686927"/>
                    <a:gd name="connsiteX1486" fmla="*/ 1717408 w 2039198"/>
                    <a:gd name="connsiteY1486" fmla="*/ 820872 h 1686927"/>
                    <a:gd name="connsiteX1487" fmla="*/ 1698290 w 2039198"/>
                    <a:gd name="connsiteY1487" fmla="*/ 813160 h 1686927"/>
                    <a:gd name="connsiteX1488" fmla="*/ 1701262 w 2039198"/>
                    <a:gd name="connsiteY1488" fmla="*/ 808341 h 1686927"/>
                    <a:gd name="connsiteX1489" fmla="*/ 1689454 w 2039198"/>
                    <a:gd name="connsiteY1489" fmla="*/ 788500 h 1686927"/>
                    <a:gd name="connsiteX1490" fmla="*/ 1698611 w 2039198"/>
                    <a:gd name="connsiteY1490" fmla="*/ 792034 h 1686927"/>
                    <a:gd name="connsiteX1491" fmla="*/ 1702226 w 2039198"/>
                    <a:gd name="connsiteY1491" fmla="*/ 775165 h 1686927"/>
                    <a:gd name="connsiteX1492" fmla="*/ 1727449 w 2039198"/>
                    <a:gd name="connsiteY1492" fmla="*/ 761911 h 1686927"/>
                    <a:gd name="connsiteX1493" fmla="*/ 1725360 w 2039198"/>
                    <a:gd name="connsiteY1493" fmla="*/ 770185 h 1686927"/>
                    <a:gd name="connsiteX1494" fmla="*/ 1737731 w 2039198"/>
                    <a:gd name="connsiteY1494" fmla="*/ 745363 h 1686927"/>
                    <a:gd name="connsiteX1495" fmla="*/ 1721986 w 2039198"/>
                    <a:gd name="connsiteY1495" fmla="*/ 735001 h 1686927"/>
                    <a:gd name="connsiteX1496" fmla="*/ 1713391 w 2039198"/>
                    <a:gd name="connsiteY1496" fmla="*/ 696363 h 1686927"/>
                    <a:gd name="connsiteX1497" fmla="*/ 1712749 w 2039198"/>
                    <a:gd name="connsiteY1497" fmla="*/ 697006 h 1686927"/>
                    <a:gd name="connsiteX1498" fmla="*/ 1715078 w 2039198"/>
                    <a:gd name="connsiteY1498" fmla="*/ 651380 h 1686927"/>
                    <a:gd name="connsiteX1499" fmla="*/ 1721986 w 2039198"/>
                    <a:gd name="connsiteY1499" fmla="*/ 646480 h 1686927"/>
                    <a:gd name="connsiteX1500" fmla="*/ 1743434 w 2039198"/>
                    <a:gd name="connsiteY1500" fmla="*/ 663429 h 1686927"/>
                    <a:gd name="connsiteX1501" fmla="*/ 1761267 w 2039198"/>
                    <a:gd name="connsiteY1501" fmla="*/ 643427 h 1686927"/>
                    <a:gd name="connsiteX1502" fmla="*/ 1745362 w 2039198"/>
                    <a:gd name="connsiteY1502" fmla="*/ 635635 h 1686927"/>
                    <a:gd name="connsiteX1503" fmla="*/ 1755001 w 2039198"/>
                    <a:gd name="connsiteY1503" fmla="*/ 599488 h 1686927"/>
                    <a:gd name="connsiteX1504" fmla="*/ 1756046 w 2039198"/>
                    <a:gd name="connsiteY1504" fmla="*/ 600050 h 1686927"/>
                    <a:gd name="connsiteX1505" fmla="*/ 1760705 w 2039198"/>
                    <a:gd name="connsiteY1505" fmla="*/ 606717 h 1686927"/>
                    <a:gd name="connsiteX1506" fmla="*/ 1765123 w 2039198"/>
                    <a:gd name="connsiteY1506" fmla="*/ 634671 h 1686927"/>
                    <a:gd name="connsiteX1507" fmla="*/ 1814364 w 2039198"/>
                    <a:gd name="connsiteY1507" fmla="*/ 651862 h 1686927"/>
                    <a:gd name="connsiteX1508" fmla="*/ 1739016 w 2039198"/>
                    <a:gd name="connsiteY1508" fmla="*/ 758055 h 1686927"/>
                    <a:gd name="connsiteX1509" fmla="*/ 1731064 w 2039198"/>
                    <a:gd name="connsiteY1509" fmla="*/ 778218 h 1686927"/>
                    <a:gd name="connsiteX1510" fmla="*/ 1742631 w 2039198"/>
                    <a:gd name="connsiteY1510" fmla="*/ 782877 h 1686927"/>
                    <a:gd name="connsiteX1511" fmla="*/ 1743675 w 2039198"/>
                    <a:gd name="connsiteY1511" fmla="*/ 791632 h 1686927"/>
                    <a:gd name="connsiteX1512" fmla="*/ 1767934 w 2039198"/>
                    <a:gd name="connsiteY1512" fmla="*/ 804244 h 1686927"/>
                    <a:gd name="connsiteX1513" fmla="*/ 1825449 w 2039198"/>
                    <a:gd name="connsiteY1513" fmla="*/ 752352 h 1686927"/>
                    <a:gd name="connsiteX1514" fmla="*/ 1838301 w 2039198"/>
                    <a:gd name="connsiteY1514" fmla="*/ 840070 h 1686927"/>
                    <a:gd name="connsiteX1515" fmla="*/ 1590088 w 2039198"/>
                    <a:gd name="connsiteY1515" fmla="*/ 962731 h 1686927"/>
                    <a:gd name="connsiteX1516" fmla="*/ 1590891 w 2039198"/>
                    <a:gd name="connsiteY1516" fmla="*/ 961767 h 1686927"/>
                    <a:gd name="connsiteX1517" fmla="*/ 1582457 w 2039198"/>
                    <a:gd name="connsiteY1517" fmla="*/ 962329 h 1686927"/>
                    <a:gd name="connsiteX1518" fmla="*/ 1580690 w 2039198"/>
                    <a:gd name="connsiteY1518" fmla="*/ 960401 h 1686927"/>
                    <a:gd name="connsiteX1519" fmla="*/ 1568560 w 2039198"/>
                    <a:gd name="connsiteY1519" fmla="*/ 916703 h 1686927"/>
                    <a:gd name="connsiteX1520" fmla="*/ 1566391 w 2039198"/>
                    <a:gd name="connsiteY1520" fmla="*/ 914614 h 1686927"/>
                    <a:gd name="connsiteX1521" fmla="*/ 1559483 w 2039198"/>
                    <a:gd name="connsiteY1521" fmla="*/ 921844 h 1686927"/>
                    <a:gd name="connsiteX1522" fmla="*/ 1550085 w 2039198"/>
                    <a:gd name="connsiteY1522" fmla="*/ 919515 h 1686927"/>
                    <a:gd name="connsiteX1523" fmla="*/ 1548317 w 2039198"/>
                    <a:gd name="connsiteY1523" fmla="*/ 921924 h 1686927"/>
                    <a:gd name="connsiteX1524" fmla="*/ 1547434 w 2039198"/>
                    <a:gd name="connsiteY1524" fmla="*/ 919595 h 1686927"/>
                    <a:gd name="connsiteX1525" fmla="*/ 1510242 w 2039198"/>
                    <a:gd name="connsiteY1525" fmla="*/ 941364 h 1686927"/>
                    <a:gd name="connsiteX1526" fmla="*/ 1316411 w 2039198"/>
                    <a:gd name="connsiteY1526" fmla="*/ 1034062 h 1686927"/>
                    <a:gd name="connsiteX1527" fmla="*/ 1158646 w 2039198"/>
                    <a:gd name="connsiteY1527" fmla="*/ 1243638 h 1686927"/>
                    <a:gd name="connsiteX1528" fmla="*/ 1161538 w 2039198"/>
                    <a:gd name="connsiteY1528" fmla="*/ 1240666 h 1686927"/>
                    <a:gd name="connsiteX1529" fmla="*/ 1145794 w 2039198"/>
                    <a:gd name="connsiteY1529" fmla="*/ 1283722 h 1686927"/>
                    <a:gd name="connsiteX1530" fmla="*/ 1156076 w 2039198"/>
                    <a:gd name="connsiteY1530" fmla="*/ 1282517 h 1686927"/>
                    <a:gd name="connsiteX1531" fmla="*/ 1163386 w 2039198"/>
                    <a:gd name="connsiteY1531" fmla="*/ 1288220 h 1686927"/>
                    <a:gd name="connsiteX1532" fmla="*/ 1161137 w 2039198"/>
                    <a:gd name="connsiteY1532" fmla="*/ 1297056 h 1686927"/>
                    <a:gd name="connsiteX1533" fmla="*/ 1163787 w 2039198"/>
                    <a:gd name="connsiteY1533" fmla="*/ 1295851 h 1686927"/>
                    <a:gd name="connsiteX1534" fmla="*/ 1151658 w 2039198"/>
                    <a:gd name="connsiteY1534" fmla="*/ 1358346 h 1686927"/>
                    <a:gd name="connsiteX1535" fmla="*/ 1153666 w 2039198"/>
                    <a:gd name="connsiteY1535" fmla="*/ 1359149 h 1686927"/>
                    <a:gd name="connsiteX1536" fmla="*/ 1171258 w 2039198"/>
                    <a:gd name="connsiteY1536" fmla="*/ 1362523 h 1686927"/>
                    <a:gd name="connsiteX1537" fmla="*/ 1178809 w 2039198"/>
                    <a:gd name="connsiteY1537" fmla="*/ 1368387 h 1686927"/>
                    <a:gd name="connsiteX1538" fmla="*/ 1184512 w 2039198"/>
                    <a:gd name="connsiteY1538" fmla="*/ 1367423 h 1686927"/>
                    <a:gd name="connsiteX1539" fmla="*/ 1184512 w 2039198"/>
                    <a:gd name="connsiteY1539" fmla="*/ 1367423 h 1686927"/>
                    <a:gd name="connsiteX1540" fmla="*/ 1184512 w 2039198"/>
                    <a:gd name="connsiteY1540" fmla="*/ 1367423 h 1686927"/>
                    <a:gd name="connsiteX1541" fmla="*/ 1184512 w 2039198"/>
                    <a:gd name="connsiteY1541" fmla="*/ 1367423 h 1686927"/>
                    <a:gd name="connsiteX1542" fmla="*/ 1184512 w 2039198"/>
                    <a:gd name="connsiteY1542" fmla="*/ 1367423 h 1686927"/>
                    <a:gd name="connsiteX1543" fmla="*/ 1184512 w 2039198"/>
                    <a:gd name="connsiteY1543" fmla="*/ 1367423 h 1686927"/>
                    <a:gd name="connsiteX1544" fmla="*/ 1184512 w 2039198"/>
                    <a:gd name="connsiteY1544" fmla="*/ 1367423 h 1686927"/>
                    <a:gd name="connsiteX1545" fmla="*/ 1184512 w 2039198"/>
                    <a:gd name="connsiteY1545" fmla="*/ 1367423 h 1686927"/>
                    <a:gd name="connsiteX1546" fmla="*/ 1169892 w 2039198"/>
                    <a:gd name="connsiteY1546" fmla="*/ 1376661 h 1686927"/>
                    <a:gd name="connsiteX1547" fmla="*/ 1174712 w 2039198"/>
                    <a:gd name="connsiteY1547" fmla="*/ 1378027 h 1686927"/>
                    <a:gd name="connsiteX1548" fmla="*/ 1199614 w 2039198"/>
                    <a:gd name="connsiteY1548" fmla="*/ 1381561 h 1686927"/>
                    <a:gd name="connsiteX1549" fmla="*/ 1205558 w 2039198"/>
                    <a:gd name="connsiteY1549" fmla="*/ 1390960 h 1686927"/>
                    <a:gd name="connsiteX1550" fmla="*/ 1208610 w 2039198"/>
                    <a:gd name="connsiteY1550" fmla="*/ 1388791 h 1686927"/>
                    <a:gd name="connsiteX1551" fmla="*/ 1216965 w 2039198"/>
                    <a:gd name="connsiteY1551" fmla="*/ 1392084 h 1686927"/>
                    <a:gd name="connsiteX1552" fmla="*/ 1218571 w 2039198"/>
                    <a:gd name="connsiteY1552" fmla="*/ 1390799 h 1686927"/>
                    <a:gd name="connsiteX1553" fmla="*/ 1251265 w 2039198"/>
                    <a:gd name="connsiteY1553" fmla="*/ 1404053 h 1686927"/>
                    <a:gd name="connsiteX1554" fmla="*/ 1252791 w 2039198"/>
                    <a:gd name="connsiteY1554" fmla="*/ 1412809 h 1686927"/>
                    <a:gd name="connsiteX1555" fmla="*/ 1404852 w 2039198"/>
                    <a:gd name="connsiteY1555" fmla="*/ 1407346 h 1686927"/>
                    <a:gd name="connsiteX1556" fmla="*/ 1600450 w 2039198"/>
                    <a:gd name="connsiteY1556" fmla="*/ 1329428 h 1686927"/>
                    <a:gd name="connsiteX1557" fmla="*/ 1603503 w 2039198"/>
                    <a:gd name="connsiteY1557" fmla="*/ 1337381 h 1686927"/>
                    <a:gd name="connsiteX1558" fmla="*/ 1648968 w 2039198"/>
                    <a:gd name="connsiteY1558" fmla="*/ 1317299 h 1686927"/>
                    <a:gd name="connsiteX1559" fmla="*/ 1674031 w 2039198"/>
                    <a:gd name="connsiteY1559" fmla="*/ 1316656 h 1686927"/>
                    <a:gd name="connsiteX1560" fmla="*/ 1674352 w 2039198"/>
                    <a:gd name="connsiteY1560" fmla="*/ 1316817 h 1686927"/>
                    <a:gd name="connsiteX1561" fmla="*/ 1675557 w 2039198"/>
                    <a:gd name="connsiteY1561" fmla="*/ 1318825 h 1686927"/>
                    <a:gd name="connsiteX1562" fmla="*/ 1672826 w 2039198"/>
                    <a:gd name="connsiteY1562" fmla="*/ 1320753 h 1686927"/>
                    <a:gd name="connsiteX1563" fmla="*/ 1675316 w 2039198"/>
                    <a:gd name="connsiteY1563" fmla="*/ 1322841 h 1686927"/>
                    <a:gd name="connsiteX1564" fmla="*/ 1676119 w 2039198"/>
                    <a:gd name="connsiteY1564" fmla="*/ 1352161 h 1686927"/>
                    <a:gd name="connsiteX1565" fmla="*/ 1681983 w 2039198"/>
                    <a:gd name="connsiteY1565" fmla="*/ 1358989 h 1686927"/>
                    <a:gd name="connsiteX1566" fmla="*/ 1671300 w 2039198"/>
                    <a:gd name="connsiteY1566" fmla="*/ 1375858 h 1686927"/>
                    <a:gd name="connsiteX1567" fmla="*/ 1680859 w 2039198"/>
                    <a:gd name="connsiteY1567" fmla="*/ 1387425 h 1686927"/>
                    <a:gd name="connsiteX1568" fmla="*/ 1746246 w 2039198"/>
                    <a:gd name="connsiteY1568" fmla="*/ 1404937 h 1686927"/>
                    <a:gd name="connsiteX1569" fmla="*/ 1750664 w 2039198"/>
                    <a:gd name="connsiteY1569" fmla="*/ 1440602 h 1686927"/>
                    <a:gd name="connsiteX1570" fmla="*/ 1751065 w 2039198"/>
                    <a:gd name="connsiteY1570" fmla="*/ 1439076 h 1686927"/>
                    <a:gd name="connsiteX1571" fmla="*/ 1781188 w 2039198"/>
                    <a:gd name="connsiteY1571" fmla="*/ 1587121 h 1686927"/>
                    <a:gd name="connsiteX1572" fmla="*/ 1780305 w 2039198"/>
                    <a:gd name="connsiteY1572" fmla="*/ 1587121 h 1686927"/>
                    <a:gd name="connsiteX1573" fmla="*/ 1824806 w 2039198"/>
                    <a:gd name="connsiteY1573" fmla="*/ 1685763 h 1686927"/>
                    <a:gd name="connsiteX1574" fmla="*/ 2037515 w 2039198"/>
                    <a:gd name="connsiteY1574" fmla="*/ 1284445 h 1686927"/>
                    <a:gd name="connsiteX1575" fmla="*/ 2036631 w 2039198"/>
                    <a:gd name="connsiteY1575" fmla="*/ 1283079 h 1686927"/>
                    <a:gd name="connsiteX1576" fmla="*/ 2035105 w 2039198"/>
                    <a:gd name="connsiteY1576" fmla="*/ 1257374 h 1686927"/>
                    <a:gd name="connsiteX1577" fmla="*/ 2035747 w 2039198"/>
                    <a:gd name="connsiteY1577" fmla="*/ 1255285 h 1686927"/>
                    <a:gd name="connsiteX1578" fmla="*/ 2024903 w 2039198"/>
                    <a:gd name="connsiteY1578" fmla="*/ 1154875 h 1686927"/>
                    <a:gd name="connsiteX1579" fmla="*/ 2025305 w 2039198"/>
                    <a:gd name="connsiteY1579" fmla="*/ 1154715 h 1686927"/>
                    <a:gd name="connsiteX1580" fmla="*/ 2025385 w 2039198"/>
                    <a:gd name="connsiteY1580" fmla="*/ 1153269 h 1686927"/>
                    <a:gd name="connsiteX1581" fmla="*/ 2028518 w 2039198"/>
                    <a:gd name="connsiteY1581" fmla="*/ 932608 h 1686927"/>
                    <a:gd name="connsiteX1582" fmla="*/ 2000002 w 2039198"/>
                    <a:gd name="connsiteY1582" fmla="*/ 989239 h 1686927"/>
                    <a:gd name="connsiteX1583" fmla="*/ 1995182 w 2039198"/>
                    <a:gd name="connsiteY1583" fmla="*/ 973816 h 1686927"/>
                    <a:gd name="connsiteX1584" fmla="*/ 1967228 w 2039198"/>
                    <a:gd name="connsiteY1584" fmla="*/ 967631 h 1686927"/>
                    <a:gd name="connsiteX1585" fmla="*/ 1929152 w 2039198"/>
                    <a:gd name="connsiteY1585" fmla="*/ 922888 h 1686927"/>
                    <a:gd name="connsiteX1586" fmla="*/ 1848905 w 2039198"/>
                    <a:gd name="connsiteY1586" fmla="*/ 853485 h 1686927"/>
                    <a:gd name="connsiteX1587" fmla="*/ 1864167 w 2039198"/>
                    <a:gd name="connsiteY1587" fmla="*/ 865855 h 1686927"/>
                    <a:gd name="connsiteX1588" fmla="*/ 1871718 w 2039198"/>
                    <a:gd name="connsiteY1588" fmla="*/ 860714 h 1686927"/>
                    <a:gd name="connsiteX1589" fmla="*/ 1869549 w 2039198"/>
                    <a:gd name="connsiteY1589" fmla="*/ 841436 h 1686927"/>
                    <a:gd name="connsiteX1590" fmla="*/ 1875493 w 2039198"/>
                    <a:gd name="connsiteY1590" fmla="*/ 861277 h 1686927"/>
                    <a:gd name="connsiteX1591" fmla="*/ 1931241 w 2039198"/>
                    <a:gd name="connsiteY1591" fmla="*/ 890034 h 1686927"/>
                    <a:gd name="connsiteX1592" fmla="*/ 1930920 w 2039198"/>
                    <a:gd name="connsiteY1592" fmla="*/ 890436 h 1686927"/>
                    <a:gd name="connsiteX1593" fmla="*/ 1985221 w 2039198"/>
                    <a:gd name="connsiteY1593" fmla="*/ 947870 h 1686927"/>
                    <a:gd name="connsiteX1594" fmla="*/ 1984579 w 2039198"/>
                    <a:gd name="connsiteY1594" fmla="*/ 947870 h 1686927"/>
                    <a:gd name="connsiteX1595" fmla="*/ 1984739 w 2039198"/>
                    <a:gd name="connsiteY1595" fmla="*/ 949156 h 1686927"/>
                    <a:gd name="connsiteX1596" fmla="*/ 1995102 w 2039198"/>
                    <a:gd name="connsiteY1596" fmla="*/ 964819 h 1686927"/>
                    <a:gd name="connsiteX1597" fmla="*/ 1969236 w 2039198"/>
                    <a:gd name="connsiteY1597" fmla="*/ 732752 h 1686927"/>
                    <a:gd name="connsiteX1598" fmla="*/ 1934856 w 2039198"/>
                    <a:gd name="connsiteY1598" fmla="*/ 633627 h 1686927"/>
                    <a:gd name="connsiteX1599" fmla="*/ 1822075 w 2039198"/>
                    <a:gd name="connsiteY1599" fmla="*/ 463412 h 1686927"/>
                    <a:gd name="connsiteX1600" fmla="*/ 1682385 w 2039198"/>
                    <a:gd name="connsiteY1600" fmla="*/ 314163 h 1686927"/>
                    <a:gd name="connsiteX1601" fmla="*/ 1517150 w 2039198"/>
                    <a:gd name="connsiteY1601" fmla="*/ 188289 h 1686927"/>
                    <a:gd name="connsiteX1602" fmla="*/ 1325086 w 2039198"/>
                    <a:gd name="connsiteY1602" fmla="*/ 88682 h 1686927"/>
                    <a:gd name="connsiteX1603" fmla="*/ 1126756 w 2039198"/>
                    <a:gd name="connsiteY1603" fmla="*/ 26026 h 1686927"/>
                    <a:gd name="connsiteX1604" fmla="*/ 1005381 w 2039198"/>
                    <a:gd name="connsiteY1604" fmla="*/ 4579 h 1686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</a:cxnLst>
                  <a:rect l="l" t="t" r="r" b="b"/>
                  <a:pathLst>
                    <a:path w="2039198" h="1686927">
                      <a:moveTo>
                        <a:pt x="166194" y="373445"/>
                      </a:move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cubicBezTo>
                        <a:pt x="166194" y="373445"/>
                        <a:pt x="166194" y="373445"/>
                        <a:pt x="166194" y="373445"/>
                      </a:cubicBezTo>
                      <a:cubicBezTo>
                        <a:pt x="166194" y="373445"/>
                        <a:pt x="166194" y="373445"/>
                        <a:pt x="166194" y="373445"/>
                      </a:cubicBez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275" y="373445"/>
                      </a:moveTo>
                      <a:lnTo>
                        <a:pt x="166275" y="373445"/>
                      </a:lnTo>
                      <a:lnTo>
                        <a:pt x="166275" y="373445"/>
                      </a:lnTo>
                      <a:moveTo>
                        <a:pt x="166275" y="373445"/>
                      </a:moveTo>
                      <a:lnTo>
                        <a:pt x="166275" y="373445"/>
                      </a:lnTo>
                      <a:lnTo>
                        <a:pt x="166275" y="373445"/>
                      </a:lnTo>
                      <a:lnTo>
                        <a:pt x="166275" y="373445"/>
                      </a:lnTo>
                      <a:moveTo>
                        <a:pt x="142096" y="416179"/>
                      </a:moveTo>
                      <a:cubicBezTo>
                        <a:pt x="144827" y="413689"/>
                        <a:pt x="144907" y="412966"/>
                        <a:pt x="145068" y="412163"/>
                      </a:cubicBezTo>
                      <a:cubicBezTo>
                        <a:pt x="144586" y="411601"/>
                        <a:pt x="144265" y="411279"/>
                        <a:pt x="141373" y="411681"/>
                      </a:cubicBezTo>
                      <a:cubicBezTo>
                        <a:pt x="143542" y="405335"/>
                        <a:pt x="146755" y="395776"/>
                        <a:pt x="158965" y="388305"/>
                      </a:cubicBezTo>
                      <a:cubicBezTo>
                        <a:pt x="170371" y="381237"/>
                        <a:pt x="166676" y="373364"/>
                        <a:pt x="166596" y="373284"/>
                      </a:cubicBezTo>
                      <a:cubicBezTo>
                        <a:pt x="166516" y="373364"/>
                        <a:pt x="166355" y="373364"/>
                        <a:pt x="166275" y="373445"/>
                      </a:cubicBezTo>
                      <a:cubicBezTo>
                        <a:pt x="166355" y="373445"/>
                        <a:pt x="166516" y="373364"/>
                        <a:pt x="166596" y="373284"/>
                      </a:cubicBezTo>
                      <a:cubicBezTo>
                        <a:pt x="166194" y="372882"/>
                        <a:pt x="166194" y="372882"/>
                        <a:pt x="165070" y="372561"/>
                      </a:cubicBezTo>
                      <a:cubicBezTo>
                        <a:pt x="160893" y="372641"/>
                        <a:pt x="156153" y="375453"/>
                        <a:pt x="148361" y="380915"/>
                      </a:cubicBezTo>
                      <a:cubicBezTo>
                        <a:pt x="146996" y="378184"/>
                        <a:pt x="146835" y="378024"/>
                        <a:pt x="146353" y="377461"/>
                      </a:cubicBezTo>
                      <a:cubicBezTo>
                        <a:pt x="146193" y="377542"/>
                        <a:pt x="146032" y="377622"/>
                        <a:pt x="145871" y="377702"/>
                      </a:cubicBezTo>
                      <a:cubicBezTo>
                        <a:pt x="145550" y="379951"/>
                        <a:pt x="147076" y="382120"/>
                        <a:pt x="146112" y="384450"/>
                      </a:cubicBezTo>
                      <a:cubicBezTo>
                        <a:pt x="145148" y="386699"/>
                        <a:pt x="144827" y="388305"/>
                        <a:pt x="144747" y="389028"/>
                      </a:cubicBezTo>
                      <a:cubicBezTo>
                        <a:pt x="141052" y="389510"/>
                        <a:pt x="138160" y="391117"/>
                        <a:pt x="135991" y="393768"/>
                      </a:cubicBezTo>
                      <a:cubicBezTo>
                        <a:pt x="135188" y="394732"/>
                        <a:pt x="130047" y="396338"/>
                        <a:pt x="128360" y="395696"/>
                      </a:cubicBezTo>
                      <a:cubicBezTo>
                        <a:pt x="127074" y="395214"/>
                        <a:pt x="126593" y="393768"/>
                        <a:pt x="125307" y="393366"/>
                      </a:cubicBezTo>
                      <a:cubicBezTo>
                        <a:pt x="123861" y="392884"/>
                        <a:pt x="122415" y="393045"/>
                        <a:pt x="120970" y="393205"/>
                      </a:cubicBezTo>
                      <a:cubicBezTo>
                        <a:pt x="107153" y="417706"/>
                        <a:pt x="110688" y="426461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lnTo>
                        <a:pt x="115989" y="429433"/>
                      </a:lnTo>
                      <a:lnTo>
                        <a:pt x="115989" y="429433"/>
                      </a:lnTo>
                      <a:lnTo>
                        <a:pt x="115989" y="429433"/>
                      </a:ln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lnTo>
                        <a:pt x="115989" y="429433"/>
                      </a:lnTo>
                      <a:lnTo>
                        <a:pt x="115989" y="429433"/>
                      </a:ln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748" y="437065"/>
                        <a:pt x="119363" y="437225"/>
                        <a:pt x="126834" y="429996"/>
                      </a:cubicBezTo>
                      <a:cubicBezTo>
                        <a:pt x="128520" y="428389"/>
                        <a:pt x="130689" y="426059"/>
                        <a:pt x="132216" y="424212"/>
                      </a:cubicBezTo>
                      <a:cubicBezTo>
                        <a:pt x="133340" y="422927"/>
                        <a:pt x="134866" y="420758"/>
                        <a:pt x="136553" y="420517"/>
                      </a:cubicBezTo>
                      <a:cubicBezTo>
                        <a:pt x="138240" y="419392"/>
                        <a:pt x="140489" y="417625"/>
                        <a:pt x="142096" y="416179"/>
                      </a:cubicBezTo>
                      <a:moveTo>
                        <a:pt x="189811" y="406379"/>
                      </a:moveTo>
                      <a:cubicBezTo>
                        <a:pt x="189971" y="406299"/>
                        <a:pt x="190132" y="406219"/>
                        <a:pt x="190293" y="406058"/>
                      </a:cubicBezTo>
                      <a:cubicBezTo>
                        <a:pt x="193184" y="387101"/>
                        <a:pt x="192381" y="383968"/>
                        <a:pt x="188365" y="383566"/>
                      </a:cubicBezTo>
                      <a:cubicBezTo>
                        <a:pt x="186357" y="384289"/>
                        <a:pt x="183545" y="385173"/>
                        <a:pt x="177199" y="392161"/>
                      </a:cubicBezTo>
                      <a:cubicBezTo>
                        <a:pt x="170773" y="399230"/>
                        <a:pt x="165632" y="407343"/>
                        <a:pt x="159768" y="414974"/>
                      </a:cubicBezTo>
                      <a:cubicBezTo>
                        <a:pt x="160893" y="416420"/>
                        <a:pt x="164427" y="420678"/>
                        <a:pt x="171416" y="418669"/>
                      </a:cubicBezTo>
                      <a:cubicBezTo>
                        <a:pt x="174147" y="417866"/>
                        <a:pt x="178725" y="415617"/>
                        <a:pt x="184991" y="409191"/>
                      </a:cubicBezTo>
                      <a:cubicBezTo>
                        <a:pt x="185553" y="408628"/>
                        <a:pt x="186035" y="407745"/>
                        <a:pt x="186678" y="407343"/>
                      </a:cubicBezTo>
                      <a:cubicBezTo>
                        <a:pt x="187722" y="406942"/>
                        <a:pt x="188847" y="406942"/>
                        <a:pt x="189811" y="406379"/>
                      </a:cubicBezTo>
                      <a:moveTo>
                        <a:pt x="177119" y="368705"/>
                      </a:moveTo>
                      <a:cubicBezTo>
                        <a:pt x="177279" y="368625"/>
                        <a:pt x="177601" y="368545"/>
                        <a:pt x="177761" y="368464"/>
                      </a:cubicBezTo>
                      <a:cubicBezTo>
                        <a:pt x="177761" y="368464"/>
                        <a:pt x="177761" y="368464"/>
                        <a:pt x="177761" y="368464"/>
                      </a:cubicBezTo>
                      <a:cubicBezTo>
                        <a:pt x="174066" y="370071"/>
                        <a:pt x="170291" y="371678"/>
                        <a:pt x="166596" y="373284"/>
                      </a:cubicBezTo>
                      <a:cubicBezTo>
                        <a:pt x="166596" y="373284"/>
                        <a:pt x="166676" y="373284"/>
                        <a:pt x="166676" y="373204"/>
                      </a:cubicBezTo>
                      <a:cubicBezTo>
                        <a:pt x="172138" y="370955"/>
                        <a:pt x="172540" y="370714"/>
                        <a:pt x="177119" y="368705"/>
                      </a:cubicBezTo>
                      <a:moveTo>
                        <a:pt x="1093259" y="18556"/>
                      </a:moveTo>
                      <a:lnTo>
                        <a:pt x="1092617" y="18395"/>
                      </a:lnTo>
                      <a:lnTo>
                        <a:pt x="1092617" y="18395"/>
                      </a:lnTo>
                      <a:cubicBezTo>
                        <a:pt x="1092858" y="18475"/>
                        <a:pt x="1093179" y="18475"/>
                        <a:pt x="1093420" y="18556"/>
                      </a:cubicBezTo>
                      <a:cubicBezTo>
                        <a:pt x="1093420" y="18636"/>
                        <a:pt x="1093340" y="18556"/>
                        <a:pt x="1093259" y="18556"/>
                      </a:cubicBezTo>
                      <a:moveTo>
                        <a:pt x="40320" y="465099"/>
                      </a:moveTo>
                      <a:cubicBezTo>
                        <a:pt x="39517" y="465983"/>
                        <a:pt x="38553" y="465581"/>
                        <a:pt x="38553" y="465581"/>
                      </a:cubicBezTo>
                      <a:cubicBezTo>
                        <a:pt x="38071" y="465099"/>
                        <a:pt x="38633" y="463894"/>
                        <a:pt x="40320" y="461484"/>
                      </a:cubicBezTo>
                      <a:cubicBezTo>
                        <a:pt x="40963" y="461725"/>
                        <a:pt x="42891" y="462368"/>
                        <a:pt x="40320" y="465099"/>
                      </a:cubicBezTo>
                      <a:moveTo>
                        <a:pt x="54297" y="477068"/>
                      </a:moveTo>
                      <a:cubicBezTo>
                        <a:pt x="73978" y="434414"/>
                        <a:pt x="86750" y="409351"/>
                        <a:pt x="119122" y="363645"/>
                      </a:cubicBezTo>
                      <a:lnTo>
                        <a:pt x="81127" y="402604"/>
                      </a:lnTo>
                      <a:cubicBezTo>
                        <a:pt x="88115" y="388707"/>
                        <a:pt x="92774" y="379550"/>
                        <a:pt x="102012" y="364930"/>
                      </a:cubicBezTo>
                      <a:cubicBezTo>
                        <a:pt x="92453" y="375292"/>
                        <a:pt x="87633" y="378666"/>
                        <a:pt x="84902" y="377060"/>
                      </a:cubicBezTo>
                      <a:cubicBezTo>
                        <a:pt x="83456" y="377542"/>
                        <a:pt x="82733" y="377783"/>
                        <a:pt x="79440" y="379710"/>
                      </a:cubicBezTo>
                      <a:cubicBezTo>
                        <a:pt x="80806" y="377863"/>
                        <a:pt x="91971" y="361476"/>
                        <a:pt x="91971" y="361476"/>
                      </a:cubicBezTo>
                      <a:cubicBezTo>
                        <a:pt x="90445" y="361235"/>
                        <a:pt x="89722" y="361155"/>
                        <a:pt x="83858" y="362841"/>
                      </a:cubicBezTo>
                      <a:cubicBezTo>
                        <a:pt x="84822" y="362038"/>
                        <a:pt x="84822" y="362038"/>
                        <a:pt x="104342" y="344045"/>
                      </a:cubicBezTo>
                      <a:cubicBezTo>
                        <a:pt x="101691" y="344125"/>
                        <a:pt x="94381" y="344687"/>
                        <a:pt x="84340" y="348784"/>
                      </a:cubicBezTo>
                      <a:cubicBezTo>
                        <a:pt x="100004" y="338020"/>
                        <a:pt x="111089" y="322597"/>
                        <a:pt x="124665" y="309664"/>
                      </a:cubicBezTo>
                      <a:cubicBezTo>
                        <a:pt x="124343" y="309504"/>
                        <a:pt x="123942" y="309343"/>
                        <a:pt x="123701" y="309182"/>
                      </a:cubicBezTo>
                      <a:cubicBezTo>
                        <a:pt x="123379" y="309343"/>
                        <a:pt x="122897" y="309504"/>
                        <a:pt x="122496" y="309584"/>
                      </a:cubicBezTo>
                      <a:cubicBezTo>
                        <a:pt x="134465" y="298338"/>
                        <a:pt x="133902" y="290466"/>
                        <a:pt x="133902" y="290386"/>
                      </a:cubicBezTo>
                      <a:cubicBezTo>
                        <a:pt x="131814" y="287976"/>
                        <a:pt x="127878" y="288699"/>
                        <a:pt x="127797" y="288779"/>
                      </a:cubicBezTo>
                      <a:lnTo>
                        <a:pt x="56948" y="338422"/>
                      </a:lnTo>
                      <a:cubicBezTo>
                        <a:pt x="51807" y="342277"/>
                        <a:pt x="47309" y="352881"/>
                        <a:pt x="47068" y="355933"/>
                      </a:cubicBezTo>
                      <a:cubicBezTo>
                        <a:pt x="46747" y="360512"/>
                        <a:pt x="49638" y="366456"/>
                        <a:pt x="72933" y="355371"/>
                      </a:cubicBezTo>
                      <a:cubicBezTo>
                        <a:pt x="65061" y="361556"/>
                        <a:pt x="58314" y="368946"/>
                        <a:pt x="50763" y="375453"/>
                      </a:cubicBez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cubicBezTo>
                        <a:pt x="48514" y="388225"/>
                        <a:pt x="48514" y="388225"/>
                        <a:pt x="41204" y="389591"/>
                      </a:cubicBezTo>
                      <a:cubicBezTo>
                        <a:pt x="29878" y="391760"/>
                        <a:pt x="18551" y="400194"/>
                        <a:pt x="28432" y="428309"/>
                      </a:cubicBezTo>
                      <a:cubicBezTo>
                        <a:pt x="20319" y="426542"/>
                        <a:pt x="17828" y="418348"/>
                        <a:pt x="11965" y="414010"/>
                      </a:cubicBezTo>
                      <a:cubicBezTo>
                        <a:pt x="-16793" y="468152"/>
                        <a:pt x="12768" y="480281"/>
                        <a:pt x="32930" y="482691"/>
                      </a:cubicBezTo>
                      <a:cubicBezTo>
                        <a:pt x="44417" y="471284"/>
                        <a:pt x="46827" y="468955"/>
                        <a:pt x="54860" y="472007"/>
                      </a:cubicBezTo>
                      <a:cubicBezTo>
                        <a:pt x="53012" y="474658"/>
                        <a:pt x="52771" y="475381"/>
                        <a:pt x="52530" y="476425"/>
                      </a:cubicBezTo>
                      <a:cubicBezTo>
                        <a:pt x="52771" y="476666"/>
                        <a:pt x="53092" y="476988"/>
                        <a:pt x="53253" y="477148"/>
                      </a:cubicBezTo>
                      <a:cubicBezTo>
                        <a:pt x="53655" y="477148"/>
                        <a:pt x="53976" y="477148"/>
                        <a:pt x="54297" y="477068"/>
                      </a:cubicBezTo>
                      <a:moveTo>
                        <a:pt x="204029" y="360994"/>
                      </a:moveTo>
                      <a:lnTo>
                        <a:pt x="204029" y="360994"/>
                      </a:lnTo>
                      <a:cubicBezTo>
                        <a:pt x="203145" y="360833"/>
                        <a:pt x="202261" y="360753"/>
                        <a:pt x="201378" y="360673"/>
                      </a:cubicBezTo>
                      <a:cubicBezTo>
                        <a:pt x="201780" y="360753"/>
                        <a:pt x="203948" y="360994"/>
                        <a:pt x="204029" y="360994"/>
                      </a:cubicBezTo>
                      <a:moveTo>
                        <a:pt x="195112" y="356897"/>
                      </a:moveTo>
                      <a:cubicBezTo>
                        <a:pt x="196076" y="356014"/>
                        <a:pt x="196317" y="355291"/>
                        <a:pt x="196398" y="354969"/>
                      </a:cubicBezTo>
                      <a:cubicBezTo>
                        <a:pt x="196317" y="354969"/>
                        <a:pt x="196237" y="354969"/>
                        <a:pt x="196157" y="355050"/>
                      </a:cubicBezTo>
                      <a:cubicBezTo>
                        <a:pt x="194309" y="355532"/>
                        <a:pt x="191819" y="356656"/>
                        <a:pt x="190373" y="359146"/>
                      </a:cubicBezTo>
                      <a:cubicBezTo>
                        <a:pt x="191337" y="358825"/>
                        <a:pt x="192622" y="358343"/>
                        <a:pt x="193586" y="358022"/>
                      </a:cubicBezTo>
                      <a:cubicBezTo>
                        <a:pt x="193988" y="357781"/>
                        <a:pt x="194550" y="357460"/>
                        <a:pt x="195112" y="356897"/>
                      </a:cubicBezTo>
                      <a:moveTo>
                        <a:pt x="241140" y="370151"/>
                      </a:moveTo>
                      <a:lnTo>
                        <a:pt x="241140" y="370151"/>
                      </a:lnTo>
                      <a:cubicBezTo>
                        <a:pt x="241221" y="370151"/>
                        <a:pt x="241221" y="370071"/>
                        <a:pt x="241140" y="370151"/>
                      </a:cubicBezTo>
                      <a:lnTo>
                        <a:pt x="241140" y="370151"/>
                      </a:lnTo>
                      <a:cubicBezTo>
                        <a:pt x="241221" y="370071"/>
                        <a:pt x="241221" y="370151"/>
                        <a:pt x="241140" y="370151"/>
                      </a:cubicBezTo>
                      <a:moveTo>
                        <a:pt x="189971" y="324525"/>
                      </a:moveTo>
                      <a:cubicBezTo>
                        <a:pt x="190855" y="322597"/>
                        <a:pt x="191658" y="320589"/>
                        <a:pt x="192542" y="318581"/>
                      </a:cubicBezTo>
                      <a:cubicBezTo>
                        <a:pt x="192461" y="318661"/>
                        <a:pt x="192461" y="318822"/>
                        <a:pt x="192381" y="318902"/>
                      </a:cubicBezTo>
                      <a:cubicBezTo>
                        <a:pt x="190775" y="322436"/>
                        <a:pt x="189971" y="324525"/>
                        <a:pt x="189971" y="324525"/>
                      </a:cubicBezTo>
                      <a:moveTo>
                        <a:pt x="222103" y="355933"/>
                      </a:moveTo>
                      <a:cubicBezTo>
                        <a:pt x="225235" y="353443"/>
                        <a:pt x="229653" y="347499"/>
                        <a:pt x="239453" y="334405"/>
                      </a:cubicBezTo>
                      <a:cubicBezTo>
                        <a:pt x="239132" y="334245"/>
                        <a:pt x="238730" y="334084"/>
                        <a:pt x="238409" y="334004"/>
                      </a:cubicBezTo>
                      <a:cubicBezTo>
                        <a:pt x="236160" y="333522"/>
                        <a:pt x="233268" y="333522"/>
                        <a:pt x="227565" y="336655"/>
                      </a:cubicBezTo>
                      <a:cubicBezTo>
                        <a:pt x="227404" y="336735"/>
                        <a:pt x="214391" y="344366"/>
                        <a:pt x="210535" y="348945"/>
                      </a:cubicBezTo>
                      <a:lnTo>
                        <a:pt x="211901" y="348222"/>
                      </a:lnTo>
                      <a:cubicBezTo>
                        <a:pt x="215114" y="347981"/>
                        <a:pt x="216319" y="349748"/>
                        <a:pt x="217524" y="353684"/>
                      </a:cubicBezTo>
                      <a:cubicBezTo>
                        <a:pt x="218327" y="356335"/>
                        <a:pt x="218970" y="358423"/>
                        <a:pt x="222103" y="355933"/>
                      </a:cubicBezTo>
                      <a:moveTo>
                        <a:pt x="231180" y="331353"/>
                      </a:moveTo>
                      <a:cubicBezTo>
                        <a:pt x="232545" y="330469"/>
                        <a:pt x="233429" y="328140"/>
                        <a:pt x="233830" y="327015"/>
                      </a:cubicBezTo>
                      <a:cubicBezTo>
                        <a:pt x="233509" y="327176"/>
                        <a:pt x="233107" y="327337"/>
                        <a:pt x="232866" y="327497"/>
                      </a:cubicBezTo>
                      <a:cubicBezTo>
                        <a:pt x="225637" y="331192"/>
                        <a:pt x="224030" y="332317"/>
                        <a:pt x="223709" y="332799"/>
                      </a:cubicBezTo>
                      <a:cubicBezTo>
                        <a:pt x="223870" y="333040"/>
                        <a:pt x="224834" y="332879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653" y="331674"/>
                        <a:pt x="230296" y="331915"/>
                        <a:pt x="231180" y="331353"/>
                      </a:cubicBezTo>
                      <a:moveTo>
                        <a:pt x="249494" y="324043"/>
                      </a:moveTo>
                      <a:lnTo>
                        <a:pt x="249494" y="324043"/>
                      </a:lnTo>
                      <a:cubicBezTo>
                        <a:pt x="248771" y="323963"/>
                        <a:pt x="248048" y="323802"/>
                        <a:pt x="247325" y="323722"/>
                      </a:cubicBezTo>
                      <a:cubicBezTo>
                        <a:pt x="247727" y="323802"/>
                        <a:pt x="248209" y="323883"/>
                        <a:pt x="248611" y="323883"/>
                      </a:cubicBezTo>
                      <a:cubicBezTo>
                        <a:pt x="248932" y="323963"/>
                        <a:pt x="249173" y="324123"/>
                        <a:pt x="249494" y="324043"/>
                      </a:cubicBezTo>
                      <a:moveTo>
                        <a:pt x="184188" y="262753"/>
                      </a:moveTo>
                      <a:cubicBezTo>
                        <a:pt x="185152" y="262110"/>
                        <a:pt x="186116" y="261468"/>
                        <a:pt x="187080" y="260825"/>
                      </a:cubicBezTo>
                      <a:cubicBezTo>
                        <a:pt x="186999" y="260825"/>
                        <a:pt x="186919" y="260905"/>
                        <a:pt x="186919" y="260905"/>
                      </a:cubicBezTo>
                      <a:cubicBezTo>
                        <a:pt x="184830" y="261949"/>
                        <a:pt x="182661" y="262833"/>
                        <a:pt x="180653" y="264038"/>
                      </a:cubicBezTo>
                      <a:cubicBezTo>
                        <a:pt x="180653" y="264038"/>
                        <a:pt x="180171" y="264600"/>
                        <a:pt x="180412" y="264681"/>
                      </a:cubicBezTo>
                      <a:cubicBezTo>
                        <a:pt x="180653" y="264922"/>
                        <a:pt x="181858" y="264279"/>
                        <a:pt x="184188" y="262753"/>
                      </a:cubicBezTo>
                      <a:moveTo>
                        <a:pt x="194952" y="266207"/>
                      </a:moveTo>
                      <a:cubicBezTo>
                        <a:pt x="195273" y="266046"/>
                        <a:pt x="195755" y="265886"/>
                        <a:pt x="196157" y="265725"/>
                      </a:cubicBezTo>
                      <a:cubicBezTo>
                        <a:pt x="195755" y="265886"/>
                        <a:pt x="195273" y="266127"/>
                        <a:pt x="194871" y="266287"/>
                      </a:cubicBezTo>
                      <a:cubicBezTo>
                        <a:pt x="188606" y="268938"/>
                        <a:pt x="182340" y="271589"/>
                        <a:pt x="176155" y="274240"/>
                      </a:cubicBezTo>
                      <a:cubicBezTo>
                        <a:pt x="182340" y="271509"/>
                        <a:pt x="188606" y="268858"/>
                        <a:pt x="194952" y="266207"/>
                      </a:cubicBezTo>
                      <a:moveTo>
                        <a:pt x="338257" y="343081"/>
                      </a:moveTo>
                      <a:cubicBezTo>
                        <a:pt x="340185" y="340832"/>
                        <a:pt x="341068" y="339546"/>
                        <a:pt x="341550" y="338823"/>
                      </a:cubicBezTo>
                      <a:cubicBezTo>
                        <a:pt x="341390" y="338904"/>
                        <a:pt x="341149" y="339064"/>
                        <a:pt x="340908" y="339145"/>
                      </a:cubicBezTo>
                      <a:cubicBezTo>
                        <a:pt x="334160" y="343081"/>
                        <a:pt x="328296" y="346856"/>
                        <a:pt x="331268" y="347660"/>
                      </a:cubicBezTo>
                      <a:cubicBezTo>
                        <a:pt x="332152" y="347901"/>
                        <a:pt x="333678" y="347820"/>
                        <a:pt x="333678" y="347820"/>
                      </a:cubicBezTo>
                      <a:cubicBezTo>
                        <a:pt x="333678" y="347901"/>
                        <a:pt x="336008" y="345732"/>
                        <a:pt x="338257" y="343081"/>
                      </a:cubicBezTo>
                      <a:moveTo>
                        <a:pt x="222825" y="306210"/>
                      </a:moveTo>
                      <a:cubicBezTo>
                        <a:pt x="226922" y="303158"/>
                        <a:pt x="230698" y="298338"/>
                        <a:pt x="230698" y="298338"/>
                      </a:cubicBezTo>
                      <a:cubicBezTo>
                        <a:pt x="230698" y="298338"/>
                        <a:pt x="231099" y="295125"/>
                        <a:pt x="229573" y="294241"/>
                      </a:cubicBezTo>
                      <a:cubicBezTo>
                        <a:pt x="227083" y="293438"/>
                        <a:pt x="221621" y="298900"/>
                        <a:pt x="220496" y="301150"/>
                      </a:cubicBezTo>
                      <a:cubicBezTo>
                        <a:pt x="219371" y="303399"/>
                        <a:pt x="218327" y="304523"/>
                        <a:pt x="212383" y="309182"/>
                      </a:cubicBezTo>
                      <a:cubicBezTo>
                        <a:pt x="213748" y="309504"/>
                        <a:pt x="217283" y="310387"/>
                        <a:pt x="222825" y="306210"/>
                      </a:cubicBezTo>
                      <a:moveTo>
                        <a:pt x="230537" y="323481"/>
                      </a:moveTo>
                      <a:cubicBezTo>
                        <a:pt x="231340" y="322838"/>
                        <a:pt x="249896" y="307174"/>
                        <a:pt x="258089" y="292876"/>
                      </a:cubicBezTo>
                      <a:cubicBezTo>
                        <a:pt x="257848" y="293036"/>
                        <a:pt x="257607" y="293277"/>
                        <a:pt x="257366" y="293518"/>
                      </a:cubicBezTo>
                      <a:cubicBezTo>
                        <a:pt x="255599" y="295125"/>
                        <a:pt x="254475" y="296169"/>
                        <a:pt x="252868" y="297696"/>
                      </a:cubicBezTo>
                      <a:cubicBezTo>
                        <a:pt x="251021" y="292795"/>
                        <a:pt x="247727" y="289341"/>
                        <a:pt x="238811" y="305969"/>
                      </a:cubicBezTo>
                      <a:cubicBezTo>
                        <a:pt x="241462" y="297053"/>
                        <a:pt x="242024" y="295125"/>
                        <a:pt x="237847" y="297294"/>
                      </a:cubicBezTo>
                      <a:cubicBezTo>
                        <a:pt x="237606" y="297374"/>
                        <a:pt x="219291" y="311191"/>
                        <a:pt x="221139" y="313199"/>
                      </a:cubicBezTo>
                      <a:cubicBezTo>
                        <a:pt x="213427" y="313600"/>
                        <a:pt x="211580" y="313681"/>
                        <a:pt x="210696" y="314805"/>
                      </a:cubicBezTo>
                      <a:cubicBezTo>
                        <a:pt x="210937" y="315448"/>
                        <a:pt x="211499" y="316974"/>
                        <a:pt x="224111" y="319946"/>
                      </a:cubicBezTo>
                      <a:cubicBezTo>
                        <a:pt x="207081" y="329023"/>
                        <a:pt x="201699" y="332799"/>
                        <a:pt x="200976" y="336092"/>
                      </a:cubicBezTo>
                      <a:cubicBezTo>
                        <a:pt x="201860" y="337217"/>
                        <a:pt x="202663" y="338181"/>
                        <a:pt x="211821" y="336976"/>
                      </a:cubicBezTo>
                      <a:cubicBezTo>
                        <a:pt x="211178" y="338341"/>
                        <a:pt x="211258" y="338502"/>
                        <a:pt x="211419" y="338823"/>
                      </a:cubicBezTo>
                      <a:cubicBezTo>
                        <a:pt x="212383" y="338663"/>
                        <a:pt x="212383" y="338663"/>
                        <a:pt x="230537" y="323481"/>
                      </a:cubicBezTo>
                      <a:moveTo>
                        <a:pt x="233750" y="290627"/>
                      </a:moveTo>
                      <a:cubicBezTo>
                        <a:pt x="234071" y="290466"/>
                        <a:pt x="234393" y="290145"/>
                        <a:pt x="234634" y="289904"/>
                      </a:cubicBezTo>
                      <a:cubicBezTo>
                        <a:pt x="235517" y="289181"/>
                        <a:pt x="236401" y="288458"/>
                        <a:pt x="237204" y="287735"/>
                      </a:cubicBezTo>
                      <a:cubicBezTo>
                        <a:pt x="239293" y="285968"/>
                        <a:pt x="241381" y="284200"/>
                        <a:pt x="243470" y="282433"/>
                      </a:cubicBezTo>
                      <a:cubicBezTo>
                        <a:pt x="242747" y="282915"/>
                        <a:pt x="241783" y="283477"/>
                        <a:pt x="241060" y="283960"/>
                      </a:cubicBezTo>
                      <a:cubicBezTo>
                        <a:pt x="234553" y="289663"/>
                        <a:pt x="233750" y="290546"/>
                        <a:pt x="233750" y="290627"/>
                      </a:cubicBezTo>
                      <a:cubicBezTo>
                        <a:pt x="233750" y="290627"/>
                        <a:pt x="233750" y="290627"/>
                        <a:pt x="233750" y="290627"/>
                      </a:cubicBezTo>
                      <a:moveTo>
                        <a:pt x="297209" y="307576"/>
                      </a:moveTo>
                      <a:cubicBezTo>
                        <a:pt x="297290" y="307576"/>
                        <a:pt x="297450" y="307576"/>
                        <a:pt x="297530" y="307576"/>
                      </a:cubicBezTo>
                      <a:cubicBezTo>
                        <a:pt x="297450" y="307576"/>
                        <a:pt x="297450" y="307576"/>
                        <a:pt x="297370" y="307576"/>
                      </a:cubicBezTo>
                      <a:cubicBezTo>
                        <a:pt x="296647" y="307496"/>
                        <a:pt x="295844" y="307415"/>
                        <a:pt x="295121" y="307255"/>
                      </a:cubicBezTo>
                      <a:cubicBezTo>
                        <a:pt x="295844" y="307415"/>
                        <a:pt x="296567" y="307496"/>
                        <a:pt x="297209" y="307576"/>
                      </a:cubicBezTo>
                      <a:moveTo>
                        <a:pt x="257688" y="287253"/>
                      </a:moveTo>
                      <a:cubicBezTo>
                        <a:pt x="257929" y="287173"/>
                        <a:pt x="258250" y="287012"/>
                        <a:pt x="258491" y="286932"/>
                      </a:cubicBezTo>
                      <a:cubicBezTo>
                        <a:pt x="258250" y="286289"/>
                        <a:pt x="257929" y="286128"/>
                        <a:pt x="257527" y="285968"/>
                      </a:cubicBezTo>
                      <a:cubicBezTo>
                        <a:pt x="255921" y="285486"/>
                        <a:pt x="253511" y="286048"/>
                        <a:pt x="249173" y="288136"/>
                      </a:cubicBezTo>
                      <a:cubicBezTo>
                        <a:pt x="249173" y="290225"/>
                        <a:pt x="253591" y="289100"/>
                        <a:pt x="257688" y="287253"/>
                      </a:cubicBezTo>
                      <a:moveTo>
                        <a:pt x="802392" y="292313"/>
                      </a:moveTo>
                      <a:cubicBezTo>
                        <a:pt x="802392" y="292233"/>
                        <a:pt x="802312" y="292233"/>
                        <a:pt x="802231" y="292233"/>
                      </a:cubicBezTo>
                      <a:cubicBezTo>
                        <a:pt x="802231" y="292233"/>
                        <a:pt x="802231" y="292233"/>
                        <a:pt x="802231" y="292233"/>
                      </a:cubicBezTo>
                      <a:cubicBezTo>
                        <a:pt x="802312" y="292313"/>
                        <a:pt x="802312" y="292394"/>
                        <a:pt x="802392" y="292474"/>
                      </a:cubicBezTo>
                      <a:cubicBezTo>
                        <a:pt x="802392" y="292394"/>
                        <a:pt x="802392" y="292394"/>
                        <a:pt x="802392" y="292313"/>
                      </a:cubicBezTo>
                      <a:moveTo>
                        <a:pt x="198406" y="308700"/>
                      </a:moveTo>
                      <a:cubicBezTo>
                        <a:pt x="199852" y="307977"/>
                        <a:pt x="201780" y="306773"/>
                        <a:pt x="202904" y="305648"/>
                      </a:cubicBezTo>
                      <a:cubicBezTo>
                        <a:pt x="202502" y="304122"/>
                        <a:pt x="202502" y="303881"/>
                        <a:pt x="199048" y="303238"/>
                      </a:cubicBezTo>
                      <a:cubicBezTo>
                        <a:pt x="203707" y="299382"/>
                        <a:pt x="205234" y="297776"/>
                        <a:pt x="205635" y="296491"/>
                      </a:cubicBezTo>
                      <a:cubicBezTo>
                        <a:pt x="205555" y="296330"/>
                        <a:pt x="205394" y="296169"/>
                        <a:pt x="205314" y="296089"/>
                      </a:cubicBezTo>
                      <a:cubicBezTo>
                        <a:pt x="204350" y="296009"/>
                        <a:pt x="203868" y="296009"/>
                        <a:pt x="200896" y="297133"/>
                      </a:cubicBezTo>
                      <a:cubicBezTo>
                        <a:pt x="213347" y="286691"/>
                        <a:pt x="226360" y="276891"/>
                        <a:pt x="239052" y="266689"/>
                      </a:cubicBezTo>
                      <a:cubicBezTo>
                        <a:pt x="236722" y="268215"/>
                        <a:pt x="233670" y="270304"/>
                        <a:pt x="231421" y="271830"/>
                      </a:cubicBezTo>
                      <a:cubicBezTo>
                        <a:pt x="203225" y="290546"/>
                        <a:pt x="203225" y="290546"/>
                        <a:pt x="187963" y="302756"/>
                      </a:cubicBezTo>
                      <a:cubicBezTo>
                        <a:pt x="191498" y="286610"/>
                        <a:pt x="204832" y="276489"/>
                        <a:pt x="212222" y="262672"/>
                      </a:cubicBezTo>
                      <a:cubicBezTo>
                        <a:pt x="211499" y="262512"/>
                        <a:pt x="211017" y="262431"/>
                        <a:pt x="202261" y="270625"/>
                      </a:cubicBezTo>
                      <a:cubicBezTo>
                        <a:pt x="196237" y="267894"/>
                        <a:pt x="192863" y="268135"/>
                        <a:pt x="191176" y="277453"/>
                      </a:cubicBezTo>
                      <a:cubicBezTo>
                        <a:pt x="182902" y="277132"/>
                        <a:pt x="180975" y="277292"/>
                        <a:pt x="179770" y="278497"/>
                      </a:cubicBezTo>
                      <a:cubicBezTo>
                        <a:pt x="179850" y="279300"/>
                        <a:pt x="179850" y="280023"/>
                        <a:pt x="183625" y="282112"/>
                      </a:cubicBezTo>
                      <a:cubicBezTo>
                        <a:pt x="172701" y="286209"/>
                        <a:pt x="154386" y="293117"/>
                        <a:pt x="160411" y="295928"/>
                      </a:cubicBezTo>
                      <a:cubicBezTo>
                        <a:pt x="165150" y="298177"/>
                        <a:pt x="165150" y="298177"/>
                        <a:pt x="175191" y="292153"/>
                      </a:cubicBezTo>
                      <a:cubicBezTo>
                        <a:pt x="173986" y="293197"/>
                        <a:pt x="173825" y="293518"/>
                        <a:pt x="173584" y="293920"/>
                      </a:cubicBezTo>
                      <a:cubicBezTo>
                        <a:pt x="173665" y="294081"/>
                        <a:pt x="173825" y="294241"/>
                        <a:pt x="173986" y="294322"/>
                      </a:cubicBezTo>
                      <a:cubicBezTo>
                        <a:pt x="174388" y="294241"/>
                        <a:pt x="174950" y="294161"/>
                        <a:pt x="175352" y="294081"/>
                      </a:cubicBezTo>
                      <a:cubicBezTo>
                        <a:pt x="169809" y="297776"/>
                        <a:pt x="160571" y="303961"/>
                        <a:pt x="166917" y="305246"/>
                      </a:cubicBezTo>
                      <a:cubicBezTo>
                        <a:pt x="168604" y="305568"/>
                        <a:pt x="171255" y="305487"/>
                        <a:pt x="173102" y="305407"/>
                      </a:cubicBezTo>
                      <a:cubicBezTo>
                        <a:pt x="162017" y="309102"/>
                        <a:pt x="154627" y="310789"/>
                        <a:pt x="147397" y="311110"/>
                      </a:cubicBezTo>
                      <a:cubicBezTo>
                        <a:pt x="146273" y="313359"/>
                        <a:pt x="142738" y="320187"/>
                        <a:pt x="146675" y="320830"/>
                      </a:cubicBezTo>
                      <a:cubicBezTo>
                        <a:pt x="147397" y="320991"/>
                        <a:pt x="147397" y="320991"/>
                        <a:pt x="172299" y="315368"/>
                      </a:cubicBezTo>
                      <a:cubicBezTo>
                        <a:pt x="171978" y="316492"/>
                        <a:pt x="171657" y="317055"/>
                        <a:pt x="169970" y="317617"/>
                      </a:cubicBezTo>
                      <a:cubicBezTo>
                        <a:pt x="177601" y="315689"/>
                        <a:pt x="191739" y="311833"/>
                        <a:pt x="198406" y="308700"/>
                      </a:cubicBezTo>
                      <a:moveTo>
                        <a:pt x="232786" y="253515"/>
                      </a:moveTo>
                      <a:cubicBezTo>
                        <a:pt x="232947" y="253435"/>
                        <a:pt x="233107" y="253354"/>
                        <a:pt x="233268" y="253274"/>
                      </a:cubicBezTo>
                      <a:cubicBezTo>
                        <a:pt x="233188" y="253274"/>
                        <a:pt x="233188" y="253354"/>
                        <a:pt x="233107" y="253354"/>
                      </a:cubicBezTo>
                      <a:cubicBezTo>
                        <a:pt x="230698" y="254399"/>
                        <a:pt x="228368" y="255443"/>
                        <a:pt x="225958" y="256487"/>
                      </a:cubicBezTo>
                      <a:cubicBezTo>
                        <a:pt x="228288" y="255523"/>
                        <a:pt x="230537" y="254559"/>
                        <a:pt x="232786" y="253515"/>
                      </a:cubicBezTo>
                      <a:moveTo>
                        <a:pt x="1138886" y="67556"/>
                      </a:moveTo>
                      <a:cubicBezTo>
                        <a:pt x="1136637" y="66994"/>
                        <a:pt x="1133584" y="66271"/>
                        <a:pt x="1131335" y="65708"/>
                      </a:cubicBezTo>
                      <a:cubicBezTo>
                        <a:pt x="1131897" y="66431"/>
                        <a:pt x="1132540" y="67315"/>
                        <a:pt x="1133102" y="68038"/>
                      </a:cubicBezTo>
                      <a:cubicBezTo>
                        <a:pt x="1156558" y="79605"/>
                        <a:pt x="1156558" y="79605"/>
                        <a:pt x="1169892" y="88361"/>
                      </a:cubicBezTo>
                      <a:lnTo>
                        <a:pt x="1220901" y="116958"/>
                      </a:lnTo>
                      <a:lnTo>
                        <a:pt x="1246445" y="125794"/>
                      </a:lnTo>
                      <a:cubicBezTo>
                        <a:pt x="1247087" y="125794"/>
                        <a:pt x="1247891" y="125392"/>
                        <a:pt x="1248453" y="125633"/>
                      </a:cubicBezTo>
                      <a:cubicBezTo>
                        <a:pt x="1263153" y="132461"/>
                        <a:pt x="1276488" y="142261"/>
                        <a:pt x="1292232" y="147081"/>
                      </a:cubicBezTo>
                      <a:cubicBezTo>
                        <a:pt x="1292553" y="146759"/>
                        <a:pt x="1292955" y="146358"/>
                        <a:pt x="1293276" y="146117"/>
                      </a:cubicBezTo>
                      <a:cubicBezTo>
                        <a:pt x="1311109" y="162503"/>
                        <a:pt x="1347417" y="182907"/>
                        <a:pt x="1358824" y="180577"/>
                      </a:cubicBezTo>
                      <a:cubicBezTo>
                        <a:pt x="1359306" y="180818"/>
                        <a:pt x="1359788" y="180979"/>
                        <a:pt x="1360189" y="181220"/>
                      </a:cubicBezTo>
                      <a:cubicBezTo>
                        <a:pt x="1361876" y="184031"/>
                        <a:pt x="1362278" y="184594"/>
                        <a:pt x="1372720" y="185718"/>
                      </a:cubicBezTo>
                      <a:cubicBezTo>
                        <a:pt x="1372640" y="185558"/>
                        <a:pt x="1372479" y="185317"/>
                        <a:pt x="1372319" y="185076"/>
                      </a:cubicBezTo>
                      <a:cubicBezTo>
                        <a:pt x="1367820" y="183710"/>
                        <a:pt x="1363724" y="181059"/>
                        <a:pt x="1358904" y="180497"/>
                      </a:cubicBezTo>
                      <a:cubicBezTo>
                        <a:pt x="1361475" y="179131"/>
                        <a:pt x="1361475" y="179131"/>
                        <a:pt x="1367820" y="179212"/>
                      </a:cubicBezTo>
                      <a:cubicBezTo>
                        <a:pt x="1368865" y="180658"/>
                        <a:pt x="1368945" y="180899"/>
                        <a:pt x="1375853" y="185718"/>
                      </a:cubicBezTo>
                      <a:cubicBezTo>
                        <a:pt x="1378504" y="184594"/>
                        <a:pt x="1379227" y="184353"/>
                        <a:pt x="1382601" y="183790"/>
                      </a:cubicBezTo>
                      <a:cubicBezTo>
                        <a:pt x="1382039" y="183469"/>
                        <a:pt x="1381235" y="183067"/>
                        <a:pt x="1380673" y="182746"/>
                      </a:cubicBezTo>
                      <a:cubicBezTo>
                        <a:pt x="1382039" y="182184"/>
                        <a:pt x="1382039" y="182184"/>
                        <a:pt x="1385011" y="178971"/>
                      </a:cubicBezTo>
                      <a:lnTo>
                        <a:pt x="1383806" y="178248"/>
                      </a:lnTo>
                      <a:cubicBezTo>
                        <a:pt x="1384288" y="178248"/>
                        <a:pt x="1384930" y="178167"/>
                        <a:pt x="1385412" y="178167"/>
                      </a:cubicBezTo>
                      <a:cubicBezTo>
                        <a:pt x="1385091" y="177926"/>
                        <a:pt x="1384689" y="177525"/>
                        <a:pt x="1384368" y="177364"/>
                      </a:cubicBezTo>
                      <a:lnTo>
                        <a:pt x="1295365" y="142903"/>
                      </a:lnTo>
                      <a:cubicBezTo>
                        <a:pt x="1279540" y="134871"/>
                        <a:pt x="1265322" y="123705"/>
                        <a:pt x="1248212" y="118162"/>
                      </a:cubicBezTo>
                      <a:cubicBezTo>
                        <a:pt x="1248132" y="117680"/>
                        <a:pt x="1248051" y="117118"/>
                        <a:pt x="1247971" y="116636"/>
                      </a:cubicBezTo>
                      <a:cubicBezTo>
                        <a:pt x="1245722" y="115431"/>
                        <a:pt x="1245160" y="115110"/>
                        <a:pt x="1240099" y="113584"/>
                      </a:cubicBezTo>
                      <a:cubicBezTo>
                        <a:pt x="1240902" y="113584"/>
                        <a:pt x="1242027" y="113503"/>
                        <a:pt x="1242830" y="113423"/>
                      </a:cubicBezTo>
                      <a:cubicBezTo>
                        <a:pt x="1242509" y="113182"/>
                        <a:pt x="1192384" y="81292"/>
                        <a:pt x="1138886" y="67556"/>
                      </a:cubicBezTo>
                      <a:moveTo>
                        <a:pt x="305644" y="371919"/>
                      </a:moveTo>
                      <a:cubicBezTo>
                        <a:pt x="319219" y="357942"/>
                        <a:pt x="317211" y="350953"/>
                        <a:pt x="299539" y="351114"/>
                      </a:cubicBezTo>
                      <a:cubicBezTo>
                        <a:pt x="292149" y="351194"/>
                        <a:pt x="283232" y="352640"/>
                        <a:pt x="277930" y="353443"/>
                      </a:cubicBezTo>
                      <a:cubicBezTo>
                        <a:pt x="275681" y="351194"/>
                        <a:pt x="275521" y="348945"/>
                        <a:pt x="277047" y="344446"/>
                      </a:cubicBezTo>
                      <a:cubicBezTo>
                        <a:pt x="274878" y="345410"/>
                        <a:pt x="273512" y="346294"/>
                        <a:pt x="271504" y="348141"/>
                      </a:cubicBezTo>
                      <a:cubicBezTo>
                        <a:pt x="272227" y="347017"/>
                        <a:pt x="272388" y="346696"/>
                        <a:pt x="273191" y="345009"/>
                      </a:cubicBezTo>
                      <a:cubicBezTo>
                        <a:pt x="271826" y="345410"/>
                        <a:pt x="270058" y="345892"/>
                        <a:pt x="268693" y="346214"/>
                      </a:cubicBezTo>
                      <a:cubicBezTo>
                        <a:pt x="268130" y="342679"/>
                        <a:pt x="268130" y="342679"/>
                        <a:pt x="262588" y="342117"/>
                      </a:cubicBezTo>
                      <a:cubicBezTo>
                        <a:pt x="273352" y="333200"/>
                        <a:pt x="276485" y="327337"/>
                        <a:pt x="274958" y="318822"/>
                      </a:cubicBezTo>
                      <a:cubicBezTo>
                        <a:pt x="284999" y="315448"/>
                        <a:pt x="288614" y="313842"/>
                        <a:pt x="288775" y="311512"/>
                      </a:cubicBezTo>
                      <a:cubicBezTo>
                        <a:pt x="287489" y="310146"/>
                        <a:pt x="286124" y="309182"/>
                        <a:pt x="273271" y="308058"/>
                      </a:cubicBezTo>
                      <a:cubicBezTo>
                        <a:pt x="280260" y="300427"/>
                        <a:pt x="289819" y="289904"/>
                        <a:pt x="284116" y="288217"/>
                      </a:cubicBezTo>
                      <a:cubicBezTo>
                        <a:pt x="274235" y="287655"/>
                        <a:pt x="265801" y="296009"/>
                        <a:pt x="268693" y="299463"/>
                      </a:cubicBezTo>
                      <a:cubicBezTo>
                        <a:pt x="268853" y="299623"/>
                        <a:pt x="269175" y="299864"/>
                        <a:pt x="269416" y="299945"/>
                      </a:cubicBezTo>
                      <a:cubicBezTo>
                        <a:pt x="267327" y="303881"/>
                        <a:pt x="264435" y="309022"/>
                        <a:pt x="262186" y="312797"/>
                      </a:cubicBezTo>
                      <a:cubicBezTo>
                        <a:pt x="252627" y="328863"/>
                        <a:pt x="230296" y="367019"/>
                        <a:pt x="230296" y="367019"/>
                      </a:cubicBezTo>
                      <a:cubicBezTo>
                        <a:pt x="229011" y="369669"/>
                        <a:pt x="230457" y="373846"/>
                        <a:pt x="235035" y="372320"/>
                      </a:cubicBezTo>
                      <a:cubicBezTo>
                        <a:pt x="238088" y="371276"/>
                        <a:pt x="239453" y="367822"/>
                        <a:pt x="242747" y="367179"/>
                      </a:cubicBezTo>
                      <a:cubicBezTo>
                        <a:pt x="242827" y="367340"/>
                        <a:pt x="242907" y="367501"/>
                        <a:pt x="242988" y="367661"/>
                      </a:cubicBezTo>
                      <a:cubicBezTo>
                        <a:pt x="242506" y="368545"/>
                        <a:pt x="242425" y="368625"/>
                        <a:pt x="241301" y="369991"/>
                      </a:cubicBezTo>
                      <a:cubicBezTo>
                        <a:pt x="243791" y="373284"/>
                        <a:pt x="245639" y="377060"/>
                        <a:pt x="248611" y="379951"/>
                      </a:cubicBezTo>
                      <a:cubicBezTo>
                        <a:pt x="249012" y="379309"/>
                        <a:pt x="249575" y="378425"/>
                        <a:pt x="250057" y="377783"/>
                      </a:cubicBezTo>
                      <a:cubicBezTo>
                        <a:pt x="251824" y="381960"/>
                        <a:pt x="255760" y="380433"/>
                        <a:pt x="258973" y="378586"/>
                      </a:cubicBezTo>
                      <a:cubicBezTo>
                        <a:pt x="258411" y="380192"/>
                        <a:pt x="258411" y="380514"/>
                        <a:pt x="258411" y="381156"/>
                      </a:cubicBezTo>
                      <a:cubicBezTo>
                        <a:pt x="258571" y="381237"/>
                        <a:pt x="258732" y="381317"/>
                        <a:pt x="258812" y="381478"/>
                      </a:cubicBezTo>
                      <a:cubicBezTo>
                        <a:pt x="259535" y="381156"/>
                        <a:pt x="259937" y="380996"/>
                        <a:pt x="261785" y="379068"/>
                      </a:cubicBezTo>
                      <a:cubicBezTo>
                        <a:pt x="267729" y="388225"/>
                        <a:pt x="276163" y="376738"/>
                        <a:pt x="279296" y="372481"/>
                      </a:cubicBezTo>
                      <a:cubicBezTo>
                        <a:pt x="279296" y="373284"/>
                        <a:pt x="279296" y="374168"/>
                        <a:pt x="279537" y="375051"/>
                      </a:cubicBezTo>
                      <a:cubicBezTo>
                        <a:pt x="279617" y="375292"/>
                        <a:pt x="279778" y="375533"/>
                        <a:pt x="279858" y="375694"/>
                      </a:cubicBezTo>
                      <a:cubicBezTo>
                        <a:pt x="280099" y="376417"/>
                        <a:pt x="279457" y="377381"/>
                        <a:pt x="279296" y="378184"/>
                      </a:cubicBezTo>
                      <a:cubicBezTo>
                        <a:pt x="278814" y="380353"/>
                        <a:pt x="277770" y="387342"/>
                        <a:pt x="283553" y="387181"/>
                      </a:cubicBezTo>
                      <a:cubicBezTo>
                        <a:pt x="288373" y="387101"/>
                        <a:pt x="298334" y="379469"/>
                        <a:pt x="305644" y="371919"/>
                      </a:cubicBezTo>
                      <a:moveTo>
                        <a:pt x="230296" y="247651"/>
                      </a:moveTo>
                      <a:cubicBezTo>
                        <a:pt x="236963" y="243796"/>
                        <a:pt x="236963" y="243796"/>
                        <a:pt x="249896" y="233272"/>
                      </a:cubicBezTo>
                      <a:cubicBezTo>
                        <a:pt x="249253" y="233272"/>
                        <a:pt x="248450" y="233353"/>
                        <a:pt x="247807" y="233353"/>
                      </a:cubicBezTo>
                      <a:cubicBezTo>
                        <a:pt x="234955" y="234558"/>
                        <a:pt x="216881" y="240341"/>
                        <a:pt x="194068" y="250623"/>
                      </a:cubicBezTo>
                      <a:cubicBezTo>
                        <a:pt x="194470" y="250543"/>
                        <a:pt x="194871" y="250543"/>
                        <a:pt x="195193" y="250543"/>
                      </a:cubicBezTo>
                      <a:cubicBezTo>
                        <a:pt x="189409" y="258094"/>
                        <a:pt x="187080" y="261146"/>
                        <a:pt x="189650" y="263476"/>
                      </a:cubicBezTo>
                      <a:cubicBezTo>
                        <a:pt x="194791" y="259540"/>
                        <a:pt x="198165" y="257371"/>
                        <a:pt x="204029" y="254318"/>
                      </a:cubicBezTo>
                      <a:cubicBezTo>
                        <a:pt x="205716" y="255282"/>
                        <a:pt x="207724" y="254720"/>
                        <a:pt x="219693" y="249017"/>
                      </a:cubicBezTo>
                      <a:cubicBezTo>
                        <a:pt x="211499" y="254720"/>
                        <a:pt x="203145" y="261628"/>
                        <a:pt x="203065" y="261708"/>
                      </a:cubicBezTo>
                      <a:cubicBezTo>
                        <a:pt x="211660" y="257612"/>
                        <a:pt x="221299" y="252953"/>
                        <a:pt x="230296" y="247651"/>
                      </a:cubicBezTo>
                      <a:moveTo>
                        <a:pt x="323557" y="284200"/>
                      </a:moveTo>
                      <a:cubicBezTo>
                        <a:pt x="323557" y="284361"/>
                        <a:pt x="323557" y="284522"/>
                        <a:pt x="323557" y="284682"/>
                      </a:cubicBezTo>
                      <a:cubicBezTo>
                        <a:pt x="323557" y="284361"/>
                        <a:pt x="323557" y="283960"/>
                        <a:pt x="323557" y="283638"/>
                      </a:cubicBezTo>
                      <a:cubicBezTo>
                        <a:pt x="323557" y="282353"/>
                        <a:pt x="323557" y="281148"/>
                        <a:pt x="323557" y="279863"/>
                      </a:cubicBezTo>
                      <a:cubicBezTo>
                        <a:pt x="323557" y="279140"/>
                        <a:pt x="323717" y="278417"/>
                        <a:pt x="323557" y="277614"/>
                      </a:cubicBezTo>
                      <a:cubicBezTo>
                        <a:pt x="323637" y="277614"/>
                        <a:pt x="323476" y="280345"/>
                        <a:pt x="323557" y="284200"/>
                      </a:cubicBezTo>
                      <a:moveTo>
                        <a:pt x="267729" y="263235"/>
                      </a:moveTo>
                      <a:cubicBezTo>
                        <a:pt x="269737" y="260664"/>
                        <a:pt x="269737" y="260664"/>
                        <a:pt x="278332" y="250222"/>
                      </a:cubicBezTo>
                      <a:cubicBezTo>
                        <a:pt x="278332" y="250222"/>
                        <a:pt x="278332" y="250222"/>
                        <a:pt x="278332" y="250222"/>
                      </a:cubicBezTo>
                      <a:cubicBezTo>
                        <a:pt x="278252" y="250302"/>
                        <a:pt x="273271" y="256086"/>
                        <a:pt x="267729" y="263235"/>
                      </a:cubicBezTo>
                      <a:moveTo>
                        <a:pt x="1951082" y="1408873"/>
                      </a:moveTo>
                      <a:lnTo>
                        <a:pt x="1950761" y="1409917"/>
                      </a:lnTo>
                      <a:cubicBezTo>
                        <a:pt x="1950038" y="1410238"/>
                        <a:pt x="1950038" y="1410238"/>
                        <a:pt x="1949074" y="1411363"/>
                      </a:cubicBezTo>
                      <a:cubicBezTo>
                        <a:pt x="1948270" y="1412327"/>
                        <a:pt x="1941764" y="1420681"/>
                        <a:pt x="1941764" y="1420681"/>
                      </a:cubicBezTo>
                      <a:cubicBezTo>
                        <a:pt x="1939193" y="1424456"/>
                        <a:pt x="1937105" y="1429276"/>
                        <a:pt x="1936462" y="1430802"/>
                      </a:cubicBezTo>
                      <a:cubicBezTo>
                        <a:pt x="1936542" y="1430802"/>
                        <a:pt x="1936623" y="1430722"/>
                        <a:pt x="1936703" y="1430722"/>
                      </a:cubicBezTo>
                      <a:cubicBezTo>
                        <a:pt x="1934374" y="1434497"/>
                        <a:pt x="1933329" y="1436104"/>
                        <a:pt x="1932767" y="1436586"/>
                      </a:cubicBezTo>
                      <a:cubicBezTo>
                        <a:pt x="1932606" y="1435863"/>
                        <a:pt x="1938631" y="1421886"/>
                        <a:pt x="1943451" y="1415058"/>
                      </a:cubicBezTo>
                      <a:cubicBezTo>
                        <a:pt x="1944174" y="1413692"/>
                        <a:pt x="1945780" y="1410479"/>
                        <a:pt x="1951243" y="1408471"/>
                      </a:cubicBezTo>
                      <a:lnTo>
                        <a:pt x="1951082" y="1408873"/>
                      </a:lnTo>
                      <a:moveTo>
                        <a:pt x="1956705" y="1338666"/>
                      </a:moveTo>
                      <a:cubicBezTo>
                        <a:pt x="1955580" y="1340112"/>
                        <a:pt x="1954456" y="1341558"/>
                        <a:pt x="1953251" y="1342923"/>
                      </a:cubicBezTo>
                      <a:cubicBezTo>
                        <a:pt x="1954456" y="1341397"/>
                        <a:pt x="1955741" y="1339871"/>
                        <a:pt x="1957026" y="1338345"/>
                      </a:cubicBezTo>
                      <a:cubicBezTo>
                        <a:pt x="1956866" y="1338425"/>
                        <a:pt x="1956785" y="1338505"/>
                        <a:pt x="1956705" y="1338666"/>
                      </a:cubicBezTo>
                      <a:moveTo>
                        <a:pt x="1999118" y="1296494"/>
                      </a:moveTo>
                      <a:cubicBezTo>
                        <a:pt x="1999198" y="1306294"/>
                        <a:pt x="1996306" y="1316013"/>
                        <a:pt x="1998716" y="1325813"/>
                      </a:cubicBezTo>
                      <a:cubicBezTo>
                        <a:pt x="2000966" y="1334891"/>
                        <a:pt x="2000966" y="1334891"/>
                        <a:pt x="1999198" y="1339389"/>
                      </a:cubicBezTo>
                      <a:cubicBezTo>
                        <a:pt x="1993254" y="1315371"/>
                        <a:pt x="1997512" y="1295851"/>
                        <a:pt x="1998556" y="1294405"/>
                      </a:cubicBezTo>
                      <a:cubicBezTo>
                        <a:pt x="1998636" y="1294486"/>
                        <a:pt x="1998797" y="1294566"/>
                        <a:pt x="1998957" y="1294646"/>
                      </a:cubicBezTo>
                      <a:cubicBezTo>
                        <a:pt x="1999038" y="1295208"/>
                        <a:pt x="1999118" y="1295931"/>
                        <a:pt x="1999118" y="1296494"/>
                      </a:cubicBezTo>
                      <a:moveTo>
                        <a:pt x="1975502" y="1285569"/>
                      </a:moveTo>
                      <a:cubicBezTo>
                        <a:pt x="1973654" y="1285890"/>
                        <a:pt x="1971806" y="1286212"/>
                        <a:pt x="1969959" y="1286453"/>
                      </a:cubicBezTo>
                      <a:cubicBezTo>
                        <a:pt x="1970441" y="1286292"/>
                        <a:pt x="1970923" y="1286292"/>
                        <a:pt x="1971405" y="1286212"/>
                      </a:cubicBezTo>
                      <a:cubicBezTo>
                        <a:pt x="1972931" y="1285971"/>
                        <a:pt x="1974377" y="1285730"/>
                        <a:pt x="1975903" y="1285489"/>
                      </a:cubicBezTo>
                      <a:cubicBezTo>
                        <a:pt x="1975742" y="1285489"/>
                        <a:pt x="1975582" y="1285489"/>
                        <a:pt x="1975502" y="1285569"/>
                      </a:cubicBezTo>
                      <a:moveTo>
                        <a:pt x="1964577" y="1302759"/>
                      </a:moveTo>
                      <a:cubicBezTo>
                        <a:pt x="1964175" y="1302920"/>
                        <a:pt x="1961846" y="1303964"/>
                        <a:pt x="1959115" y="1305651"/>
                      </a:cubicBezTo>
                      <a:cubicBezTo>
                        <a:pt x="1956544" y="1295289"/>
                        <a:pt x="1948110" y="1290951"/>
                        <a:pt x="1947708" y="1290791"/>
                      </a:cubicBezTo>
                      <a:cubicBezTo>
                        <a:pt x="1947628" y="1290791"/>
                        <a:pt x="1941924" y="1287658"/>
                        <a:pt x="1940720" y="1268138"/>
                      </a:cubicBezTo>
                      <a:cubicBezTo>
                        <a:pt x="1940559" y="1264845"/>
                        <a:pt x="1940559" y="1264845"/>
                        <a:pt x="1939756" y="1262435"/>
                      </a:cubicBezTo>
                      <a:cubicBezTo>
                        <a:pt x="1940720" y="1262676"/>
                        <a:pt x="1940720" y="1262676"/>
                        <a:pt x="1965059" y="1302518"/>
                      </a:cubicBezTo>
                      <a:cubicBezTo>
                        <a:pt x="1964979" y="1302679"/>
                        <a:pt x="1964738" y="1302759"/>
                        <a:pt x="1964577" y="1302759"/>
                      </a:cubicBezTo>
                      <a:moveTo>
                        <a:pt x="1995262" y="1208213"/>
                      </a:moveTo>
                      <a:cubicBezTo>
                        <a:pt x="1995021" y="1209257"/>
                        <a:pt x="1994620" y="1210302"/>
                        <a:pt x="1994218" y="1211346"/>
                      </a:cubicBezTo>
                      <a:cubicBezTo>
                        <a:pt x="1994539" y="1210302"/>
                        <a:pt x="1994861" y="1209257"/>
                        <a:pt x="1995262" y="1208213"/>
                      </a:cubicBezTo>
                      <a:lnTo>
                        <a:pt x="1995262" y="1208213"/>
                      </a:lnTo>
                      <a:moveTo>
                        <a:pt x="1936382" y="1238979"/>
                      </a:moveTo>
                      <a:cubicBezTo>
                        <a:pt x="1936382" y="1239220"/>
                        <a:pt x="1935739" y="1241871"/>
                        <a:pt x="1933892" y="1248538"/>
                      </a:cubicBezTo>
                      <a:cubicBezTo>
                        <a:pt x="1933892" y="1248297"/>
                        <a:pt x="1933811" y="1247895"/>
                        <a:pt x="1933811" y="1247654"/>
                      </a:cubicBezTo>
                      <a:cubicBezTo>
                        <a:pt x="1933892" y="1247654"/>
                        <a:pt x="1936060" y="1239702"/>
                        <a:pt x="1936382" y="1238979"/>
                      </a:cubicBezTo>
                      <a:cubicBezTo>
                        <a:pt x="1936301" y="1239059"/>
                        <a:pt x="1936301" y="1239059"/>
                        <a:pt x="1936382" y="1238979"/>
                      </a:cubicBezTo>
                      <a:moveTo>
                        <a:pt x="1808259" y="1310632"/>
                      </a:moveTo>
                      <a:cubicBezTo>
                        <a:pt x="1808339" y="1311274"/>
                        <a:pt x="1808259" y="1311917"/>
                        <a:pt x="1808178" y="1312238"/>
                      </a:cubicBezTo>
                      <a:cubicBezTo>
                        <a:pt x="1806331" y="1311917"/>
                        <a:pt x="1805046" y="1311515"/>
                        <a:pt x="1803600" y="1310792"/>
                      </a:cubicBezTo>
                      <a:cubicBezTo>
                        <a:pt x="1805527" y="1309507"/>
                        <a:pt x="1808018" y="1308061"/>
                        <a:pt x="1808259" y="1310632"/>
                      </a:cubicBezTo>
                      <a:moveTo>
                        <a:pt x="1978795" y="1184195"/>
                      </a:moveTo>
                      <a:cubicBezTo>
                        <a:pt x="1978956" y="1187087"/>
                        <a:pt x="1977269" y="1196646"/>
                        <a:pt x="1976064" y="1198253"/>
                      </a:cubicBezTo>
                      <a:cubicBezTo>
                        <a:pt x="1974939" y="1199779"/>
                        <a:pt x="1976144" y="1200100"/>
                        <a:pt x="1976546" y="1200181"/>
                      </a:cubicBezTo>
                      <a:cubicBezTo>
                        <a:pt x="1974618" y="1202831"/>
                        <a:pt x="1973815" y="1204518"/>
                        <a:pt x="1972288" y="1209418"/>
                      </a:cubicBezTo>
                      <a:cubicBezTo>
                        <a:pt x="1973333" y="1208053"/>
                        <a:pt x="1973815" y="1208213"/>
                        <a:pt x="1974136" y="1208454"/>
                      </a:cubicBezTo>
                      <a:cubicBezTo>
                        <a:pt x="1974136" y="1208535"/>
                        <a:pt x="1974136" y="1208615"/>
                        <a:pt x="1974216" y="1208695"/>
                      </a:cubicBezTo>
                      <a:cubicBezTo>
                        <a:pt x="1973252" y="1209579"/>
                        <a:pt x="1972690" y="1210302"/>
                        <a:pt x="1972047" y="1211989"/>
                      </a:cubicBezTo>
                      <a:cubicBezTo>
                        <a:pt x="1974859" y="1209257"/>
                        <a:pt x="1975341" y="1209016"/>
                        <a:pt x="1976144" y="1208695"/>
                      </a:cubicBezTo>
                      <a:cubicBezTo>
                        <a:pt x="1976224" y="1208775"/>
                        <a:pt x="1976385" y="1208775"/>
                        <a:pt x="1976465" y="1208856"/>
                      </a:cubicBezTo>
                      <a:cubicBezTo>
                        <a:pt x="1976546" y="1210141"/>
                        <a:pt x="1974779" y="1214479"/>
                        <a:pt x="1974056" y="1214800"/>
                      </a:cubicBezTo>
                      <a:cubicBezTo>
                        <a:pt x="1969156" y="1216648"/>
                        <a:pt x="1970682" y="1220745"/>
                        <a:pt x="1971325" y="1222512"/>
                      </a:cubicBezTo>
                      <a:cubicBezTo>
                        <a:pt x="1970923" y="1223476"/>
                        <a:pt x="1970280" y="1224681"/>
                        <a:pt x="1969879" y="1225644"/>
                      </a:cubicBezTo>
                      <a:cubicBezTo>
                        <a:pt x="1970039" y="1223154"/>
                        <a:pt x="1970441" y="1218977"/>
                        <a:pt x="1967870" y="1221146"/>
                      </a:cubicBezTo>
                      <a:cubicBezTo>
                        <a:pt x="1966746" y="1222110"/>
                        <a:pt x="1964898" y="1221387"/>
                        <a:pt x="1963934" y="1222833"/>
                      </a:cubicBezTo>
                      <a:cubicBezTo>
                        <a:pt x="1962970" y="1224359"/>
                        <a:pt x="1962890" y="1225966"/>
                        <a:pt x="1963051" y="1228697"/>
                      </a:cubicBezTo>
                      <a:cubicBezTo>
                        <a:pt x="1962087" y="1228215"/>
                        <a:pt x="1961685" y="1228697"/>
                        <a:pt x="1961525" y="1230625"/>
                      </a:cubicBezTo>
                      <a:cubicBezTo>
                        <a:pt x="1961444" y="1230063"/>
                        <a:pt x="1961364" y="1229581"/>
                        <a:pt x="1961284" y="1229018"/>
                      </a:cubicBezTo>
                      <a:cubicBezTo>
                        <a:pt x="1961284" y="1228857"/>
                        <a:pt x="1961203" y="1228777"/>
                        <a:pt x="1961203" y="1228617"/>
                      </a:cubicBezTo>
                      <a:cubicBezTo>
                        <a:pt x="1956142" y="1215684"/>
                        <a:pt x="1956544" y="1203394"/>
                        <a:pt x="1962488" y="1189738"/>
                      </a:cubicBezTo>
                      <a:lnTo>
                        <a:pt x="1963292" y="1190140"/>
                      </a:lnTo>
                      <a:cubicBezTo>
                        <a:pt x="1963211" y="1190461"/>
                        <a:pt x="1963131" y="1190862"/>
                        <a:pt x="1963051" y="1191184"/>
                      </a:cubicBezTo>
                      <a:cubicBezTo>
                        <a:pt x="1963372" y="1190943"/>
                        <a:pt x="1963774" y="1190702"/>
                        <a:pt x="1964095" y="1190461"/>
                      </a:cubicBezTo>
                      <a:cubicBezTo>
                        <a:pt x="1965862" y="1188693"/>
                        <a:pt x="1966424" y="1187167"/>
                        <a:pt x="1966665" y="1183874"/>
                      </a:cubicBezTo>
                      <a:lnTo>
                        <a:pt x="1968031" y="1182026"/>
                      </a:lnTo>
                      <a:lnTo>
                        <a:pt x="1969075" y="1183713"/>
                      </a:lnTo>
                      <a:cubicBezTo>
                        <a:pt x="1969879" y="1183794"/>
                        <a:pt x="1971003" y="1183151"/>
                        <a:pt x="1971646" y="1182669"/>
                      </a:cubicBezTo>
                      <a:cubicBezTo>
                        <a:pt x="1974136" y="1180661"/>
                        <a:pt x="1978393" y="1178572"/>
                        <a:pt x="1978795" y="1184195"/>
                      </a:cubicBezTo>
                      <a:moveTo>
                        <a:pt x="1966103" y="1168049"/>
                      </a:moveTo>
                      <a:cubicBezTo>
                        <a:pt x="1964738" y="1169656"/>
                        <a:pt x="1963051" y="1171584"/>
                        <a:pt x="1964577" y="1171423"/>
                      </a:cubicBezTo>
                      <a:cubicBezTo>
                        <a:pt x="1964657" y="1171423"/>
                        <a:pt x="1964818" y="1171343"/>
                        <a:pt x="1964979" y="1171343"/>
                      </a:cubicBezTo>
                      <a:lnTo>
                        <a:pt x="1964657" y="1172628"/>
                      </a:lnTo>
                      <a:lnTo>
                        <a:pt x="1965621" y="1171503"/>
                      </a:lnTo>
                      <a:cubicBezTo>
                        <a:pt x="1965621" y="1172307"/>
                        <a:pt x="1965541" y="1173351"/>
                        <a:pt x="1965541" y="1174154"/>
                      </a:cubicBezTo>
                      <a:cubicBezTo>
                        <a:pt x="1963211" y="1173431"/>
                        <a:pt x="1961926" y="1173512"/>
                        <a:pt x="1962328" y="1175841"/>
                      </a:cubicBezTo>
                      <a:cubicBezTo>
                        <a:pt x="1961525" y="1175198"/>
                        <a:pt x="1961203" y="1175439"/>
                        <a:pt x="1961043" y="1176644"/>
                      </a:cubicBezTo>
                      <a:cubicBezTo>
                        <a:pt x="1959677" y="1177448"/>
                        <a:pt x="1959275" y="1176966"/>
                        <a:pt x="1958954" y="1176002"/>
                      </a:cubicBezTo>
                      <a:lnTo>
                        <a:pt x="1960962" y="1173512"/>
                      </a:lnTo>
                      <a:lnTo>
                        <a:pt x="1963051" y="1171262"/>
                      </a:lnTo>
                      <a:cubicBezTo>
                        <a:pt x="1963533" y="1170138"/>
                        <a:pt x="1965059" y="1167808"/>
                        <a:pt x="1966344" y="1167728"/>
                      </a:cubicBezTo>
                      <a:cubicBezTo>
                        <a:pt x="1966264" y="1167808"/>
                        <a:pt x="1966183" y="1167969"/>
                        <a:pt x="1966103" y="1168049"/>
                      </a:cubicBezTo>
                      <a:moveTo>
                        <a:pt x="1947708" y="1174235"/>
                      </a:moveTo>
                      <a:cubicBezTo>
                        <a:pt x="1947708" y="1183954"/>
                        <a:pt x="1944656" y="1192067"/>
                        <a:pt x="1941764" y="1194798"/>
                      </a:cubicBezTo>
                      <a:cubicBezTo>
                        <a:pt x="1941603" y="1190461"/>
                        <a:pt x="1944093" y="1181785"/>
                        <a:pt x="1947628" y="1174074"/>
                      </a:cubicBezTo>
                      <a:cubicBezTo>
                        <a:pt x="1947708" y="1174074"/>
                        <a:pt x="1947708" y="1174154"/>
                        <a:pt x="1947708" y="1174235"/>
                      </a:cubicBezTo>
                      <a:moveTo>
                        <a:pt x="1987631" y="1128367"/>
                      </a:moveTo>
                      <a:cubicBezTo>
                        <a:pt x="1987230" y="1128207"/>
                        <a:pt x="1986828" y="1128046"/>
                        <a:pt x="1986426" y="1127885"/>
                      </a:cubicBezTo>
                      <a:cubicBezTo>
                        <a:pt x="1986828" y="1128046"/>
                        <a:pt x="1987230" y="1128207"/>
                        <a:pt x="1987631" y="1128367"/>
                      </a:cubicBezTo>
                      <a:lnTo>
                        <a:pt x="1987631" y="1128367"/>
                      </a:lnTo>
                      <a:moveTo>
                        <a:pt x="1987551" y="1078323"/>
                      </a:moveTo>
                      <a:cubicBezTo>
                        <a:pt x="1987712" y="1081375"/>
                        <a:pt x="1987310" y="1085151"/>
                        <a:pt x="1986185" y="1086436"/>
                      </a:cubicBezTo>
                      <a:cubicBezTo>
                        <a:pt x="1986185" y="1086436"/>
                        <a:pt x="1986105" y="1086516"/>
                        <a:pt x="1986105" y="1086516"/>
                      </a:cubicBezTo>
                      <a:cubicBezTo>
                        <a:pt x="1986024" y="1086034"/>
                        <a:pt x="1985623" y="1081857"/>
                        <a:pt x="1987471" y="1077921"/>
                      </a:cubicBezTo>
                      <a:cubicBezTo>
                        <a:pt x="1987551" y="1078082"/>
                        <a:pt x="1987551" y="1078162"/>
                        <a:pt x="1987551" y="1078323"/>
                      </a:cubicBezTo>
                      <a:moveTo>
                        <a:pt x="1506145" y="1344851"/>
                      </a:moveTo>
                      <a:lnTo>
                        <a:pt x="1507029" y="1352241"/>
                      </a:lnTo>
                      <a:cubicBezTo>
                        <a:pt x="1507350" y="1351920"/>
                        <a:pt x="1507671" y="1351438"/>
                        <a:pt x="1507993" y="1351117"/>
                      </a:cubicBezTo>
                      <a:cubicBezTo>
                        <a:pt x="1505342" y="1357463"/>
                        <a:pt x="1500281" y="1358909"/>
                        <a:pt x="1489839" y="1356418"/>
                      </a:cubicBezTo>
                      <a:cubicBezTo>
                        <a:pt x="1492811" y="1356740"/>
                        <a:pt x="1494176" y="1356258"/>
                        <a:pt x="1495140" y="1354651"/>
                      </a:cubicBezTo>
                      <a:cubicBezTo>
                        <a:pt x="1499398" y="1355535"/>
                        <a:pt x="1501647" y="1354491"/>
                        <a:pt x="1503896" y="1350635"/>
                      </a:cubicBezTo>
                      <a:cubicBezTo>
                        <a:pt x="1503494" y="1350555"/>
                        <a:pt x="1502932" y="1350555"/>
                        <a:pt x="1502450" y="1350474"/>
                      </a:cubicBezTo>
                      <a:cubicBezTo>
                        <a:pt x="1503816" y="1349590"/>
                        <a:pt x="1503816" y="1348948"/>
                        <a:pt x="1502771" y="1347823"/>
                      </a:cubicBezTo>
                      <a:cubicBezTo>
                        <a:pt x="1502290" y="1347743"/>
                        <a:pt x="1501647" y="1347663"/>
                        <a:pt x="1501165" y="1347663"/>
                      </a:cubicBezTo>
                      <a:cubicBezTo>
                        <a:pt x="1502852" y="1346699"/>
                        <a:pt x="1503253" y="1346538"/>
                        <a:pt x="1503575" y="1345735"/>
                      </a:cubicBezTo>
                      <a:cubicBezTo>
                        <a:pt x="1503173" y="1345012"/>
                        <a:pt x="1502450" y="1344851"/>
                        <a:pt x="1499317" y="1344691"/>
                      </a:cubicBezTo>
                      <a:lnTo>
                        <a:pt x="1499317" y="1345494"/>
                      </a:lnTo>
                      <a:lnTo>
                        <a:pt x="1495944" y="1345815"/>
                      </a:lnTo>
                      <a:cubicBezTo>
                        <a:pt x="1497309" y="1345253"/>
                        <a:pt x="1499157" y="1344450"/>
                        <a:pt x="1500522" y="1343807"/>
                      </a:cubicBezTo>
                      <a:cubicBezTo>
                        <a:pt x="1498353" y="1343807"/>
                        <a:pt x="1495381" y="1344128"/>
                        <a:pt x="1490803" y="1346538"/>
                      </a:cubicBezTo>
                      <a:cubicBezTo>
                        <a:pt x="1492891" y="1345172"/>
                        <a:pt x="1494016" y="1344450"/>
                        <a:pt x="1495221" y="1343486"/>
                      </a:cubicBezTo>
                      <a:cubicBezTo>
                        <a:pt x="1496024" y="1343084"/>
                        <a:pt x="1497149" y="1342522"/>
                        <a:pt x="1498032" y="1342120"/>
                      </a:cubicBezTo>
                      <a:cubicBezTo>
                        <a:pt x="1496747" y="1340755"/>
                        <a:pt x="1494980" y="1339549"/>
                        <a:pt x="1491686" y="1341558"/>
                      </a:cubicBezTo>
                      <a:cubicBezTo>
                        <a:pt x="1491284" y="1340594"/>
                        <a:pt x="1490963" y="1340514"/>
                        <a:pt x="1488955" y="1340273"/>
                      </a:cubicBezTo>
                      <a:lnTo>
                        <a:pt x="1487348" y="1341718"/>
                      </a:lnTo>
                      <a:cubicBezTo>
                        <a:pt x="1487348" y="1341638"/>
                        <a:pt x="1487348" y="1341558"/>
                        <a:pt x="1487268" y="1341558"/>
                      </a:cubicBezTo>
                      <a:cubicBezTo>
                        <a:pt x="1486465" y="1340674"/>
                        <a:pt x="1484858" y="1340273"/>
                        <a:pt x="1483734" y="1340032"/>
                      </a:cubicBezTo>
                      <a:cubicBezTo>
                        <a:pt x="1483252" y="1339951"/>
                        <a:pt x="1482689" y="1339790"/>
                        <a:pt x="1482208" y="1339790"/>
                      </a:cubicBezTo>
                      <a:cubicBezTo>
                        <a:pt x="1481726" y="1339710"/>
                        <a:pt x="1481003" y="1339710"/>
                        <a:pt x="1480521" y="1339630"/>
                      </a:cubicBezTo>
                      <a:cubicBezTo>
                        <a:pt x="1479396" y="1339549"/>
                        <a:pt x="1477950" y="1339871"/>
                        <a:pt x="1476906" y="1339790"/>
                      </a:cubicBezTo>
                      <a:cubicBezTo>
                        <a:pt x="1475942" y="1339710"/>
                        <a:pt x="1475139" y="1339148"/>
                        <a:pt x="1474094" y="1339148"/>
                      </a:cubicBezTo>
                      <a:cubicBezTo>
                        <a:pt x="1471524" y="1339228"/>
                        <a:pt x="1469516" y="1340112"/>
                        <a:pt x="1466463" y="1342281"/>
                      </a:cubicBezTo>
                      <a:cubicBezTo>
                        <a:pt x="1470239" y="1339067"/>
                        <a:pt x="1473532" y="1337622"/>
                        <a:pt x="1478030" y="1337140"/>
                      </a:cubicBezTo>
                      <a:cubicBezTo>
                        <a:pt x="1475781" y="1336336"/>
                        <a:pt x="1475139" y="1335292"/>
                        <a:pt x="1475460" y="1333123"/>
                      </a:cubicBezTo>
                      <a:cubicBezTo>
                        <a:pt x="1477067" y="1334569"/>
                        <a:pt x="1480681" y="1338023"/>
                        <a:pt x="1484698" y="1335774"/>
                      </a:cubicBezTo>
                      <a:cubicBezTo>
                        <a:pt x="1485421" y="1339389"/>
                        <a:pt x="1488071" y="1339871"/>
                        <a:pt x="1495140" y="1337702"/>
                      </a:cubicBezTo>
                      <a:cubicBezTo>
                        <a:pt x="1494417" y="1338104"/>
                        <a:pt x="1493373" y="1338586"/>
                        <a:pt x="1492650" y="1338907"/>
                      </a:cubicBezTo>
                      <a:cubicBezTo>
                        <a:pt x="1499880" y="1341317"/>
                        <a:pt x="1502129" y="1340192"/>
                        <a:pt x="1500281" y="1335212"/>
                      </a:cubicBezTo>
                      <a:cubicBezTo>
                        <a:pt x="1500844" y="1334569"/>
                        <a:pt x="1501486" y="1333686"/>
                        <a:pt x="1502049" y="1333043"/>
                      </a:cubicBezTo>
                      <a:cubicBezTo>
                        <a:pt x="1498916" y="1332963"/>
                        <a:pt x="1498594" y="1331918"/>
                        <a:pt x="1500763" y="1328786"/>
                      </a:cubicBezTo>
                      <a:cubicBezTo>
                        <a:pt x="1498996" y="1332159"/>
                        <a:pt x="1499639" y="1333123"/>
                        <a:pt x="1503414" y="1332882"/>
                      </a:cubicBezTo>
                      <a:cubicBezTo>
                        <a:pt x="1503012" y="1333043"/>
                        <a:pt x="1502530" y="1333364"/>
                        <a:pt x="1502209" y="1333525"/>
                      </a:cubicBezTo>
                      <a:cubicBezTo>
                        <a:pt x="1501567" y="1337140"/>
                        <a:pt x="1501808" y="1338023"/>
                        <a:pt x="1503896" y="1338023"/>
                      </a:cubicBezTo>
                      <a:cubicBezTo>
                        <a:pt x="1504217" y="1339308"/>
                        <a:pt x="1504458" y="1340112"/>
                        <a:pt x="1505181" y="1341558"/>
                      </a:cubicBezTo>
                      <a:lnTo>
                        <a:pt x="1504780" y="1342763"/>
                      </a:lnTo>
                      <a:lnTo>
                        <a:pt x="1505904" y="1341718"/>
                      </a:lnTo>
                      <a:cubicBezTo>
                        <a:pt x="1506065" y="1342843"/>
                        <a:pt x="1506145" y="1343968"/>
                        <a:pt x="1506145" y="1344851"/>
                      </a:cubicBezTo>
                      <a:moveTo>
                        <a:pt x="1996306" y="990364"/>
                      </a:moveTo>
                      <a:lnTo>
                        <a:pt x="1996306" y="990364"/>
                      </a:lnTo>
                      <a:cubicBezTo>
                        <a:pt x="1996226" y="990364"/>
                        <a:pt x="1996226" y="990364"/>
                        <a:pt x="1996226" y="990283"/>
                      </a:cubicBezTo>
                      <a:cubicBezTo>
                        <a:pt x="1996146" y="990203"/>
                        <a:pt x="1996065" y="990123"/>
                        <a:pt x="1995985" y="989962"/>
                      </a:cubicBezTo>
                      <a:cubicBezTo>
                        <a:pt x="1995985" y="989882"/>
                        <a:pt x="1995985" y="989802"/>
                        <a:pt x="1995985" y="989721"/>
                      </a:cubicBezTo>
                      <a:cubicBezTo>
                        <a:pt x="1996065" y="989962"/>
                        <a:pt x="1996226" y="990123"/>
                        <a:pt x="1996306" y="990364"/>
                      </a:cubicBezTo>
                      <a:moveTo>
                        <a:pt x="1966183" y="1022415"/>
                      </a:moveTo>
                      <a:cubicBezTo>
                        <a:pt x="1966103" y="1022575"/>
                        <a:pt x="1965942" y="1022736"/>
                        <a:pt x="1965782" y="1022897"/>
                      </a:cubicBezTo>
                      <a:cubicBezTo>
                        <a:pt x="1965541" y="1023218"/>
                        <a:pt x="1965300" y="1023539"/>
                        <a:pt x="1964979" y="1023861"/>
                      </a:cubicBezTo>
                      <a:cubicBezTo>
                        <a:pt x="1964336" y="1024664"/>
                        <a:pt x="1963693" y="1025387"/>
                        <a:pt x="1963051" y="1026190"/>
                      </a:cubicBezTo>
                      <a:cubicBezTo>
                        <a:pt x="1964175" y="1024824"/>
                        <a:pt x="1965139" y="1023620"/>
                        <a:pt x="1966183" y="1022415"/>
                      </a:cubicBezTo>
                      <a:cubicBezTo>
                        <a:pt x="1966183" y="1022415"/>
                        <a:pt x="1966183" y="1022415"/>
                        <a:pt x="1966183" y="1022415"/>
                      </a:cubicBezTo>
                      <a:moveTo>
                        <a:pt x="1724798" y="1178010"/>
                      </a:moveTo>
                      <a:cubicBezTo>
                        <a:pt x="1723031" y="1178974"/>
                        <a:pt x="1721344" y="1179858"/>
                        <a:pt x="1719577" y="1180821"/>
                      </a:cubicBezTo>
                      <a:cubicBezTo>
                        <a:pt x="1719577" y="1180821"/>
                        <a:pt x="1719577" y="1180821"/>
                        <a:pt x="1719577" y="1180821"/>
                      </a:cubicBezTo>
                      <a:cubicBezTo>
                        <a:pt x="1721504" y="1179697"/>
                        <a:pt x="1723513" y="1178733"/>
                        <a:pt x="1725521" y="1177689"/>
                      </a:cubicBezTo>
                      <a:cubicBezTo>
                        <a:pt x="1725280" y="1177769"/>
                        <a:pt x="1725039" y="1177930"/>
                        <a:pt x="1724798" y="1178010"/>
                      </a:cubicBezTo>
                      <a:moveTo>
                        <a:pt x="1884972" y="939115"/>
                      </a:moveTo>
                      <a:cubicBezTo>
                        <a:pt x="1884811" y="939918"/>
                        <a:pt x="1884731" y="940721"/>
                        <a:pt x="1884651" y="941524"/>
                      </a:cubicBezTo>
                      <a:cubicBezTo>
                        <a:pt x="1883847" y="940882"/>
                        <a:pt x="1883044" y="940480"/>
                        <a:pt x="1882482" y="942569"/>
                      </a:cubicBezTo>
                      <a:cubicBezTo>
                        <a:pt x="1881919" y="944496"/>
                        <a:pt x="1882160" y="946505"/>
                        <a:pt x="1881438" y="948352"/>
                      </a:cubicBezTo>
                      <a:cubicBezTo>
                        <a:pt x="1880795" y="950039"/>
                        <a:pt x="1880233" y="952208"/>
                        <a:pt x="1879831" y="954296"/>
                      </a:cubicBezTo>
                      <a:cubicBezTo>
                        <a:pt x="1879269" y="957349"/>
                        <a:pt x="1879188" y="959518"/>
                        <a:pt x="1879188" y="960642"/>
                      </a:cubicBezTo>
                      <a:cubicBezTo>
                        <a:pt x="1879028" y="955180"/>
                        <a:pt x="1879590" y="950521"/>
                        <a:pt x="1881116" y="945621"/>
                      </a:cubicBezTo>
                      <a:cubicBezTo>
                        <a:pt x="1880634" y="945380"/>
                        <a:pt x="1879992" y="945059"/>
                        <a:pt x="1879510" y="944818"/>
                      </a:cubicBezTo>
                      <a:cubicBezTo>
                        <a:pt x="1880233" y="943613"/>
                        <a:pt x="1881839" y="940882"/>
                        <a:pt x="1885052" y="938793"/>
                      </a:cubicBezTo>
                      <a:cubicBezTo>
                        <a:pt x="1884972" y="938874"/>
                        <a:pt x="1884972" y="939034"/>
                        <a:pt x="1884972" y="939115"/>
                      </a:cubicBezTo>
                      <a:moveTo>
                        <a:pt x="1886739" y="928672"/>
                      </a:moveTo>
                      <a:cubicBezTo>
                        <a:pt x="1886820" y="930600"/>
                        <a:pt x="1886900" y="931082"/>
                        <a:pt x="1888747" y="931564"/>
                      </a:cubicBezTo>
                      <a:cubicBezTo>
                        <a:pt x="1887061" y="932849"/>
                        <a:pt x="1886257" y="934777"/>
                        <a:pt x="1885695" y="936223"/>
                      </a:cubicBezTo>
                      <a:cubicBezTo>
                        <a:pt x="1886900" y="928109"/>
                        <a:pt x="1884731" y="927788"/>
                        <a:pt x="1882964" y="928190"/>
                      </a:cubicBezTo>
                      <a:lnTo>
                        <a:pt x="1883446" y="926503"/>
                      </a:lnTo>
                      <a:cubicBezTo>
                        <a:pt x="1883285" y="926664"/>
                        <a:pt x="1883124" y="926905"/>
                        <a:pt x="1882964" y="927065"/>
                      </a:cubicBezTo>
                      <a:cubicBezTo>
                        <a:pt x="1882803" y="926744"/>
                        <a:pt x="1882482" y="925700"/>
                        <a:pt x="1884088" y="925780"/>
                      </a:cubicBezTo>
                      <a:cubicBezTo>
                        <a:pt x="1883767" y="923611"/>
                        <a:pt x="1883526" y="922406"/>
                        <a:pt x="1882883" y="920559"/>
                      </a:cubicBezTo>
                      <a:cubicBezTo>
                        <a:pt x="1884088" y="922969"/>
                        <a:pt x="1884651" y="923852"/>
                        <a:pt x="1886096" y="925137"/>
                      </a:cubicBezTo>
                      <a:cubicBezTo>
                        <a:pt x="1886337" y="926182"/>
                        <a:pt x="1886739" y="927627"/>
                        <a:pt x="1886739" y="928672"/>
                      </a:cubicBezTo>
                      <a:moveTo>
                        <a:pt x="1968031" y="734198"/>
                      </a:moveTo>
                      <a:cubicBezTo>
                        <a:pt x="1974939" y="759260"/>
                        <a:pt x="1974939" y="759260"/>
                        <a:pt x="1975100" y="761831"/>
                      </a:cubicBezTo>
                      <a:cubicBezTo>
                        <a:pt x="1975341" y="764481"/>
                        <a:pt x="1975341" y="764481"/>
                        <a:pt x="1973172" y="786491"/>
                      </a:cubicBezTo>
                      <a:cubicBezTo>
                        <a:pt x="1973172" y="786572"/>
                        <a:pt x="1973092" y="787214"/>
                        <a:pt x="1972610" y="787375"/>
                      </a:cubicBezTo>
                      <a:lnTo>
                        <a:pt x="1971646" y="784162"/>
                      </a:lnTo>
                      <a:cubicBezTo>
                        <a:pt x="1971485" y="784322"/>
                        <a:pt x="1971325" y="784483"/>
                        <a:pt x="1971164" y="784644"/>
                      </a:cubicBezTo>
                      <a:cubicBezTo>
                        <a:pt x="1968192" y="777414"/>
                        <a:pt x="1966103" y="772595"/>
                        <a:pt x="1964898" y="770747"/>
                      </a:cubicBezTo>
                      <a:cubicBezTo>
                        <a:pt x="1964657" y="771309"/>
                        <a:pt x="1964577" y="771470"/>
                        <a:pt x="1969236" y="785768"/>
                      </a:cubicBezTo>
                      <a:cubicBezTo>
                        <a:pt x="1963533" y="780547"/>
                        <a:pt x="1960320" y="775968"/>
                        <a:pt x="1957669" y="769301"/>
                      </a:cubicBezTo>
                      <a:cubicBezTo>
                        <a:pt x="1955098" y="768819"/>
                        <a:pt x="1953572" y="768337"/>
                        <a:pt x="1950921" y="767132"/>
                      </a:cubicBezTo>
                      <a:cubicBezTo>
                        <a:pt x="1950600" y="764883"/>
                        <a:pt x="1941121" y="758537"/>
                        <a:pt x="1937025" y="755886"/>
                      </a:cubicBezTo>
                      <a:cubicBezTo>
                        <a:pt x="1932767" y="753155"/>
                        <a:pt x="1935578" y="749942"/>
                        <a:pt x="1935578" y="749942"/>
                      </a:cubicBezTo>
                      <a:cubicBezTo>
                        <a:pt x="1933490" y="745042"/>
                        <a:pt x="1933088" y="742954"/>
                        <a:pt x="1932687" y="733957"/>
                      </a:cubicBezTo>
                      <a:cubicBezTo>
                        <a:pt x="1932526" y="733876"/>
                        <a:pt x="1932365" y="733716"/>
                        <a:pt x="1932285" y="733555"/>
                      </a:cubicBezTo>
                      <a:cubicBezTo>
                        <a:pt x="1932446" y="733314"/>
                        <a:pt x="1932767" y="733073"/>
                        <a:pt x="1933008" y="732913"/>
                      </a:cubicBezTo>
                      <a:cubicBezTo>
                        <a:pt x="1933088" y="732913"/>
                        <a:pt x="1933249" y="732993"/>
                        <a:pt x="1933329" y="732993"/>
                      </a:cubicBezTo>
                      <a:cubicBezTo>
                        <a:pt x="1933410" y="733475"/>
                        <a:pt x="1933410" y="733716"/>
                        <a:pt x="1933088" y="735001"/>
                      </a:cubicBezTo>
                      <a:cubicBezTo>
                        <a:pt x="1951002" y="741427"/>
                        <a:pt x="1961444" y="741026"/>
                        <a:pt x="1967951" y="733555"/>
                      </a:cubicBezTo>
                      <a:cubicBezTo>
                        <a:pt x="1967951" y="733796"/>
                        <a:pt x="1967951" y="734037"/>
                        <a:pt x="1968031" y="734198"/>
                      </a:cubicBezTo>
                      <a:moveTo>
                        <a:pt x="1927144" y="741267"/>
                      </a:moveTo>
                      <a:cubicBezTo>
                        <a:pt x="1924654" y="743596"/>
                        <a:pt x="1923851" y="744319"/>
                        <a:pt x="1923690" y="744319"/>
                      </a:cubicBezTo>
                      <a:cubicBezTo>
                        <a:pt x="1923690" y="744239"/>
                        <a:pt x="1923770" y="744239"/>
                        <a:pt x="1923770" y="744158"/>
                      </a:cubicBezTo>
                      <a:cubicBezTo>
                        <a:pt x="1923931" y="743998"/>
                        <a:pt x="1924092" y="743757"/>
                        <a:pt x="1924333" y="743596"/>
                      </a:cubicBezTo>
                      <a:cubicBezTo>
                        <a:pt x="1925216" y="742632"/>
                        <a:pt x="1926180" y="741749"/>
                        <a:pt x="1927064" y="740785"/>
                      </a:cubicBezTo>
                      <a:lnTo>
                        <a:pt x="1927144" y="741267"/>
                      </a:lnTo>
                      <a:moveTo>
                        <a:pt x="1863364" y="818542"/>
                      </a:moveTo>
                      <a:cubicBezTo>
                        <a:pt x="1863042" y="818703"/>
                        <a:pt x="1862801" y="818944"/>
                        <a:pt x="1862480" y="819105"/>
                      </a:cubicBezTo>
                      <a:cubicBezTo>
                        <a:pt x="1862801" y="818864"/>
                        <a:pt x="1863123" y="818703"/>
                        <a:pt x="1863364" y="818542"/>
                      </a:cubicBezTo>
                      <a:cubicBezTo>
                        <a:pt x="1863364" y="818462"/>
                        <a:pt x="1863364" y="818542"/>
                        <a:pt x="1863364" y="818542"/>
                      </a:cubicBezTo>
                      <a:moveTo>
                        <a:pt x="1861115" y="813401"/>
                      </a:moveTo>
                      <a:cubicBezTo>
                        <a:pt x="1860874" y="814204"/>
                        <a:pt x="1860713" y="815008"/>
                        <a:pt x="1860311" y="815731"/>
                      </a:cubicBezTo>
                      <a:cubicBezTo>
                        <a:pt x="1860552" y="814847"/>
                        <a:pt x="1860874" y="814044"/>
                        <a:pt x="1861195" y="813160"/>
                      </a:cubicBezTo>
                      <a:cubicBezTo>
                        <a:pt x="1861195" y="813241"/>
                        <a:pt x="1861195" y="813321"/>
                        <a:pt x="1861115" y="813401"/>
                      </a:cubicBezTo>
                      <a:moveTo>
                        <a:pt x="1861356" y="812759"/>
                      </a:moveTo>
                      <a:cubicBezTo>
                        <a:pt x="1861356" y="812759"/>
                        <a:pt x="1861356" y="812759"/>
                        <a:pt x="1861356" y="812759"/>
                      </a:cubicBezTo>
                      <a:lnTo>
                        <a:pt x="1861356" y="812759"/>
                      </a:lnTo>
                      <a:cubicBezTo>
                        <a:pt x="1861356" y="812759"/>
                        <a:pt x="1861356" y="812759"/>
                        <a:pt x="1861356" y="812759"/>
                      </a:cubicBezTo>
                      <a:moveTo>
                        <a:pt x="1854046" y="799504"/>
                      </a:moveTo>
                      <a:cubicBezTo>
                        <a:pt x="1853162" y="798380"/>
                        <a:pt x="1852760" y="797576"/>
                        <a:pt x="1853082" y="797657"/>
                      </a:cubicBezTo>
                      <a:cubicBezTo>
                        <a:pt x="1853323" y="797737"/>
                        <a:pt x="1853805" y="798219"/>
                        <a:pt x="1854046" y="798460"/>
                      </a:cubicBezTo>
                      <a:lnTo>
                        <a:pt x="1854046" y="799504"/>
                      </a:lnTo>
                      <a:moveTo>
                        <a:pt x="1901038" y="743998"/>
                      </a:moveTo>
                      <a:cubicBezTo>
                        <a:pt x="1900957" y="744239"/>
                        <a:pt x="1900797" y="744480"/>
                        <a:pt x="1900636" y="744721"/>
                      </a:cubicBezTo>
                      <a:cubicBezTo>
                        <a:pt x="1899351" y="746649"/>
                        <a:pt x="1897985" y="745283"/>
                        <a:pt x="1896620" y="740544"/>
                      </a:cubicBezTo>
                      <a:cubicBezTo>
                        <a:pt x="1898226" y="741427"/>
                        <a:pt x="1899752" y="742632"/>
                        <a:pt x="1901118" y="743917"/>
                      </a:cubicBezTo>
                      <a:cubicBezTo>
                        <a:pt x="1901038" y="743917"/>
                        <a:pt x="1901038" y="743998"/>
                        <a:pt x="1901038" y="743998"/>
                      </a:cubicBezTo>
                      <a:moveTo>
                        <a:pt x="1895415" y="738696"/>
                      </a:moveTo>
                      <a:cubicBezTo>
                        <a:pt x="1895495" y="738857"/>
                        <a:pt x="1895415" y="738937"/>
                        <a:pt x="1895415" y="739018"/>
                      </a:cubicBezTo>
                      <a:cubicBezTo>
                        <a:pt x="1895254" y="739259"/>
                        <a:pt x="1894852" y="739419"/>
                        <a:pt x="1893969" y="739660"/>
                      </a:cubicBezTo>
                      <a:cubicBezTo>
                        <a:pt x="1893808" y="739018"/>
                        <a:pt x="1893647" y="738214"/>
                        <a:pt x="1893487" y="737652"/>
                      </a:cubicBezTo>
                      <a:cubicBezTo>
                        <a:pt x="1894290" y="737893"/>
                        <a:pt x="1895254" y="738295"/>
                        <a:pt x="1895415" y="738696"/>
                      </a:cubicBezTo>
                      <a:moveTo>
                        <a:pt x="1890836" y="731868"/>
                      </a:moveTo>
                      <a:cubicBezTo>
                        <a:pt x="1891398" y="733153"/>
                        <a:pt x="1891157" y="734358"/>
                        <a:pt x="1890997" y="735001"/>
                      </a:cubicBezTo>
                      <a:cubicBezTo>
                        <a:pt x="1888988" y="734037"/>
                        <a:pt x="1887302" y="731949"/>
                        <a:pt x="1886257" y="728896"/>
                      </a:cubicBezTo>
                      <a:cubicBezTo>
                        <a:pt x="1887221" y="729137"/>
                        <a:pt x="1889872" y="729860"/>
                        <a:pt x="1890836" y="731868"/>
                      </a:cubicBezTo>
                      <a:moveTo>
                        <a:pt x="1875252" y="675237"/>
                      </a:moveTo>
                      <a:cubicBezTo>
                        <a:pt x="1875172" y="675398"/>
                        <a:pt x="1875092" y="675558"/>
                        <a:pt x="1875011" y="675719"/>
                      </a:cubicBezTo>
                      <a:cubicBezTo>
                        <a:pt x="1874449" y="676683"/>
                        <a:pt x="1872601" y="679655"/>
                        <a:pt x="1866175" y="671060"/>
                      </a:cubicBezTo>
                      <a:cubicBezTo>
                        <a:pt x="1867782" y="668731"/>
                        <a:pt x="1870754" y="670096"/>
                        <a:pt x="1875252" y="675237"/>
                      </a:cubicBezTo>
                      <a:cubicBezTo>
                        <a:pt x="1875252" y="675157"/>
                        <a:pt x="1875252" y="675157"/>
                        <a:pt x="1875252" y="675237"/>
                      </a:cubicBezTo>
                      <a:moveTo>
                        <a:pt x="1854367" y="671462"/>
                      </a:moveTo>
                      <a:cubicBezTo>
                        <a:pt x="1855411" y="676442"/>
                        <a:pt x="1855813" y="678611"/>
                        <a:pt x="1856295" y="681824"/>
                      </a:cubicBezTo>
                      <a:cubicBezTo>
                        <a:pt x="1855491" y="681583"/>
                        <a:pt x="1853724" y="681021"/>
                        <a:pt x="1852198" y="684234"/>
                      </a:cubicBezTo>
                      <a:cubicBezTo>
                        <a:pt x="1851636" y="672988"/>
                        <a:pt x="1852439" y="671301"/>
                        <a:pt x="1854206" y="670417"/>
                      </a:cubicBezTo>
                      <a:cubicBezTo>
                        <a:pt x="1854206" y="670819"/>
                        <a:pt x="1854287" y="671221"/>
                        <a:pt x="1854367" y="671462"/>
                      </a:cubicBezTo>
                      <a:moveTo>
                        <a:pt x="1799182" y="742231"/>
                      </a:moveTo>
                      <a:cubicBezTo>
                        <a:pt x="1796451" y="744399"/>
                        <a:pt x="1794362" y="742793"/>
                        <a:pt x="1792996" y="737250"/>
                      </a:cubicBezTo>
                      <a:cubicBezTo>
                        <a:pt x="1795647" y="738134"/>
                        <a:pt x="1797816" y="739660"/>
                        <a:pt x="1799423" y="741990"/>
                      </a:cubicBezTo>
                      <a:cubicBezTo>
                        <a:pt x="1799423" y="741990"/>
                        <a:pt x="1799262" y="742150"/>
                        <a:pt x="1799182" y="742231"/>
                      </a:cubicBezTo>
                      <a:moveTo>
                        <a:pt x="1851315" y="642544"/>
                      </a:moveTo>
                      <a:lnTo>
                        <a:pt x="1851315" y="642544"/>
                      </a:lnTo>
                      <a:cubicBezTo>
                        <a:pt x="1851154" y="642624"/>
                        <a:pt x="1850511" y="642704"/>
                        <a:pt x="1846656" y="642303"/>
                      </a:cubicBezTo>
                      <a:cubicBezTo>
                        <a:pt x="1846495" y="641981"/>
                        <a:pt x="1846334" y="641660"/>
                        <a:pt x="1846173" y="641339"/>
                      </a:cubicBezTo>
                      <a:cubicBezTo>
                        <a:pt x="1850592" y="642222"/>
                        <a:pt x="1851234" y="642463"/>
                        <a:pt x="1851315" y="642544"/>
                      </a:cubicBezTo>
                      <a:moveTo>
                        <a:pt x="1845210" y="494499"/>
                      </a:moveTo>
                      <a:cubicBezTo>
                        <a:pt x="1845531" y="494981"/>
                        <a:pt x="1845852" y="495463"/>
                        <a:pt x="1846173" y="495865"/>
                      </a:cubicBezTo>
                      <a:cubicBezTo>
                        <a:pt x="1846254" y="496025"/>
                        <a:pt x="1846415" y="496106"/>
                        <a:pt x="1846415" y="496266"/>
                      </a:cubicBezTo>
                      <a:cubicBezTo>
                        <a:pt x="1846093" y="496186"/>
                        <a:pt x="1844728" y="494097"/>
                        <a:pt x="1844808" y="493856"/>
                      </a:cubicBezTo>
                      <a:cubicBezTo>
                        <a:pt x="1844808" y="493856"/>
                        <a:pt x="1844808" y="493856"/>
                        <a:pt x="1844808" y="493856"/>
                      </a:cubicBezTo>
                      <a:cubicBezTo>
                        <a:pt x="1844969" y="494097"/>
                        <a:pt x="1845129" y="494338"/>
                        <a:pt x="1845210" y="494499"/>
                      </a:cubicBezTo>
                      <a:moveTo>
                        <a:pt x="1859588" y="548399"/>
                      </a:moveTo>
                      <a:cubicBezTo>
                        <a:pt x="1860392" y="550488"/>
                        <a:pt x="1860392" y="551211"/>
                        <a:pt x="1860392" y="551532"/>
                      </a:cubicBezTo>
                      <a:cubicBezTo>
                        <a:pt x="1860392" y="552897"/>
                        <a:pt x="1859267" y="552255"/>
                        <a:pt x="1859267" y="552255"/>
                      </a:cubicBezTo>
                      <a:cubicBezTo>
                        <a:pt x="1859187" y="552175"/>
                        <a:pt x="1853965" y="544061"/>
                        <a:pt x="1854769" y="543740"/>
                      </a:cubicBezTo>
                      <a:cubicBezTo>
                        <a:pt x="1855170" y="543660"/>
                        <a:pt x="1859106" y="547275"/>
                        <a:pt x="1859588" y="548399"/>
                      </a:cubicBezTo>
                      <a:moveTo>
                        <a:pt x="1639972" y="792114"/>
                      </a:moveTo>
                      <a:cubicBezTo>
                        <a:pt x="1638847" y="792596"/>
                        <a:pt x="1636758" y="793159"/>
                        <a:pt x="1634429" y="791793"/>
                      </a:cubicBezTo>
                      <a:cubicBezTo>
                        <a:pt x="1634991" y="791632"/>
                        <a:pt x="1635313" y="791472"/>
                        <a:pt x="1635795" y="791231"/>
                      </a:cubicBezTo>
                      <a:cubicBezTo>
                        <a:pt x="1636437" y="790829"/>
                        <a:pt x="1636839" y="790588"/>
                        <a:pt x="1637321" y="790026"/>
                      </a:cubicBezTo>
                      <a:cubicBezTo>
                        <a:pt x="1638526" y="790508"/>
                        <a:pt x="1639490" y="791231"/>
                        <a:pt x="1640132" y="792034"/>
                      </a:cubicBezTo>
                      <a:cubicBezTo>
                        <a:pt x="1640132" y="792114"/>
                        <a:pt x="1640052" y="792114"/>
                        <a:pt x="1639972" y="792114"/>
                      </a:cubicBezTo>
                      <a:moveTo>
                        <a:pt x="1754198" y="644712"/>
                      </a:moveTo>
                      <a:cubicBezTo>
                        <a:pt x="1753395" y="645114"/>
                        <a:pt x="1752431" y="645034"/>
                        <a:pt x="1744398" y="643989"/>
                      </a:cubicBezTo>
                      <a:cubicBezTo>
                        <a:pt x="1743836" y="641580"/>
                        <a:pt x="1743032" y="641419"/>
                        <a:pt x="1739980" y="642785"/>
                      </a:cubicBezTo>
                      <a:cubicBezTo>
                        <a:pt x="1740221" y="643186"/>
                        <a:pt x="1740462" y="643668"/>
                        <a:pt x="1740703" y="644070"/>
                      </a:cubicBezTo>
                      <a:cubicBezTo>
                        <a:pt x="1736205" y="644150"/>
                        <a:pt x="1735883" y="643989"/>
                        <a:pt x="1735562" y="643507"/>
                      </a:cubicBezTo>
                      <a:cubicBezTo>
                        <a:pt x="1735883" y="643025"/>
                        <a:pt x="1736044" y="642785"/>
                        <a:pt x="1738373" y="641740"/>
                      </a:cubicBezTo>
                      <a:cubicBezTo>
                        <a:pt x="1738213" y="641017"/>
                        <a:pt x="1738213" y="640937"/>
                        <a:pt x="1737570" y="639732"/>
                      </a:cubicBezTo>
                      <a:cubicBezTo>
                        <a:pt x="1740703" y="638447"/>
                        <a:pt x="1741346" y="638206"/>
                        <a:pt x="1742470" y="638527"/>
                      </a:cubicBezTo>
                      <a:cubicBezTo>
                        <a:pt x="1742791" y="638608"/>
                        <a:pt x="1743193" y="638768"/>
                        <a:pt x="1743434" y="638929"/>
                      </a:cubicBezTo>
                      <a:cubicBezTo>
                        <a:pt x="1744719" y="639571"/>
                        <a:pt x="1745844" y="640535"/>
                        <a:pt x="1747129" y="641178"/>
                      </a:cubicBezTo>
                      <a:cubicBezTo>
                        <a:pt x="1747691" y="641499"/>
                        <a:pt x="1748495" y="641660"/>
                        <a:pt x="1749137" y="641901"/>
                      </a:cubicBezTo>
                      <a:cubicBezTo>
                        <a:pt x="1752109" y="643025"/>
                        <a:pt x="1753877" y="643829"/>
                        <a:pt x="1754278" y="644471"/>
                      </a:cubicBezTo>
                      <a:cubicBezTo>
                        <a:pt x="1754198" y="644632"/>
                        <a:pt x="1754198" y="644712"/>
                        <a:pt x="1754198" y="644712"/>
                      </a:cubicBezTo>
                      <a:moveTo>
                        <a:pt x="1442606" y="813160"/>
                      </a:moveTo>
                      <a:cubicBezTo>
                        <a:pt x="1435858" y="815168"/>
                        <a:pt x="1434171" y="819024"/>
                        <a:pt x="1433609" y="820390"/>
                      </a:cubicBezTo>
                      <a:cubicBezTo>
                        <a:pt x="1433930" y="815008"/>
                        <a:pt x="1437063" y="812598"/>
                        <a:pt x="1442927" y="813080"/>
                      </a:cubicBezTo>
                      <a:cubicBezTo>
                        <a:pt x="1442766" y="813080"/>
                        <a:pt x="1442686" y="813160"/>
                        <a:pt x="1442606" y="813160"/>
                      </a:cubicBezTo>
                      <a:moveTo>
                        <a:pt x="1813239" y="473935"/>
                      </a:moveTo>
                      <a:cubicBezTo>
                        <a:pt x="1826413" y="492973"/>
                        <a:pt x="1832919" y="503335"/>
                        <a:pt x="1832598" y="504942"/>
                      </a:cubicBezTo>
                      <a:cubicBezTo>
                        <a:pt x="1832598" y="504942"/>
                        <a:pt x="1827859" y="502773"/>
                        <a:pt x="1820549" y="490965"/>
                      </a:cubicBezTo>
                      <a:cubicBezTo>
                        <a:pt x="1820629" y="490965"/>
                        <a:pt x="1820790" y="491045"/>
                        <a:pt x="1820870" y="491125"/>
                      </a:cubicBezTo>
                      <a:cubicBezTo>
                        <a:pt x="1817175" y="484137"/>
                        <a:pt x="1815087" y="480361"/>
                        <a:pt x="1813560" y="477791"/>
                      </a:cubicBezTo>
                      <a:cubicBezTo>
                        <a:pt x="1813400" y="477550"/>
                        <a:pt x="1813239" y="477309"/>
                        <a:pt x="1813159" y="477148"/>
                      </a:cubicBezTo>
                      <a:cubicBezTo>
                        <a:pt x="1812757" y="476506"/>
                        <a:pt x="1812114" y="476104"/>
                        <a:pt x="1811632" y="475542"/>
                      </a:cubicBezTo>
                      <a:cubicBezTo>
                        <a:pt x="1811070" y="474658"/>
                        <a:pt x="1810829" y="473694"/>
                        <a:pt x="1810267" y="472810"/>
                      </a:cubicBezTo>
                      <a:cubicBezTo>
                        <a:pt x="1809865" y="472248"/>
                        <a:pt x="1809303" y="471927"/>
                        <a:pt x="1808901" y="471686"/>
                      </a:cubicBezTo>
                      <a:cubicBezTo>
                        <a:pt x="1812355" y="472650"/>
                        <a:pt x="1812355" y="472650"/>
                        <a:pt x="1813239" y="473935"/>
                      </a:cubicBezTo>
                      <a:moveTo>
                        <a:pt x="1584706" y="734198"/>
                      </a:moveTo>
                      <a:cubicBezTo>
                        <a:pt x="1582537" y="736527"/>
                        <a:pt x="1580368" y="738857"/>
                        <a:pt x="1578199" y="741106"/>
                      </a:cubicBezTo>
                      <a:cubicBezTo>
                        <a:pt x="1580529" y="738616"/>
                        <a:pt x="1582858" y="736206"/>
                        <a:pt x="1585188" y="733716"/>
                      </a:cubicBezTo>
                      <a:cubicBezTo>
                        <a:pt x="1585108" y="733796"/>
                        <a:pt x="1584867" y="734037"/>
                        <a:pt x="1584706" y="734198"/>
                      </a:cubicBezTo>
                      <a:moveTo>
                        <a:pt x="1865613" y="576514"/>
                      </a:moveTo>
                      <a:cubicBezTo>
                        <a:pt x="1865211" y="579004"/>
                        <a:pt x="1867621" y="581093"/>
                        <a:pt x="1866738" y="583663"/>
                      </a:cubicBezTo>
                      <a:cubicBezTo>
                        <a:pt x="1865854" y="586314"/>
                        <a:pt x="1864167" y="586073"/>
                        <a:pt x="1862480" y="585591"/>
                      </a:cubicBezTo>
                      <a:cubicBezTo>
                        <a:pt x="1866497" y="593302"/>
                        <a:pt x="1869228" y="596917"/>
                        <a:pt x="1873324" y="600050"/>
                      </a:cubicBezTo>
                      <a:cubicBezTo>
                        <a:pt x="1872039" y="597239"/>
                        <a:pt x="1872039" y="596998"/>
                        <a:pt x="1872200" y="596194"/>
                      </a:cubicBezTo>
                      <a:cubicBezTo>
                        <a:pt x="1872923" y="596516"/>
                        <a:pt x="1876377" y="598122"/>
                        <a:pt x="1875814" y="600532"/>
                      </a:cubicBezTo>
                      <a:cubicBezTo>
                        <a:pt x="1875654" y="600612"/>
                        <a:pt x="1875413" y="600693"/>
                        <a:pt x="1875172" y="600773"/>
                      </a:cubicBezTo>
                      <a:cubicBezTo>
                        <a:pt x="1875333" y="601737"/>
                        <a:pt x="1875814" y="603263"/>
                        <a:pt x="1877662" y="605191"/>
                      </a:cubicBezTo>
                      <a:cubicBezTo>
                        <a:pt x="1877261" y="603102"/>
                        <a:pt x="1877582" y="602861"/>
                        <a:pt x="1878305" y="602380"/>
                      </a:cubicBezTo>
                      <a:cubicBezTo>
                        <a:pt x="1907946" y="632583"/>
                        <a:pt x="1896378" y="649211"/>
                        <a:pt x="1888747" y="648890"/>
                      </a:cubicBezTo>
                      <a:cubicBezTo>
                        <a:pt x="1882241" y="648568"/>
                        <a:pt x="1874610" y="638126"/>
                        <a:pt x="1870995" y="633145"/>
                      </a:cubicBezTo>
                      <a:cubicBezTo>
                        <a:pt x="1871397" y="633386"/>
                        <a:pt x="1871878" y="633707"/>
                        <a:pt x="1872280" y="633948"/>
                      </a:cubicBezTo>
                      <a:cubicBezTo>
                        <a:pt x="1865773" y="623345"/>
                        <a:pt x="1863926" y="617883"/>
                        <a:pt x="1864649" y="610734"/>
                      </a:cubicBezTo>
                      <a:cubicBezTo>
                        <a:pt x="1852519" y="609930"/>
                        <a:pt x="1839506" y="600934"/>
                        <a:pt x="1825850" y="584225"/>
                      </a:cubicBezTo>
                      <a:cubicBezTo>
                        <a:pt x="1826172" y="586234"/>
                        <a:pt x="1826734" y="587439"/>
                        <a:pt x="1828421" y="589447"/>
                      </a:cubicBezTo>
                      <a:cubicBezTo>
                        <a:pt x="1821352" y="585511"/>
                        <a:pt x="1818300" y="582619"/>
                        <a:pt x="1814444" y="575871"/>
                      </a:cubicBezTo>
                      <a:cubicBezTo>
                        <a:pt x="1814685" y="575952"/>
                        <a:pt x="1815006" y="576032"/>
                        <a:pt x="1815247" y="576112"/>
                      </a:cubicBezTo>
                      <a:cubicBezTo>
                        <a:pt x="1812998" y="570409"/>
                        <a:pt x="1811070" y="567035"/>
                        <a:pt x="1807857" y="563019"/>
                      </a:cubicBezTo>
                      <a:cubicBezTo>
                        <a:pt x="1808339" y="563099"/>
                        <a:pt x="1808901" y="563179"/>
                        <a:pt x="1809303" y="563179"/>
                      </a:cubicBezTo>
                      <a:cubicBezTo>
                        <a:pt x="1808982" y="553620"/>
                        <a:pt x="1808982" y="553620"/>
                        <a:pt x="1805046" y="542696"/>
                      </a:cubicBezTo>
                      <a:cubicBezTo>
                        <a:pt x="1805126" y="542535"/>
                        <a:pt x="1805287" y="542294"/>
                        <a:pt x="1805367" y="542134"/>
                      </a:cubicBezTo>
                      <a:cubicBezTo>
                        <a:pt x="1802636" y="526068"/>
                        <a:pt x="1801190" y="512332"/>
                        <a:pt x="1812275" y="521088"/>
                      </a:cubicBezTo>
                      <a:cubicBezTo>
                        <a:pt x="1815649" y="523738"/>
                        <a:pt x="1819906" y="528639"/>
                        <a:pt x="1822959" y="532253"/>
                      </a:cubicBezTo>
                      <a:cubicBezTo>
                        <a:pt x="1819505" y="539242"/>
                        <a:pt x="1820629" y="542535"/>
                        <a:pt x="1821513" y="544945"/>
                      </a:cubicBezTo>
                      <a:cubicBezTo>
                        <a:pt x="1821754" y="545588"/>
                        <a:pt x="1822155" y="546311"/>
                        <a:pt x="1822557" y="546793"/>
                      </a:cubicBezTo>
                      <a:cubicBezTo>
                        <a:pt x="1824164" y="548961"/>
                        <a:pt x="1826815" y="549925"/>
                        <a:pt x="1828501" y="552014"/>
                      </a:cubicBezTo>
                      <a:cubicBezTo>
                        <a:pt x="1830188" y="554183"/>
                        <a:pt x="1831152" y="557878"/>
                        <a:pt x="1832839" y="560127"/>
                      </a:cubicBezTo>
                      <a:cubicBezTo>
                        <a:pt x="1838462" y="567839"/>
                        <a:pt x="1848905" y="575389"/>
                        <a:pt x="1861034" y="584145"/>
                      </a:cubicBezTo>
                      <a:cubicBezTo>
                        <a:pt x="1854849" y="573381"/>
                        <a:pt x="1854126" y="570811"/>
                        <a:pt x="1855010" y="569445"/>
                      </a:cubicBezTo>
                      <a:cubicBezTo>
                        <a:pt x="1856456" y="569284"/>
                        <a:pt x="1858544" y="570248"/>
                        <a:pt x="1865613" y="576514"/>
                      </a:cubicBezTo>
                      <a:cubicBezTo>
                        <a:pt x="1865613" y="576434"/>
                        <a:pt x="1865613" y="576434"/>
                        <a:pt x="1865613" y="576514"/>
                      </a:cubicBezTo>
                      <a:moveTo>
                        <a:pt x="1732750" y="617160"/>
                      </a:moveTo>
                      <a:cubicBezTo>
                        <a:pt x="1724236" y="622622"/>
                        <a:pt x="1726726" y="632262"/>
                        <a:pt x="1727770" y="636358"/>
                      </a:cubicBezTo>
                      <a:cubicBezTo>
                        <a:pt x="1727288" y="635153"/>
                        <a:pt x="1726887" y="633948"/>
                        <a:pt x="1726405" y="632663"/>
                      </a:cubicBezTo>
                      <a:lnTo>
                        <a:pt x="1726565" y="632663"/>
                      </a:lnTo>
                      <a:cubicBezTo>
                        <a:pt x="1723995" y="620052"/>
                        <a:pt x="1726083" y="615072"/>
                        <a:pt x="1733152" y="616919"/>
                      </a:cubicBezTo>
                      <a:cubicBezTo>
                        <a:pt x="1732991" y="616999"/>
                        <a:pt x="1732831" y="617080"/>
                        <a:pt x="1732750" y="617160"/>
                      </a:cubicBezTo>
                      <a:moveTo>
                        <a:pt x="1461965" y="782073"/>
                      </a:moveTo>
                      <a:lnTo>
                        <a:pt x="1462848" y="779904"/>
                      </a:lnTo>
                      <a:lnTo>
                        <a:pt x="1465419" y="780306"/>
                      </a:lnTo>
                      <a:lnTo>
                        <a:pt x="1461965" y="782073"/>
                      </a:lnTo>
                      <a:moveTo>
                        <a:pt x="1474737" y="779021"/>
                      </a:moveTo>
                      <a:cubicBezTo>
                        <a:pt x="1474335" y="779262"/>
                        <a:pt x="1473934" y="779422"/>
                        <a:pt x="1473532" y="779663"/>
                      </a:cubicBezTo>
                      <a:cubicBezTo>
                        <a:pt x="1469837" y="781190"/>
                        <a:pt x="1467106" y="781029"/>
                        <a:pt x="1464294" y="779021"/>
                      </a:cubicBezTo>
                      <a:cubicBezTo>
                        <a:pt x="1467588" y="778700"/>
                        <a:pt x="1471444" y="778700"/>
                        <a:pt x="1474817" y="778780"/>
                      </a:cubicBezTo>
                      <a:cubicBezTo>
                        <a:pt x="1474737" y="778860"/>
                        <a:pt x="1474737" y="778941"/>
                        <a:pt x="1474737" y="779021"/>
                      </a:cubicBezTo>
                      <a:moveTo>
                        <a:pt x="1703029" y="609609"/>
                      </a:moveTo>
                      <a:cubicBezTo>
                        <a:pt x="1698370" y="610332"/>
                        <a:pt x="1692908" y="610412"/>
                        <a:pt x="1687927" y="609850"/>
                      </a:cubicBezTo>
                      <a:cubicBezTo>
                        <a:pt x="1690819" y="609448"/>
                        <a:pt x="1692024" y="609047"/>
                        <a:pt x="1693229" y="608163"/>
                      </a:cubicBezTo>
                      <a:cubicBezTo>
                        <a:pt x="1694193" y="607199"/>
                        <a:pt x="1694354" y="606316"/>
                        <a:pt x="1693791" y="604548"/>
                      </a:cubicBezTo>
                      <a:cubicBezTo>
                        <a:pt x="1696603" y="605673"/>
                        <a:pt x="1699414" y="606797"/>
                        <a:pt x="1702226" y="608003"/>
                      </a:cubicBezTo>
                      <a:cubicBezTo>
                        <a:pt x="1702467" y="608485"/>
                        <a:pt x="1702788" y="609127"/>
                        <a:pt x="1703029" y="609609"/>
                      </a:cubicBezTo>
                      <a:moveTo>
                        <a:pt x="1745522" y="378104"/>
                      </a:moveTo>
                      <a:cubicBezTo>
                        <a:pt x="1748334" y="381719"/>
                        <a:pt x="1749619" y="382923"/>
                        <a:pt x="1750664" y="383727"/>
                      </a:cubicBezTo>
                      <a:cubicBezTo>
                        <a:pt x="1750664" y="383887"/>
                        <a:pt x="1750744" y="384289"/>
                        <a:pt x="1750262" y="383968"/>
                      </a:cubicBezTo>
                      <a:cubicBezTo>
                        <a:pt x="1749539" y="383405"/>
                        <a:pt x="1748495" y="382120"/>
                        <a:pt x="1745041" y="377542"/>
                      </a:cubicBezTo>
                      <a:cubicBezTo>
                        <a:pt x="1745201" y="377702"/>
                        <a:pt x="1745442" y="377943"/>
                        <a:pt x="1745522" y="378104"/>
                      </a:cubicBezTo>
                      <a:moveTo>
                        <a:pt x="1731385" y="374409"/>
                      </a:moveTo>
                      <a:cubicBezTo>
                        <a:pt x="1732991" y="376015"/>
                        <a:pt x="1735401" y="379309"/>
                        <a:pt x="1736205" y="380514"/>
                      </a:cubicBezTo>
                      <a:cubicBezTo>
                        <a:pt x="1735000" y="379068"/>
                        <a:pt x="1732590" y="376337"/>
                        <a:pt x="1730260" y="373445"/>
                      </a:cubicBezTo>
                      <a:cubicBezTo>
                        <a:pt x="1730421" y="373605"/>
                        <a:pt x="1730742" y="373766"/>
                        <a:pt x="1731385" y="374409"/>
                      </a:cubicBezTo>
                      <a:moveTo>
                        <a:pt x="1378022" y="728093"/>
                      </a:moveTo>
                      <a:cubicBezTo>
                        <a:pt x="1375211" y="731386"/>
                        <a:pt x="1373363" y="732190"/>
                        <a:pt x="1372640" y="732431"/>
                      </a:cubicBezTo>
                      <a:cubicBezTo>
                        <a:pt x="1371596" y="732832"/>
                        <a:pt x="1368865" y="733796"/>
                        <a:pt x="1367017" y="729860"/>
                      </a:cubicBezTo>
                      <a:cubicBezTo>
                        <a:pt x="1365652" y="726968"/>
                        <a:pt x="1364768" y="725040"/>
                        <a:pt x="1366776" y="719819"/>
                      </a:cubicBezTo>
                      <a:cubicBezTo>
                        <a:pt x="1367740" y="722470"/>
                        <a:pt x="1369668" y="723112"/>
                        <a:pt x="1372640" y="721586"/>
                      </a:cubicBezTo>
                      <a:cubicBezTo>
                        <a:pt x="1374729" y="724639"/>
                        <a:pt x="1375853" y="725763"/>
                        <a:pt x="1378343" y="727691"/>
                      </a:cubicBezTo>
                      <a:cubicBezTo>
                        <a:pt x="1378263" y="727772"/>
                        <a:pt x="1378102" y="727932"/>
                        <a:pt x="1378022" y="728093"/>
                      </a:cubicBezTo>
                      <a:moveTo>
                        <a:pt x="1697326" y="328140"/>
                      </a:moveTo>
                      <a:cubicBezTo>
                        <a:pt x="1698049" y="328782"/>
                        <a:pt x="1698691" y="329425"/>
                        <a:pt x="1699414" y="330068"/>
                      </a:cubicBezTo>
                      <a:cubicBezTo>
                        <a:pt x="1698290" y="329184"/>
                        <a:pt x="1697567" y="328702"/>
                        <a:pt x="1697085" y="327899"/>
                      </a:cubicBezTo>
                      <a:cubicBezTo>
                        <a:pt x="1697085" y="327979"/>
                        <a:pt x="1697246" y="328059"/>
                        <a:pt x="1697326" y="328140"/>
                      </a:cubicBezTo>
                      <a:moveTo>
                        <a:pt x="1528958" y="608886"/>
                      </a:moveTo>
                      <a:cubicBezTo>
                        <a:pt x="1528878" y="609127"/>
                        <a:pt x="1528878" y="609368"/>
                        <a:pt x="1528798" y="609609"/>
                      </a:cubicBezTo>
                      <a:cubicBezTo>
                        <a:pt x="1528717" y="609850"/>
                        <a:pt x="1528316" y="612019"/>
                        <a:pt x="1526950" y="614268"/>
                      </a:cubicBezTo>
                      <a:cubicBezTo>
                        <a:pt x="1525585" y="616598"/>
                        <a:pt x="1524139" y="617642"/>
                        <a:pt x="1523496" y="618204"/>
                      </a:cubicBezTo>
                      <a:cubicBezTo>
                        <a:pt x="1524219" y="612260"/>
                        <a:pt x="1526468" y="608324"/>
                        <a:pt x="1530806" y="605593"/>
                      </a:cubicBezTo>
                      <a:cubicBezTo>
                        <a:pt x="1530324" y="606557"/>
                        <a:pt x="1529360" y="607762"/>
                        <a:pt x="1528958" y="608886"/>
                      </a:cubicBezTo>
                      <a:moveTo>
                        <a:pt x="1683911" y="324605"/>
                      </a:moveTo>
                      <a:cubicBezTo>
                        <a:pt x="1684152" y="325007"/>
                        <a:pt x="1684473" y="325409"/>
                        <a:pt x="1684554" y="325891"/>
                      </a:cubicBezTo>
                      <a:cubicBezTo>
                        <a:pt x="1684152" y="325409"/>
                        <a:pt x="1683911" y="324846"/>
                        <a:pt x="1683670" y="324284"/>
                      </a:cubicBezTo>
                      <a:lnTo>
                        <a:pt x="1683911" y="324605"/>
                      </a:lnTo>
                      <a:moveTo>
                        <a:pt x="1696924" y="408307"/>
                      </a:moveTo>
                      <a:cubicBezTo>
                        <a:pt x="1697888" y="411038"/>
                        <a:pt x="1699093" y="413609"/>
                        <a:pt x="1700378" y="415858"/>
                      </a:cubicBezTo>
                      <a:cubicBezTo>
                        <a:pt x="1699736" y="417786"/>
                        <a:pt x="1698450" y="423007"/>
                        <a:pt x="1701663" y="430638"/>
                      </a:cubicBezTo>
                      <a:cubicBezTo>
                        <a:pt x="1701744" y="430799"/>
                        <a:pt x="1709937" y="446865"/>
                        <a:pt x="1712588" y="445178"/>
                      </a:cubicBezTo>
                      <a:cubicBezTo>
                        <a:pt x="1713793" y="444375"/>
                        <a:pt x="1713632" y="440679"/>
                        <a:pt x="1713552" y="439233"/>
                      </a:cubicBezTo>
                      <a:cubicBezTo>
                        <a:pt x="1715721" y="446865"/>
                        <a:pt x="1720139" y="448230"/>
                        <a:pt x="1720219" y="448230"/>
                      </a:cubicBezTo>
                      <a:cubicBezTo>
                        <a:pt x="1721986" y="448070"/>
                        <a:pt x="1723111" y="449997"/>
                        <a:pt x="1723593" y="453853"/>
                      </a:cubicBezTo>
                      <a:cubicBezTo>
                        <a:pt x="1723272" y="453853"/>
                        <a:pt x="1722950" y="454014"/>
                        <a:pt x="1722709" y="453773"/>
                      </a:cubicBezTo>
                      <a:lnTo>
                        <a:pt x="1709054" y="445178"/>
                      </a:lnTo>
                      <a:cubicBezTo>
                        <a:pt x="1708411" y="444615"/>
                        <a:pt x="1708009" y="443410"/>
                        <a:pt x="1707608" y="442687"/>
                      </a:cubicBezTo>
                      <a:cubicBezTo>
                        <a:pt x="1705921" y="439796"/>
                        <a:pt x="1702065" y="433771"/>
                        <a:pt x="1694514" y="426059"/>
                      </a:cubicBezTo>
                      <a:cubicBezTo>
                        <a:pt x="1696041" y="426943"/>
                        <a:pt x="1696764" y="427024"/>
                        <a:pt x="1697165" y="426381"/>
                      </a:cubicBezTo>
                      <a:cubicBezTo>
                        <a:pt x="1694996" y="424453"/>
                        <a:pt x="1694996" y="424453"/>
                        <a:pt x="1694273" y="423489"/>
                      </a:cubicBezTo>
                      <a:cubicBezTo>
                        <a:pt x="1696362" y="422686"/>
                        <a:pt x="1697246" y="421802"/>
                        <a:pt x="1697968" y="420035"/>
                      </a:cubicBezTo>
                      <a:cubicBezTo>
                        <a:pt x="1698772" y="416420"/>
                        <a:pt x="1697727" y="413368"/>
                        <a:pt x="1693872" y="407906"/>
                      </a:cubicBezTo>
                      <a:cubicBezTo>
                        <a:pt x="1695398" y="409351"/>
                        <a:pt x="1695960" y="409833"/>
                        <a:pt x="1696603" y="409914"/>
                      </a:cubicBezTo>
                      <a:cubicBezTo>
                        <a:pt x="1696924" y="409512"/>
                        <a:pt x="1697085" y="409351"/>
                        <a:pt x="1696523" y="407263"/>
                      </a:cubicBezTo>
                      <a:cubicBezTo>
                        <a:pt x="1696603" y="407504"/>
                        <a:pt x="1696764" y="407986"/>
                        <a:pt x="1696924" y="408307"/>
                      </a:cubicBezTo>
                      <a:moveTo>
                        <a:pt x="1536911" y="518196"/>
                      </a:moveTo>
                      <a:cubicBezTo>
                        <a:pt x="1534742" y="516830"/>
                        <a:pt x="1532412" y="515304"/>
                        <a:pt x="1532894" y="515143"/>
                      </a:cubicBezTo>
                      <a:cubicBezTo>
                        <a:pt x="1533216" y="515063"/>
                        <a:pt x="1534822" y="515625"/>
                        <a:pt x="1535545" y="515866"/>
                      </a:cubicBezTo>
                      <a:lnTo>
                        <a:pt x="1536911" y="518196"/>
                      </a:lnTo>
                      <a:moveTo>
                        <a:pt x="1576754" y="485583"/>
                      </a:moveTo>
                      <a:cubicBezTo>
                        <a:pt x="1576673" y="485663"/>
                        <a:pt x="1576673" y="485743"/>
                        <a:pt x="1576593" y="485824"/>
                      </a:cubicBezTo>
                      <a:cubicBezTo>
                        <a:pt x="1575870" y="486948"/>
                        <a:pt x="1575147" y="487832"/>
                        <a:pt x="1574424" y="488394"/>
                      </a:cubicBezTo>
                      <a:cubicBezTo>
                        <a:pt x="1571532" y="490724"/>
                        <a:pt x="1570809" y="486948"/>
                        <a:pt x="1570488" y="483414"/>
                      </a:cubicBezTo>
                      <a:lnTo>
                        <a:pt x="1573540" y="483735"/>
                      </a:lnTo>
                      <a:cubicBezTo>
                        <a:pt x="1573701" y="483494"/>
                        <a:pt x="1573942" y="483092"/>
                        <a:pt x="1574103" y="482851"/>
                      </a:cubicBezTo>
                      <a:cubicBezTo>
                        <a:pt x="1575227" y="483815"/>
                        <a:pt x="1576031" y="484539"/>
                        <a:pt x="1577236" y="485342"/>
                      </a:cubicBezTo>
                      <a:cubicBezTo>
                        <a:pt x="1576995" y="485422"/>
                        <a:pt x="1576834" y="485422"/>
                        <a:pt x="1576754" y="485583"/>
                      </a:cubicBezTo>
                      <a:moveTo>
                        <a:pt x="1422524" y="569686"/>
                      </a:moveTo>
                      <a:cubicBezTo>
                        <a:pt x="1426460" y="576514"/>
                        <a:pt x="1427906" y="583502"/>
                        <a:pt x="1427022" y="591696"/>
                      </a:cubicBezTo>
                      <a:cubicBezTo>
                        <a:pt x="1421721" y="584868"/>
                        <a:pt x="1420034" y="576996"/>
                        <a:pt x="1422443" y="569525"/>
                      </a:cubicBezTo>
                      <a:cubicBezTo>
                        <a:pt x="1422443" y="569606"/>
                        <a:pt x="1422524" y="569686"/>
                        <a:pt x="1422524" y="569686"/>
                      </a:cubicBezTo>
                      <a:moveTo>
                        <a:pt x="1616275" y="443330"/>
                      </a:moveTo>
                      <a:cubicBezTo>
                        <a:pt x="1617239" y="445017"/>
                        <a:pt x="1618444" y="445901"/>
                        <a:pt x="1618926" y="446222"/>
                      </a:cubicBezTo>
                      <a:cubicBezTo>
                        <a:pt x="1618203" y="446061"/>
                        <a:pt x="1617319" y="445901"/>
                        <a:pt x="1616676" y="445820"/>
                      </a:cubicBezTo>
                      <a:cubicBezTo>
                        <a:pt x="1618042" y="447588"/>
                        <a:pt x="1618363" y="448230"/>
                        <a:pt x="1618845" y="449997"/>
                      </a:cubicBezTo>
                      <a:cubicBezTo>
                        <a:pt x="1612740" y="449194"/>
                        <a:pt x="1605672" y="447266"/>
                        <a:pt x="1599406" y="444856"/>
                      </a:cubicBezTo>
                      <a:cubicBezTo>
                        <a:pt x="1600852" y="445419"/>
                        <a:pt x="1601735" y="445419"/>
                        <a:pt x="1602699" y="445097"/>
                      </a:cubicBezTo>
                      <a:cubicBezTo>
                        <a:pt x="1605029" y="446543"/>
                        <a:pt x="1605672" y="446865"/>
                        <a:pt x="1606073" y="446784"/>
                      </a:cubicBezTo>
                      <a:cubicBezTo>
                        <a:pt x="1606073" y="446543"/>
                        <a:pt x="1606154" y="446463"/>
                        <a:pt x="1605190" y="445258"/>
                      </a:cubicBezTo>
                      <a:cubicBezTo>
                        <a:pt x="1606475" y="444937"/>
                        <a:pt x="1607680" y="444455"/>
                        <a:pt x="1608965" y="444214"/>
                      </a:cubicBezTo>
                      <a:cubicBezTo>
                        <a:pt x="1606957" y="443009"/>
                        <a:pt x="1606073" y="442366"/>
                        <a:pt x="1605511" y="441483"/>
                      </a:cubicBezTo>
                      <a:cubicBezTo>
                        <a:pt x="1601173" y="438029"/>
                        <a:pt x="1601013" y="440760"/>
                        <a:pt x="1601093" y="441643"/>
                      </a:cubicBezTo>
                      <a:cubicBezTo>
                        <a:pt x="1601093" y="442045"/>
                        <a:pt x="1601254" y="442446"/>
                        <a:pt x="1601334" y="442848"/>
                      </a:cubicBezTo>
                      <a:cubicBezTo>
                        <a:pt x="1600049" y="440840"/>
                        <a:pt x="1598924" y="439394"/>
                        <a:pt x="1597077" y="437386"/>
                      </a:cubicBezTo>
                      <a:cubicBezTo>
                        <a:pt x="1597960" y="436663"/>
                        <a:pt x="1598844" y="436100"/>
                        <a:pt x="1599647" y="435217"/>
                      </a:cubicBezTo>
                      <a:cubicBezTo>
                        <a:pt x="1600049" y="434655"/>
                        <a:pt x="1600209" y="434494"/>
                        <a:pt x="1600611" y="432887"/>
                      </a:cubicBezTo>
                      <a:cubicBezTo>
                        <a:pt x="1601896" y="439314"/>
                        <a:pt x="1608403" y="441242"/>
                        <a:pt x="1616195" y="442848"/>
                      </a:cubicBezTo>
                      <a:cubicBezTo>
                        <a:pt x="1616114" y="443009"/>
                        <a:pt x="1616195" y="443250"/>
                        <a:pt x="1616275" y="443330"/>
                      </a:cubicBezTo>
                      <a:moveTo>
                        <a:pt x="1431280" y="554183"/>
                      </a:moveTo>
                      <a:cubicBezTo>
                        <a:pt x="1429030" y="560047"/>
                        <a:pt x="1424773" y="560529"/>
                        <a:pt x="1420917" y="560288"/>
                      </a:cubicBezTo>
                      <a:cubicBezTo>
                        <a:pt x="1422524" y="558842"/>
                        <a:pt x="1424934" y="556914"/>
                        <a:pt x="1429512" y="555307"/>
                      </a:cubicBezTo>
                      <a:cubicBezTo>
                        <a:pt x="1430075" y="554826"/>
                        <a:pt x="1430878" y="554183"/>
                        <a:pt x="1431521" y="553701"/>
                      </a:cubicBezTo>
                      <a:cubicBezTo>
                        <a:pt x="1431440" y="553861"/>
                        <a:pt x="1431360" y="554022"/>
                        <a:pt x="1431280" y="554183"/>
                      </a:cubicBezTo>
                      <a:moveTo>
                        <a:pt x="1409993" y="570811"/>
                      </a:moveTo>
                      <a:cubicBezTo>
                        <a:pt x="1410073" y="572738"/>
                        <a:pt x="1410153" y="577880"/>
                        <a:pt x="1407743" y="582619"/>
                      </a:cubicBezTo>
                      <a:cubicBezTo>
                        <a:pt x="1407101" y="583904"/>
                        <a:pt x="1406378" y="585270"/>
                        <a:pt x="1404852" y="586957"/>
                      </a:cubicBezTo>
                      <a:cubicBezTo>
                        <a:pt x="1404611" y="587198"/>
                        <a:pt x="1404289" y="587599"/>
                        <a:pt x="1403968" y="587840"/>
                      </a:cubicBezTo>
                      <a:cubicBezTo>
                        <a:pt x="1403084" y="588644"/>
                        <a:pt x="1402040" y="589125"/>
                        <a:pt x="1401157" y="589848"/>
                      </a:cubicBezTo>
                      <a:cubicBezTo>
                        <a:pt x="1401076" y="589929"/>
                        <a:pt x="1401076" y="590089"/>
                        <a:pt x="1401076" y="590170"/>
                      </a:cubicBezTo>
                      <a:cubicBezTo>
                        <a:pt x="1400755" y="591214"/>
                        <a:pt x="1399550" y="591937"/>
                        <a:pt x="1399148" y="592178"/>
                      </a:cubicBezTo>
                      <a:cubicBezTo>
                        <a:pt x="1398907" y="587358"/>
                        <a:pt x="1397863" y="585350"/>
                        <a:pt x="1393606" y="581816"/>
                      </a:cubicBezTo>
                      <a:lnTo>
                        <a:pt x="1396096" y="583261"/>
                      </a:lnTo>
                      <a:cubicBezTo>
                        <a:pt x="1401237" y="578442"/>
                        <a:pt x="1401719" y="576514"/>
                        <a:pt x="1395935" y="570730"/>
                      </a:cubicBezTo>
                      <a:cubicBezTo>
                        <a:pt x="1404450" y="565027"/>
                        <a:pt x="1407984" y="568481"/>
                        <a:pt x="1409511" y="570007"/>
                      </a:cubicBezTo>
                      <a:cubicBezTo>
                        <a:pt x="1409671" y="570409"/>
                        <a:pt x="1409832" y="570570"/>
                        <a:pt x="1409993" y="570811"/>
                      </a:cubicBezTo>
                      <a:moveTo>
                        <a:pt x="1599406" y="418830"/>
                      </a:moveTo>
                      <a:cubicBezTo>
                        <a:pt x="1600129" y="419553"/>
                        <a:pt x="1600772" y="420276"/>
                        <a:pt x="1601494" y="421079"/>
                      </a:cubicBezTo>
                      <a:cubicBezTo>
                        <a:pt x="1598603" y="421240"/>
                        <a:pt x="1595309" y="420517"/>
                        <a:pt x="1592016" y="418991"/>
                      </a:cubicBezTo>
                      <a:cubicBezTo>
                        <a:pt x="1594667" y="419312"/>
                        <a:pt x="1597077" y="419071"/>
                        <a:pt x="1599085" y="418509"/>
                      </a:cubicBezTo>
                      <a:cubicBezTo>
                        <a:pt x="1599165" y="418509"/>
                        <a:pt x="1599326" y="418669"/>
                        <a:pt x="1599406" y="418830"/>
                      </a:cubicBezTo>
                      <a:moveTo>
                        <a:pt x="1306048" y="588162"/>
                      </a:moveTo>
                      <a:cubicBezTo>
                        <a:pt x="1305888" y="589527"/>
                        <a:pt x="1306289" y="590652"/>
                        <a:pt x="1306450" y="591053"/>
                      </a:cubicBezTo>
                      <a:cubicBezTo>
                        <a:pt x="1306129" y="590411"/>
                        <a:pt x="1305807" y="589929"/>
                        <a:pt x="1305325" y="589447"/>
                      </a:cubicBezTo>
                      <a:cubicBezTo>
                        <a:pt x="1305566" y="588965"/>
                        <a:pt x="1305807" y="588563"/>
                        <a:pt x="1306048" y="588081"/>
                      </a:cubicBezTo>
                      <a:cubicBezTo>
                        <a:pt x="1306048" y="588081"/>
                        <a:pt x="1306048" y="588162"/>
                        <a:pt x="1306048" y="588162"/>
                      </a:cubicBezTo>
                      <a:moveTo>
                        <a:pt x="1581011" y="407906"/>
                      </a:moveTo>
                      <a:cubicBezTo>
                        <a:pt x="1582216" y="409110"/>
                        <a:pt x="1582778" y="410556"/>
                        <a:pt x="1583019" y="411119"/>
                      </a:cubicBezTo>
                      <a:cubicBezTo>
                        <a:pt x="1582939" y="411038"/>
                        <a:pt x="1582778" y="410958"/>
                        <a:pt x="1582698" y="410878"/>
                      </a:cubicBezTo>
                      <a:cubicBezTo>
                        <a:pt x="1580931" y="408468"/>
                        <a:pt x="1579806" y="408548"/>
                        <a:pt x="1579083" y="408950"/>
                      </a:cubicBezTo>
                      <a:cubicBezTo>
                        <a:pt x="1577717" y="407986"/>
                        <a:pt x="1576754" y="407263"/>
                        <a:pt x="1575629" y="406138"/>
                      </a:cubicBezTo>
                      <a:cubicBezTo>
                        <a:pt x="1576352" y="406138"/>
                        <a:pt x="1578842" y="405817"/>
                        <a:pt x="1581011" y="407906"/>
                      </a:cubicBezTo>
                      <a:moveTo>
                        <a:pt x="1506467" y="462528"/>
                      </a:moveTo>
                      <a:cubicBezTo>
                        <a:pt x="1506467" y="462528"/>
                        <a:pt x="1507109" y="463492"/>
                        <a:pt x="1506386" y="464135"/>
                      </a:cubicBezTo>
                      <a:cubicBezTo>
                        <a:pt x="1505503" y="464938"/>
                        <a:pt x="1504619" y="465340"/>
                        <a:pt x="1503735" y="465179"/>
                      </a:cubicBezTo>
                      <a:cubicBezTo>
                        <a:pt x="1503093" y="465099"/>
                        <a:pt x="1502691" y="464778"/>
                        <a:pt x="1502450" y="464537"/>
                      </a:cubicBezTo>
                      <a:cubicBezTo>
                        <a:pt x="1503575" y="464617"/>
                        <a:pt x="1504137" y="464537"/>
                        <a:pt x="1504619" y="464215"/>
                      </a:cubicBezTo>
                      <a:cubicBezTo>
                        <a:pt x="1505181" y="463653"/>
                        <a:pt x="1505101" y="463091"/>
                        <a:pt x="1504378" y="461886"/>
                      </a:cubicBezTo>
                      <a:cubicBezTo>
                        <a:pt x="1504860" y="461886"/>
                        <a:pt x="1505985" y="461886"/>
                        <a:pt x="1506467" y="462528"/>
                      </a:cubicBezTo>
                      <a:moveTo>
                        <a:pt x="1463652" y="480201"/>
                      </a:moveTo>
                      <a:cubicBezTo>
                        <a:pt x="1463250" y="481486"/>
                        <a:pt x="1462688" y="482691"/>
                        <a:pt x="1462366" y="483976"/>
                      </a:cubicBezTo>
                      <a:cubicBezTo>
                        <a:pt x="1461804" y="486065"/>
                        <a:pt x="1461644" y="487189"/>
                        <a:pt x="1461644" y="487591"/>
                      </a:cubicBezTo>
                      <a:cubicBezTo>
                        <a:pt x="1461081" y="484539"/>
                        <a:pt x="1461804" y="481727"/>
                        <a:pt x="1463812" y="479719"/>
                      </a:cubicBezTo>
                      <a:cubicBezTo>
                        <a:pt x="1463732" y="479879"/>
                        <a:pt x="1463732" y="480040"/>
                        <a:pt x="1463652" y="480201"/>
                      </a:cubicBezTo>
                      <a:moveTo>
                        <a:pt x="1470078" y="480602"/>
                      </a:moveTo>
                      <a:cubicBezTo>
                        <a:pt x="1468311" y="480683"/>
                        <a:pt x="1466544" y="480522"/>
                        <a:pt x="1465178" y="480442"/>
                      </a:cubicBezTo>
                      <a:cubicBezTo>
                        <a:pt x="1465339" y="479397"/>
                        <a:pt x="1465580" y="478514"/>
                        <a:pt x="1465821" y="477550"/>
                      </a:cubicBezTo>
                      <a:cubicBezTo>
                        <a:pt x="1466785" y="479156"/>
                        <a:pt x="1467989" y="480040"/>
                        <a:pt x="1470239" y="480602"/>
                      </a:cubicBezTo>
                      <a:cubicBezTo>
                        <a:pt x="1470239" y="480602"/>
                        <a:pt x="1470158" y="480602"/>
                        <a:pt x="1470078" y="480602"/>
                      </a:cubicBezTo>
                      <a:moveTo>
                        <a:pt x="1544863" y="441242"/>
                      </a:moveTo>
                      <a:cubicBezTo>
                        <a:pt x="1548719" y="445499"/>
                        <a:pt x="1546872" y="450560"/>
                        <a:pt x="1546149" y="452648"/>
                      </a:cubicBezTo>
                      <a:cubicBezTo>
                        <a:pt x="1548558" y="456825"/>
                        <a:pt x="1549281" y="459637"/>
                        <a:pt x="1545827" y="461725"/>
                      </a:cubicBezTo>
                      <a:cubicBezTo>
                        <a:pt x="1544783" y="460360"/>
                        <a:pt x="1543578" y="458753"/>
                        <a:pt x="1540124" y="456825"/>
                      </a:cubicBezTo>
                      <a:cubicBezTo>
                        <a:pt x="1538196" y="455781"/>
                        <a:pt x="1536027" y="455299"/>
                        <a:pt x="1534019" y="454335"/>
                      </a:cubicBezTo>
                      <a:cubicBezTo>
                        <a:pt x="1528637" y="451765"/>
                        <a:pt x="1523496" y="448632"/>
                        <a:pt x="1518034" y="446222"/>
                      </a:cubicBezTo>
                      <a:cubicBezTo>
                        <a:pt x="1517793" y="445579"/>
                        <a:pt x="1516990" y="443732"/>
                        <a:pt x="1515142" y="441724"/>
                      </a:cubicBezTo>
                      <a:cubicBezTo>
                        <a:pt x="1514981" y="441563"/>
                        <a:pt x="1514580" y="441322"/>
                        <a:pt x="1514580" y="441081"/>
                      </a:cubicBezTo>
                      <a:cubicBezTo>
                        <a:pt x="1514098" y="437386"/>
                        <a:pt x="1514740" y="435217"/>
                        <a:pt x="1516508" y="434494"/>
                      </a:cubicBezTo>
                      <a:cubicBezTo>
                        <a:pt x="1519721" y="433048"/>
                        <a:pt x="1533296" y="434976"/>
                        <a:pt x="1538758" y="437225"/>
                      </a:cubicBezTo>
                      <a:cubicBezTo>
                        <a:pt x="1540606" y="438029"/>
                        <a:pt x="1543096" y="439314"/>
                        <a:pt x="1544863" y="441242"/>
                      </a:cubicBezTo>
                      <a:moveTo>
                        <a:pt x="1471444" y="468633"/>
                      </a:moveTo>
                      <a:cubicBezTo>
                        <a:pt x="1469757" y="473614"/>
                        <a:pt x="1472086" y="475783"/>
                        <a:pt x="1474335" y="477068"/>
                      </a:cubicBezTo>
                      <a:cubicBezTo>
                        <a:pt x="1473291" y="478674"/>
                        <a:pt x="1472729" y="480201"/>
                        <a:pt x="1475781" y="479478"/>
                      </a:cubicBezTo>
                      <a:cubicBezTo>
                        <a:pt x="1476344" y="479317"/>
                        <a:pt x="1476906" y="479156"/>
                        <a:pt x="1477468" y="478996"/>
                      </a:cubicBezTo>
                      <a:lnTo>
                        <a:pt x="1477227" y="479397"/>
                      </a:lnTo>
                      <a:lnTo>
                        <a:pt x="1479798" y="480602"/>
                      </a:lnTo>
                      <a:cubicBezTo>
                        <a:pt x="1474496" y="481325"/>
                        <a:pt x="1471363" y="480281"/>
                        <a:pt x="1470319" y="479960"/>
                      </a:cubicBezTo>
                      <a:cubicBezTo>
                        <a:pt x="1470560" y="474176"/>
                        <a:pt x="1470560" y="470079"/>
                        <a:pt x="1470480" y="467670"/>
                      </a:cubicBezTo>
                      <a:cubicBezTo>
                        <a:pt x="1470881" y="467911"/>
                        <a:pt x="1471202" y="468312"/>
                        <a:pt x="1471444" y="468633"/>
                      </a:cubicBezTo>
                      <a:moveTo>
                        <a:pt x="1486626" y="459235"/>
                      </a:moveTo>
                      <a:cubicBezTo>
                        <a:pt x="1482689" y="458994"/>
                        <a:pt x="1481726" y="459476"/>
                        <a:pt x="1482930" y="461243"/>
                      </a:cubicBezTo>
                      <a:cubicBezTo>
                        <a:pt x="1482930" y="461083"/>
                        <a:pt x="1482850" y="460842"/>
                        <a:pt x="1482850" y="460681"/>
                      </a:cubicBezTo>
                      <a:cubicBezTo>
                        <a:pt x="1483653" y="462047"/>
                        <a:pt x="1483814" y="462609"/>
                        <a:pt x="1483653" y="462850"/>
                      </a:cubicBezTo>
                      <a:cubicBezTo>
                        <a:pt x="1483171" y="463010"/>
                        <a:pt x="1482047" y="462127"/>
                        <a:pt x="1479235" y="459637"/>
                      </a:cubicBezTo>
                      <a:cubicBezTo>
                        <a:pt x="1481243" y="457227"/>
                        <a:pt x="1484135" y="458030"/>
                        <a:pt x="1486947" y="459235"/>
                      </a:cubicBezTo>
                      <a:cubicBezTo>
                        <a:pt x="1486786" y="459235"/>
                        <a:pt x="1486706" y="459235"/>
                        <a:pt x="1486626" y="459235"/>
                      </a:cubicBezTo>
                      <a:moveTo>
                        <a:pt x="1481163" y="456022"/>
                      </a:moveTo>
                      <a:cubicBezTo>
                        <a:pt x="1480521" y="455460"/>
                        <a:pt x="1480039" y="454897"/>
                        <a:pt x="1479637" y="454174"/>
                      </a:cubicBezTo>
                      <a:lnTo>
                        <a:pt x="1481163" y="456022"/>
                      </a:lnTo>
                      <a:moveTo>
                        <a:pt x="1489276" y="456022"/>
                      </a:moveTo>
                      <a:cubicBezTo>
                        <a:pt x="1488875" y="456102"/>
                        <a:pt x="1487750" y="456343"/>
                        <a:pt x="1486947" y="457066"/>
                      </a:cubicBezTo>
                      <a:cubicBezTo>
                        <a:pt x="1489919" y="457388"/>
                        <a:pt x="1489919" y="458271"/>
                        <a:pt x="1489598" y="458994"/>
                      </a:cubicBezTo>
                      <a:cubicBezTo>
                        <a:pt x="1485742" y="458592"/>
                        <a:pt x="1483252" y="457709"/>
                        <a:pt x="1481243" y="456022"/>
                      </a:cubicBezTo>
                      <a:cubicBezTo>
                        <a:pt x="1481967" y="455379"/>
                        <a:pt x="1481967" y="454897"/>
                        <a:pt x="1481243" y="454094"/>
                      </a:cubicBezTo>
                      <a:cubicBezTo>
                        <a:pt x="1483412" y="454094"/>
                        <a:pt x="1483412" y="454094"/>
                        <a:pt x="1483734" y="453853"/>
                      </a:cubicBezTo>
                      <a:cubicBezTo>
                        <a:pt x="1484457" y="453210"/>
                        <a:pt x="1482689" y="452809"/>
                        <a:pt x="1479878" y="452166"/>
                      </a:cubicBezTo>
                      <a:cubicBezTo>
                        <a:pt x="1483573" y="452889"/>
                        <a:pt x="1486626" y="454014"/>
                        <a:pt x="1489598" y="455942"/>
                      </a:cubicBezTo>
                      <a:cubicBezTo>
                        <a:pt x="1489517" y="455942"/>
                        <a:pt x="1489357" y="456022"/>
                        <a:pt x="1489276" y="456022"/>
                      </a:cubicBezTo>
                      <a:moveTo>
                        <a:pt x="1345248" y="531611"/>
                      </a:moveTo>
                      <a:cubicBezTo>
                        <a:pt x="1345730" y="532253"/>
                        <a:pt x="1345248" y="532735"/>
                        <a:pt x="1345088" y="532896"/>
                      </a:cubicBezTo>
                      <a:cubicBezTo>
                        <a:pt x="1344124" y="532253"/>
                        <a:pt x="1343722" y="531530"/>
                        <a:pt x="1343642" y="530566"/>
                      </a:cubicBezTo>
                      <a:cubicBezTo>
                        <a:pt x="1343883" y="530647"/>
                        <a:pt x="1344847" y="531048"/>
                        <a:pt x="1345248" y="531611"/>
                      </a:cubicBezTo>
                      <a:moveTo>
                        <a:pt x="1511849" y="430237"/>
                      </a:moveTo>
                      <a:lnTo>
                        <a:pt x="1511849" y="430237"/>
                      </a:lnTo>
                      <a:cubicBezTo>
                        <a:pt x="1511608" y="430237"/>
                        <a:pt x="1511447" y="430076"/>
                        <a:pt x="1511206" y="429996"/>
                      </a:cubicBezTo>
                      <a:cubicBezTo>
                        <a:pt x="1510563" y="429755"/>
                        <a:pt x="1509840" y="429433"/>
                        <a:pt x="1509198" y="429192"/>
                      </a:cubicBezTo>
                      <a:cubicBezTo>
                        <a:pt x="1509037" y="429032"/>
                        <a:pt x="1508796" y="428791"/>
                        <a:pt x="1508635" y="428630"/>
                      </a:cubicBezTo>
                      <a:cubicBezTo>
                        <a:pt x="1509439" y="429032"/>
                        <a:pt x="1511768" y="430156"/>
                        <a:pt x="1511849" y="430237"/>
                      </a:cubicBezTo>
                      <a:moveTo>
                        <a:pt x="1463893" y="460601"/>
                      </a:moveTo>
                      <a:cubicBezTo>
                        <a:pt x="1465419" y="463412"/>
                        <a:pt x="1465419" y="463412"/>
                        <a:pt x="1467507" y="464215"/>
                      </a:cubicBezTo>
                      <a:cubicBezTo>
                        <a:pt x="1466785" y="463974"/>
                        <a:pt x="1465178" y="463492"/>
                        <a:pt x="1463973" y="464457"/>
                      </a:cubicBezTo>
                      <a:cubicBezTo>
                        <a:pt x="1464053" y="464537"/>
                        <a:pt x="1464053" y="464537"/>
                        <a:pt x="1464134" y="464617"/>
                      </a:cubicBezTo>
                      <a:cubicBezTo>
                        <a:pt x="1462607" y="465260"/>
                        <a:pt x="1462045" y="465501"/>
                        <a:pt x="1461001" y="465742"/>
                      </a:cubicBezTo>
                      <a:cubicBezTo>
                        <a:pt x="1462045" y="469115"/>
                        <a:pt x="1462848" y="471043"/>
                        <a:pt x="1464214" y="473935"/>
                      </a:cubicBezTo>
                      <a:lnTo>
                        <a:pt x="1465178" y="473694"/>
                      </a:lnTo>
                      <a:cubicBezTo>
                        <a:pt x="1465017" y="474578"/>
                        <a:pt x="1464937" y="474658"/>
                        <a:pt x="1465339" y="476104"/>
                      </a:cubicBezTo>
                      <a:cubicBezTo>
                        <a:pt x="1464455" y="475702"/>
                        <a:pt x="1463893" y="475461"/>
                        <a:pt x="1463009" y="474979"/>
                      </a:cubicBezTo>
                      <a:cubicBezTo>
                        <a:pt x="1462366" y="469678"/>
                        <a:pt x="1460519" y="466866"/>
                        <a:pt x="1456422" y="465019"/>
                      </a:cubicBezTo>
                      <a:cubicBezTo>
                        <a:pt x="1457226" y="464858"/>
                        <a:pt x="1457145" y="463974"/>
                        <a:pt x="1456744" y="462689"/>
                      </a:cubicBezTo>
                      <a:lnTo>
                        <a:pt x="1457547" y="464135"/>
                      </a:lnTo>
                      <a:cubicBezTo>
                        <a:pt x="1458109" y="463814"/>
                        <a:pt x="1458832" y="463332"/>
                        <a:pt x="1459394" y="463010"/>
                      </a:cubicBezTo>
                      <a:cubicBezTo>
                        <a:pt x="1460358" y="464215"/>
                        <a:pt x="1461322" y="464938"/>
                        <a:pt x="1464294" y="462769"/>
                      </a:cubicBezTo>
                      <a:lnTo>
                        <a:pt x="1460840" y="462287"/>
                      </a:lnTo>
                      <a:lnTo>
                        <a:pt x="1463893" y="461886"/>
                      </a:lnTo>
                      <a:cubicBezTo>
                        <a:pt x="1462286" y="460601"/>
                        <a:pt x="1461724" y="459797"/>
                        <a:pt x="1461322" y="458512"/>
                      </a:cubicBezTo>
                      <a:lnTo>
                        <a:pt x="1462768" y="459717"/>
                      </a:lnTo>
                      <a:lnTo>
                        <a:pt x="1463009" y="459396"/>
                      </a:lnTo>
                      <a:cubicBezTo>
                        <a:pt x="1463250" y="459797"/>
                        <a:pt x="1463652" y="460199"/>
                        <a:pt x="1463893" y="460601"/>
                      </a:cubicBezTo>
                      <a:moveTo>
                        <a:pt x="1341393" y="523738"/>
                      </a:moveTo>
                      <a:cubicBezTo>
                        <a:pt x="1341553" y="523979"/>
                        <a:pt x="1341634" y="524220"/>
                        <a:pt x="1341634" y="524461"/>
                      </a:cubicBezTo>
                      <a:cubicBezTo>
                        <a:pt x="1341714" y="525184"/>
                        <a:pt x="1342196" y="526309"/>
                        <a:pt x="1343240" y="527755"/>
                      </a:cubicBezTo>
                      <a:cubicBezTo>
                        <a:pt x="1344525" y="529602"/>
                        <a:pt x="1345650" y="530727"/>
                        <a:pt x="1347016" y="531932"/>
                      </a:cubicBezTo>
                      <a:cubicBezTo>
                        <a:pt x="1346855" y="532012"/>
                        <a:pt x="1346694" y="532093"/>
                        <a:pt x="1346534" y="532173"/>
                      </a:cubicBezTo>
                      <a:cubicBezTo>
                        <a:pt x="1342356" y="529924"/>
                        <a:pt x="1340429" y="527353"/>
                        <a:pt x="1339786" y="523015"/>
                      </a:cubicBezTo>
                      <a:cubicBezTo>
                        <a:pt x="1340268" y="523015"/>
                        <a:pt x="1340991" y="523015"/>
                        <a:pt x="1341393" y="523738"/>
                      </a:cubicBezTo>
                      <a:moveTo>
                        <a:pt x="1541088" y="395053"/>
                      </a:moveTo>
                      <a:cubicBezTo>
                        <a:pt x="1538116" y="393045"/>
                        <a:pt x="1535867" y="391438"/>
                        <a:pt x="1536268" y="391358"/>
                      </a:cubicBezTo>
                      <a:cubicBezTo>
                        <a:pt x="1536590" y="391278"/>
                        <a:pt x="1539240" y="392563"/>
                        <a:pt x="1540204" y="393045"/>
                      </a:cubicBezTo>
                      <a:lnTo>
                        <a:pt x="1541088" y="395053"/>
                      </a:lnTo>
                      <a:moveTo>
                        <a:pt x="1488955" y="426220"/>
                      </a:moveTo>
                      <a:cubicBezTo>
                        <a:pt x="1489196" y="426461"/>
                        <a:pt x="1489357" y="426702"/>
                        <a:pt x="1489517" y="426943"/>
                      </a:cubicBezTo>
                      <a:cubicBezTo>
                        <a:pt x="1489437" y="427024"/>
                        <a:pt x="1489276" y="427184"/>
                        <a:pt x="1489196" y="427265"/>
                      </a:cubicBezTo>
                      <a:cubicBezTo>
                        <a:pt x="1487911" y="428229"/>
                        <a:pt x="1486867" y="427827"/>
                        <a:pt x="1485662" y="425979"/>
                      </a:cubicBezTo>
                      <a:cubicBezTo>
                        <a:pt x="1485662" y="425738"/>
                        <a:pt x="1485581" y="425337"/>
                        <a:pt x="1485581" y="425096"/>
                      </a:cubicBezTo>
                      <a:cubicBezTo>
                        <a:pt x="1486786" y="425096"/>
                        <a:pt x="1487991" y="425256"/>
                        <a:pt x="1488955" y="426220"/>
                      </a:cubicBezTo>
                      <a:moveTo>
                        <a:pt x="1554342" y="412966"/>
                      </a:moveTo>
                      <a:cubicBezTo>
                        <a:pt x="1556109" y="419955"/>
                        <a:pt x="1555627" y="423328"/>
                        <a:pt x="1553137" y="422043"/>
                      </a:cubicBezTo>
                      <a:cubicBezTo>
                        <a:pt x="1552254" y="421561"/>
                        <a:pt x="1551450" y="420758"/>
                        <a:pt x="1550647" y="419874"/>
                      </a:cubicBezTo>
                      <a:cubicBezTo>
                        <a:pt x="1551932" y="419392"/>
                        <a:pt x="1553217" y="418750"/>
                        <a:pt x="1551450" y="417786"/>
                      </a:cubicBezTo>
                      <a:cubicBezTo>
                        <a:pt x="1549201" y="416501"/>
                        <a:pt x="1541811" y="415215"/>
                        <a:pt x="1535144" y="414091"/>
                      </a:cubicBezTo>
                      <a:cubicBezTo>
                        <a:pt x="1529039" y="413046"/>
                        <a:pt x="1520524" y="405977"/>
                        <a:pt x="1525344" y="404612"/>
                      </a:cubicBezTo>
                      <a:cubicBezTo>
                        <a:pt x="1525745" y="404532"/>
                        <a:pt x="1526227" y="404451"/>
                        <a:pt x="1526629" y="404371"/>
                      </a:cubicBezTo>
                      <a:cubicBezTo>
                        <a:pt x="1525986" y="404853"/>
                        <a:pt x="1525906" y="405094"/>
                        <a:pt x="1525906" y="405255"/>
                      </a:cubicBezTo>
                      <a:cubicBezTo>
                        <a:pt x="1527111" y="406219"/>
                        <a:pt x="1531127" y="404933"/>
                        <a:pt x="1531609" y="404532"/>
                      </a:cubicBezTo>
                      <a:cubicBezTo>
                        <a:pt x="1531609" y="404451"/>
                        <a:pt x="1531529" y="404371"/>
                        <a:pt x="1531529" y="404291"/>
                      </a:cubicBezTo>
                      <a:cubicBezTo>
                        <a:pt x="1531207" y="404211"/>
                        <a:pt x="1530886" y="404211"/>
                        <a:pt x="1530565" y="404130"/>
                      </a:cubicBezTo>
                      <a:cubicBezTo>
                        <a:pt x="1531368" y="402363"/>
                        <a:pt x="1533617" y="397704"/>
                        <a:pt x="1523817" y="399310"/>
                      </a:cubicBezTo>
                      <a:cubicBezTo>
                        <a:pt x="1522853" y="399471"/>
                        <a:pt x="1519399" y="399712"/>
                        <a:pt x="1515062" y="395856"/>
                      </a:cubicBezTo>
                      <a:cubicBezTo>
                        <a:pt x="1520845" y="395936"/>
                        <a:pt x="1524701" y="395535"/>
                        <a:pt x="1524701" y="395535"/>
                      </a:cubicBezTo>
                      <a:cubicBezTo>
                        <a:pt x="1525022" y="395535"/>
                        <a:pt x="1525424" y="395294"/>
                        <a:pt x="1525665" y="395455"/>
                      </a:cubicBezTo>
                      <a:cubicBezTo>
                        <a:pt x="1526227" y="395696"/>
                        <a:pt x="1526790" y="396178"/>
                        <a:pt x="1527272" y="396499"/>
                      </a:cubicBezTo>
                      <a:cubicBezTo>
                        <a:pt x="1534742" y="401479"/>
                        <a:pt x="1543578" y="406219"/>
                        <a:pt x="1553619" y="410637"/>
                      </a:cubicBezTo>
                      <a:cubicBezTo>
                        <a:pt x="1553940" y="411279"/>
                        <a:pt x="1554181" y="412243"/>
                        <a:pt x="1554342" y="412966"/>
                      </a:cubicBezTo>
                      <a:moveTo>
                        <a:pt x="1488714" y="422525"/>
                      </a:moveTo>
                      <a:cubicBezTo>
                        <a:pt x="1489758" y="423569"/>
                        <a:pt x="1489999" y="424614"/>
                        <a:pt x="1490160" y="425176"/>
                      </a:cubicBezTo>
                      <a:cubicBezTo>
                        <a:pt x="1488875" y="424533"/>
                        <a:pt x="1487750" y="424132"/>
                        <a:pt x="1486143" y="423810"/>
                      </a:cubicBezTo>
                      <a:cubicBezTo>
                        <a:pt x="1485742" y="423569"/>
                        <a:pt x="1485260" y="423168"/>
                        <a:pt x="1484939" y="422927"/>
                      </a:cubicBezTo>
                      <a:cubicBezTo>
                        <a:pt x="1485822" y="423087"/>
                        <a:pt x="1486143" y="423087"/>
                        <a:pt x="1486385" y="422927"/>
                      </a:cubicBezTo>
                      <a:cubicBezTo>
                        <a:pt x="1486706" y="422445"/>
                        <a:pt x="1485260" y="421561"/>
                        <a:pt x="1482609" y="419874"/>
                      </a:cubicBezTo>
                      <a:cubicBezTo>
                        <a:pt x="1483573" y="419955"/>
                        <a:pt x="1486786" y="420517"/>
                        <a:pt x="1488714" y="422525"/>
                      </a:cubicBezTo>
                      <a:moveTo>
                        <a:pt x="1492570" y="414733"/>
                      </a:moveTo>
                      <a:cubicBezTo>
                        <a:pt x="1494096" y="416099"/>
                        <a:pt x="1494658" y="417706"/>
                        <a:pt x="1494819" y="418188"/>
                      </a:cubicBezTo>
                      <a:cubicBezTo>
                        <a:pt x="1494899" y="418268"/>
                        <a:pt x="1494980" y="418348"/>
                        <a:pt x="1495140" y="418428"/>
                      </a:cubicBezTo>
                      <a:cubicBezTo>
                        <a:pt x="1494658" y="418589"/>
                        <a:pt x="1494016" y="418830"/>
                        <a:pt x="1493534" y="418991"/>
                      </a:cubicBezTo>
                      <a:cubicBezTo>
                        <a:pt x="1492088" y="416742"/>
                        <a:pt x="1491365" y="415376"/>
                        <a:pt x="1490481" y="413287"/>
                      </a:cubicBezTo>
                      <a:cubicBezTo>
                        <a:pt x="1490803" y="413528"/>
                        <a:pt x="1491686" y="413930"/>
                        <a:pt x="1492570" y="414733"/>
                      </a:cubicBezTo>
                      <a:moveTo>
                        <a:pt x="1469676" y="436181"/>
                      </a:moveTo>
                      <a:lnTo>
                        <a:pt x="1469194" y="436583"/>
                      </a:lnTo>
                      <a:cubicBezTo>
                        <a:pt x="1469114" y="436984"/>
                        <a:pt x="1468953" y="437547"/>
                        <a:pt x="1468873" y="437868"/>
                      </a:cubicBezTo>
                      <a:cubicBezTo>
                        <a:pt x="1470721" y="438751"/>
                        <a:pt x="1471685" y="439394"/>
                        <a:pt x="1473050" y="440519"/>
                      </a:cubicBezTo>
                      <a:cubicBezTo>
                        <a:pt x="1472086" y="441804"/>
                        <a:pt x="1472568" y="442527"/>
                        <a:pt x="1474978" y="443330"/>
                      </a:cubicBezTo>
                      <a:cubicBezTo>
                        <a:pt x="1473452" y="443892"/>
                        <a:pt x="1472488" y="443571"/>
                        <a:pt x="1471042" y="442205"/>
                      </a:cubicBezTo>
                      <a:cubicBezTo>
                        <a:pt x="1472568" y="444696"/>
                        <a:pt x="1473291" y="446141"/>
                        <a:pt x="1473853" y="448311"/>
                      </a:cubicBezTo>
                      <a:cubicBezTo>
                        <a:pt x="1472247" y="447507"/>
                        <a:pt x="1471926" y="446945"/>
                        <a:pt x="1472648" y="446061"/>
                      </a:cubicBezTo>
                      <a:cubicBezTo>
                        <a:pt x="1469757" y="444696"/>
                        <a:pt x="1469596" y="444856"/>
                        <a:pt x="1469355" y="445097"/>
                      </a:cubicBezTo>
                      <a:cubicBezTo>
                        <a:pt x="1469516" y="445740"/>
                        <a:pt x="1470239" y="446624"/>
                        <a:pt x="1472407" y="448632"/>
                      </a:cubicBezTo>
                      <a:cubicBezTo>
                        <a:pt x="1471444" y="448792"/>
                        <a:pt x="1470721" y="449114"/>
                        <a:pt x="1472407" y="450399"/>
                      </a:cubicBezTo>
                      <a:cubicBezTo>
                        <a:pt x="1471604" y="450158"/>
                        <a:pt x="1470560" y="449837"/>
                        <a:pt x="1469757" y="449596"/>
                      </a:cubicBezTo>
                      <a:cubicBezTo>
                        <a:pt x="1470962" y="450961"/>
                        <a:pt x="1472247" y="452246"/>
                        <a:pt x="1473371" y="453612"/>
                      </a:cubicBezTo>
                      <a:cubicBezTo>
                        <a:pt x="1472889" y="453451"/>
                        <a:pt x="1472167" y="453210"/>
                        <a:pt x="1471685" y="452969"/>
                      </a:cubicBezTo>
                      <a:cubicBezTo>
                        <a:pt x="1472889" y="454496"/>
                        <a:pt x="1476022" y="458592"/>
                        <a:pt x="1475781" y="459637"/>
                      </a:cubicBezTo>
                      <a:cubicBezTo>
                        <a:pt x="1475701" y="459958"/>
                        <a:pt x="1475701" y="460842"/>
                        <a:pt x="1477067" y="461565"/>
                      </a:cubicBezTo>
                      <a:cubicBezTo>
                        <a:pt x="1477067" y="461243"/>
                        <a:pt x="1477147" y="460761"/>
                        <a:pt x="1477147" y="460440"/>
                      </a:cubicBezTo>
                      <a:cubicBezTo>
                        <a:pt x="1478030" y="461886"/>
                        <a:pt x="1478834" y="462769"/>
                        <a:pt x="1480521" y="464055"/>
                      </a:cubicBezTo>
                      <a:cubicBezTo>
                        <a:pt x="1478753" y="466866"/>
                        <a:pt x="1487429" y="469115"/>
                        <a:pt x="1487589" y="469115"/>
                      </a:cubicBezTo>
                      <a:cubicBezTo>
                        <a:pt x="1489196" y="468633"/>
                        <a:pt x="1488794" y="465902"/>
                        <a:pt x="1488634" y="464697"/>
                      </a:cubicBezTo>
                      <a:cubicBezTo>
                        <a:pt x="1490321" y="466786"/>
                        <a:pt x="1492329" y="469276"/>
                        <a:pt x="1493453" y="472891"/>
                      </a:cubicBezTo>
                      <a:cubicBezTo>
                        <a:pt x="1493052" y="472007"/>
                        <a:pt x="1492249" y="470320"/>
                        <a:pt x="1490883" y="469838"/>
                      </a:cubicBezTo>
                      <a:cubicBezTo>
                        <a:pt x="1490722" y="469758"/>
                        <a:pt x="1490481" y="469758"/>
                        <a:pt x="1490240" y="469758"/>
                      </a:cubicBezTo>
                      <a:lnTo>
                        <a:pt x="1485340" y="470079"/>
                      </a:lnTo>
                      <a:cubicBezTo>
                        <a:pt x="1486385" y="471847"/>
                        <a:pt x="1487268" y="472810"/>
                        <a:pt x="1489035" y="474256"/>
                      </a:cubicBezTo>
                      <a:lnTo>
                        <a:pt x="1487108" y="473774"/>
                      </a:lnTo>
                      <a:cubicBezTo>
                        <a:pt x="1486867" y="474015"/>
                        <a:pt x="1486545" y="474417"/>
                        <a:pt x="1486304" y="474658"/>
                      </a:cubicBezTo>
                      <a:cubicBezTo>
                        <a:pt x="1486063" y="472810"/>
                        <a:pt x="1485421" y="471766"/>
                        <a:pt x="1483814" y="470642"/>
                      </a:cubicBezTo>
                      <a:cubicBezTo>
                        <a:pt x="1483894" y="470883"/>
                        <a:pt x="1483975" y="471124"/>
                        <a:pt x="1484055" y="471365"/>
                      </a:cubicBezTo>
                      <a:cubicBezTo>
                        <a:pt x="1478914" y="468071"/>
                        <a:pt x="1477227" y="466786"/>
                        <a:pt x="1473371" y="463412"/>
                      </a:cubicBezTo>
                      <a:cubicBezTo>
                        <a:pt x="1473452" y="463332"/>
                        <a:pt x="1473612" y="463251"/>
                        <a:pt x="1473773" y="463171"/>
                      </a:cubicBezTo>
                      <a:cubicBezTo>
                        <a:pt x="1474335" y="462689"/>
                        <a:pt x="1475460" y="461886"/>
                        <a:pt x="1473532" y="461565"/>
                      </a:cubicBezTo>
                      <a:cubicBezTo>
                        <a:pt x="1473291" y="461565"/>
                        <a:pt x="1472970" y="461484"/>
                        <a:pt x="1472809" y="461484"/>
                      </a:cubicBezTo>
                      <a:cubicBezTo>
                        <a:pt x="1473853" y="458352"/>
                        <a:pt x="1473050" y="457066"/>
                        <a:pt x="1469596" y="456182"/>
                      </a:cubicBezTo>
                      <a:cubicBezTo>
                        <a:pt x="1472648" y="450961"/>
                        <a:pt x="1466383" y="449033"/>
                        <a:pt x="1466062" y="448953"/>
                      </a:cubicBezTo>
                      <a:cubicBezTo>
                        <a:pt x="1461885" y="447748"/>
                        <a:pt x="1462527" y="445178"/>
                        <a:pt x="1462768" y="444214"/>
                      </a:cubicBezTo>
                      <a:cubicBezTo>
                        <a:pt x="1454735" y="441965"/>
                        <a:pt x="1454414" y="441884"/>
                        <a:pt x="1452004" y="437225"/>
                      </a:cubicBezTo>
                      <a:cubicBezTo>
                        <a:pt x="1453129" y="438189"/>
                        <a:pt x="1454012" y="438510"/>
                        <a:pt x="1455539" y="438510"/>
                      </a:cubicBezTo>
                      <a:cubicBezTo>
                        <a:pt x="1455458" y="438270"/>
                        <a:pt x="1455298" y="437868"/>
                        <a:pt x="1455137" y="437627"/>
                      </a:cubicBezTo>
                      <a:cubicBezTo>
                        <a:pt x="1456904" y="437948"/>
                        <a:pt x="1458109" y="438270"/>
                        <a:pt x="1459555" y="438912"/>
                      </a:cubicBezTo>
                      <a:cubicBezTo>
                        <a:pt x="1459394" y="438992"/>
                        <a:pt x="1459153" y="439073"/>
                        <a:pt x="1458912" y="439073"/>
                      </a:cubicBezTo>
                      <a:cubicBezTo>
                        <a:pt x="1461403" y="439796"/>
                        <a:pt x="1463411" y="440519"/>
                        <a:pt x="1466222" y="441643"/>
                      </a:cubicBezTo>
                      <a:cubicBezTo>
                        <a:pt x="1464937" y="441402"/>
                        <a:pt x="1461483" y="440599"/>
                        <a:pt x="1463009" y="443169"/>
                      </a:cubicBezTo>
                      <a:cubicBezTo>
                        <a:pt x="1463170" y="443491"/>
                        <a:pt x="1463491" y="443812"/>
                        <a:pt x="1463652" y="444053"/>
                      </a:cubicBezTo>
                      <a:cubicBezTo>
                        <a:pt x="1464134" y="444375"/>
                        <a:pt x="1464776" y="444776"/>
                        <a:pt x="1465258" y="445097"/>
                      </a:cubicBezTo>
                      <a:cubicBezTo>
                        <a:pt x="1465258" y="447427"/>
                        <a:pt x="1466222" y="447668"/>
                        <a:pt x="1470480" y="448471"/>
                      </a:cubicBezTo>
                      <a:cubicBezTo>
                        <a:pt x="1467829" y="446222"/>
                        <a:pt x="1467347" y="444776"/>
                        <a:pt x="1468391" y="442768"/>
                      </a:cubicBezTo>
                      <a:cubicBezTo>
                        <a:pt x="1466945" y="441402"/>
                        <a:pt x="1465821" y="440679"/>
                        <a:pt x="1463812" y="439555"/>
                      </a:cubicBezTo>
                      <a:cubicBezTo>
                        <a:pt x="1466544" y="440679"/>
                        <a:pt x="1468391" y="441161"/>
                        <a:pt x="1471283" y="441402"/>
                      </a:cubicBezTo>
                      <a:cubicBezTo>
                        <a:pt x="1469516" y="439555"/>
                        <a:pt x="1467668" y="438510"/>
                        <a:pt x="1464616" y="437627"/>
                      </a:cubicBezTo>
                      <a:cubicBezTo>
                        <a:pt x="1465339" y="437707"/>
                        <a:pt x="1466222" y="437788"/>
                        <a:pt x="1466945" y="437868"/>
                      </a:cubicBezTo>
                      <a:cubicBezTo>
                        <a:pt x="1464455" y="435940"/>
                        <a:pt x="1464214" y="434815"/>
                        <a:pt x="1465901" y="433209"/>
                      </a:cubicBezTo>
                      <a:cubicBezTo>
                        <a:pt x="1465821" y="434092"/>
                        <a:pt x="1466142" y="434655"/>
                        <a:pt x="1467106" y="435378"/>
                      </a:cubicBezTo>
                      <a:cubicBezTo>
                        <a:pt x="1466945" y="435458"/>
                        <a:pt x="1466865" y="435538"/>
                        <a:pt x="1466704" y="435619"/>
                      </a:cubicBezTo>
                      <a:cubicBezTo>
                        <a:pt x="1467266" y="436020"/>
                        <a:pt x="1468311" y="436824"/>
                        <a:pt x="1469516" y="435779"/>
                      </a:cubicBezTo>
                      <a:lnTo>
                        <a:pt x="1469676" y="436181"/>
                      </a:lnTo>
                      <a:moveTo>
                        <a:pt x="1458270" y="430719"/>
                      </a:moveTo>
                      <a:cubicBezTo>
                        <a:pt x="1460840" y="432727"/>
                        <a:pt x="1462929" y="434976"/>
                        <a:pt x="1464214" y="436583"/>
                      </a:cubicBezTo>
                      <a:cubicBezTo>
                        <a:pt x="1461403" y="435860"/>
                        <a:pt x="1458752" y="434896"/>
                        <a:pt x="1455699" y="433369"/>
                      </a:cubicBezTo>
                      <a:cubicBezTo>
                        <a:pt x="1456101" y="433289"/>
                        <a:pt x="1457306" y="432887"/>
                        <a:pt x="1457788" y="432566"/>
                      </a:cubicBezTo>
                      <a:cubicBezTo>
                        <a:pt x="1457868" y="432486"/>
                        <a:pt x="1458029" y="432405"/>
                        <a:pt x="1458109" y="432164"/>
                      </a:cubicBezTo>
                      <a:cubicBezTo>
                        <a:pt x="1458270" y="431442"/>
                        <a:pt x="1458189" y="430719"/>
                        <a:pt x="1458270" y="429996"/>
                      </a:cubicBezTo>
                      <a:cubicBezTo>
                        <a:pt x="1458270" y="430237"/>
                        <a:pt x="1458270" y="430478"/>
                        <a:pt x="1458270" y="430719"/>
                      </a:cubicBezTo>
                      <a:moveTo>
                        <a:pt x="1357699" y="496186"/>
                      </a:moveTo>
                      <a:cubicBezTo>
                        <a:pt x="1359948" y="500202"/>
                        <a:pt x="1359466" y="501729"/>
                        <a:pt x="1356334" y="500765"/>
                      </a:cubicBezTo>
                      <a:cubicBezTo>
                        <a:pt x="1354325" y="500122"/>
                        <a:pt x="1351594" y="498596"/>
                        <a:pt x="1350309" y="497873"/>
                      </a:cubicBezTo>
                      <a:cubicBezTo>
                        <a:pt x="1349747" y="497632"/>
                        <a:pt x="1348943" y="497311"/>
                        <a:pt x="1348381" y="496989"/>
                      </a:cubicBezTo>
                      <a:cubicBezTo>
                        <a:pt x="1349024" y="496989"/>
                        <a:pt x="1349345" y="496989"/>
                        <a:pt x="1349586" y="496829"/>
                      </a:cubicBezTo>
                      <a:cubicBezTo>
                        <a:pt x="1349586" y="496829"/>
                        <a:pt x="1349666" y="496748"/>
                        <a:pt x="1349666" y="496748"/>
                      </a:cubicBezTo>
                      <a:cubicBezTo>
                        <a:pt x="1349666" y="496507"/>
                        <a:pt x="1349345" y="496266"/>
                        <a:pt x="1347979" y="495704"/>
                      </a:cubicBezTo>
                      <a:cubicBezTo>
                        <a:pt x="1349265" y="495142"/>
                        <a:pt x="1351032" y="494499"/>
                        <a:pt x="1353281" y="494580"/>
                      </a:cubicBezTo>
                      <a:cubicBezTo>
                        <a:pt x="1353442" y="494580"/>
                        <a:pt x="1356896" y="494740"/>
                        <a:pt x="1357699" y="496186"/>
                      </a:cubicBezTo>
                      <a:moveTo>
                        <a:pt x="1498112" y="431040"/>
                      </a:moveTo>
                      <a:cubicBezTo>
                        <a:pt x="1499398" y="432486"/>
                        <a:pt x="1500924" y="434815"/>
                        <a:pt x="1502290" y="436904"/>
                      </a:cubicBezTo>
                      <a:cubicBezTo>
                        <a:pt x="1502932" y="435458"/>
                        <a:pt x="1505021" y="437627"/>
                        <a:pt x="1505021" y="437627"/>
                      </a:cubicBezTo>
                      <a:cubicBezTo>
                        <a:pt x="1505021" y="437627"/>
                        <a:pt x="1505824" y="440840"/>
                        <a:pt x="1505824" y="446222"/>
                      </a:cubicBezTo>
                      <a:cubicBezTo>
                        <a:pt x="1502932" y="445820"/>
                        <a:pt x="1501647" y="446463"/>
                        <a:pt x="1501727" y="448230"/>
                      </a:cubicBezTo>
                      <a:cubicBezTo>
                        <a:pt x="1502209" y="448070"/>
                        <a:pt x="1502932" y="447829"/>
                        <a:pt x="1503414" y="447668"/>
                      </a:cubicBezTo>
                      <a:cubicBezTo>
                        <a:pt x="1503012" y="448632"/>
                        <a:pt x="1503253" y="449194"/>
                        <a:pt x="1504539" y="449917"/>
                      </a:cubicBezTo>
                      <a:cubicBezTo>
                        <a:pt x="1504057" y="452889"/>
                        <a:pt x="1504217" y="453210"/>
                        <a:pt x="1504458" y="453612"/>
                      </a:cubicBezTo>
                      <a:cubicBezTo>
                        <a:pt x="1504860" y="453692"/>
                        <a:pt x="1505181" y="453692"/>
                        <a:pt x="1506386" y="452006"/>
                      </a:cubicBezTo>
                      <a:cubicBezTo>
                        <a:pt x="1509680" y="458432"/>
                        <a:pt x="1507912" y="460601"/>
                        <a:pt x="1499157" y="460601"/>
                      </a:cubicBezTo>
                      <a:cubicBezTo>
                        <a:pt x="1498594" y="459797"/>
                        <a:pt x="1498112" y="459396"/>
                        <a:pt x="1497229" y="460119"/>
                      </a:cubicBezTo>
                      <a:cubicBezTo>
                        <a:pt x="1496265" y="459396"/>
                        <a:pt x="1495783" y="459074"/>
                        <a:pt x="1491284" y="453853"/>
                      </a:cubicBezTo>
                      <a:cubicBezTo>
                        <a:pt x="1493293" y="455460"/>
                        <a:pt x="1493855" y="455861"/>
                        <a:pt x="1494417" y="456022"/>
                      </a:cubicBezTo>
                      <a:cubicBezTo>
                        <a:pt x="1494498" y="455942"/>
                        <a:pt x="1494578" y="455861"/>
                        <a:pt x="1494658" y="455861"/>
                      </a:cubicBezTo>
                      <a:cubicBezTo>
                        <a:pt x="1494498" y="455379"/>
                        <a:pt x="1494498" y="455299"/>
                        <a:pt x="1493775" y="454255"/>
                      </a:cubicBezTo>
                      <a:cubicBezTo>
                        <a:pt x="1496586" y="452969"/>
                        <a:pt x="1494257" y="451604"/>
                        <a:pt x="1491686" y="450560"/>
                      </a:cubicBezTo>
                      <a:cubicBezTo>
                        <a:pt x="1494819" y="450801"/>
                        <a:pt x="1496747" y="451363"/>
                        <a:pt x="1499719" y="452969"/>
                      </a:cubicBezTo>
                      <a:cubicBezTo>
                        <a:pt x="1499719" y="452809"/>
                        <a:pt x="1500603" y="438832"/>
                        <a:pt x="1476906" y="439956"/>
                      </a:cubicBezTo>
                      <a:cubicBezTo>
                        <a:pt x="1476906" y="439956"/>
                        <a:pt x="1476263" y="435699"/>
                        <a:pt x="1474978" y="434574"/>
                      </a:cubicBezTo>
                      <a:cubicBezTo>
                        <a:pt x="1472247" y="432245"/>
                        <a:pt x="1468230" y="432727"/>
                        <a:pt x="1465419" y="430638"/>
                      </a:cubicBezTo>
                      <a:cubicBezTo>
                        <a:pt x="1463732" y="429433"/>
                        <a:pt x="1462768" y="427506"/>
                        <a:pt x="1461001" y="426301"/>
                      </a:cubicBezTo>
                      <a:cubicBezTo>
                        <a:pt x="1464937" y="427747"/>
                        <a:pt x="1467347" y="428791"/>
                        <a:pt x="1470239" y="430397"/>
                      </a:cubicBezTo>
                      <a:cubicBezTo>
                        <a:pt x="1470962" y="430478"/>
                        <a:pt x="1471926" y="430558"/>
                        <a:pt x="1472648" y="430638"/>
                      </a:cubicBezTo>
                      <a:cubicBezTo>
                        <a:pt x="1471444" y="429835"/>
                        <a:pt x="1470721" y="429192"/>
                        <a:pt x="1469837" y="428068"/>
                      </a:cubicBezTo>
                      <a:cubicBezTo>
                        <a:pt x="1472006" y="428710"/>
                        <a:pt x="1473693" y="428630"/>
                        <a:pt x="1474978" y="425979"/>
                      </a:cubicBezTo>
                      <a:cubicBezTo>
                        <a:pt x="1476585" y="429915"/>
                        <a:pt x="1479798" y="434334"/>
                        <a:pt x="1490321" y="433851"/>
                      </a:cubicBezTo>
                      <a:cubicBezTo>
                        <a:pt x="1488714" y="435297"/>
                        <a:pt x="1486465" y="434494"/>
                        <a:pt x="1485581" y="434092"/>
                      </a:cubicBezTo>
                      <a:cubicBezTo>
                        <a:pt x="1485742" y="434012"/>
                        <a:pt x="1485983" y="433851"/>
                        <a:pt x="1486143" y="433771"/>
                      </a:cubicBezTo>
                      <a:cubicBezTo>
                        <a:pt x="1483573" y="434092"/>
                        <a:pt x="1478191" y="434735"/>
                        <a:pt x="1480119" y="436422"/>
                      </a:cubicBezTo>
                      <a:cubicBezTo>
                        <a:pt x="1481243" y="437386"/>
                        <a:pt x="1490160" y="441402"/>
                        <a:pt x="1490321" y="437868"/>
                      </a:cubicBezTo>
                      <a:cubicBezTo>
                        <a:pt x="1490401" y="436904"/>
                        <a:pt x="1489437" y="435779"/>
                        <a:pt x="1488794" y="435056"/>
                      </a:cubicBezTo>
                      <a:cubicBezTo>
                        <a:pt x="1491445" y="435297"/>
                        <a:pt x="1492730" y="436100"/>
                        <a:pt x="1493373" y="437868"/>
                      </a:cubicBezTo>
                      <a:cubicBezTo>
                        <a:pt x="1494658" y="437466"/>
                        <a:pt x="1496104" y="436502"/>
                        <a:pt x="1497229" y="435137"/>
                      </a:cubicBezTo>
                      <a:cubicBezTo>
                        <a:pt x="1493855" y="432727"/>
                        <a:pt x="1491526" y="430558"/>
                        <a:pt x="1489517" y="427988"/>
                      </a:cubicBezTo>
                      <a:cubicBezTo>
                        <a:pt x="1491284" y="429032"/>
                        <a:pt x="1492570" y="429433"/>
                        <a:pt x="1494819" y="429514"/>
                      </a:cubicBezTo>
                      <a:cubicBezTo>
                        <a:pt x="1495060" y="429273"/>
                        <a:pt x="1495783" y="428469"/>
                        <a:pt x="1498112" y="431040"/>
                      </a:cubicBezTo>
                      <a:moveTo>
                        <a:pt x="1504378" y="392402"/>
                      </a:moveTo>
                      <a:cubicBezTo>
                        <a:pt x="1504780" y="393045"/>
                        <a:pt x="1502290" y="395374"/>
                        <a:pt x="1501325" y="396258"/>
                      </a:cubicBezTo>
                      <a:cubicBezTo>
                        <a:pt x="1500281" y="395615"/>
                        <a:pt x="1499719" y="395214"/>
                        <a:pt x="1498434" y="394170"/>
                      </a:cubicBezTo>
                      <a:cubicBezTo>
                        <a:pt x="1501325" y="392884"/>
                        <a:pt x="1504057" y="391760"/>
                        <a:pt x="1504378" y="392402"/>
                      </a:cubicBezTo>
                      <a:moveTo>
                        <a:pt x="1490642" y="419553"/>
                      </a:moveTo>
                      <a:cubicBezTo>
                        <a:pt x="1491686" y="420597"/>
                        <a:pt x="1492168" y="421240"/>
                        <a:pt x="1492650" y="421963"/>
                      </a:cubicBezTo>
                      <a:cubicBezTo>
                        <a:pt x="1492329" y="422043"/>
                        <a:pt x="1491847" y="421963"/>
                        <a:pt x="1491526" y="421802"/>
                      </a:cubicBezTo>
                      <a:cubicBezTo>
                        <a:pt x="1488634" y="420437"/>
                        <a:pt x="1480842" y="416902"/>
                        <a:pt x="1469998" y="413207"/>
                      </a:cubicBezTo>
                      <a:cubicBezTo>
                        <a:pt x="1476424" y="414974"/>
                        <a:pt x="1481163" y="413689"/>
                        <a:pt x="1481163" y="413689"/>
                      </a:cubicBezTo>
                      <a:cubicBezTo>
                        <a:pt x="1481324" y="413689"/>
                        <a:pt x="1481485" y="413528"/>
                        <a:pt x="1481565" y="413528"/>
                      </a:cubicBezTo>
                      <a:cubicBezTo>
                        <a:pt x="1481967" y="413689"/>
                        <a:pt x="1486947" y="416018"/>
                        <a:pt x="1490642" y="419553"/>
                      </a:cubicBezTo>
                      <a:moveTo>
                        <a:pt x="1457306" y="425176"/>
                      </a:moveTo>
                      <a:cubicBezTo>
                        <a:pt x="1457226" y="425176"/>
                        <a:pt x="1457226" y="425256"/>
                        <a:pt x="1457145" y="425256"/>
                      </a:cubicBezTo>
                      <a:cubicBezTo>
                        <a:pt x="1456422" y="425015"/>
                        <a:pt x="1455458" y="424694"/>
                        <a:pt x="1454735" y="424453"/>
                      </a:cubicBezTo>
                      <a:cubicBezTo>
                        <a:pt x="1455619" y="424694"/>
                        <a:pt x="1456503" y="424935"/>
                        <a:pt x="1457306" y="425176"/>
                      </a:cubicBezTo>
                      <a:cubicBezTo>
                        <a:pt x="1457306" y="425176"/>
                        <a:pt x="1457306" y="425176"/>
                        <a:pt x="1457306" y="425176"/>
                      </a:cubicBezTo>
                      <a:moveTo>
                        <a:pt x="1339224" y="497230"/>
                      </a:moveTo>
                      <a:cubicBezTo>
                        <a:pt x="1335609" y="497552"/>
                        <a:pt x="1332878" y="496588"/>
                        <a:pt x="1331030" y="494499"/>
                      </a:cubicBezTo>
                      <a:cubicBezTo>
                        <a:pt x="1331593" y="492892"/>
                        <a:pt x="1332797" y="492250"/>
                        <a:pt x="1334645" y="492491"/>
                      </a:cubicBezTo>
                      <a:cubicBezTo>
                        <a:pt x="1331914" y="495543"/>
                        <a:pt x="1335609" y="496427"/>
                        <a:pt x="1339143" y="496668"/>
                      </a:cubicBezTo>
                      <a:lnTo>
                        <a:pt x="1339224" y="497230"/>
                      </a:lnTo>
                      <a:moveTo>
                        <a:pt x="1509037" y="383486"/>
                      </a:moveTo>
                      <a:cubicBezTo>
                        <a:pt x="1509198" y="384209"/>
                        <a:pt x="1507350" y="384851"/>
                        <a:pt x="1506547" y="385173"/>
                      </a:cubicBezTo>
                      <a:cubicBezTo>
                        <a:pt x="1512090" y="388627"/>
                        <a:pt x="1515142" y="391840"/>
                        <a:pt x="1516909" y="393928"/>
                      </a:cubicBezTo>
                      <a:cubicBezTo>
                        <a:pt x="1508796" y="387181"/>
                        <a:pt x="1502932" y="385414"/>
                        <a:pt x="1500121" y="386056"/>
                      </a:cubicBezTo>
                      <a:cubicBezTo>
                        <a:pt x="1498916" y="385173"/>
                        <a:pt x="1494899" y="381237"/>
                        <a:pt x="1497229" y="380915"/>
                      </a:cubicBezTo>
                      <a:cubicBezTo>
                        <a:pt x="1497791" y="380835"/>
                        <a:pt x="1498514" y="380996"/>
                        <a:pt x="1498996" y="381076"/>
                      </a:cubicBezTo>
                      <a:cubicBezTo>
                        <a:pt x="1499076" y="381237"/>
                        <a:pt x="1499237" y="381478"/>
                        <a:pt x="1499317" y="381638"/>
                      </a:cubicBezTo>
                      <a:cubicBezTo>
                        <a:pt x="1504539" y="382120"/>
                        <a:pt x="1508796" y="382441"/>
                        <a:pt x="1509037" y="383486"/>
                      </a:cubicBezTo>
                      <a:moveTo>
                        <a:pt x="1478994" y="399069"/>
                      </a:moveTo>
                      <a:cubicBezTo>
                        <a:pt x="1479316" y="399391"/>
                        <a:pt x="1479316" y="399792"/>
                        <a:pt x="1479316" y="400033"/>
                      </a:cubicBezTo>
                      <a:cubicBezTo>
                        <a:pt x="1480601" y="400676"/>
                        <a:pt x="1481324" y="401158"/>
                        <a:pt x="1482208" y="402122"/>
                      </a:cubicBezTo>
                      <a:cubicBezTo>
                        <a:pt x="1479235" y="401319"/>
                        <a:pt x="1477789" y="400997"/>
                        <a:pt x="1475701" y="400676"/>
                      </a:cubicBezTo>
                      <a:cubicBezTo>
                        <a:pt x="1475540" y="399873"/>
                        <a:pt x="1475219" y="399310"/>
                        <a:pt x="1474255" y="398668"/>
                      </a:cubicBezTo>
                      <a:cubicBezTo>
                        <a:pt x="1476103" y="398427"/>
                        <a:pt x="1478191" y="398186"/>
                        <a:pt x="1478994" y="399069"/>
                      </a:cubicBezTo>
                      <a:moveTo>
                        <a:pt x="1451281" y="408227"/>
                      </a:moveTo>
                      <a:cubicBezTo>
                        <a:pt x="1452004" y="409512"/>
                        <a:pt x="1449755" y="411360"/>
                        <a:pt x="1447185" y="413368"/>
                      </a:cubicBezTo>
                      <a:cubicBezTo>
                        <a:pt x="1442927" y="413207"/>
                        <a:pt x="1440437" y="412323"/>
                        <a:pt x="1437384" y="409673"/>
                      </a:cubicBezTo>
                      <a:cubicBezTo>
                        <a:pt x="1440437" y="409191"/>
                        <a:pt x="1442927" y="408147"/>
                        <a:pt x="1446783" y="405496"/>
                      </a:cubicBezTo>
                      <a:cubicBezTo>
                        <a:pt x="1447265" y="405897"/>
                        <a:pt x="1447747" y="406299"/>
                        <a:pt x="1448229" y="406781"/>
                      </a:cubicBezTo>
                      <a:cubicBezTo>
                        <a:pt x="1449273" y="407022"/>
                        <a:pt x="1450799" y="407424"/>
                        <a:pt x="1451281" y="408227"/>
                      </a:cubicBezTo>
                      <a:moveTo>
                        <a:pt x="1471524" y="383887"/>
                      </a:moveTo>
                      <a:cubicBezTo>
                        <a:pt x="1471685" y="384048"/>
                        <a:pt x="1471845" y="384289"/>
                        <a:pt x="1472006" y="384450"/>
                      </a:cubicBezTo>
                      <a:cubicBezTo>
                        <a:pt x="1470239" y="385494"/>
                        <a:pt x="1468793" y="386217"/>
                        <a:pt x="1466865" y="386779"/>
                      </a:cubicBezTo>
                      <a:cubicBezTo>
                        <a:pt x="1466704" y="386538"/>
                        <a:pt x="1466463" y="386297"/>
                        <a:pt x="1466303" y="386056"/>
                      </a:cubicBezTo>
                      <a:cubicBezTo>
                        <a:pt x="1467266" y="385895"/>
                        <a:pt x="1467748" y="385735"/>
                        <a:pt x="1468150" y="385414"/>
                      </a:cubicBezTo>
                      <a:cubicBezTo>
                        <a:pt x="1468632" y="384851"/>
                        <a:pt x="1468712" y="384450"/>
                        <a:pt x="1468311" y="383566"/>
                      </a:cubicBezTo>
                      <a:cubicBezTo>
                        <a:pt x="1468070" y="383405"/>
                        <a:pt x="1467748" y="383245"/>
                        <a:pt x="1467507" y="383084"/>
                      </a:cubicBezTo>
                      <a:cubicBezTo>
                        <a:pt x="1468150" y="382843"/>
                        <a:pt x="1469917" y="382281"/>
                        <a:pt x="1471524" y="383887"/>
                      </a:cubicBezTo>
                      <a:moveTo>
                        <a:pt x="1356173" y="478433"/>
                      </a:moveTo>
                      <a:cubicBezTo>
                        <a:pt x="1356093" y="478835"/>
                        <a:pt x="1356093" y="479397"/>
                        <a:pt x="1356012" y="479799"/>
                      </a:cubicBezTo>
                      <a:cubicBezTo>
                        <a:pt x="1354647" y="478193"/>
                        <a:pt x="1353522" y="477711"/>
                        <a:pt x="1350791" y="477871"/>
                      </a:cubicBezTo>
                      <a:lnTo>
                        <a:pt x="1349907" y="477630"/>
                      </a:lnTo>
                      <a:lnTo>
                        <a:pt x="1351835" y="477630"/>
                      </a:lnTo>
                      <a:cubicBezTo>
                        <a:pt x="1343642" y="473292"/>
                        <a:pt x="1335127" y="471927"/>
                        <a:pt x="1323399" y="472891"/>
                      </a:cubicBezTo>
                      <a:cubicBezTo>
                        <a:pt x="1336493" y="470642"/>
                        <a:pt x="1347176" y="472328"/>
                        <a:pt x="1358904" y="478594"/>
                      </a:cubicBezTo>
                      <a:lnTo>
                        <a:pt x="1356173" y="478433"/>
                      </a:lnTo>
                      <a:moveTo>
                        <a:pt x="1321632" y="472168"/>
                      </a:moveTo>
                      <a:cubicBezTo>
                        <a:pt x="1320427" y="472810"/>
                        <a:pt x="1318338" y="473935"/>
                        <a:pt x="1317455" y="474337"/>
                      </a:cubicBezTo>
                      <a:lnTo>
                        <a:pt x="1317455" y="472891"/>
                      </a:lnTo>
                      <a:lnTo>
                        <a:pt x="1317776" y="471365"/>
                      </a:lnTo>
                      <a:cubicBezTo>
                        <a:pt x="1318981" y="471606"/>
                        <a:pt x="1320588" y="471847"/>
                        <a:pt x="1321793" y="472088"/>
                      </a:cubicBezTo>
                      <a:cubicBezTo>
                        <a:pt x="1321712" y="472168"/>
                        <a:pt x="1321712" y="472168"/>
                        <a:pt x="1321632" y="472168"/>
                      </a:cubicBezTo>
                      <a:moveTo>
                        <a:pt x="1452325" y="381237"/>
                      </a:moveTo>
                      <a:cubicBezTo>
                        <a:pt x="1452406" y="381799"/>
                        <a:pt x="1452486" y="382441"/>
                        <a:pt x="1452647" y="383004"/>
                      </a:cubicBezTo>
                      <a:cubicBezTo>
                        <a:pt x="1452165" y="382281"/>
                        <a:pt x="1452004" y="381638"/>
                        <a:pt x="1452325" y="381237"/>
                      </a:cubicBezTo>
                      <a:cubicBezTo>
                        <a:pt x="1452325" y="381156"/>
                        <a:pt x="1452325" y="381156"/>
                        <a:pt x="1452325" y="381237"/>
                      </a:cubicBezTo>
                      <a:moveTo>
                        <a:pt x="1461644" y="376738"/>
                      </a:moveTo>
                      <a:cubicBezTo>
                        <a:pt x="1451763" y="374168"/>
                        <a:pt x="1452165" y="379068"/>
                        <a:pt x="1452325" y="380915"/>
                      </a:cubicBezTo>
                      <a:cubicBezTo>
                        <a:pt x="1450478" y="380755"/>
                        <a:pt x="1449032" y="380514"/>
                        <a:pt x="1447185" y="380112"/>
                      </a:cubicBezTo>
                      <a:cubicBezTo>
                        <a:pt x="1447185" y="380032"/>
                        <a:pt x="1448871" y="372481"/>
                        <a:pt x="1462527" y="376979"/>
                      </a:cubicBezTo>
                      <a:cubicBezTo>
                        <a:pt x="1462286" y="376899"/>
                        <a:pt x="1461885" y="376819"/>
                        <a:pt x="1461644" y="376738"/>
                      </a:cubicBezTo>
                      <a:moveTo>
                        <a:pt x="1455298" y="364528"/>
                      </a:moveTo>
                      <a:cubicBezTo>
                        <a:pt x="1452566" y="365010"/>
                        <a:pt x="1445578" y="365653"/>
                        <a:pt x="1440196" y="361476"/>
                      </a:cubicBezTo>
                      <a:cubicBezTo>
                        <a:pt x="1445016" y="359789"/>
                        <a:pt x="1451362" y="362118"/>
                        <a:pt x="1455860" y="364368"/>
                      </a:cubicBezTo>
                      <a:cubicBezTo>
                        <a:pt x="1455699" y="364448"/>
                        <a:pt x="1455458" y="364528"/>
                        <a:pt x="1455298" y="364528"/>
                      </a:cubicBezTo>
                      <a:moveTo>
                        <a:pt x="1447988" y="356014"/>
                      </a:moveTo>
                      <a:cubicBezTo>
                        <a:pt x="1448068" y="356094"/>
                        <a:pt x="1448389" y="356174"/>
                        <a:pt x="1448309" y="356335"/>
                      </a:cubicBezTo>
                      <a:cubicBezTo>
                        <a:pt x="1448148" y="356335"/>
                        <a:pt x="1447988" y="356255"/>
                        <a:pt x="1447907" y="356174"/>
                      </a:cubicBezTo>
                      <a:cubicBezTo>
                        <a:pt x="1447024" y="355773"/>
                        <a:pt x="1446221" y="355291"/>
                        <a:pt x="1445337" y="354889"/>
                      </a:cubicBezTo>
                      <a:cubicBezTo>
                        <a:pt x="1444935" y="354728"/>
                        <a:pt x="1444534" y="354728"/>
                        <a:pt x="1444132" y="354487"/>
                      </a:cubicBezTo>
                      <a:cubicBezTo>
                        <a:pt x="1443971" y="354407"/>
                        <a:pt x="1443811" y="354327"/>
                        <a:pt x="1443650" y="354246"/>
                      </a:cubicBezTo>
                      <a:cubicBezTo>
                        <a:pt x="1442927" y="353764"/>
                        <a:pt x="1442686" y="353202"/>
                        <a:pt x="1442766" y="352399"/>
                      </a:cubicBezTo>
                      <a:cubicBezTo>
                        <a:pt x="1444132" y="353363"/>
                        <a:pt x="1447024" y="355210"/>
                        <a:pt x="1447988" y="356014"/>
                      </a:cubicBezTo>
                      <a:moveTo>
                        <a:pt x="1348783" y="430638"/>
                      </a:moveTo>
                      <a:cubicBezTo>
                        <a:pt x="1343481" y="430879"/>
                        <a:pt x="1336171" y="428469"/>
                        <a:pt x="1334725" y="427666"/>
                      </a:cubicBezTo>
                      <a:cubicBezTo>
                        <a:pt x="1334083" y="427345"/>
                        <a:pt x="1332958" y="426863"/>
                        <a:pt x="1332315" y="428068"/>
                      </a:cubicBezTo>
                      <a:cubicBezTo>
                        <a:pt x="1332155" y="426783"/>
                        <a:pt x="1331914" y="425096"/>
                        <a:pt x="1333119" y="424453"/>
                      </a:cubicBezTo>
                      <a:cubicBezTo>
                        <a:pt x="1334565" y="423650"/>
                        <a:pt x="1337938" y="424855"/>
                        <a:pt x="1337938" y="424855"/>
                      </a:cubicBezTo>
                      <a:cubicBezTo>
                        <a:pt x="1338099" y="425015"/>
                        <a:pt x="1338260" y="425256"/>
                        <a:pt x="1338420" y="425497"/>
                      </a:cubicBezTo>
                      <a:cubicBezTo>
                        <a:pt x="1338822" y="426059"/>
                        <a:pt x="1340107" y="427506"/>
                        <a:pt x="1342838" y="428630"/>
                      </a:cubicBezTo>
                      <a:cubicBezTo>
                        <a:pt x="1345489" y="429755"/>
                        <a:pt x="1348542" y="429835"/>
                        <a:pt x="1349666" y="429835"/>
                      </a:cubicBezTo>
                      <a:cubicBezTo>
                        <a:pt x="1349345" y="429996"/>
                        <a:pt x="1349024" y="430397"/>
                        <a:pt x="1348783" y="430638"/>
                      </a:cubicBezTo>
                      <a:moveTo>
                        <a:pt x="1436581" y="362359"/>
                      </a:moveTo>
                      <a:cubicBezTo>
                        <a:pt x="1435698" y="363002"/>
                        <a:pt x="1433689" y="363966"/>
                        <a:pt x="1430717" y="362761"/>
                      </a:cubicBezTo>
                      <a:cubicBezTo>
                        <a:pt x="1429512" y="362279"/>
                        <a:pt x="1428468" y="361476"/>
                        <a:pt x="1428468" y="361476"/>
                      </a:cubicBezTo>
                      <a:cubicBezTo>
                        <a:pt x="1428468" y="361476"/>
                        <a:pt x="1427745" y="359869"/>
                        <a:pt x="1427906" y="358986"/>
                      </a:cubicBezTo>
                      <a:cubicBezTo>
                        <a:pt x="1428307" y="356978"/>
                        <a:pt x="1432645" y="359548"/>
                        <a:pt x="1436742" y="362199"/>
                      </a:cubicBezTo>
                      <a:cubicBezTo>
                        <a:pt x="1436742" y="362199"/>
                        <a:pt x="1436662" y="362279"/>
                        <a:pt x="1436581" y="362359"/>
                      </a:cubicBezTo>
                      <a:moveTo>
                        <a:pt x="1415455" y="367179"/>
                      </a:moveTo>
                      <a:cubicBezTo>
                        <a:pt x="1418427" y="373445"/>
                        <a:pt x="1416740" y="375935"/>
                        <a:pt x="1410394" y="374650"/>
                      </a:cubicBezTo>
                      <a:cubicBezTo>
                        <a:pt x="1412162" y="374409"/>
                        <a:pt x="1412965" y="374168"/>
                        <a:pt x="1413929" y="373605"/>
                      </a:cubicBezTo>
                      <a:cubicBezTo>
                        <a:pt x="1415535" y="372240"/>
                        <a:pt x="1414973" y="370392"/>
                        <a:pt x="1412242" y="367661"/>
                      </a:cubicBezTo>
                      <a:cubicBezTo>
                        <a:pt x="1412402" y="367501"/>
                        <a:pt x="1412563" y="367340"/>
                        <a:pt x="1412643" y="367179"/>
                      </a:cubicBezTo>
                      <a:cubicBezTo>
                        <a:pt x="1413768" y="367179"/>
                        <a:pt x="1414411" y="367019"/>
                        <a:pt x="1415134" y="366456"/>
                      </a:cubicBezTo>
                      <a:cubicBezTo>
                        <a:pt x="1415214" y="366697"/>
                        <a:pt x="1415375" y="367019"/>
                        <a:pt x="1415455" y="367179"/>
                      </a:cubicBezTo>
                      <a:moveTo>
                        <a:pt x="1428629" y="346294"/>
                      </a:moveTo>
                      <a:cubicBezTo>
                        <a:pt x="1425335" y="346294"/>
                        <a:pt x="1422042" y="346053"/>
                        <a:pt x="1418829" y="345892"/>
                      </a:cubicBezTo>
                      <a:cubicBezTo>
                        <a:pt x="1421560" y="345973"/>
                        <a:pt x="1428388" y="346294"/>
                        <a:pt x="1428629" y="346294"/>
                      </a:cubicBezTo>
                      <a:cubicBezTo>
                        <a:pt x="1428629" y="346294"/>
                        <a:pt x="1428629" y="346294"/>
                        <a:pt x="1428629" y="346294"/>
                      </a:cubicBezTo>
                      <a:moveTo>
                        <a:pt x="1408065" y="330791"/>
                      </a:moveTo>
                      <a:cubicBezTo>
                        <a:pt x="1407984" y="331514"/>
                        <a:pt x="1407663" y="331755"/>
                        <a:pt x="1407583" y="331915"/>
                      </a:cubicBezTo>
                      <a:cubicBezTo>
                        <a:pt x="1406780" y="332558"/>
                        <a:pt x="1405494" y="332317"/>
                        <a:pt x="1403566" y="331192"/>
                      </a:cubicBezTo>
                      <a:cubicBezTo>
                        <a:pt x="1404691" y="329505"/>
                        <a:pt x="1407181" y="330309"/>
                        <a:pt x="1408065" y="330630"/>
                      </a:cubicBezTo>
                      <a:cubicBezTo>
                        <a:pt x="1408065" y="330630"/>
                        <a:pt x="1408065" y="330710"/>
                        <a:pt x="1408065" y="330791"/>
                      </a:cubicBezTo>
                      <a:moveTo>
                        <a:pt x="1313278" y="396740"/>
                      </a:moveTo>
                      <a:cubicBezTo>
                        <a:pt x="1307092" y="396258"/>
                        <a:pt x="1302353" y="396820"/>
                        <a:pt x="1300024" y="397222"/>
                      </a:cubicBezTo>
                      <a:cubicBezTo>
                        <a:pt x="1299381" y="397302"/>
                        <a:pt x="1297935" y="397543"/>
                        <a:pt x="1295686" y="395615"/>
                      </a:cubicBezTo>
                      <a:cubicBezTo>
                        <a:pt x="1302192" y="394892"/>
                        <a:pt x="1308217" y="395294"/>
                        <a:pt x="1314242" y="396901"/>
                      </a:cubicBezTo>
                      <a:cubicBezTo>
                        <a:pt x="1313920" y="396820"/>
                        <a:pt x="1313519" y="396740"/>
                        <a:pt x="1313278" y="396740"/>
                      </a:cubicBezTo>
                      <a:moveTo>
                        <a:pt x="1413929" y="317135"/>
                      </a:moveTo>
                      <a:cubicBezTo>
                        <a:pt x="1415616" y="318420"/>
                        <a:pt x="1415776" y="319705"/>
                        <a:pt x="1415776" y="320107"/>
                      </a:cubicBezTo>
                      <a:cubicBezTo>
                        <a:pt x="1412804" y="318179"/>
                        <a:pt x="1410073" y="316492"/>
                        <a:pt x="1407101" y="314805"/>
                      </a:cubicBezTo>
                      <a:cubicBezTo>
                        <a:pt x="1410796" y="315287"/>
                        <a:pt x="1412804" y="316332"/>
                        <a:pt x="1413929" y="317135"/>
                      </a:cubicBezTo>
                      <a:moveTo>
                        <a:pt x="1436340" y="154471"/>
                      </a:moveTo>
                      <a:cubicBezTo>
                        <a:pt x="1438509" y="155756"/>
                        <a:pt x="1440919" y="157202"/>
                        <a:pt x="1441080" y="157363"/>
                      </a:cubicBezTo>
                      <a:cubicBezTo>
                        <a:pt x="1440758" y="157282"/>
                        <a:pt x="1440598" y="157122"/>
                        <a:pt x="1440357" y="156961"/>
                      </a:cubicBezTo>
                      <a:cubicBezTo>
                        <a:pt x="1439393" y="156399"/>
                        <a:pt x="1438429" y="155917"/>
                        <a:pt x="1437545" y="155354"/>
                      </a:cubicBezTo>
                      <a:cubicBezTo>
                        <a:pt x="1437144" y="155033"/>
                        <a:pt x="1436581" y="154712"/>
                        <a:pt x="1436260" y="154390"/>
                      </a:cubicBezTo>
                      <a:cubicBezTo>
                        <a:pt x="1436260" y="154390"/>
                        <a:pt x="1436340" y="154390"/>
                        <a:pt x="1436340" y="154471"/>
                      </a:cubicBezTo>
                      <a:moveTo>
                        <a:pt x="1409109" y="307897"/>
                      </a:moveTo>
                      <a:cubicBezTo>
                        <a:pt x="1412643" y="310387"/>
                        <a:pt x="1414732" y="312958"/>
                        <a:pt x="1415455" y="313761"/>
                      </a:cubicBezTo>
                      <a:cubicBezTo>
                        <a:pt x="1414491" y="313600"/>
                        <a:pt x="1413688" y="313440"/>
                        <a:pt x="1413045" y="312877"/>
                      </a:cubicBezTo>
                      <a:cubicBezTo>
                        <a:pt x="1412965" y="312877"/>
                        <a:pt x="1412965" y="312797"/>
                        <a:pt x="1412884" y="312717"/>
                      </a:cubicBezTo>
                      <a:cubicBezTo>
                        <a:pt x="1412643" y="312476"/>
                        <a:pt x="1412643" y="312154"/>
                        <a:pt x="1412402" y="311913"/>
                      </a:cubicBezTo>
                      <a:cubicBezTo>
                        <a:pt x="1411840" y="311271"/>
                        <a:pt x="1411117" y="310789"/>
                        <a:pt x="1410555" y="310146"/>
                      </a:cubicBezTo>
                      <a:cubicBezTo>
                        <a:pt x="1409189" y="308861"/>
                        <a:pt x="1407904" y="307576"/>
                        <a:pt x="1406619" y="306291"/>
                      </a:cubicBezTo>
                      <a:cubicBezTo>
                        <a:pt x="1407021" y="306612"/>
                        <a:pt x="1407984" y="307094"/>
                        <a:pt x="1409109" y="307897"/>
                      </a:cubicBezTo>
                      <a:moveTo>
                        <a:pt x="1340589" y="312958"/>
                      </a:moveTo>
                      <a:cubicBezTo>
                        <a:pt x="1349907" y="322436"/>
                        <a:pt x="1351273" y="326292"/>
                        <a:pt x="1350550" y="329666"/>
                      </a:cubicBezTo>
                      <a:cubicBezTo>
                        <a:pt x="1348542" y="329586"/>
                        <a:pt x="1347979" y="330228"/>
                        <a:pt x="1348622" y="331674"/>
                      </a:cubicBezTo>
                      <a:cubicBezTo>
                        <a:pt x="1346614" y="329505"/>
                        <a:pt x="1344927" y="328381"/>
                        <a:pt x="1342758" y="327578"/>
                      </a:cubicBezTo>
                      <a:cubicBezTo>
                        <a:pt x="1342196" y="325087"/>
                        <a:pt x="1341714" y="322677"/>
                        <a:pt x="1341152" y="320187"/>
                      </a:cubicBezTo>
                      <a:cubicBezTo>
                        <a:pt x="1341553" y="320107"/>
                        <a:pt x="1342035" y="319946"/>
                        <a:pt x="1342356" y="319866"/>
                      </a:cubicBezTo>
                      <a:cubicBezTo>
                        <a:pt x="1340188" y="319143"/>
                        <a:pt x="1339465" y="318581"/>
                        <a:pt x="1339063" y="317296"/>
                      </a:cubicBezTo>
                      <a:lnTo>
                        <a:pt x="1340750" y="318259"/>
                      </a:lnTo>
                      <a:cubicBezTo>
                        <a:pt x="1340429" y="315769"/>
                        <a:pt x="1340188" y="314404"/>
                        <a:pt x="1339786" y="312235"/>
                      </a:cubicBezTo>
                      <a:cubicBezTo>
                        <a:pt x="1340027" y="312395"/>
                        <a:pt x="1340348" y="312717"/>
                        <a:pt x="1340589" y="312958"/>
                      </a:cubicBezTo>
                      <a:moveTo>
                        <a:pt x="1320507" y="86513"/>
                      </a:moveTo>
                      <a:cubicBezTo>
                        <a:pt x="1320668" y="86594"/>
                        <a:pt x="1320829" y="86674"/>
                        <a:pt x="1320909" y="86674"/>
                      </a:cubicBezTo>
                      <a:cubicBezTo>
                        <a:pt x="1320829" y="86674"/>
                        <a:pt x="1320668" y="86594"/>
                        <a:pt x="1320507" y="86513"/>
                      </a:cubicBezTo>
                      <a:cubicBezTo>
                        <a:pt x="1317856" y="85469"/>
                        <a:pt x="1315125" y="84425"/>
                        <a:pt x="1312394" y="83380"/>
                      </a:cubicBezTo>
                      <a:cubicBezTo>
                        <a:pt x="1315125" y="84425"/>
                        <a:pt x="1317776" y="85469"/>
                        <a:pt x="1320507" y="86513"/>
                      </a:cubicBezTo>
                      <a:moveTo>
                        <a:pt x="1312073" y="83300"/>
                      </a:moveTo>
                      <a:cubicBezTo>
                        <a:pt x="1312073" y="83300"/>
                        <a:pt x="1312073" y="83220"/>
                        <a:pt x="1312073" y="83300"/>
                      </a:cubicBezTo>
                      <a:cubicBezTo>
                        <a:pt x="1312073" y="83220"/>
                        <a:pt x="1312073" y="83220"/>
                        <a:pt x="1312073" y="83300"/>
                      </a:cubicBezTo>
                      <a:cubicBezTo>
                        <a:pt x="1312073" y="83220"/>
                        <a:pt x="1311993" y="83220"/>
                        <a:pt x="1312073" y="83300"/>
                      </a:cubicBezTo>
                      <a:cubicBezTo>
                        <a:pt x="1311993" y="83220"/>
                        <a:pt x="1311993" y="83220"/>
                        <a:pt x="131207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lnTo>
                        <a:pt x="1311993" y="83300"/>
                      </a:lnTo>
                      <a:cubicBezTo>
                        <a:pt x="1311993" y="83300"/>
                        <a:pt x="1311993" y="83300"/>
                        <a:pt x="1311993" y="83300"/>
                      </a:cubicBezTo>
                      <a:lnTo>
                        <a:pt x="1311993" y="83300"/>
                      </a:ln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220"/>
                        <a:pt x="1311993" y="83220"/>
                        <a:pt x="1312073" y="83300"/>
                      </a:cubicBezTo>
                      <a:cubicBezTo>
                        <a:pt x="1312073" y="83300"/>
                        <a:pt x="1312073" y="83300"/>
                        <a:pt x="1312073" y="83300"/>
                      </a:cubicBezTo>
                      <a:moveTo>
                        <a:pt x="1384609" y="134389"/>
                      </a:moveTo>
                      <a:cubicBezTo>
                        <a:pt x="1384609" y="134389"/>
                        <a:pt x="1384609" y="134389"/>
                        <a:pt x="1384609" y="134389"/>
                      </a:cubicBezTo>
                      <a:cubicBezTo>
                        <a:pt x="1384609" y="134389"/>
                        <a:pt x="1384609" y="134389"/>
                        <a:pt x="1384609" y="134389"/>
                      </a:cubicBezTo>
                      <a:cubicBezTo>
                        <a:pt x="1384288" y="134308"/>
                        <a:pt x="1384047" y="134308"/>
                        <a:pt x="1383725" y="134228"/>
                      </a:cubicBezTo>
                      <a:cubicBezTo>
                        <a:pt x="1383966" y="134308"/>
                        <a:pt x="1384288" y="134308"/>
                        <a:pt x="1384609" y="134389"/>
                      </a:cubicBezTo>
                      <a:moveTo>
                        <a:pt x="1385332" y="134549"/>
                      </a:moveTo>
                      <a:lnTo>
                        <a:pt x="1385332" y="134549"/>
                      </a:lnTo>
                      <a:cubicBezTo>
                        <a:pt x="1385332" y="134549"/>
                        <a:pt x="1385332" y="134549"/>
                        <a:pt x="1385332" y="134549"/>
                      </a:cubicBezTo>
                      <a:cubicBezTo>
                        <a:pt x="1385091" y="134469"/>
                        <a:pt x="1384850" y="134469"/>
                        <a:pt x="1384609" y="134389"/>
                      </a:cubicBezTo>
                      <a:cubicBezTo>
                        <a:pt x="1384609" y="134389"/>
                        <a:pt x="1384609" y="134389"/>
                        <a:pt x="1384609" y="134389"/>
                      </a:cubicBezTo>
                      <a:cubicBezTo>
                        <a:pt x="1384850" y="134469"/>
                        <a:pt x="1385091" y="134469"/>
                        <a:pt x="1385332" y="134549"/>
                      </a:cubicBezTo>
                      <a:moveTo>
                        <a:pt x="1386055" y="133425"/>
                      </a:moveTo>
                      <a:cubicBezTo>
                        <a:pt x="1385653" y="133666"/>
                        <a:pt x="1384529" y="133666"/>
                        <a:pt x="1380914" y="131497"/>
                      </a:cubicBezTo>
                      <a:cubicBezTo>
                        <a:pt x="1382681" y="132139"/>
                        <a:pt x="1384368" y="132782"/>
                        <a:pt x="1386055" y="133425"/>
                      </a:cubicBezTo>
                      <a:cubicBezTo>
                        <a:pt x="1386055" y="133425"/>
                        <a:pt x="1386055" y="133425"/>
                        <a:pt x="1386055" y="133425"/>
                      </a:cubicBezTo>
                      <a:moveTo>
                        <a:pt x="1379468" y="131256"/>
                      </a:moveTo>
                      <a:cubicBezTo>
                        <a:pt x="1381557" y="132220"/>
                        <a:pt x="1381878" y="132461"/>
                        <a:pt x="1381958" y="132621"/>
                      </a:cubicBezTo>
                      <a:cubicBezTo>
                        <a:pt x="1382119" y="132862"/>
                        <a:pt x="1381798" y="132943"/>
                        <a:pt x="1380753" y="132782"/>
                      </a:cubicBezTo>
                      <a:cubicBezTo>
                        <a:pt x="1380271" y="132300"/>
                        <a:pt x="1379629" y="131657"/>
                        <a:pt x="1379147" y="131176"/>
                      </a:cubicBezTo>
                      <a:cubicBezTo>
                        <a:pt x="1379307" y="131176"/>
                        <a:pt x="1379388" y="131256"/>
                        <a:pt x="1379468" y="131256"/>
                      </a:cubicBezTo>
                      <a:moveTo>
                        <a:pt x="1325729" y="91413"/>
                      </a:moveTo>
                      <a:cubicBezTo>
                        <a:pt x="1328781" y="92698"/>
                        <a:pt x="1329665" y="93100"/>
                        <a:pt x="1330066" y="93341"/>
                      </a:cubicBezTo>
                      <a:cubicBezTo>
                        <a:pt x="1330066" y="93341"/>
                        <a:pt x="1330147" y="93341"/>
                        <a:pt x="1330147" y="93421"/>
                      </a:cubicBezTo>
                      <a:cubicBezTo>
                        <a:pt x="1327335" y="92297"/>
                        <a:pt x="1324443" y="91172"/>
                        <a:pt x="1321632" y="90048"/>
                      </a:cubicBezTo>
                      <a:cubicBezTo>
                        <a:pt x="1322997" y="90530"/>
                        <a:pt x="1324443" y="90851"/>
                        <a:pt x="1325729" y="91413"/>
                      </a:cubicBezTo>
                      <a:moveTo>
                        <a:pt x="1103782" y="20725"/>
                      </a:moveTo>
                      <a:cubicBezTo>
                        <a:pt x="1105148" y="20965"/>
                        <a:pt x="1106514" y="21287"/>
                        <a:pt x="1107799" y="21608"/>
                      </a:cubicBezTo>
                      <a:cubicBezTo>
                        <a:pt x="1107477" y="21528"/>
                        <a:pt x="1071892" y="14459"/>
                        <a:pt x="1054220" y="11567"/>
                      </a:cubicBezTo>
                      <a:lnTo>
                        <a:pt x="1054300" y="11567"/>
                      </a:lnTo>
                      <a:lnTo>
                        <a:pt x="1103782" y="20725"/>
                      </a:lnTo>
                      <a:moveTo>
                        <a:pt x="1005381" y="4579"/>
                      </a:moveTo>
                      <a:lnTo>
                        <a:pt x="960959" y="0"/>
                      </a:lnTo>
                      <a:lnTo>
                        <a:pt x="961200" y="0"/>
                      </a:lnTo>
                      <a:cubicBezTo>
                        <a:pt x="971964" y="1285"/>
                        <a:pt x="982648" y="2329"/>
                        <a:pt x="993412" y="3695"/>
                      </a:cubicBezTo>
                      <a:cubicBezTo>
                        <a:pt x="988271" y="3213"/>
                        <a:pt x="981041" y="2892"/>
                        <a:pt x="976222" y="4659"/>
                      </a:cubicBezTo>
                      <a:cubicBezTo>
                        <a:pt x="999677" y="6266"/>
                        <a:pt x="1006746" y="6748"/>
                        <a:pt x="1028113" y="8997"/>
                      </a:cubicBezTo>
                      <a:cubicBezTo>
                        <a:pt x="1046027" y="12933"/>
                        <a:pt x="1064341" y="14941"/>
                        <a:pt x="1082174" y="19198"/>
                      </a:cubicBezTo>
                      <a:cubicBezTo>
                        <a:pt x="1079604" y="18797"/>
                        <a:pt x="1076069" y="18315"/>
                        <a:pt x="1073499" y="17913"/>
                      </a:cubicBezTo>
                      <a:cubicBezTo>
                        <a:pt x="1078399" y="19359"/>
                        <a:pt x="1084905" y="21126"/>
                        <a:pt x="1089805" y="22492"/>
                      </a:cubicBezTo>
                      <a:lnTo>
                        <a:pt x="1094063" y="22653"/>
                      </a:lnTo>
                      <a:cubicBezTo>
                        <a:pt x="1119205" y="28677"/>
                        <a:pt x="1144187" y="35585"/>
                        <a:pt x="1169250" y="41851"/>
                      </a:cubicBezTo>
                      <a:cubicBezTo>
                        <a:pt x="1169330" y="42092"/>
                        <a:pt x="1169491" y="42493"/>
                        <a:pt x="1169651" y="42735"/>
                      </a:cubicBezTo>
                      <a:lnTo>
                        <a:pt x="1177764" y="44903"/>
                      </a:lnTo>
                      <a:cubicBezTo>
                        <a:pt x="1198891" y="48197"/>
                        <a:pt x="1242830" y="60407"/>
                        <a:pt x="1331994" y="99767"/>
                      </a:cubicBezTo>
                      <a:cubicBezTo>
                        <a:pt x="1322596" y="98482"/>
                        <a:pt x="1317455" y="97759"/>
                        <a:pt x="1283315" y="88200"/>
                      </a:cubicBezTo>
                      <a:cubicBezTo>
                        <a:pt x="1423327" y="141457"/>
                        <a:pt x="1423327" y="141457"/>
                        <a:pt x="1462366" y="167805"/>
                      </a:cubicBezTo>
                      <a:cubicBezTo>
                        <a:pt x="1416901" y="142662"/>
                        <a:pt x="1349907" y="108523"/>
                        <a:pt x="1292955" y="102418"/>
                      </a:cubicBezTo>
                      <a:cubicBezTo>
                        <a:pt x="1318901" y="112379"/>
                        <a:pt x="1330548" y="118162"/>
                        <a:pt x="1363402" y="134871"/>
                      </a:cubicBezTo>
                      <a:cubicBezTo>
                        <a:pt x="1363081" y="134630"/>
                        <a:pt x="1362679" y="134308"/>
                        <a:pt x="1362358" y="134067"/>
                      </a:cubicBezTo>
                      <a:cubicBezTo>
                        <a:pt x="1383484" y="140413"/>
                        <a:pt x="1435778" y="161539"/>
                        <a:pt x="1435939" y="161620"/>
                      </a:cubicBezTo>
                      <a:cubicBezTo>
                        <a:pt x="1427183" y="161861"/>
                        <a:pt x="1427183" y="161861"/>
                        <a:pt x="1407342" y="166118"/>
                      </a:cubicBezTo>
                      <a:cubicBezTo>
                        <a:pt x="1413125" y="174794"/>
                        <a:pt x="1414491" y="176882"/>
                        <a:pt x="1427183" y="180818"/>
                      </a:cubicBezTo>
                      <a:cubicBezTo>
                        <a:pt x="1432083" y="183469"/>
                        <a:pt x="1438268" y="187807"/>
                        <a:pt x="1442124" y="191823"/>
                      </a:cubicBezTo>
                      <a:cubicBezTo>
                        <a:pt x="1439152" y="191181"/>
                        <a:pt x="1435135" y="190377"/>
                        <a:pt x="1432163" y="189815"/>
                      </a:cubicBezTo>
                      <a:cubicBezTo>
                        <a:pt x="1433207" y="191341"/>
                        <a:pt x="1434653" y="193430"/>
                        <a:pt x="1435698" y="194956"/>
                      </a:cubicBezTo>
                      <a:cubicBezTo>
                        <a:pt x="1446542" y="208210"/>
                        <a:pt x="1446542" y="208210"/>
                        <a:pt x="1450880" y="220822"/>
                      </a:cubicBezTo>
                      <a:cubicBezTo>
                        <a:pt x="1445498" y="218251"/>
                        <a:pt x="1438670" y="214154"/>
                        <a:pt x="1434171" y="210218"/>
                      </a:cubicBezTo>
                      <a:cubicBezTo>
                        <a:pt x="1434412" y="211022"/>
                        <a:pt x="1434412" y="211022"/>
                        <a:pt x="1477789" y="275766"/>
                      </a:cubicBezTo>
                      <a:cubicBezTo>
                        <a:pt x="1451924" y="259299"/>
                        <a:pt x="1446301" y="259299"/>
                        <a:pt x="1429432" y="259138"/>
                      </a:cubicBezTo>
                      <a:cubicBezTo>
                        <a:pt x="1448068" y="274882"/>
                        <a:pt x="1470962" y="284200"/>
                        <a:pt x="1490240" y="299061"/>
                      </a:cubicBezTo>
                      <a:cubicBezTo>
                        <a:pt x="1488152" y="301632"/>
                        <a:pt x="1485340" y="305086"/>
                        <a:pt x="1483252" y="307656"/>
                      </a:cubicBezTo>
                      <a:cubicBezTo>
                        <a:pt x="1486545" y="322838"/>
                        <a:pt x="1486545" y="322838"/>
                        <a:pt x="1505422" y="336574"/>
                      </a:cubicBezTo>
                      <a:cubicBezTo>
                        <a:pt x="1500683" y="340189"/>
                        <a:pt x="1494257" y="345089"/>
                        <a:pt x="1489517" y="348704"/>
                      </a:cubicBezTo>
                      <a:cubicBezTo>
                        <a:pt x="1493614" y="353604"/>
                        <a:pt x="1500442" y="358986"/>
                        <a:pt x="1506225" y="361717"/>
                      </a:cubicBezTo>
                      <a:cubicBezTo>
                        <a:pt x="1471283" y="372561"/>
                        <a:pt x="1446542" y="343482"/>
                        <a:pt x="1415696" y="338582"/>
                      </a:cubicBezTo>
                      <a:cubicBezTo>
                        <a:pt x="1458912" y="327658"/>
                        <a:pt x="1458912" y="327658"/>
                        <a:pt x="1465339" y="314163"/>
                      </a:cubicBezTo>
                      <a:cubicBezTo>
                        <a:pt x="1451522" y="289341"/>
                        <a:pt x="1391196" y="265645"/>
                        <a:pt x="1372158" y="298981"/>
                      </a:cubicBezTo>
                      <a:cubicBezTo>
                        <a:pt x="1370230" y="296973"/>
                        <a:pt x="1367740" y="294241"/>
                        <a:pt x="1365893" y="292233"/>
                      </a:cubicBezTo>
                      <a:cubicBezTo>
                        <a:pt x="1363483" y="293036"/>
                        <a:pt x="1360270" y="294081"/>
                        <a:pt x="1357860" y="294884"/>
                      </a:cubicBezTo>
                      <a:cubicBezTo>
                        <a:pt x="1354325" y="291510"/>
                        <a:pt x="1347819" y="288538"/>
                        <a:pt x="1342919" y="288297"/>
                      </a:cubicBezTo>
                      <a:cubicBezTo>
                        <a:pt x="1342678" y="291591"/>
                        <a:pt x="1342678" y="296250"/>
                        <a:pt x="1341152" y="299141"/>
                      </a:cubicBezTo>
                      <a:cubicBezTo>
                        <a:pt x="1335770" y="299704"/>
                        <a:pt x="1328379" y="299623"/>
                        <a:pt x="1322997" y="298900"/>
                      </a:cubicBezTo>
                      <a:cubicBezTo>
                        <a:pt x="1324604" y="296892"/>
                        <a:pt x="1326773" y="294241"/>
                        <a:pt x="1328379" y="292233"/>
                      </a:cubicBezTo>
                      <a:cubicBezTo>
                        <a:pt x="1321070" y="284522"/>
                        <a:pt x="1319383" y="282674"/>
                        <a:pt x="1305165" y="286610"/>
                      </a:cubicBezTo>
                      <a:cubicBezTo>
                        <a:pt x="1307173" y="289502"/>
                        <a:pt x="1309904" y="293358"/>
                        <a:pt x="1311993" y="296250"/>
                      </a:cubicBezTo>
                      <a:cubicBezTo>
                        <a:pt x="1307333" y="293518"/>
                        <a:pt x="1300988" y="290145"/>
                        <a:pt x="1296007" y="287976"/>
                      </a:cubicBezTo>
                      <a:cubicBezTo>
                        <a:pt x="1296650" y="290627"/>
                        <a:pt x="1297533" y="294161"/>
                        <a:pt x="1298176" y="296812"/>
                      </a:cubicBezTo>
                      <a:cubicBezTo>
                        <a:pt x="1295445" y="295928"/>
                        <a:pt x="1291830" y="294723"/>
                        <a:pt x="1289179" y="293840"/>
                      </a:cubicBezTo>
                      <a:cubicBezTo>
                        <a:pt x="1291670" y="299543"/>
                        <a:pt x="1295365" y="307014"/>
                        <a:pt x="1298417" y="312476"/>
                      </a:cubicBezTo>
                      <a:cubicBezTo>
                        <a:pt x="1293517" y="309263"/>
                        <a:pt x="1287091" y="304764"/>
                        <a:pt x="1282351" y="301310"/>
                      </a:cubicBezTo>
                      <a:cubicBezTo>
                        <a:pt x="1283074" y="307255"/>
                        <a:pt x="1285886" y="315046"/>
                        <a:pt x="1289099" y="320107"/>
                      </a:cubicBezTo>
                      <a:cubicBezTo>
                        <a:pt x="1285163" y="320509"/>
                        <a:pt x="1279701" y="321312"/>
                        <a:pt x="1276407" y="323481"/>
                      </a:cubicBezTo>
                      <a:cubicBezTo>
                        <a:pt x="1280343" y="331835"/>
                        <a:pt x="1280665" y="341314"/>
                        <a:pt x="1283958" y="349909"/>
                      </a:cubicBezTo>
                      <a:cubicBezTo>
                        <a:pt x="1282110" y="347820"/>
                        <a:pt x="1279620" y="344928"/>
                        <a:pt x="1277692" y="342840"/>
                      </a:cubicBezTo>
                      <a:cubicBezTo>
                        <a:pt x="1275363" y="344446"/>
                        <a:pt x="1272150" y="346696"/>
                        <a:pt x="1269820" y="348302"/>
                      </a:cubicBezTo>
                      <a:cubicBezTo>
                        <a:pt x="1277451" y="362279"/>
                        <a:pt x="1276166" y="378907"/>
                        <a:pt x="1283396" y="393045"/>
                      </a:cubicBezTo>
                      <a:cubicBezTo>
                        <a:pt x="1281227" y="394410"/>
                        <a:pt x="1278335" y="396178"/>
                        <a:pt x="1276166" y="397463"/>
                      </a:cubicBezTo>
                      <a:cubicBezTo>
                        <a:pt x="1278978" y="401881"/>
                        <a:pt x="1284520" y="406861"/>
                        <a:pt x="1289340" y="408709"/>
                      </a:cubicBezTo>
                      <a:cubicBezTo>
                        <a:pt x="1287171" y="410396"/>
                        <a:pt x="1284279" y="412645"/>
                        <a:pt x="1282110" y="414332"/>
                      </a:cubicBezTo>
                      <a:cubicBezTo>
                        <a:pt x="1285163" y="414252"/>
                        <a:pt x="1289179" y="414091"/>
                        <a:pt x="1292232" y="414010"/>
                      </a:cubicBezTo>
                      <a:cubicBezTo>
                        <a:pt x="1290063" y="415778"/>
                        <a:pt x="1287091" y="418188"/>
                        <a:pt x="1284922" y="420035"/>
                      </a:cubicBezTo>
                      <a:cubicBezTo>
                        <a:pt x="1286288" y="425417"/>
                        <a:pt x="1286529" y="433209"/>
                        <a:pt x="1285002" y="438510"/>
                      </a:cubicBezTo>
                      <a:cubicBezTo>
                        <a:pt x="1284761" y="438591"/>
                        <a:pt x="1284440" y="438751"/>
                        <a:pt x="1284199" y="438832"/>
                      </a:cubicBezTo>
                      <a:cubicBezTo>
                        <a:pt x="1286207" y="440438"/>
                        <a:pt x="1288858" y="442527"/>
                        <a:pt x="1290866" y="444133"/>
                      </a:cubicBezTo>
                      <a:cubicBezTo>
                        <a:pt x="1289581" y="449114"/>
                        <a:pt x="1290224" y="456424"/>
                        <a:pt x="1292151" y="461243"/>
                      </a:cubicBezTo>
                      <a:cubicBezTo>
                        <a:pt x="1294883" y="462287"/>
                        <a:pt x="1298417" y="463653"/>
                        <a:pt x="1301148" y="464697"/>
                      </a:cubicBezTo>
                      <a:cubicBezTo>
                        <a:pt x="1293758" y="477550"/>
                        <a:pt x="1294079" y="502050"/>
                        <a:pt x="1297855" y="511609"/>
                      </a:cubicBezTo>
                      <a:cubicBezTo>
                        <a:pt x="1300345" y="510565"/>
                        <a:pt x="1303638" y="509119"/>
                        <a:pt x="1306129" y="508075"/>
                      </a:cubicBezTo>
                      <a:cubicBezTo>
                        <a:pt x="1306209" y="505504"/>
                        <a:pt x="1306209" y="502050"/>
                        <a:pt x="1306289" y="499479"/>
                      </a:cubicBezTo>
                      <a:cubicBezTo>
                        <a:pt x="1307815" y="501648"/>
                        <a:pt x="1309824" y="504540"/>
                        <a:pt x="1311350" y="506709"/>
                      </a:cubicBezTo>
                      <a:cubicBezTo>
                        <a:pt x="1303719" y="511127"/>
                        <a:pt x="1295124" y="513697"/>
                        <a:pt x="1287974" y="519079"/>
                      </a:cubicBezTo>
                      <a:cubicBezTo>
                        <a:pt x="1289420" y="522052"/>
                        <a:pt x="1291429" y="525988"/>
                        <a:pt x="1292874" y="528879"/>
                      </a:cubicBezTo>
                      <a:cubicBezTo>
                        <a:pt x="1288697" y="532494"/>
                        <a:pt x="1282191" y="536430"/>
                        <a:pt x="1276970" y="538278"/>
                      </a:cubicBezTo>
                      <a:cubicBezTo>
                        <a:pt x="1280102" y="538117"/>
                        <a:pt x="1284199" y="537876"/>
                        <a:pt x="1287332" y="537635"/>
                      </a:cubicBezTo>
                      <a:cubicBezTo>
                        <a:pt x="1271106" y="554102"/>
                        <a:pt x="1271106" y="554102"/>
                        <a:pt x="1268214" y="557878"/>
                      </a:cubicBezTo>
                      <a:cubicBezTo>
                        <a:pt x="1270463" y="567035"/>
                        <a:pt x="1271347" y="570891"/>
                        <a:pt x="1283235" y="579486"/>
                      </a:cubicBezTo>
                      <a:cubicBezTo>
                        <a:pt x="1290625" y="574345"/>
                        <a:pt x="1299220" y="571775"/>
                        <a:pt x="1307092" y="567598"/>
                      </a:cubicBezTo>
                      <a:cubicBezTo>
                        <a:pt x="1306048" y="569927"/>
                        <a:pt x="1304602" y="572979"/>
                        <a:pt x="1303478" y="575309"/>
                      </a:cubicBezTo>
                      <a:cubicBezTo>
                        <a:pt x="1297855" y="576674"/>
                        <a:pt x="1290465" y="578763"/>
                        <a:pt x="1285002" y="580530"/>
                      </a:cubicBezTo>
                      <a:cubicBezTo>
                        <a:pt x="1287974" y="589125"/>
                        <a:pt x="1293758" y="596756"/>
                        <a:pt x="1294401" y="606235"/>
                      </a:cubicBezTo>
                      <a:cubicBezTo>
                        <a:pt x="1295927" y="604227"/>
                        <a:pt x="1298015" y="601496"/>
                        <a:pt x="1299542" y="599407"/>
                      </a:cubicBezTo>
                      <a:cubicBezTo>
                        <a:pt x="1300345" y="601978"/>
                        <a:pt x="1301470" y="605432"/>
                        <a:pt x="1302273" y="608083"/>
                      </a:cubicBezTo>
                      <a:cubicBezTo>
                        <a:pt x="1304843" y="607440"/>
                        <a:pt x="1308217" y="606557"/>
                        <a:pt x="1310707" y="605914"/>
                      </a:cubicBezTo>
                      <a:cubicBezTo>
                        <a:pt x="1312394" y="610975"/>
                        <a:pt x="1313438" y="618124"/>
                        <a:pt x="1313197" y="623425"/>
                      </a:cubicBezTo>
                      <a:cubicBezTo>
                        <a:pt x="1326773" y="626076"/>
                        <a:pt x="1326773" y="626076"/>
                        <a:pt x="1365973" y="593222"/>
                      </a:cubicBezTo>
                      <a:cubicBezTo>
                        <a:pt x="1365411" y="590732"/>
                        <a:pt x="1364768" y="587439"/>
                        <a:pt x="1364206" y="584949"/>
                      </a:cubicBezTo>
                      <a:cubicBezTo>
                        <a:pt x="1382039" y="587037"/>
                        <a:pt x="1391035" y="604629"/>
                        <a:pt x="1407342" y="609368"/>
                      </a:cubicBezTo>
                      <a:cubicBezTo>
                        <a:pt x="1421881" y="615955"/>
                        <a:pt x="1431199" y="630976"/>
                        <a:pt x="1447506" y="634671"/>
                      </a:cubicBezTo>
                      <a:cubicBezTo>
                        <a:pt x="1470158" y="611698"/>
                        <a:pt x="1469917" y="572819"/>
                        <a:pt x="1438589" y="565991"/>
                      </a:cubicBezTo>
                      <a:cubicBezTo>
                        <a:pt x="1443570" y="561252"/>
                        <a:pt x="1449273" y="553942"/>
                        <a:pt x="1452406" y="547917"/>
                      </a:cubicBezTo>
                      <a:cubicBezTo>
                        <a:pt x="1446944" y="547596"/>
                        <a:pt x="1439634" y="548078"/>
                        <a:pt x="1434332" y="549122"/>
                      </a:cubicBezTo>
                      <a:cubicBezTo>
                        <a:pt x="1435376" y="547435"/>
                        <a:pt x="1436742" y="545106"/>
                        <a:pt x="1437786" y="543419"/>
                      </a:cubicBezTo>
                      <a:cubicBezTo>
                        <a:pt x="1440116" y="542053"/>
                        <a:pt x="1443248" y="540286"/>
                        <a:pt x="1445578" y="539001"/>
                      </a:cubicBezTo>
                      <a:cubicBezTo>
                        <a:pt x="1445016" y="536189"/>
                        <a:pt x="1444373" y="532334"/>
                        <a:pt x="1443811" y="529522"/>
                      </a:cubicBezTo>
                      <a:cubicBezTo>
                        <a:pt x="1414571" y="515947"/>
                        <a:pt x="1414571" y="515947"/>
                        <a:pt x="1396096" y="484137"/>
                      </a:cubicBezTo>
                      <a:lnTo>
                        <a:pt x="1394891" y="479237"/>
                      </a:lnTo>
                      <a:cubicBezTo>
                        <a:pt x="1395935" y="475140"/>
                        <a:pt x="1397381" y="469597"/>
                        <a:pt x="1398506" y="465501"/>
                      </a:cubicBezTo>
                      <a:lnTo>
                        <a:pt x="1397140" y="463974"/>
                      </a:lnTo>
                      <a:cubicBezTo>
                        <a:pt x="1401237" y="445499"/>
                        <a:pt x="1400273" y="439796"/>
                        <a:pt x="1380512" y="421642"/>
                      </a:cubicBezTo>
                      <a:cubicBezTo>
                        <a:pt x="1380432" y="419071"/>
                        <a:pt x="1380352" y="415537"/>
                        <a:pt x="1380271" y="412966"/>
                      </a:cubicBezTo>
                      <a:cubicBezTo>
                        <a:pt x="1380753" y="412805"/>
                        <a:pt x="1381316" y="412564"/>
                        <a:pt x="1381717" y="412404"/>
                      </a:cubicBezTo>
                      <a:cubicBezTo>
                        <a:pt x="1391437" y="386619"/>
                        <a:pt x="1410796" y="403407"/>
                        <a:pt x="1419070" y="410556"/>
                      </a:cubicBezTo>
                      <a:cubicBezTo>
                        <a:pt x="1419150" y="440679"/>
                        <a:pt x="1420837" y="445579"/>
                        <a:pt x="1422443" y="450399"/>
                      </a:cubicBezTo>
                      <a:cubicBezTo>
                        <a:pt x="1422765" y="453933"/>
                        <a:pt x="1423889" y="458994"/>
                        <a:pt x="1422283" y="462127"/>
                      </a:cubicBezTo>
                      <a:cubicBezTo>
                        <a:pt x="1430717" y="474899"/>
                        <a:pt x="1433930" y="478594"/>
                        <a:pt x="1448550" y="488394"/>
                      </a:cubicBezTo>
                      <a:cubicBezTo>
                        <a:pt x="1448389" y="488474"/>
                        <a:pt x="1448148" y="488635"/>
                        <a:pt x="1447988" y="488715"/>
                      </a:cubicBezTo>
                      <a:cubicBezTo>
                        <a:pt x="1456663" y="501006"/>
                        <a:pt x="1458029" y="501247"/>
                        <a:pt x="1464535" y="502130"/>
                      </a:cubicBezTo>
                      <a:cubicBezTo>
                        <a:pt x="1468953" y="502211"/>
                        <a:pt x="1468953" y="502211"/>
                        <a:pt x="1518757" y="466384"/>
                      </a:cubicBezTo>
                      <a:cubicBezTo>
                        <a:pt x="1524621" y="466304"/>
                        <a:pt x="1532493" y="466866"/>
                        <a:pt x="1538357" y="467509"/>
                      </a:cubicBezTo>
                      <a:cubicBezTo>
                        <a:pt x="1524621" y="482209"/>
                        <a:pt x="1503735" y="511047"/>
                        <a:pt x="1503735" y="511047"/>
                      </a:cubicBezTo>
                      <a:cubicBezTo>
                        <a:pt x="1503816" y="513778"/>
                        <a:pt x="1503816" y="517393"/>
                        <a:pt x="1503896" y="520124"/>
                      </a:cubicBezTo>
                      <a:cubicBezTo>
                        <a:pt x="1520765" y="527112"/>
                        <a:pt x="1520765" y="527112"/>
                        <a:pt x="1530565" y="536029"/>
                      </a:cubicBezTo>
                      <a:cubicBezTo>
                        <a:pt x="1526950" y="539724"/>
                        <a:pt x="1520604" y="543258"/>
                        <a:pt x="1515544" y="544543"/>
                      </a:cubicBezTo>
                      <a:cubicBezTo>
                        <a:pt x="1514499" y="566393"/>
                        <a:pt x="1536590" y="584225"/>
                        <a:pt x="1526629" y="607601"/>
                      </a:cubicBezTo>
                      <a:cubicBezTo>
                        <a:pt x="1516266" y="632101"/>
                        <a:pt x="1489758" y="635073"/>
                        <a:pt x="1471363" y="648890"/>
                      </a:cubicBezTo>
                      <a:cubicBezTo>
                        <a:pt x="1472729" y="651058"/>
                        <a:pt x="1474657" y="653870"/>
                        <a:pt x="1476022" y="656039"/>
                      </a:cubicBezTo>
                      <a:cubicBezTo>
                        <a:pt x="1434332" y="663509"/>
                        <a:pt x="1434332" y="663509"/>
                        <a:pt x="1413366" y="670899"/>
                      </a:cubicBezTo>
                      <a:cubicBezTo>
                        <a:pt x="1396819" y="654994"/>
                        <a:pt x="1397783" y="631057"/>
                        <a:pt x="1386617" y="612662"/>
                      </a:cubicBezTo>
                      <a:cubicBezTo>
                        <a:pt x="1381958" y="618927"/>
                        <a:pt x="1376014" y="627442"/>
                        <a:pt x="1371998" y="634109"/>
                      </a:cubicBezTo>
                      <a:cubicBezTo>
                        <a:pt x="1395935" y="678049"/>
                        <a:pt x="1395935" y="678049"/>
                        <a:pt x="1411439" y="684555"/>
                      </a:cubicBezTo>
                      <a:cubicBezTo>
                        <a:pt x="1407422" y="688090"/>
                        <a:pt x="1402361" y="693150"/>
                        <a:pt x="1398827" y="697247"/>
                      </a:cubicBezTo>
                      <a:cubicBezTo>
                        <a:pt x="1396257" y="697408"/>
                        <a:pt x="1392802" y="697568"/>
                        <a:pt x="1390232" y="697729"/>
                      </a:cubicBezTo>
                      <a:cubicBezTo>
                        <a:pt x="1389670" y="700219"/>
                        <a:pt x="1388866" y="703593"/>
                        <a:pt x="1388304" y="706083"/>
                      </a:cubicBezTo>
                      <a:cubicBezTo>
                        <a:pt x="1370552" y="710822"/>
                        <a:pt x="1370552" y="710822"/>
                        <a:pt x="1360591" y="750986"/>
                      </a:cubicBezTo>
                      <a:cubicBezTo>
                        <a:pt x="1358342" y="752191"/>
                        <a:pt x="1355289" y="753798"/>
                        <a:pt x="1352960" y="755003"/>
                      </a:cubicBezTo>
                      <a:cubicBezTo>
                        <a:pt x="1355611" y="754762"/>
                        <a:pt x="1359225" y="754440"/>
                        <a:pt x="1361876" y="754199"/>
                      </a:cubicBezTo>
                      <a:cubicBezTo>
                        <a:pt x="1338501" y="766008"/>
                        <a:pt x="1336412" y="770104"/>
                        <a:pt x="1336171" y="785688"/>
                      </a:cubicBezTo>
                      <a:cubicBezTo>
                        <a:pt x="1322515" y="797416"/>
                        <a:pt x="1302915" y="801272"/>
                        <a:pt x="1293276" y="818301"/>
                      </a:cubicBezTo>
                      <a:cubicBezTo>
                        <a:pt x="1296168" y="820872"/>
                        <a:pt x="1300024" y="824326"/>
                        <a:pt x="1302915" y="826896"/>
                      </a:cubicBezTo>
                      <a:cubicBezTo>
                        <a:pt x="1300345" y="827539"/>
                        <a:pt x="1296971" y="828342"/>
                        <a:pt x="1294481" y="828985"/>
                      </a:cubicBezTo>
                      <a:cubicBezTo>
                        <a:pt x="1294240" y="829708"/>
                        <a:pt x="1293999" y="830591"/>
                        <a:pt x="1293758" y="831314"/>
                      </a:cubicBezTo>
                      <a:cubicBezTo>
                        <a:pt x="1269017" y="835813"/>
                        <a:pt x="1267892" y="836616"/>
                        <a:pt x="1259297" y="842801"/>
                      </a:cubicBezTo>
                      <a:cubicBezTo>
                        <a:pt x="1258976" y="845372"/>
                        <a:pt x="1258494" y="848826"/>
                        <a:pt x="1258173" y="851396"/>
                      </a:cubicBezTo>
                      <a:cubicBezTo>
                        <a:pt x="1268615" y="853565"/>
                        <a:pt x="1268615" y="853565"/>
                        <a:pt x="1303558" y="851557"/>
                      </a:cubicBezTo>
                      <a:cubicBezTo>
                        <a:pt x="1311591" y="862160"/>
                        <a:pt x="1311591" y="862160"/>
                        <a:pt x="1327817" y="868988"/>
                      </a:cubicBezTo>
                      <a:cubicBezTo>
                        <a:pt x="1326934" y="869149"/>
                        <a:pt x="1325729" y="869390"/>
                        <a:pt x="1324845" y="869631"/>
                      </a:cubicBezTo>
                      <a:cubicBezTo>
                        <a:pt x="1327496" y="870434"/>
                        <a:pt x="1330950" y="871559"/>
                        <a:pt x="1333520" y="872362"/>
                      </a:cubicBezTo>
                      <a:cubicBezTo>
                        <a:pt x="1332315" y="875013"/>
                        <a:pt x="1330709" y="878467"/>
                        <a:pt x="1329504" y="881118"/>
                      </a:cubicBezTo>
                      <a:cubicBezTo>
                        <a:pt x="1330227" y="882001"/>
                        <a:pt x="1331271" y="883206"/>
                        <a:pt x="1331994" y="884170"/>
                      </a:cubicBezTo>
                      <a:lnTo>
                        <a:pt x="1333761" y="884813"/>
                      </a:lnTo>
                      <a:cubicBezTo>
                        <a:pt x="1294963" y="911883"/>
                        <a:pt x="1246124" y="939115"/>
                        <a:pt x="1214956" y="954055"/>
                      </a:cubicBezTo>
                      <a:cubicBezTo>
                        <a:pt x="1216242" y="956144"/>
                        <a:pt x="1218009" y="958875"/>
                        <a:pt x="1219294" y="960964"/>
                      </a:cubicBezTo>
                      <a:lnTo>
                        <a:pt x="1221463" y="960562"/>
                      </a:lnTo>
                      <a:cubicBezTo>
                        <a:pt x="1221061" y="992934"/>
                        <a:pt x="1222507" y="996710"/>
                        <a:pt x="1225881" y="1005706"/>
                      </a:cubicBezTo>
                      <a:cubicBezTo>
                        <a:pt x="1228451" y="1006028"/>
                        <a:pt x="1231825" y="1006429"/>
                        <a:pt x="1234396" y="1006751"/>
                      </a:cubicBezTo>
                      <a:cubicBezTo>
                        <a:pt x="1233191" y="1009000"/>
                        <a:pt x="1231504" y="1011972"/>
                        <a:pt x="1230299" y="1014221"/>
                      </a:cubicBezTo>
                      <a:cubicBezTo>
                        <a:pt x="1235119" y="1017515"/>
                        <a:pt x="1240019" y="1024583"/>
                        <a:pt x="1241224" y="1030287"/>
                      </a:cubicBezTo>
                      <a:cubicBezTo>
                        <a:pt x="1253192" y="1033018"/>
                        <a:pt x="1253192" y="1033018"/>
                        <a:pt x="1276648" y="1021210"/>
                      </a:cubicBezTo>
                      <a:cubicBezTo>
                        <a:pt x="1280263" y="1022575"/>
                        <a:pt x="1285966" y="1024182"/>
                        <a:pt x="1289581" y="1022656"/>
                      </a:cubicBezTo>
                      <a:cubicBezTo>
                        <a:pt x="1356093" y="1028439"/>
                        <a:pt x="1367901" y="1002574"/>
                        <a:pt x="1417543" y="893729"/>
                      </a:cubicBezTo>
                      <a:cubicBezTo>
                        <a:pt x="1416098" y="890757"/>
                        <a:pt x="1414089" y="886821"/>
                        <a:pt x="1412643" y="883929"/>
                      </a:cubicBezTo>
                      <a:cubicBezTo>
                        <a:pt x="1417062" y="873406"/>
                        <a:pt x="1417062" y="873406"/>
                        <a:pt x="1433448" y="869229"/>
                      </a:cubicBezTo>
                      <a:cubicBezTo>
                        <a:pt x="1433368" y="869149"/>
                        <a:pt x="1433288" y="869069"/>
                        <a:pt x="1433207" y="868988"/>
                      </a:cubicBezTo>
                      <a:cubicBezTo>
                        <a:pt x="1532975" y="796693"/>
                        <a:pt x="1621416" y="860634"/>
                        <a:pt x="1622139" y="861437"/>
                      </a:cubicBezTo>
                      <a:cubicBezTo>
                        <a:pt x="1632501" y="840793"/>
                        <a:pt x="1633465" y="839749"/>
                        <a:pt x="1640695" y="831154"/>
                      </a:cubicBezTo>
                      <a:cubicBezTo>
                        <a:pt x="1570809" y="816052"/>
                        <a:pt x="1560126" y="813722"/>
                        <a:pt x="1528717" y="789865"/>
                      </a:cubicBezTo>
                      <a:cubicBezTo>
                        <a:pt x="1532332" y="786250"/>
                        <a:pt x="1538276" y="782314"/>
                        <a:pt x="1543096" y="780547"/>
                      </a:cubicBezTo>
                      <a:cubicBezTo>
                        <a:pt x="1575468" y="805288"/>
                        <a:pt x="1634590" y="763919"/>
                        <a:pt x="1652663" y="814927"/>
                      </a:cubicBezTo>
                      <a:cubicBezTo>
                        <a:pt x="1652182" y="815008"/>
                        <a:pt x="1651539" y="815168"/>
                        <a:pt x="1651057" y="815249"/>
                      </a:cubicBezTo>
                      <a:cubicBezTo>
                        <a:pt x="1691221" y="826896"/>
                        <a:pt x="1691221" y="826896"/>
                        <a:pt x="1701503" y="819346"/>
                      </a:cubicBezTo>
                      <a:cubicBezTo>
                        <a:pt x="1703511" y="820309"/>
                        <a:pt x="1706162" y="821595"/>
                        <a:pt x="1708170" y="822639"/>
                      </a:cubicBezTo>
                      <a:cubicBezTo>
                        <a:pt x="1702788" y="824406"/>
                        <a:pt x="1696041" y="828182"/>
                        <a:pt x="1691542" y="831636"/>
                      </a:cubicBezTo>
                      <a:cubicBezTo>
                        <a:pt x="1698049" y="842159"/>
                        <a:pt x="1703591" y="851236"/>
                        <a:pt x="1720942" y="840150"/>
                      </a:cubicBezTo>
                      <a:cubicBezTo>
                        <a:pt x="1719095" y="838383"/>
                        <a:pt x="1716685" y="835973"/>
                        <a:pt x="1714918" y="834206"/>
                      </a:cubicBezTo>
                      <a:cubicBezTo>
                        <a:pt x="1709295" y="828342"/>
                        <a:pt x="1709295" y="828342"/>
                        <a:pt x="1709295" y="828342"/>
                      </a:cubicBezTo>
                      <a:cubicBezTo>
                        <a:pt x="1709295" y="828342"/>
                        <a:pt x="1709375" y="828342"/>
                        <a:pt x="1709375" y="828262"/>
                      </a:cubicBezTo>
                      <a:cubicBezTo>
                        <a:pt x="1709375" y="828262"/>
                        <a:pt x="1709455" y="828262"/>
                        <a:pt x="1709455" y="828182"/>
                      </a:cubicBezTo>
                      <a:cubicBezTo>
                        <a:pt x="1709455" y="828101"/>
                        <a:pt x="1709536" y="828182"/>
                        <a:pt x="1709536" y="828101"/>
                      </a:cubicBezTo>
                      <a:cubicBezTo>
                        <a:pt x="1709536" y="828101"/>
                        <a:pt x="1709616" y="828101"/>
                        <a:pt x="1709616" y="828021"/>
                      </a:cubicBezTo>
                      <a:cubicBezTo>
                        <a:pt x="1709616" y="828021"/>
                        <a:pt x="1709696" y="828021"/>
                        <a:pt x="1709696" y="827941"/>
                      </a:cubicBezTo>
                      <a:cubicBezTo>
                        <a:pt x="1709696" y="827941"/>
                        <a:pt x="1709777" y="827941"/>
                        <a:pt x="1709777" y="827941"/>
                      </a:cubicBezTo>
                      <a:cubicBezTo>
                        <a:pt x="1709777" y="827941"/>
                        <a:pt x="1709857" y="827941"/>
                        <a:pt x="1709857" y="827860"/>
                      </a:cubicBezTo>
                      <a:cubicBezTo>
                        <a:pt x="1712106" y="825772"/>
                        <a:pt x="1715159" y="822960"/>
                        <a:pt x="1717408" y="820872"/>
                      </a:cubicBezTo>
                      <a:cubicBezTo>
                        <a:pt x="1712267" y="817417"/>
                        <a:pt x="1704475" y="813642"/>
                        <a:pt x="1698290" y="813160"/>
                      </a:cubicBezTo>
                      <a:cubicBezTo>
                        <a:pt x="1699173" y="811714"/>
                        <a:pt x="1700378" y="809786"/>
                        <a:pt x="1701262" y="808341"/>
                      </a:cubicBezTo>
                      <a:cubicBezTo>
                        <a:pt x="1697888" y="802316"/>
                        <a:pt x="1693149" y="794363"/>
                        <a:pt x="1689454" y="788500"/>
                      </a:cubicBezTo>
                      <a:cubicBezTo>
                        <a:pt x="1692185" y="789544"/>
                        <a:pt x="1695880" y="790990"/>
                        <a:pt x="1698611" y="792034"/>
                      </a:cubicBezTo>
                      <a:cubicBezTo>
                        <a:pt x="1701503" y="787777"/>
                        <a:pt x="1702949" y="780306"/>
                        <a:pt x="1702226" y="775165"/>
                      </a:cubicBezTo>
                      <a:cubicBezTo>
                        <a:pt x="1710178" y="767695"/>
                        <a:pt x="1710178" y="767695"/>
                        <a:pt x="1727449" y="761911"/>
                      </a:cubicBezTo>
                      <a:cubicBezTo>
                        <a:pt x="1726806" y="764401"/>
                        <a:pt x="1726003" y="767695"/>
                        <a:pt x="1725360" y="770185"/>
                      </a:cubicBezTo>
                      <a:cubicBezTo>
                        <a:pt x="1729537" y="761911"/>
                        <a:pt x="1733072" y="753396"/>
                        <a:pt x="1737731" y="745363"/>
                      </a:cubicBezTo>
                      <a:cubicBezTo>
                        <a:pt x="1733714" y="741427"/>
                        <a:pt x="1727288" y="737009"/>
                        <a:pt x="1721986" y="735001"/>
                      </a:cubicBezTo>
                      <a:cubicBezTo>
                        <a:pt x="1718934" y="722149"/>
                        <a:pt x="1717488" y="708975"/>
                        <a:pt x="1713391" y="696363"/>
                      </a:cubicBezTo>
                      <a:cubicBezTo>
                        <a:pt x="1713231" y="696524"/>
                        <a:pt x="1712990" y="696765"/>
                        <a:pt x="1712749" y="697006"/>
                      </a:cubicBezTo>
                      <a:cubicBezTo>
                        <a:pt x="1711544" y="668409"/>
                        <a:pt x="1711142" y="659814"/>
                        <a:pt x="1715078" y="651380"/>
                      </a:cubicBezTo>
                      <a:cubicBezTo>
                        <a:pt x="1717167" y="649934"/>
                        <a:pt x="1719898" y="647926"/>
                        <a:pt x="1721986" y="646480"/>
                      </a:cubicBezTo>
                      <a:cubicBezTo>
                        <a:pt x="1730742" y="650094"/>
                        <a:pt x="1736124" y="657886"/>
                        <a:pt x="1743434" y="663429"/>
                      </a:cubicBezTo>
                      <a:cubicBezTo>
                        <a:pt x="1754439" y="660296"/>
                        <a:pt x="1757010" y="659573"/>
                        <a:pt x="1761267" y="643427"/>
                      </a:cubicBezTo>
                      <a:cubicBezTo>
                        <a:pt x="1755965" y="642704"/>
                        <a:pt x="1749137" y="639411"/>
                        <a:pt x="1745362" y="635635"/>
                      </a:cubicBezTo>
                      <a:cubicBezTo>
                        <a:pt x="1745603" y="627040"/>
                        <a:pt x="1745603" y="627040"/>
                        <a:pt x="1755001" y="599488"/>
                      </a:cubicBezTo>
                      <a:cubicBezTo>
                        <a:pt x="1755322" y="599648"/>
                        <a:pt x="1755724" y="599889"/>
                        <a:pt x="1756046" y="600050"/>
                      </a:cubicBezTo>
                      <a:lnTo>
                        <a:pt x="1760705" y="606717"/>
                      </a:lnTo>
                      <a:cubicBezTo>
                        <a:pt x="1770505" y="623586"/>
                        <a:pt x="1765203" y="634511"/>
                        <a:pt x="1765123" y="634671"/>
                      </a:cubicBezTo>
                      <a:cubicBezTo>
                        <a:pt x="1797334" y="639893"/>
                        <a:pt x="1799583" y="641499"/>
                        <a:pt x="1814364" y="651862"/>
                      </a:cubicBezTo>
                      <a:cubicBezTo>
                        <a:pt x="1817577" y="675799"/>
                        <a:pt x="1739900" y="757412"/>
                        <a:pt x="1739016" y="758055"/>
                      </a:cubicBezTo>
                      <a:cubicBezTo>
                        <a:pt x="1735000" y="763116"/>
                        <a:pt x="1730903" y="771711"/>
                        <a:pt x="1731064" y="778218"/>
                      </a:cubicBezTo>
                      <a:cubicBezTo>
                        <a:pt x="1734518" y="779583"/>
                        <a:pt x="1739177" y="781431"/>
                        <a:pt x="1742631" y="782877"/>
                      </a:cubicBezTo>
                      <a:cubicBezTo>
                        <a:pt x="1742952" y="785527"/>
                        <a:pt x="1743354" y="788982"/>
                        <a:pt x="1743675" y="791632"/>
                      </a:cubicBezTo>
                      <a:cubicBezTo>
                        <a:pt x="1759178" y="800790"/>
                        <a:pt x="1759178" y="800790"/>
                        <a:pt x="1767934" y="804244"/>
                      </a:cubicBezTo>
                      <a:cubicBezTo>
                        <a:pt x="1785526" y="785206"/>
                        <a:pt x="1809624" y="773317"/>
                        <a:pt x="1825449" y="752352"/>
                      </a:cubicBezTo>
                      <a:cubicBezTo>
                        <a:pt x="1853403" y="768257"/>
                        <a:pt x="1845370" y="806413"/>
                        <a:pt x="1838301" y="840070"/>
                      </a:cubicBezTo>
                      <a:cubicBezTo>
                        <a:pt x="1750101" y="869872"/>
                        <a:pt x="1686000" y="948433"/>
                        <a:pt x="1590088" y="962731"/>
                      </a:cubicBezTo>
                      <a:cubicBezTo>
                        <a:pt x="1590329" y="962410"/>
                        <a:pt x="1590650" y="962088"/>
                        <a:pt x="1590891" y="961767"/>
                      </a:cubicBezTo>
                      <a:cubicBezTo>
                        <a:pt x="1588321" y="961928"/>
                        <a:pt x="1584947" y="962169"/>
                        <a:pt x="1582457" y="962329"/>
                      </a:cubicBezTo>
                      <a:cubicBezTo>
                        <a:pt x="1581895" y="961767"/>
                        <a:pt x="1581172" y="960964"/>
                        <a:pt x="1580690" y="960401"/>
                      </a:cubicBezTo>
                      <a:cubicBezTo>
                        <a:pt x="1570890" y="946987"/>
                        <a:pt x="1568962" y="940078"/>
                        <a:pt x="1568560" y="916703"/>
                      </a:cubicBezTo>
                      <a:cubicBezTo>
                        <a:pt x="1567917" y="916060"/>
                        <a:pt x="1567034" y="915177"/>
                        <a:pt x="1566391" y="914614"/>
                      </a:cubicBezTo>
                      <a:cubicBezTo>
                        <a:pt x="1564303" y="916783"/>
                        <a:pt x="1561571" y="919675"/>
                        <a:pt x="1559483" y="921844"/>
                      </a:cubicBezTo>
                      <a:cubicBezTo>
                        <a:pt x="1556672" y="921121"/>
                        <a:pt x="1552896" y="920237"/>
                        <a:pt x="1550085" y="919515"/>
                      </a:cubicBezTo>
                      <a:cubicBezTo>
                        <a:pt x="1549522" y="920237"/>
                        <a:pt x="1548880" y="921201"/>
                        <a:pt x="1548317" y="921924"/>
                      </a:cubicBezTo>
                      <a:lnTo>
                        <a:pt x="1547434" y="919595"/>
                      </a:lnTo>
                      <a:cubicBezTo>
                        <a:pt x="1544783" y="922005"/>
                        <a:pt x="1544783" y="922005"/>
                        <a:pt x="1510242" y="941364"/>
                      </a:cubicBezTo>
                      <a:cubicBezTo>
                        <a:pt x="1329102" y="1035749"/>
                        <a:pt x="1329102" y="1035749"/>
                        <a:pt x="1316411" y="1034062"/>
                      </a:cubicBezTo>
                      <a:cubicBezTo>
                        <a:pt x="1255924" y="1098003"/>
                        <a:pt x="1213028" y="1175118"/>
                        <a:pt x="1158646" y="1243638"/>
                      </a:cubicBezTo>
                      <a:cubicBezTo>
                        <a:pt x="1159530" y="1242754"/>
                        <a:pt x="1160655" y="1241549"/>
                        <a:pt x="1161538" y="1240666"/>
                      </a:cubicBezTo>
                      <a:cubicBezTo>
                        <a:pt x="1150694" y="1260427"/>
                        <a:pt x="1149087" y="1264845"/>
                        <a:pt x="1145794" y="1283722"/>
                      </a:cubicBezTo>
                      <a:cubicBezTo>
                        <a:pt x="1148927" y="1283481"/>
                        <a:pt x="1153264" y="1283882"/>
                        <a:pt x="1156076" y="1282517"/>
                      </a:cubicBezTo>
                      <a:cubicBezTo>
                        <a:pt x="1158245" y="1284204"/>
                        <a:pt x="1161137" y="1286533"/>
                        <a:pt x="1163386" y="1288220"/>
                      </a:cubicBezTo>
                      <a:cubicBezTo>
                        <a:pt x="1162663" y="1290871"/>
                        <a:pt x="1161779" y="1294405"/>
                        <a:pt x="1161137" y="1297056"/>
                      </a:cubicBezTo>
                      <a:cubicBezTo>
                        <a:pt x="1161940" y="1296735"/>
                        <a:pt x="1162984" y="1296253"/>
                        <a:pt x="1163787" y="1295851"/>
                      </a:cubicBezTo>
                      <a:cubicBezTo>
                        <a:pt x="1175033" y="1319950"/>
                        <a:pt x="1172382" y="1333445"/>
                        <a:pt x="1151658" y="1358346"/>
                      </a:cubicBezTo>
                      <a:cubicBezTo>
                        <a:pt x="1152220" y="1358587"/>
                        <a:pt x="1153024" y="1358909"/>
                        <a:pt x="1153666" y="1359149"/>
                      </a:cubicBezTo>
                      <a:cubicBezTo>
                        <a:pt x="1158968" y="1359712"/>
                        <a:pt x="1166117" y="1360917"/>
                        <a:pt x="1171258" y="1362523"/>
                      </a:cubicBezTo>
                      <a:cubicBezTo>
                        <a:pt x="1173507" y="1364291"/>
                        <a:pt x="1176560" y="1366620"/>
                        <a:pt x="1178809" y="1368387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79451" y="1368709"/>
                        <a:pt x="1173105" y="1372564"/>
                        <a:pt x="1169892" y="1376661"/>
                      </a:cubicBezTo>
                      <a:cubicBezTo>
                        <a:pt x="1171338" y="1377063"/>
                        <a:pt x="1173266" y="1377625"/>
                        <a:pt x="1174712" y="1378027"/>
                      </a:cubicBezTo>
                      <a:cubicBezTo>
                        <a:pt x="1190055" y="1385417"/>
                        <a:pt x="1190055" y="1385417"/>
                        <a:pt x="1199614" y="1381561"/>
                      </a:cubicBezTo>
                      <a:cubicBezTo>
                        <a:pt x="1201381" y="1384373"/>
                        <a:pt x="1203791" y="1388148"/>
                        <a:pt x="1205558" y="1390960"/>
                      </a:cubicBezTo>
                      <a:lnTo>
                        <a:pt x="1208610" y="1388791"/>
                      </a:lnTo>
                      <a:cubicBezTo>
                        <a:pt x="1211101" y="1389754"/>
                        <a:pt x="1214474" y="1391120"/>
                        <a:pt x="1216965" y="1392084"/>
                      </a:cubicBezTo>
                      <a:cubicBezTo>
                        <a:pt x="1217446" y="1391682"/>
                        <a:pt x="1218089" y="1391201"/>
                        <a:pt x="1218571" y="1390799"/>
                      </a:cubicBezTo>
                      <a:cubicBezTo>
                        <a:pt x="1224756" y="1395217"/>
                        <a:pt x="1224756" y="1395217"/>
                        <a:pt x="1251265" y="1404053"/>
                      </a:cubicBezTo>
                      <a:cubicBezTo>
                        <a:pt x="1251747" y="1406704"/>
                        <a:pt x="1252309" y="1410158"/>
                        <a:pt x="1252791" y="1412809"/>
                      </a:cubicBezTo>
                      <a:cubicBezTo>
                        <a:pt x="1299140" y="1425260"/>
                        <a:pt x="1342999" y="1436907"/>
                        <a:pt x="1404852" y="1407346"/>
                      </a:cubicBezTo>
                      <a:cubicBezTo>
                        <a:pt x="1573621" y="1326777"/>
                        <a:pt x="1573621" y="1326777"/>
                        <a:pt x="1600450" y="1329428"/>
                      </a:cubicBezTo>
                      <a:cubicBezTo>
                        <a:pt x="1601334" y="1331838"/>
                        <a:pt x="1602619" y="1334971"/>
                        <a:pt x="1603503" y="1337381"/>
                      </a:cubicBezTo>
                      <a:cubicBezTo>
                        <a:pt x="1627681" y="1342441"/>
                        <a:pt x="1648808" y="1317620"/>
                        <a:pt x="1648968" y="1317299"/>
                      </a:cubicBezTo>
                      <a:cubicBezTo>
                        <a:pt x="1668006" y="1319066"/>
                        <a:pt x="1668006" y="1319066"/>
                        <a:pt x="1674031" y="1316656"/>
                      </a:cubicBezTo>
                      <a:lnTo>
                        <a:pt x="1674352" y="1316817"/>
                      </a:lnTo>
                      <a:lnTo>
                        <a:pt x="1675557" y="1318825"/>
                      </a:lnTo>
                      <a:lnTo>
                        <a:pt x="1672826" y="1320753"/>
                      </a:lnTo>
                      <a:lnTo>
                        <a:pt x="1675316" y="1322841"/>
                      </a:lnTo>
                      <a:cubicBezTo>
                        <a:pt x="1681180" y="1333445"/>
                        <a:pt x="1682626" y="1335935"/>
                        <a:pt x="1676119" y="1352161"/>
                      </a:cubicBezTo>
                      <a:cubicBezTo>
                        <a:pt x="1677886" y="1354250"/>
                        <a:pt x="1680216" y="1356981"/>
                        <a:pt x="1681983" y="1358989"/>
                      </a:cubicBezTo>
                      <a:cubicBezTo>
                        <a:pt x="1679413" y="1364371"/>
                        <a:pt x="1675075" y="1371199"/>
                        <a:pt x="1671300" y="1375858"/>
                      </a:cubicBezTo>
                      <a:cubicBezTo>
                        <a:pt x="1674995" y="1378428"/>
                        <a:pt x="1679413" y="1383168"/>
                        <a:pt x="1680859" y="1387425"/>
                      </a:cubicBezTo>
                      <a:cubicBezTo>
                        <a:pt x="1702708" y="1393209"/>
                        <a:pt x="1723352" y="1403009"/>
                        <a:pt x="1746246" y="1404937"/>
                      </a:cubicBezTo>
                      <a:cubicBezTo>
                        <a:pt x="1741506" y="1417628"/>
                        <a:pt x="1739739" y="1422368"/>
                        <a:pt x="1750664" y="1440602"/>
                      </a:cubicBezTo>
                      <a:cubicBezTo>
                        <a:pt x="1750744" y="1440120"/>
                        <a:pt x="1750905" y="1439477"/>
                        <a:pt x="1751065" y="1439076"/>
                      </a:cubicBezTo>
                      <a:cubicBezTo>
                        <a:pt x="1736044" y="1511451"/>
                        <a:pt x="1742791" y="1544627"/>
                        <a:pt x="1781188" y="1587121"/>
                      </a:cubicBezTo>
                      <a:cubicBezTo>
                        <a:pt x="1780947" y="1587121"/>
                        <a:pt x="1780546" y="1587121"/>
                        <a:pt x="1780305" y="1587121"/>
                      </a:cubicBezTo>
                      <a:cubicBezTo>
                        <a:pt x="1792354" y="1621260"/>
                        <a:pt x="1814926" y="1650579"/>
                        <a:pt x="1824806" y="1685763"/>
                      </a:cubicBezTo>
                      <a:cubicBezTo>
                        <a:pt x="1920156" y="1709380"/>
                        <a:pt x="2043941" y="1367022"/>
                        <a:pt x="2037515" y="1284445"/>
                      </a:cubicBezTo>
                      <a:cubicBezTo>
                        <a:pt x="2037113" y="1282436"/>
                        <a:pt x="2036872" y="1282758"/>
                        <a:pt x="2036631" y="1283079"/>
                      </a:cubicBezTo>
                      <a:cubicBezTo>
                        <a:pt x="2035828" y="1262917"/>
                        <a:pt x="2035828" y="1262917"/>
                        <a:pt x="2035105" y="1257374"/>
                      </a:cubicBezTo>
                      <a:lnTo>
                        <a:pt x="2035747" y="1255285"/>
                      </a:lnTo>
                      <a:cubicBezTo>
                        <a:pt x="2031972" y="1251671"/>
                        <a:pt x="2013577" y="1230063"/>
                        <a:pt x="2024903" y="1154875"/>
                      </a:cubicBezTo>
                      <a:cubicBezTo>
                        <a:pt x="2024984" y="1154795"/>
                        <a:pt x="2025144" y="1154795"/>
                        <a:pt x="2025305" y="1154715"/>
                      </a:cubicBezTo>
                      <a:lnTo>
                        <a:pt x="2025385" y="1153269"/>
                      </a:lnTo>
                      <a:cubicBezTo>
                        <a:pt x="2054384" y="1015747"/>
                        <a:pt x="2028759" y="933251"/>
                        <a:pt x="2028518" y="932608"/>
                      </a:cubicBezTo>
                      <a:cubicBezTo>
                        <a:pt x="2014220" y="977511"/>
                        <a:pt x="2014220" y="977511"/>
                        <a:pt x="2000002" y="989239"/>
                      </a:cubicBezTo>
                      <a:cubicBezTo>
                        <a:pt x="1999680" y="984419"/>
                        <a:pt x="1997993" y="977752"/>
                        <a:pt x="1995182" y="973816"/>
                      </a:cubicBezTo>
                      <a:cubicBezTo>
                        <a:pt x="1978554" y="967952"/>
                        <a:pt x="1978393" y="967952"/>
                        <a:pt x="1967228" y="967631"/>
                      </a:cubicBezTo>
                      <a:cubicBezTo>
                        <a:pt x="1954697" y="952529"/>
                        <a:pt x="1932285" y="945942"/>
                        <a:pt x="1929152" y="922888"/>
                      </a:cubicBezTo>
                      <a:cubicBezTo>
                        <a:pt x="1904974" y="908188"/>
                        <a:pt x="1849226" y="853886"/>
                        <a:pt x="1848905" y="853485"/>
                      </a:cubicBezTo>
                      <a:cubicBezTo>
                        <a:pt x="1853162" y="857501"/>
                        <a:pt x="1859347" y="862482"/>
                        <a:pt x="1864167" y="865855"/>
                      </a:cubicBezTo>
                      <a:cubicBezTo>
                        <a:pt x="1866416" y="864329"/>
                        <a:pt x="1869469" y="862241"/>
                        <a:pt x="1871718" y="860714"/>
                      </a:cubicBezTo>
                      <a:cubicBezTo>
                        <a:pt x="1871477" y="854931"/>
                        <a:pt x="1870593" y="847139"/>
                        <a:pt x="1869549" y="841436"/>
                      </a:cubicBezTo>
                      <a:cubicBezTo>
                        <a:pt x="1871557" y="847300"/>
                        <a:pt x="1873967" y="855252"/>
                        <a:pt x="1875493" y="861277"/>
                      </a:cubicBezTo>
                      <a:cubicBezTo>
                        <a:pt x="1901038" y="871237"/>
                        <a:pt x="1907865" y="874691"/>
                        <a:pt x="1931241" y="890034"/>
                      </a:cubicBezTo>
                      <a:cubicBezTo>
                        <a:pt x="1931161" y="890195"/>
                        <a:pt x="1931000" y="890275"/>
                        <a:pt x="1930920" y="890436"/>
                      </a:cubicBezTo>
                      <a:cubicBezTo>
                        <a:pt x="1953331" y="909072"/>
                        <a:pt x="1967067" y="923611"/>
                        <a:pt x="1985221" y="947870"/>
                      </a:cubicBezTo>
                      <a:cubicBezTo>
                        <a:pt x="1985061" y="947870"/>
                        <a:pt x="1984739" y="947870"/>
                        <a:pt x="1984579" y="947870"/>
                      </a:cubicBezTo>
                      <a:lnTo>
                        <a:pt x="1984739" y="949156"/>
                      </a:lnTo>
                      <a:cubicBezTo>
                        <a:pt x="1988193" y="953574"/>
                        <a:pt x="1992290" y="959919"/>
                        <a:pt x="1995102" y="964819"/>
                      </a:cubicBezTo>
                      <a:cubicBezTo>
                        <a:pt x="2033338" y="905457"/>
                        <a:pt x="2005785" y="771149"/>
                        <a:pt x="1969236" y="732752"/>
                      </a:cubicBezTo>
                      <a:cubicBezTo>
                        <a:pt x="1975582" y="712429"/>
                        <a:pt x="1972529" y="706485"/>
                        <a:pt x="1934856" y="633627"/>
                      </a:cubicBezTo>
                      <a:cubicBezTo>
                        <a:pt x="1870674" y="526711"/>
                        <a:pt x="1868183" y="522533"/>
                        <a:pt x="1822075" y="463412"/>
                      </a:cubicBezTo>
                      <a:cubicBezTo>
                        <a:pt x="1743916" y="371838"/>
                        <a:pt x="1739257" y="366376"/>
                        <a:pt x="1682385" y="314163"/>
                      </a:cubicBezTo>
                      <a:cubicBezTo>
                        <a:pt x="1595631" y="241225"/>
                        <a:pt x="1586553" y="233594"/>
                        <a:pt x="1517150" y="188289"/>
                      </a:cubicBezTo>
                      <a:cubicBezTo>
                        <a:pt x="1429191" y="136477"/>
                        <a:pt x="1413286" y="127079"/>
                        <a:pt x="1325086" y="88682"/>
                      </a:cubicBezTo>
                      <a:cubicBezTo>
                        <a:pt x="1246606" y="59041"/>
                        <a:pt x="1225479" y="51008"/>
                        <a:pt x="1126756" y="26026"/>
                      </a:cubicBezTo>
                      <a:cubicBezTo>
                        <a:pt x="1058156" y="11888"/>
                        <a:pt x="1044018" y="8997"/>
                        <a:pt x="1005381" y="4579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7" name="Freeform: Shape 426">
                  <a:extLst>
                    <a:ext uri="{FF2B5EF4-FFF2-40B4-BE49-F238E27FC236}">
                      <a16:creationId xmlns:a16="http://schemas.microsoft.com/office/drawing/2014/main" id="{C9925EFF-4393-69E6-0EB5-AC94A8731274}"/>
                    </a:ext>
                  </a:extLst>
                </p:cNvPr>
                <p:cNvSpPr/>
                <p:nvPr/>
              </p:nvSpPr>
              <p:spPr>
                <a:xfrm>
                  <a:off x="-5342303" y="2003516"/>
                  <a:ext cx="2172185" cy="1418833"/>
                </a:xfrm>
                <a:custGeom>
                  <a:avLst/>
                  <a:gdLst>
                    <a:gd name="connsiteX0" fmla="*/ 97334 w 2172185"/>
                    <a:gd name="connsiteY0" fmla="*/ 1142023 h 1418833"/>
                    <a:gd name="connsiteX1" fmla="*/ 96290 w 2172185"/>
                    <a:gd name="connsiteY1" fmla="*/ 1138649 h 1418833"/>
                    <a:gd name="connsiteX2" fmla="*/ 95968 w 2172185"/>
                    <a:gd name="connsiteY2" fmla="*/ 1138489 h 1418833"/>
                    <a:gd name="connsiteX3" fmla="*/ 95486 w 2172185"/>
                    <a:gd name="connsiteY3" fmla="*/ 1148610 h 1418833"/>
                    <a:gd name="connsiteX4" fmla="*/ 97334 w 2172185"/>
                    <a:gd name="connsiteY4" fmla="*/ 1142023 h 1418833"/>
                    <a:gd name="connsiteX5" fmla="*/ 301688 w 2172185"/>
                    <a:gd name="connsiteY5" fmla="*/ 1161864 h 1418833"/>
                    <a:gd name="connsiteX6" fmla="*/ 301688 w 2172185"/>
                    <a:gd name="connsiteY6" fmla="*/ 1161864 h 1418833"/>
                    <a:gd name="connsiteX7" fmla="*/ 300965 w 2172185"/>
                    <a:gd name="connsiteY7" fmla="*/ 1162989 h 1418833"/>
                    <a:gd name="connsiteX8" fmla="*/ 301287 w 2172185"/>
                    <a:gd name="connsiteY8" fmla="*/ 1163712 h 1418833"/>
                    <a:gd name="connsiteX9" fmla="*/ 301688 w 2172185"/>
                    <a:gd name="connsiteY9" fmla="*/ 1161864 h 1418833"/>
                    <a:gd name="connsiteX10" fmla="*/ 300323 w 2172185"/>
                    <a:gd name="connsiteY10" fmla="*/ 1161623 h 1418833"/>
                    <a:gd name="connsiteX11" fmla="*/ 300403 w 2172185"/>
                    <a:gd name="connsiteY11" fmla="*/ 1161703 h 1418833"/>
                    <a:gd name="connsiteX12" fmla="*/ 298636 w 2172185"/>
                    <a:gd name="connsiteY12" fmla="*/ 1158089 h 1418833"/>
                    <a:gd name="connsiteX13" fmla="*/ 298716 w 2172185"/>
                    <a:gd name="connsiteY13" fmla="*/ 1158169 h 1418833"/>
                    <a:gd name="connsiteX14" fmla="*/ 300323 w 2172185"/>
                    <a:gd name="connsiteY14" fmla="*/ 1161623 h 1418833"/>
                    <a:gd name="connsiteX15" fmla="*/ 236783 w 2172185"/>
                    <a:gd name="connsiteY15" fmla="*/ 1129572 h 1418833"/>
                    <a:gd name="connsiteX16" fmla="*/ 237667 w 2172185"/>
                    <a:gd name="connsiteY16" fmla="*/ 1131179 h 1418833"/>
                    <a:gd name="connsiteX17" fmla="*/ 237346 w 2172185"/>
                    <a:gd name="connsiteY17" fmla="*/ 1129653 h 1418833"/>
                    <a:gd name="connsiteX18" fmla="*/ 237346 w 2172185"/>
                    <a:gd name="connsiteY18" fmla="*/ 1129653 h 1418833"/>
                    <a:gd name="connsiteX19" fmla="*/ 236783 w 2172185"/>
                    <a:gd name="connsiteY19" fmla="*/ 1129572 h 1418833"/>
                    <a:gd name="connsiteX20" fmla="*/ 2172125 w 2172185"/>
                    <a:gd name="connsiteY20" fmla="*/ 746809 h 1418833"/>
                    <a:gd name="connsiteX21" fmla="*/ 2172125 w 2172185"/>
                    <a:gd name="connsiteY21" fmla="*/ 746809 h 1418833"/>
                    <a:gd name="connsiteX22" fmla="*/ 2169956 w 2172185"/>
                    <a:gd name="connsiteY22" fmla="*/ 747050 h 1418833"/>
                    <a:gd name="connsiteX23" fmla="*/ 2170037 w 2172185"/>
                    <a:gd name="connsiteY23" fmla="*/ 747050 h 1418833"/>
                    <a:gd name="connsiteX24" fmla="*/ 2172125 w 2172185"/>
                    <a:gd name="connsiteY24" fmla="*/ 746809 h 1418833"/>
                    <a:gd name="connsiteX25" fmla="*/ 2169956 w 2172185"/>
                    <a:gd name="connsiteY25" fmla="*/ 747050 h 1418833"/>
                    <a:gd name="connsiteX26" fmla="*/ 2169956 w 2172185"/>
                    <a:gd name="connsiteY26" fmla="*/ 747050 h 1418833"/>
                    <a:gd name="connsiteX27" fmla="*/ 2169394 w 2172185"/>
                    <a:gd name="connsiteY27" fmla="*/ 746729 h 1418833"/>
                    <a:gd name="connsiteX28" fmla="*/ 2169394 w 2172185"/>
                    <a:gd name="connsiteY28" fmla="*/ 746729 h 1418833"/>
                    <a:gd name="connsiteX29" fmla="*/ 2169555 w 2172185"/>
                    <a:gd name="connsiteY29" fmla="*/ 747131 h 1418833"/>
                    <a:gd name="connsiteX30" fmla="*/ 2169956 w 2172185"/>
                    <a:gd name="connsiteY30" fmla="*/ 747050 h 1418833"/>
                    <a:gd name="connsiteX31" fmla="*/ 6242 w 2172185"/>
                    <a:gd name="connsiteY31" fmla="*/ 844488 h 1418833"/>
                    <a:gd name="connsiteX32" fmla="*/ 6242 w 2172185"/>
                    <a:gd name="connsiteY32" fmla="*/ 844488 h 1418833"/>
                    <a:gd name="connsiteX33" fmla="*/ 6644 w 2172185"/>
                    <a:gd name="connsiteY33" fmla="*/ 842801 h 1418833"/>
                    <a:gd name="connsiteX34" fmla="*/ 6644 w 2172185"/>
                    <a:gd name="connsiteY34" fmla="*/ 842882 h 1418833"/>
                    <a:gd name="connsiteX35" fmla="*/ 6242 w 2172185"/>
                    <a:gd name="connsiteY35" fmla="*/ 844488 h 1418833"/>
                    <a:gd name="connsiteX36" fmla="*/ 1958854 w 2172185"/>
                    <a:gd name="connsiteY36" fmla="*/ 775406 h 1418833"/>
                    <a:gd name="connsiteX37" fmla="*/ 1958854 w 2172185"/>
                    <a:gd name="connsiteY37" fmla="*/ 775326 h 1418833"/>
                    <a:gd name="connsiteX38" fmla="*/ 1958854 w 2172185"/>
                    <a:gd name="connsiteY38" fmla="*/ 775406 h 1418833"/>
                    <a:gd name="connsiteX39" fmla="*/ 1959095 w 2172185"/>
                    <a:gd name="connsiteY39" fmla="*/ 778539 h 1418833"/>
                    <a:gd name="connsiteX40" fmla="*/ 1958854 w 2172185"/>
                    <a:gd name="connsiteY40" fmla="*/ 775406 h 1418833"/>
                    <a:gd name="connsiteX41" fmla="*/ 1954838 w 2172185"/>
                    <a:gd name="connsiteY41" fmla="*/ 777254 h 1418833"/>
                    <a:gd name="connsiteX42" fmla="*/ 1955802 w 2172185"/>
                    <a:gd name="connsiteY42" fmla="*/ 774844 h 1418833"/>
                    <a:gd name="connsiteX43" fmla="*/ 1954517 w 2172185"/>
                    <a:gd name="connsiteY43" fmla="*/ 775888 h 1418833"/>
                    <a:gd name="connsiteX44" fmla="*/ 1932667 w 2172185"/>
                    <a:gd name="connsiteY44" fmla="*/ 791311 h 1418833"/>
                    <a:gd name="connsiteX45" fmla="*/ 1930258 w 2172185"/>
                    <a:gd name="connsiteY45" fmla="*/ 791713 h 1418833"/>
                    <a:gd name="connsiteX46" fmla="*/ 1917887 w 2172185"/>
                    <a:gd name="connsiteY46" fmla="*/ 795408 h 1418833"/>
                    <a:gd name="connsiteX47" fmla="*/ 1959095 w 2172185"/>
                    <a:gd name="connsiteY47" fmla="*/ 798782 h 1418833"/>
                    <a:gd name="connsiteX48" fmla="*/ 1956525 w 2172185"/>
                    <a:gd name="connsiteY48" fmla="*/ 791713 h 1418833"/>
                    <a:gd name="connsiteX49" fmla="*/ 1957087 w 2172185"/>
                    <a:gd name="connsiteY49" fmla="*/ 790829 h 1418833"/>
                    <a:gd name="connsiteX50" fmla="*/ 1954838 w 2172185"/>
                    <a:gd name="connsiteY50" fmla="*/ 777254 h 1418833"/>
                    <a:gd name="connsiteX51" fmla="*/ 1978856 w 2172185"/>
                    <a:gd name="connsiteY51" fmla="*/ 735965 h 1418833"/>
                    <a:gd name="connsiteX52" fmla="*/ 1977972 w 2172185"/>
                    <a:gd name="connsiteY52" fmla="*/ 736045 h 1418833"/>
                    <a:gd name="connsiteX53" fmla="*/ 1977731 w 2172185"/>
                    <a:gd name="connsiteY53" fmla="*/ 736206 h 1418833"/>
                    <a:gd name="connsiteX54" fmla="*/ 1978776 w 2172185"/>
                    <a:gd name="connsiteY54" fmla="*/ 736286 h 1418833"/>
                    <a:gd name="connsiteX55" fmla="*/ 1978856 w 2172185"/>
                    <a:gd name="connsiteY55" fmla="*/ 735965 h 1418833"/>
                    <a:gd name="connsiteX56" fmla="*/ 17809 w 2172185"/>
                    <a:gd name="connsiteY56" fmla="*/ 792195 h 1418833"/>
                    <a:gd name="connsiteX57" fmla="*/ 17809 w 2172185"/>
                    <a:gd name="connsiteY57" fmla="*/ 792195 h 1418833"/>
                    <a:gd name="connsiteX58" fmla="*/ 17970 w 2172185"/>
                    <a:gd name="connsiteY58" fmla="*/ 791713 h 1418833"/>
                    <a:gd name="connsiteX59" fmla="*/ 17809 w 2172185"/>
                    <a:gd name="connsiteY59" fmla="*/ 792195 h 1418833"/>
                    <a:gd name="connsiteX60" fmla="*/ 1862541 w 2172185"/>
                    <a:gd name="connsiteY60" fmla="*/ 787536 h 1418833"/>
                    <a:gd name="connsiteX61" fmla="*/ 1855954 w 2172185"/>
                    <a:gd name="connsiteY61" fmla="*/ 778218 h 1418833"/>
                    <a:gd name="connsiteX62" fmla="*/ 1846556 w 2172185"/>
                    <a:gd name="connsiteY62" fmla="*/ 780547 h 1418833"/>
                    <a:gd name="connsiteX63" fmla="*/ 1836033 w 2172185"/>
                    <a:gd name="connsiteY63" fmla="*/ 788580 h 1418833"/>
                    <a:gd name="connsiteX64" fmla="*/ 1836435 w 2172185"/>
                    <a:gd name="connsiteY64" fmla="*/ 790749 h 1418833"/>
                    <a:gd name="connsiteX65" fmla="*/ 1847118 w 2172185"/>
                    <a:gd name="connsiteY65" fmla="*/ 802718 h 1418833"/>
                    <a:gd name="connsiteX66" fmla="*/ 1853544 w 2172185"/>
                    <a:gd name="connsiteY66" fmla="*/ 811875 h 1418833"/>
                    <a:gd name="connsiteX67" fmla="*/ 1856195 w 2172185"/>
                    <a:gd name="connsiteY67" fmla="*/ 810429 h 1418833"/>
                    <a:gd name="connsiteX68" fmla="*/ 1857320 w 2172185"/>
                    <a:gd name="connsiteY68" fmla="*/ 808983 h 1418833"/>
                    <a:gd name="connsiteX69" fmla="*/ 1859007 w 2172185"/>
                    <a:gd name="connsiteY69" fmla="*/ 805690 h 1418833"/>
                    <a:gd name="connsiteX70" fmla="*/ 1862059 w 2172185"/>
                    <a:gd name="connsiteY70" fmla="*/ 801754 h 1418833"/>
                    <a:gd name="connsiteX71" fmla="*/ 1863826 w 2172185"/>
                    <a:gd name="connsiteY71" fmla="*/ 792034 h 1418833"/>
                    <a:gd name="connsiteX72" fmla="*/ 1862541 w 2172185"/>
                    <a:gd name="connsiteY72" fmla="*/ 787536 h 1418833"/>
                    <a:gd name="connsiteX73" fmla="*/ 478088 w 2172185"/>
                    <a:gd name="connsiteY73" fmla="*/ 993657 h 1418833"/>
                    <a:gd name="connsiteX74" fmla="*/ 478088 w 2172185"/>
                    <a:gd name="connsiteY74" fmla="*/ 993657 h 1418833"/>
                    <a:gd name="connsiteX75" fmla="*/ 477607 w 2172185"/>
                    <a:gd name="connsiteY75" fmla="*/ 993979 h 1418833"/>
                    <a:gd name="connsiteX76" fmla="*/ 478008 w 2172185"/>
                    <a:gd name="connsiteY76" fmla="*/ 993738 h 1418833"/>
                    <a:gd name="connsiteX77" fmla="*/ 478088 w 2172185"/>
                    <a:gd name="connsiteY77" fmla="*/ 993657 h 1418833"/>
                    <a:gd name="connsiteX78" fmla="*/ 1845030 w 2172185"/>
                    <a:gd name="connsiteY78" fmla="*/ 756529 h 1418833"/>
                    <a:gd name="connsiteX79" fmla="*/ 1842138 w 2172185"/>
                    <a:gd name="connsiteY79" fmla="*/ 755003 h 1418833"/>
                    <a:gd name="connsiteX80" fmla="*/ 1839567 w 2172185"/>
                    <a:gd name="connsiteY80" fmla="*/ 757332 h 1418833"/>
                    <a:gd name="connsiteX81" fmla="*/ 1836354 w 2172185"/>
                    <a:gd name="connsiteY81" fmla="*/ 759180 h 1418833"/>
                    <a:gd name="connsiteX82" fmla="*/ 1834667 w 2172185"/>
                    <a:gd name="connsiteY82" fmla="*/ 760706 h 1418833"/>
                    <a:gd name="connsiteX83" fmla="*/ 1831695 w 2172185"/>
                    <a:gd name="connsiteY83" fmla="*/ 766490 h 1418833"/>
                    <a:gd name="connsiteX84" fmla="*/ 1833784 w 2172185"/>
                    <a:gd name="connsiteY84" fmla="*/ 766811 h 1418833"/>
                    <a:gd name="connsiteX85" fmla="*/ 1832659 w 2172185"/>
                    <a:gd name="connsiteY85" fmla="*/ 768418 h 1418833"/>
                    <a:gd name="connsiteX86" fmla="*/ 1837158 w 2172185"/>
                    <a:gd name="connsiteY86" fmla="*/ 771470 h 1418833"/>
                    <a:gd name="connsiteX87" fmla="*/ 1847199 w 2172185"/>
                    <a:gd name="connsiteY87" fmla="*/ 775968 h 1418833"/>
                    <a:gd name="connsiteX88" fmla="*/ 1845030 w 2172185"/>
                    <a:gd name="connsiteY88" fmla="*/ 756529 h 1418833"/>
                    <a:gd name="connsiteX89" fmla="*/ 383944 w 2172185"/>
                    <a:gd name="connsiteY89" fmla="*/ 948995 h 1418833"/>
                    <a:gd name="connsiteX90" fmla="*/ 383944 w 2172185"/>
                    <a:gd name="connsiteY90" fmla="*/ 948995 h 1418833"/>
                    <a:gd name="connsiteX91" fmla="*/ 383382 w 2172185"/>
                    <a:gd name="connsiteY91" fmla="*/ 949075 h 1418833"/>
                    <a:gd name="connsiteX92" fmla="*/ 383382 w 2172185"/>
                    <a:gd name="connsiteY92" fmla="*/ 949075 h 1418833"/>
                    <a:gd name="connsiteX93" fmla="*/ 383462 w 2172185"/>
                    <a:gd name="connsiteY93" fmla="*/ 949075 h 1418833"/>
                    <a:gd name="connsiteX94" fmla="*/ 383944 w 2172185"/>
                    <a:gd name="connsiteY94" fmla="*/ 948995 h 1418833"/>
                    <a:gd name="connsiteX95" fmla="*/ 548697 w 2172185"/>
                    <a:gd name="connsiteY95" fmla="*/ 959438 h 1418833"/>
                    <a:gd name="connsiteX96" fmla="*/ 548777 w 2172185"/>
                    <a:gd name="connsiteY96" fmla="*/ 959357 h 1418833"/>
                    <a:gd name="connsiteX97" fmla="*/ 548777 w 2172185"/>
                    <a:gd name="connsiteY97" fmla="*/ 959357 h 1418833"/>
                    <a:gd name="connsiteX98" fmla="*/ 548697 w 2172185"/>
                    <a:gd name="connsiteY98" fmla="*/ 959438 h 1418833"/>
                    <a:gd name="connsiteX99" fmla="*/ 545243 w 2172185"/>
                    <a:gd name="connsiteY99" fmla="*/ 961285 h 1418833"/>
                    <a:gd name="connsiteX100" fmla="*/ 548697 w 2172185"/>
                    <a:gd name="connsiteY100" fmla="*/ 959438 h 1418833"/>
                    <a:gd name="connsiteX101" fmla="*/ 330124 w 2172185"/>
                    <a:gd name="connsiteY101" fmla="*/ 928190 h 1418833"/>
                    <a:gd name="connsiteX102" fmla="*/ 330205 w 2172185"/>
                    <a:gd name="connsiteY102" fmla="*/ 928110 h 1418833"/>
                    <a:gd name="connsiteX103" fmla="*/ 330124 w 2172185"/>
                    <a:gd name="connsiteY103" fmla="*/ 928190 h 1418833"/>
                    <a:gd name="connsiteX104" fmla="*/ 328036 w 2172185"/>
                    <a:gd name="connsiteY104" fmla="*/ 929716 h 1418833"/>
                    <a:gd name="connsiteX105" fmla="*/ 329080 w 2172185"/>
                    <a:gd name="connsiteY105" fmla="*/ 929556 h 1418833"/>
                    <a:gd name="connsiteX106" fmla="*/ 330124 w 2172185"/>
                    <a:gd name="connsiteY106" fmla="*/ 928190 h 1418833"/>
                    <a:gd name="connsiteX107" fmla="*/ 330847 w 2172185"/>
                    <a:gd name="connsiteY107" fmla="*/ 926985 h 1418833"/>
                    <a:gd name="connsiteX108" fmla="*/ 330847 w 2172185"/>
                    <a:gd name="connsiteY108" fmla="*/ 926985 h 1418833"/>
                    <a:gd name="connsiteX109" fmla="*/ 330847 w 2172185"/>
                    <a:gd name="connsiteY109" fmla="*/ 926985 h 1418833"/>
                    <a:gd name="connsiteX110" fmla="*/ 330205 w 2172185"/>
                    <a:gd name="connsiteY110" fmla="*/ 928029 h 1418833"/>
                    <a:gd name="connsiteX111" fmla="*/ 330847 w 2172185"/>
                    <a:gd name="connsiteY111" fmla="*/ 926985 h 1418833"/>
                    <a:gd name="connsiteX112" fmla="*/ 2079909 w 2172185"/>
                    <a:gd name="connsiteY112" fmla="*/ 539081 h 1418833"/>
                    <a:gd name="connsiteX113" fmla="*/ 2079828 w 2172185"/>
                    <a:gd name="connsiteY113" fmla="*/ 539001 h 1418833"/>
                    <a:gd name="connsiteX114" fmla="*/ 2079909 w 2172185"/>
                    <a:gd name="connsiteY114" fmla="*/ 539081 h 1418833"/>
                    <a:gd name="connsiteX115" fmla="*/ 2080310 w 2172185"/>
                    <a:gd name="connsiteY115" fmla="*/ 542535 h 1418833"/>
                    <a:gd name="connsiteX116" fmla="*/ 2079909 w 2172185"/>
                    <a:gd name="connsiteY116" fmla="*/ 539081 h 1418833"/>
                    <a:gd name="connsiteX117" fmla="*/ 2052918 w 2172185"/>
                    <a:gd name="connsiteY117" fmla="*/ 559002 h 1418833"/>
                    <a:gd name="connsiteX118" fmla="*/ 2052918 w 2172185"/>
                    <a:gd name="connsiteY118" fmla="*/ 559002 h 1418833"/>
                    <a:gd name="connsiteX119" fmla="*/ 2051312 w 2172185"/>
                    <a:gd name="connsiteY119" fmla="*/ 559565 h 1418833"/>
                    <a:gd name="connsiteX120" fmla="*/ 2051392 w 2172185"/>
                    <a:gd name="connsiteY120" fmla="*/ 559565 h 1418833"/>
                    <a:gd name="connsiteX121" fmla="*/ 2052918 w 2172185"/>
                    <a:gd name="connsiteY121" fmla="*/ 559002 h 1418833"/>
                    <a:gd name="connsiteX122" fmla="*/ 584121 w 2172185"/>
                    <a:gd name="connsiteY122" fmla="*/ 891561 h 1418833"/>
                    <a:gd name="connsiteX123" fmla="*/ 584282 w 2172185"/>
                    <a:gd name="connsiteY123" fmla="*/ 891561 h 1418833"/>
                    <a:gd name="connsiteX124" fmla="*/ 580748 w 2172185"/>
                    <a:gd name="connsiteY124" fmla="*/ 890757 h 1418833"/>
                    <a:gd name="connsiteX125" fmla="*/ 579703 w 2172185"/>
                    <a:gd name="connsiteY125" fmla="*/ 890757 h 1418833"/>
                    <a:gd name="connsiteX126" fmla="*/ 579543 w 2172185"/>
                    <a:gd name="connsiteY126" fmla="*/ 891641 h 1418833"/>
                    <a:gd name="connsiteX127" fmla="*/ 584121 w 2172185"/>
                    <a:gd name="connsiteY127" fmla="*/ 891561 h 1418833"/>
                    <a:gd name="connsiteX128" fmla="*/ 706622 w 2172185"/>
                    <a:gd name="connsiteY128" fmla="*/ 901602 h 1418833"/>
                    <a:gd name="connsiteX129" fmla="*/ 702766 w 2172185"/>
                    <a:gd name="connsiteY129" fmla="*/ 903529 h 1418833"/>
                    <a:gd name="connsiteX130" fmla="*/ 706702 w 2172185"/>
                    <a:gd name="connsiteY130" fmla="*/ 901521 h 1418833"/>
                    <a:gd name="connsiteX131" fmla="*/ 706622 w 2172185"/>
                    <a:gd name="connsiteY131" fmla="*/ 901602 h 1418833"/>
                    <a:gd name="connsiteX132" fmla="*/ 699794 w 2172185"/>
                    <a:gd name="connsiteY132" fmla="*/ 886018 h 1418833"/>
                    <a:gd name="connsiteX133" fmla="*/ 682122 w 2172185"/>
                    <a:gd name="connsiteY133" fmla="*/ 895657 h 1418833"/>
                    <a:gd name="connsiteX134" fmla="*/ 700035 w 2172185"/>
                    <a:gd name="connsiteY134" fmla="*/ 884090 h 1418833"/>
                    <a:gd name="connsiteX135" fmla="*/ 699794 w 2172185"/>
                    <a:gd name="connsiteY135" fmla="*/ 886018 h 1418833"/>
                    <a:gd name="connsiteX136" fmla="*/ 766305 w 2172185"/>
                    <a:gd name="connsiteY136" fmla="*/ 916060 h 1418833"/>
                    <a:gd name="connsiteX137" fmla="*/ 769277 w 2172185"/>
                    <a:gd name="connsiteY137" fmla="*/ 913731 h 1418833"/>
                    <a:gd name="connsiteX138" fmla="*/ 763333 w 2172185"/>
                    <a:gd name="connsiteY138" fmla="*/ 912446 h 1418833"/>
                    <a:gd name="connsiteX139" fmla="*/ 761646 w 2172185"/>
                    <a:gd name="connsiteY139" fmla="*/ 914293 h 1418833"/>
                    <a:gd name="connsiteX140" fmla="*/ 751846 w 2172185"/>
                    <a:gd name="connsiteY140" fmla="*/ 904895 h 1418833"/>
                    <a:gd name="connsiteX141" fmla="*/ 754015 w 2172185"/>
                    <a:gd name="connsiteY141" fmla="*/ 902003 h 1418833"/>
                    <a:gd name="connsiteX142" fmla="*/ 762048 w 2172185"/>
                    <a:gd name="connsiteY142" fmla="*/ 896219 h 1418833"/>
                    <a:gd name="connsiteX143" fmla="*/ 761566 w 2172185"/>
                    <a:gd name="connsiteY143" fmla="*/ 895577 h 1418833"/>
                    <a:gd name="connsiteX144" fmla="*/ 745661 w 2172185"/>
                    <a:gd name="connsiteY144" fmla="*/ 899192 h 1418833"/>
                    <a:gd name="connsiteX145" fmla="*/ 752810 w 2172185"/>
                    <a:gd name="connsiteY145" fmla="*/ 894131 h 1418833"/>
                    <a:gd name="connsiteX146" fmla="*/ 745661 w 2172185"/>
                    <a:gd name="connsiteY146" fmla="*/ 892524 h 1418833"/>
                    <a:gd name="connsiteX147" fmla="*/ 753292 w 2172185"/>
                    <a:gd name="connsiteY147" fmla="*/ 884170 h 1418833"/>
                    <a:gd name="connsiteX148" fmla="*/ 741002 w 2172185"/>
                    <a:gd name="connsiteY148" fmla="*/ 883447 h 1418833"/>
                    <a:gd name="connsiteX149" fmla="*/ 740761 w 2172185"/>
                    <a:gd name="connsiteY149" fmla="*/ 880073 h 1418833"/>
                    <a:gd name="connsiteX150" fmla="*/ 725900 w 2172185"/>
                    <a:gd name="connsiteY150" fmla="*/ 888026 h 1418833"/>
                    <a:gd name="connsiteX151" fmla="*/ 727828 w 2172185"/>
                    <a:gd name="connsiteY151" fmla="*/ 880475 h 1418833"/>
                    <a:gd name="connsiteX152" fmla="*/ 726945 w 2172185"/>
                    <a:gd name="connsiteY152" fmla="*/ 882724 h 1418833"/>
                    <a:gd name="connsiteX153" fmla="*/ 726061 w 2172185"/>
                    <a:gd name="connsiteY153" fmla="*/ 881118 h 1418833"/>
                    <a:gd name="connsiteX154" fmla="*/ 714413 w 2172185"/>
                    <a:gd name="connsiteY154" fmla="*/ 881921 h 1418833"/>
                    <a:gd name="connsiteX155" fmla="*/ 718189 w 2172185"/>
                    <a:gd name="connsiteY155" fmla="*/ 878065 h 1418833"/>
                    <a:gd name="connsiteX156" fmla="*/ 715618 w 2172185"/>
                    <a:gd name="connsiteY156" fmla="*/ 878226 h 1418833"/>
                    <a:gd name="connsiteX157" fmla="*/ 722848 w 2172185"/>
                    <a:gd name="connsiteY157" fmla="*/ 873487 h 1418833"/>
                    <a:gd name="connsiteX158" fmla="*/ 713931 w 2172185"/>
                    <a:gd name="connsiteY158" fmla="*/ 873487 h 1418833"/>
                    <a:gd name="connsiteX159" fmla="*/ 702846 w 2172185"/>
                    <a:gd name="connsiteY159" fmla="*/ 879270 h 1418833"/>
                    <a:gd name="connsiteX160" fmla="*/ 723571 w 2172185"/>
                    <a:gd name="connsiteY160" fmla="*/ 846336 h 1418833"/>
                    <a:gd name="connsiteX161" fmla="*/ 723571 w 2172185"/>
                    <a:gd name="connsiteY161" fmla="*/ 846336 h 1418833"/>
                    <a:gd name="connsiteX162" fmla="*/ 703489 w 2172185"/>
                    <a:gd name="connsiteY162" fmla="*/ 853565 h 1418833"/>
                    <a:gd name="connsiteX163" fmla="*/ 699472 w 2172185"/>
                    <a:gd name="connsiteY163" fmla="*/ 858867 h 1418833"/>
                    <a:gd name="connsiteX164" fmla="*/ 698508 w 2172185"/>
                    <a:gd name="connsiteY164" fmla="*/ 861919 h 1418833"/>
                    <a:gd name="connsiteX165" fmla="*/ 695697 w 2172185"/>
                    <a:gd name="connsiteY165" fmla="*/ 863687 h 1418833"/>
                    <a:gd name="connsiteX166" fmla="*/ 687022 w 2172185"/>
                    <a:gd name="connsiteY166" fmla="*/ 881439 h 1418833"/>
                    <a:gd name="connsiteX167" fmla="*/ 681158 w 2172185"/>
                    <a:gd name="connsiteY167" fmla="*/ 883849 h 1418833"/>
                    <a:gd name="connsiteX168" fmla="*/ 683648 w 2172185"/>
                    <a:gd name="connsiteY168" fmla="*/ 885777 h 1418833"/>
                    <a:gd name="connsiteX169" fmla="*/ 683005 w 2172185"/>
                    <a:gd name="connsiteY169" fmla="*/ 889954 h 1418833"/>
                    <a:gd name="connsiteX170" fmla="*/ 669831 w 2172185"/>
                    <a:gd name="connsiteY170" fmla="*/ 894774 h 1418833"/>
                    <a:gd name="connsiteX171" fmla="*/ 663325 w 2172185"/>
                    <a:gd name="connsiteY171" fmla="*/ 897826 h 1418833"/>
                    <a:gd name="connsiteX172" fmla="*/ 676820 w 2172185"/>
                    <a:gd name="connsiteY172" fmla="*/ 897826 h 1418833"/>
                    <a:gd name="connsiteX173" fmla="*/ 660594 w 2172185"/>
                    <a:gd name="connsiteY173" fmla="*/ 909152 h 1418833"/>
                    <a:gd name="connsiteX174" fmla="*/ 661076 w 2172185"/>
                    <a:gd name="connsiteY174" fmla="*/ 910437 h 1418833"/>
                    <a:gd name="connsiteX175" fmla="*/ 675776 w 2172185"/>
                    <a:gd name="connsiteY175" fmla="*/ 911000 h 1418833"/>
                    <a:gd name="connsiteX176" fmla="*/ 675695 w 2172185"/>
                    <a:gd name="connsiteY176" fmla="*/ 911884 h 1418833"/>
                    <a:gd name="connsiteX177" fmla="*/ 716341 w 2172185"/>
                    <a:gd name="connsiteY177" fmla="*/ 909072 h 1418833"/>
                    <a:gd name="connsiteX178" fmla="*/ 711602 w 2172185"/>
                    <a:gd name="connsiteY178" fmla="*/ 914454 h 1418833"/>
                    <a:gd name="connsiteX179" fmla="*/ 734094 w 2172185"/>
                    <a:gd name="connsiteY179" fmla="*/ 911321 h 1418833"/>
                    <a:gd name="connsiteX180" fmla="*/ 718510 w 2172185"/>
                    <a:gd name="connsiteY180" fmla="*/ 923210 h 1418833"/>
                    <a:gd name="connsiteX181" fmla="*/ 739154 w 2172185"/>
                    <a:gd name="connsiteY181" fmla="*/ 913008 h 1418833"/>
                    <a:gd name="connsiteX182" fmla="*/ 737548 w 2172185"/>
                    <a:gd name="connsiteY182" fmla="*/ 915980 h 1418833"/>
                    <a:gd name="connsiteX183" fmla="*/ 766305 w 2172185"/>
                    <a:gd name="connsiteY183" fmla="*/ 916060 h 1418833"/>
                    <a:gd name="connsiteX184" fmla="*/ 173083 w 2172185"/>
                    <a:gd name="connsiteY184" fmla="*/ 747934 h 1418833"/>
                    <a:gd name="connsiteX185" fmla="*/ 173886 w 2172185"/>
                    <a:gd name="connsiteY185" fmla="*/ 745444 h 1418833"/>
                    <a:gd name="connsiteX186" fmla="*/ 173806 w 2172185"/>
                    <a:gd name="connsiteY186" fmla="*/ 745524 h 1418833"/>
                    <a:gd name="connsiteX187" fmla="*/ 172521 w 2172185"/>
                    <a:gd name="connsiteY187" fmla="*/ 748978 h 1418833"/>
                    <a:gd name="connsiteX188" fmla="*/ 173083 w 2172185"/>
                    <a:gd name="connsiteY188" fmla="*/ 747934 h 1418833"/>
                    <a:gd name="connsiteX189" fmla="*/ 2055168 w 2172185"/>
                    <a:gd name="connsiteY189" fmla="*/ 355050 h 1418833"/>
                    <a:gd name="connsiteX190" fmla="*/ 2055168 w 2172185"/>
                    <a:gd name="connsiteY190" fmla="*/ 355050 h 1418833"/>
                    <a:gd name="connsiteX191" fmla="*/ 2055168 w 2172185"/>
                    <a:gd name="connsiteY191" fmla="*/ 355050 h 1418833"/>
                    <a:gd name="connsiteX192" fmla="*/ 2055087 w 2172185"/>
                    <a:gd name="connsiteY192" fmla="*/ 355050 h 1418833"/>
                    <a:gd name="connsiteX193" fmla="*/ 2055087 w 2172185"/>
                    <a:gd name="connsiteY193" fmla="*/ 355050 h 1418833"/>
                    <a:gd name="connsiteX194" fmla="*/ 2055168 w 2172185"/>
                    <a:gd name="connsiteY194" fmla="*/ 355050 h 1418833"/>
                    <a:gd name="connsiteX195" fmla="*/ 1466605 w 2172185"/>
                    <a:gd name="connsiteY195" fmla="*/ 686001 h 1418833"/>
                    <a:gd name="connsiteX196" fmla="*/ 1466203 w 2172185"/>
                    <a:gd name="connsiteY196" fmla="*/ 685519 h 1418833"/>
                    <a:gd name="connsiteX197" fmla="*/ 1464596 w 2172185"/>
                    <a:gd name="connsiteY197" fmla="*/ 686563 h 1418833"/>
                    <a:gd name="connsiteX198" fmla="*/ 1466605 w 2172185"/>
                    <a:gd name="connsiteY198" fmla="*/ 686001 h 1418833"/>
                    <a:gd name="connsiteX199" fmla="*/ 1850331 w 2172185"/>
                    <a:gd name="connsiteY199" fmla="*/ 522534 h 1418833"/>
                    <a:gd name="connsiteX200" fmla="*/ 1845271 w 2172185"/>
                    <a:gd name="connsiteY200" fmla="*/ 523016 h 1418833"/>
                    <a:gd name="connsiteX201" fmla="*/ 1845592 w 2172185"/>
                    <a:gd name="connsiteY201" fmla="*/ 523016 h 1418833"/>
                    <a:gd name="connsiteX202" fmla="*/ 1850331 w 2172185"/>
                    <a:gd name="connsiteY202" fmla="*/ 522534 h 1418833"/>
                    <a:gd name="connsiteX203" fmla="*/ 1519219 w 2172185"/>
                    <a:gd name="connsiteY203" fmla="*/ 662626 h 1418833"/>
                    <a:gd name="connsiteX204" fmla="*/ 1519059 w 2172185"/>
                    <a:gd name="connsiteY204" fmla="*/ 662786 h 1418833"/>
                    <a:gd name="connsiteX205" fmla="*/ 1515605 w 2172185"/>
                    <a:gd name="connsiteY205" fmla="*/ 662304 h 1418833"/>
                    <a:gd name="connsiteX206" fmla="*/ 1515685 w 2172185"/>
                    <a:gd name="connsiteY206" fmla="*/ 660377 h 1418833"/>
                    <a:gd name="connsiteX207" fmla="*/ 1519219 w 2172185"/>
                    <a:gd name="connsiteY207" fmla="*/ 662626 h 1418833"/>
                    <a:gd name="connsiteX208" fmla="*/ 1532956 w 2172185"/>
                    <a:gd name="connsiteY208" fmla="*/ 660377 h 1418833"/>
                    <a:gd name="connsiteX209" fmla="*/ 1525565 w 2172185"/>
                    <a:gd name="connsiteY209" fmla="*/ 658850 h 1418833"/>
                    <a:gd name="connsiteX210" fmla="*/ 1504600 w 2172185"/>
                    <a:gd name="connsiteY210" fmla="*/ 653549 h 1418833"/>
                    <a:gd name="connsiteX211" fmla="*/ 1504600 w 2172185"/>
                    <a:gd name="connsiteY211" fmla="*/ 653549 h 1418833"/>
                    <a:gd name="connsiteX212" fmla="*/ 1504600 w 2172185"/>
                    <a:gd name="connsiteY212" fmla="*/ 653549 h 1418833"/>
                    <a:gd name="connsiteX213" fmla="*/ 1504600 w 2172185"/>
                    <a:gd name="connsiteY213" fmla="*/ 653549 h 1418833"/>
                    <a:gd name="connsiteX214" fmla="*/ 1504600 w 2172185"/>
                    <a:gd name="connsiteY214" fmla="*/ 653549 h 1418833"/>
                    <a:gd name="connsiteX215" fmla="*/ 1504600 w 2172185"/>
                    <a:gd name="connsiteY215" fmla="*/ 653549 h 1418833"/>
                    <a:gd name="connsiteX216" fmla="*/ 1504600 w 2172185"/>
                    <a:gd name="connsiteY216" fmla="*/ 653549 h 1418833"/>
                    <a:gd name="connsiteX217" fmla="*/ 1504600 w 2172185"/>
                    <a:gd name="connsiteY217" fmla="*/ 653549 h 1418833"/>
                    <a:gd name="connsiteX218" fmla="*/ 1504600 w 2172185"/>
                    <a:gd name="connsiteY218" fmla="*/ 653549 h 1418833"/>
                    <a:gd name="connsiteX219" fmla="*/ 1497611 w 2172185"/>
                    <a:gd name="connsiteY219" fmla="*/ 653227 h 1418833"/>
                    <a:gd name="connsiteX220" fmla="*/ 1498977 w 2172185"/>
                    <a:gd name="connsiteY220" fmla="*/ 654031 h 1418833"/>
                    <a:gd name="connsiteX221" fmla="*/ 1496085 w 2172185"/>
                    <a:gd name="connsiteY221" fmla="*/ 661421 h 1418833"/>
                    <a:gd name="connsiteX222" fmla="*/ 1495844 w 2172185"/>
                    <a:gd name="connsiteY222" fmla="*/ 659814 h 1418833"/>
                    <a:gd name="connsiteX223" fmla="*/ 1492390 w 2172185"/>
                    <a:gd name="connsiteY223" fmla="*/ 657083 h 1418833"/>
                    <a:gd name="connsiteX224" fmla="*/ 1493193 w 2172185"/>
                    <a:gd name="connsiteY224" fmla="*/ 658127 h 1418833"/>
                    <a:gd name="connsiteX225" fmla="*/ 1481465 w 2172185"/>
                    <a:gd name="connsiteY225" fmla="*/ 671542 h 1418833"/>
                    <a:gd name="connsiteX226" fmla="*/ 1491426 w 2172185"/>
                    <a:gd name="connsiteY226" fmla="*/ 669373 h 1418833"/>
                    <a:gd name="connsiteX227" fmla="*/ 1466685 w 2172185"/>
                    <a:gd name="connsiteY227" fmla="*/ 686001 h 1418833"/>
                    <a:gd name="connsiteX228" fmla="*/ 1467729 w 2172185"/>
                    <a:gd name="connsiteY228" fmla="*/ 687286 h 1418833"/>
                    <a:gd name="connsiteX229" fmla="*/ 1468854 w 2172185"/>
                    <a:gd name="connsiteY229" fmla="*/ 686563 h 1418833"/>
                    <a:gd name="connsiteX230" fmla="*/ 1469496 w 2172185"/>
                    <a:gd name="connsiteY230" fmla="*/ 690821 h 1418833"/>
                    <a:gd name="connsiteX231" fmla="*/ 1474637 w 2172185"/>
                    <a:gd name="connsiteY231" fmla="*/ 689054 h 1418833"/>
                    <a:gd name="connsiteX232" fmla="*/ 1475119 w 2172185"/>
                    <a:gd name="connsiteY232" fmla="*/ 690339 h 1418833"/>
                    <a:gd name="connsiteX233" fmla="*/ 1470942 w 2172185"/>
                    <a:gd name="connsiteY233" fmla="*/ 693632 h 1418833"/>
                    <a:gd name="connsiteX234" fmla="*/ 1474316 w 2172185"/>
                    <a:gd name="connsiteY234" fmla="*/ 694436 h 1418833"/>
                    <a:gd name="connsiteX235" fmla="*/ 1469255 w 2172185"/>
                    <a:gd name="connsiteY235" fmla="*/ 697890 h 1418833"/>
                    <a:gd name="connsiteX236" fmla="*/ 1474477 w 2172185"/>
                    <a:gd name="connsiteY236" fmla="*/ 698452 h 1418833"/>
                    <a:gd name="connsiteX237" fmla="*/ 1473513 w 2172185"/>
                    <a:gd name="connsiteY237" fmla="*/ 699657 h 1418833"/>
                    <a:gd name="connsiteX238" fmla="*/ 1489177 w 2172185"/>
                    <a:gd name="connsiteY238" fmla="*/ 697729 h 1418833"/>
                    <a:gd name="connsiteX239" fmla="*/ 1482670 w 2172185"/>
                    <a:gd name="connsiteY239" fmla="*/ 704477 h 1418833"/>
                    <a:gd name="connsiteX240" fmla="*/ 1478011 w 2172185"/>
                    <a:gd name="connsiteY240" fmla="*/ 712911 h 1418833"/>
                    <a:gd name="connsiteX241" fmla="*/ 1491346 w 2172185"/>
                    <a:gd name="connsiteY241" fmla="*/ 705601 h 1418833"/>
                    <a:gd name="connsiteX242" fmla="*/ 1495041 w 2172185"/>
                    <a:gd name="connsiteY242" fmla="*/ 705922 h 1418833"/>
                    <a:gd name="connsiteX243" fmla="*/ 1479216 w 2172185"/>
                    <a:gd name="connsiteY243" fmla="*/ 715722 h 1418833"/>
                    <a:gd name="connsiteX244" fmla="*/ 1482349 w 2172185"/>
                    <a:gd name="connsiteY244" fmla="*/ 717650 h 1418833"/>
                    <a:gd name="connsiteX245" fmla="*/ 1473352 w 2172185"/>
                    <a:gd name="connsiteY245" fmla="*/ 722390 h 1418833"/>
                    <a:gd name="connsiteX246" fmla="*/ 1481064 w 2172185"/>
                    <a:gd name="connsiteY246" fmla="*/ 720381 h 1418833"/>
                    <a:gd name="connsiteX247" fmla="*/ 1476164 w 2172185"/>
                    <a:gd name="connsiteY247" fmla="*/ 727772 h 1418833"/>
                    <a:gd name="connsiteX248" fmla="*/ 1487410 w 2172185"/>
                    <a:gd name="connsiteY248" fmla="*/ 723113 h 1418833"/>
                    <a:gd name="connsiteX249" fmla="*/ 1480903 w 2172185"/>
                    <a:gd name="connsiteY249" fmla="*/ 730021 h 1418833"/>
                    <a:gd name="connsiteX250" fmla="*/ 1489900 w 2172185"/>
                    <a:gd name="connsiteY250" fmla="*/ 726004 h 1418833"/>
                    <a:gd name="connsiteX251" fmla="*/ 1486205 w 2172185"/>
                    <a:gd name="connsiteY251" fmla="*/ 730664 h 1418833"/>
                    <a:gd name="connsiteX252" fmla="*/ 1506206 w 2172185"/>
                    <a:gd name="connsiteY252" fmla="*/ 717409 h 1418833"/>
                    <a:gd name="connsiteX253" fmla="*/ 1526208 w 2172185"/>
                    <a:gd name="connsiteY253" fmla="*/ 704637 h 1418833"/>
                    <a:gd name="connsiteX254" fmla="*/ 1528136 w 2172185"/>
                    <a:gd name="connsiteY254" fmla="*/ 705762 h 1418833"/>
                    <a:gd name="connsiteX255" fmla="*/ 1536249 w 2172185"/>
                    <a:gd name="connsiteY255" fmla="*/ 701585 h 1418833"/>
                    <a:gd name="connsiteX256" fmla="*/ 1533518 w 2172185"/>
                    <a:gd name="connsiteY256" fmla="*/ 700621 h 1418833"/>
                    <a:gd name="connsiteX257" fmla="*/ 1524521 w 2172185"/>
                    <a:gd name="connsiteY257" fmla="*/ 670096 h 1418833"/>
                    <a:gd name="connsiteX258" fmla="*/ 1532474 w 2172185"/>
                    <a:gd name="connsiteY258" fmla="*/ 662063 h 1418833"/>
                    <a:gd name="connsiteX259" fmla="*/ 1529341 w 2172185"/>
                    <a:gd name="connsiteY259" fmla="*/ 659573 h 1418833"/>
                    <a:gd name="connsiteX260" fmla="*/ 1532956 w 2172185"/>
                    <a:gd name="connsiteY260" fmla="*/ 660377 h 1418833"/>
                    <a:gd name="connsiteX261" fmla="*/ 1653287 w 2172185"/>
                    <a:gd name="connsiteY261" fmla="*/ 662706 h 1418833"/>
                    <a:gd name="connsiteX262" fmla="*/ 1627341 w 2172185"/>
                    <a:gd name="connsiteY262" fmla="*/ 658288 h 1418833"/>
                    <a:gd name="connsiteX263" fmla="*/ 1610070 w 2172185"/>
                    <a:gd name="connsiteY263" fmla="*/ 648488 h 1418833"/>
                    <a:gd name="connsiteX264" fmla="*/ 1622360 w 2172185"/>
                    <a:gd name="connsiteY264" fmla="*/ 646399 h 1418833"/>
                    <a:gd name="connsiteX265" fmla="*/ 1615131 w 2172185"/>
                    <a:gd name="connsiteY265" fmla="*/ 638929 h 1418833"/>
                    <a:gd name="connsiteX266" fmla="*/ 1544523 w 2172185"/>
                    <a:gd name="connsiteY266" fmla="*/ 623667 h 1418833"/>
                    <a:gd name="connsiteX267" fmla="*/ 1557857 w 2172185"/>
                    <a:gd name="connsiteY267" fmla="*/ 617080 h 1418833"/>
                    <a:gd name="connsiteX268" fmla="*/ 1549182 w 2172185"/>
                    <a:gd name="connsiteY268" fmla="*/ 616678 h 1418833"/>
                    <a:gd name="connsiteX269" fmla="*/ 1548137 w 2172185"/>
                    <a:gd name="connsiteY269" fmla="*/ 591294 h 1418833"/>
                    <a:gd name="connsiteX270" fmla="*/ 1526529 w 2172185"/>
                    <a:gd name="connsiteY270" fmla="*/ 599006 h 1418833"/>
                    <a:gd name="connsiteX271" fmla="*/ 1528296 w 2172185"/>
                    <a:gd name="connsiteY271" fmla="*/ 593383 h 1418833"/>
                    <a:gd name="connsiteX272" fmla="*/ 1525485 w 2172185"/>
                    <a:gd name="connsiteY272" fmla="*/ 593624 h 1418833"/>
                    <a:gd name="connsiteX273" fmla="*/ 1529019 w 2172185"/>
                    <a:gd name="connsiteY273" fmla="*/ 576996 h 1418833"/>
                    <a:gd name="connsiteX274" fmla="*/ 1524682 w 2172185"/>
                    <a:gd name="connsiteY274" fmla="*/ 578201 h 1418833"/>
                    <a:gd name="connsiteX275" fmla="*/ 1507893 w 2172185"/>
                    <a:gd name="connsiteY275" fmla="*/ 590572 h 1418833"/>
                    <a:gd name="connsiteX276" fmla="*/ 1509098 w 2172185"/>
                    <a:gd name="connsiteY276" fmla="*/ 598283 h 1418833"/>
                    <a:gd name="connsiteX277" fmla="*/ 1506046 w 2172185"/>
                    <a:gd name="connsiteY277" fmla="*/ 606316 h 1418833"/>
                    <a:gd name="connsiteX278" fmla="*/ 1503636 w 2172185"/>
                    <a:gd name="connsiteY278" fmla="*/ 608966 h 1418833"/>
                    <a:gd name="connsiteX279" fmla="*/ 1506849 w 2172185"/>
                    <a:gd name="connsiteY279" fmla="*/ 610493 h 1418833"/>
                    <a:gd name="connsiteX280" fmla="*/ 1508134 w 2172185"/>
                    <a:gd name="connsiteY280" fmla="*/ 624470 h 1418833"/>
                    <a:gd name="connsiteX281" fmla="*/ 1518496 w 2172185"/>
                    <a:gd name="connsiteY281" fmla="*/ 618767 h 1418833"/>
                    <a:gd name="connsiteX282" fmla="*/ 1521710 w 2172185"/>
                    <a:gd name="connsiteY282" fmla="*/ 645275 h 1418833"/>
                    <a:gd name="connsiteX283" fmla="*/ 1524521 w 2172185"/>
                    <a:gd name="connsiteY283" fmla="*/ 633627 h 1418833"/>
                    <a:gd name="connsiteX284" fmla="*/ 1525003 w 2172185"/>
                    <a:gd name="connsiteY284" fmla="*/ 634350 h 1418833"/>
                    <a:gd name="connsiteX285" fmla="*/ 1529100 w 2172185"/>
                    <a:gd name="connsiteY285" fmla="*/ 627603 h 1418833"/>
                    <a:gd name="connsiteX286" fmla="*/ 1534160 w 2172185"/>
                    <a:gd name="connsiteY286" fmla="*/ 630414 h 1418833"/>
                    <a:gd name="connsiteX287" fmla="*/ 1534883 w 2172185"/>
                    <a:gd name="connsiteY287" fmla="*/ 649211 h 1418833"/>
                    <a:gd name="connsiteX288" fmla="*/ 1534080 w 2172185"/>
                    <a:gd name="connsiteY288" fmla="*/ 651139 h 1418833"/>
                    <a:gd name="connsiteX289" fmla="*/ 1539382 w 2172185"/>
                    <a:gd name="connsiteY289" fmla="*/ 653629 h 1418833"/>
                    <a:gd name="connsiteX290" fmla="*/ 1564926 w 2172185"/>
                    <a:gd name="connsiteY290" fmla="*/ 639973 h 1418833"/>
                    <a:gd name="connsiteX291" fmla="*/ 1576574 w 2172185"/>
                    <a:gd name="connsiteY291" fmla="*/ 660135 h 1418833"/>
                    <a:gd name="connsiteX292" fmla="*/ 1582437 w 2172185"/>
                    <a:gd name="connsiteY292" fmla="*/ 666321 h 1418833"/>
                    <a:gd name="connsiteX293" fmla="*/ 1576895 w 2172185"/>
                    <a:gd name="connsiteY293" fmla="*/ 665919 h 1418833"/>
                    <a:gd name="connsiteX294" fmla="*/ 1575529 w 2172185"/>
                    <a:gd name="connsiteY294" fmla="*/ 667204 h 1418833"/>
                    <a:gd name="connsiteX295" fmla="*/ 1577698 w 2172185"/>
                    <a:gd name="connsiteY295" fmla="*/ 668972 h 1418833"/>
                    <a:gd name="connsiteX296" fmla="*/ 1557295 w 2172185"/>
                    <a:gd name="connsiteY296" fmla="*/ 684314 h 1418833"/>
                    <a:gd name="connsiteX297" fmla="*/ 1565247 w 2172185"/>
                    <a:gd name="connsiteY297" fmla="*/ 679655 h 1418833"/>
                    <a:gd name="connsiteX298" fmla="*/ 1569826 w 2172185"/>
                    <a:gd name="connsiteY298" fmla="*/ 685278 h 1418833"/>
                    <a:gd name="connsiteX299" fmla="*/ 1555126 w 2172185"/>
                    <a:gd name="connsiteY299" fmla="*/ 702468 h 1418833"/>
                    <a:gd name="connsiteX300" fmla="*/ 1574646 w 2172185"/>
                    <a:gd name="connsiteY300" fmla="*/ 700219 h 1418833"/>
                    <a:gd name="connsiteX301" fmla="*/ 1573119 w 2172185"/>
                    <a:gd name="connsiteY301" fmla="*/ 702468 h 1418833"/>
                    <a:gd name="connsiteX302" fmla="*/ 1591274 w 2172185"/>
                    <a:gd name="connsiteY302" fmla="*/ 697809 h 1418833"/>
                    <a:gd name="connsiteX303" fmla="*/ 1561954 w 2172185"/>
                    <a:gd name="connsiteY303" fmla="*/ 733957 h 1418833"/>
                    <a:gd name="connsiteX304" fmla="*/ 1614729 w 2172185"/>
                    <a:gd name="connsiteY304" fmla="*/ 706003 h 1418833"/>
                    <a:gd name="connsiteX305" fmla="*/ 1612962 w 2172185"/>
                    <a:gd name="connsiteY305" fmla="*/ 704878 h 1418833"/>
                    <a:gd name="connsiteX306" fmla="*/ 1622762 w 2172185"/>
                    <a:gd name="connsiteY306" fmla="*/ 699576 h 1418833"/>
                    <a:gd name="connsiteX307" fmla="*/ 1620995 w 2172185"/>
                    <a:gd name="connsiteY307" fmla="*/ 698854 h 1418833"/>
                    <a:gd name="connsiteX308" fmla="*/ 1656902 w 2172185"/>
                    <a:gd name="connsiteY308" fmla="*/ 684475 h 1418833"/>
                    <a:gd name="connsiteX309" fmla="*/ 1656902 w 2172185"/>
                    <a:gd name="connsiteY309" fmla="*/ 682949 h 1418833"/>
                    <a:gd name="connsiteX310" fmla="*/ 1644129 w 2172185"/>
                    <a:gd name="connsiteY310" fmla="*/ 679896 h 1418833"/>
                    <a:gd name="connsiteX311" fmla="*/ 1649672 w 2172185"/>
                    <a:gd name="connsiteY311" fmla="*/ 675719 h 1418833"/>
                    <a:gd name="connsiteX312" fmla="*/ 1646941 w 2172185"/>
                    <a:gd name="connsiteY312" fmla="*/ 673952 h 1418833"/>
                    <a:gd name="connsiteX313" fmla="*/ 1653287 w 2172185"/>
                    <a:gd name="connsiteY313" fmla="*/ 662706 h 1418833"/>
                    <a:gd name="connsiteX314" fmla="*/ 1629188 w 2172185"/>
                    <a:gd name="connsiteY314" fmla="*/ 387342 h 1418833"/>
                    <a:gd name="connsiteX315" fmla="*/ 1625493 w 2172185"/>
                    <a:gd name="connsiteY315" fmla="*/ 386137 h 1418833"/>
                    <a:gd name="connsiteX316" fmla="*/ 1625333 w 2172185"/>
                    <a:gd name="connsiteY316" fmla="*/ 386297 h 1418833"/>
                    <a:gd name="connsiteX317" fmla="*/ 1624288 w 2172185"/>
                    <a:gd name="connsiteY317" fmla="*/ 389591 h 1418833"/>
                    <a:gd name="connsiteX318" fmla="*/ 1629188 w 2172185"/>
                    <a:gd name="connsiteY318" fmla="*/ 387342 h 1418833"/>
                    <a:gd name="connsiteX319" fmla="*/ 1748475 w 2172185"/>
                    <a:gd name="connsiteY319" fmla="*/ 317215 h 1418833"/>
                    <a:gd name="connsiteX320" fmla="*/ 1748636 w 2172185"/>
                    <a:gd name="connsiteY320" fmla="*/ 315609 h 1418833"/>
                    <a:gd name="connsiteX321" fmla="*/ 1746307 w 2172185"/>
                    <a:gd name="connsiteY321" fmla="*/ 316974 h 1418833"/>
                    <a:gd name="connsiteX322" fmla="*/ 1745905 w 2172185"/>
                    <a:gd name="connsiteY322" fmla="*/ 317617 h 1418833"/>
                    <a:gd name="connsiteX323" fmla="*/ 1748475 w 2172185"/>
                    <a:gd name="connsiteY323" fmla="*/ 317215 h 1418833"/>
                    <a:gd name="connsiteX324" fmla="*/ 1814103 w 2172185"/>
                    <a:gd name="connsiteY324" fmla="*/ 260745 h 1418833"/>
                    <a:gd name="connsiteX325" fmla="*/ 1810971 w 2172185"/>
                    <a:gd name="connsiteY325" fmla="*/ 259460 h 1418833"/>
                    <a:gd name="connsiteX326" fmla="*/ 1811131 w 2172185"/>
                    <a:gd name="connsiteY326" fmla="*/ 260664 h 1418833"/>
                    <a:gd name="connsiteX327" fmla="*/ 1810810 w 2172185"/>
                    <a:gd name="connsiteY327" fmla="*/ 260584 h 1418833"/>
                    <a:gd name="connsiteX328" fmla="*/ 1815790 w 2172185"/>
                    <a:gd name="connsiteY328" fmla="*/ 262833 h 1418833"/>
                    <a:gd name="connsiteX329" fmla="*/ 1814103 w 2172185"/>
                    <a:gd name="connsiteY329" fmla="*/ 260745 h 1418833"/>
                    <a:gd name="connsiteX330" fmla="*/ 1623887 w 2172185"/>
                    <a:gd name="connsiteY330" fmla="*/ 369027 h 1418833"/>
                    <a:gd name="connsiteX331" fmla="*/ 1621638 w 2172185"/>
                    <a:gd name="connsiteY331" fmla="*/ 368705 h 1418833"/>
                    <a:gd name="connsiteX332" fmla="*/ 1621798 w 2172185"/>
                    <a:gd name="connsiteY332" fmla="*/ 368705 h 1418833"/>
                    <a:gd name="connsiteX333" fmla="*/ 1623887 w 2172185"/>
                    <a:gd name="connsiteY333" fmla="*/ 369027 h 1418833"/>
                    <a:gd name="connsiteX334" fmla="*/ 451259 w 2172185"/>
                    <a:gd name="connsiteY334" fmla="*/ 578763 h 1418833"/>
                    <a:gd name="connsiteX335" fmla="*/ 456159 w 2172185"/>
                    <a:gd name="connsiteY335" fmla="*/ 578683 h 1418833"/>
                    <a:gd name="connsiteX336" fmla="*/ 456079 w 2172185"/>
                    <a:gd name="connsiteY336" fmla="*/ 576434 h 1418833"/>
                    <a:gd name="connsiteX337" fmla="*/ 453749 w 2172185"/>
                    <a:gd name="connsiteY337" fmla="*/ 574747 h 1418833"/>
                    <a:gd name="connsiteX338" fmla="*/ 449492 w 2172185"/>
                    <a:gd name="connsiteY338" fmla="*/ 566071 h 1418833"/>
                    <a:gd name="connsiteX339" fmla="*/ 430052 w 2172185"/>
                    <a:gd name="connsiteY339" fmla="*/ 517312 h 1418833"/>
                    <a:gd name="connsiteX340" fmla="*/ 424590 w 2172185"/>
                    <a:gd name="connsiteY340" fmla="*/ 522935 h 1418833"/>
                    <a:gd name="connsiteX341" fmla="*/ 386274 w 2172185"/>
                    <a:gd name="connsiteY341" fmla="*/ 566312 h 1418833"/>
                    <a:gd name="connsiteX342" fmla="*/ 451259 w 2172185"/>
                    <a:gd name="connsiteY342" fmla="*/ 578763 h 1418833"/>
                    <a:gd name="connsiteX343" fmla="*/ 1621798 w 2172185"/>
                    <a:gd name="connsiteY343" fmla="*/ 355692 h 1418833"/>
                    <a:gd name="connsiteX344" fmla="*/ 1619549 w 2172185"/>
                    <a:gd name="connsiteY344" fmla="*/ 354889 h 1418833"/>
                    <a:gd name="connsiteX345" fmla="*/ 1619549 w 2172185"/>
                    <a:gd name="connsiteY345" fmla="*/ 355130 h 1418833"/>
                    <a:gd name="connsiteX346" fmla="*/ 1620593 w 2172185"/>
                    <a:gd name="connsiteY346" fmla="*/ 359227 h 1418833"/>
                    <a:gd name="connsiteX347" fmla="*/ 1621798 w 2172185"/>
                    <a:gd name="connsiteY347" fmla="*/ 355692 h 1418833"/>
                    <a:gd name="connsiteX348" fmla="*/ 1323299 w 2172185"/>
                    <a:gd name="connsiteY348" fmla="*/ 483414 h 1418833"/>
                    <a:gd name="connsiteX349" fmla="*/ 1310849 w 2172185"/>
                    <a:gd name="connsiteY349" fmla="*/ 480763 h 1418833"/>
                    <a:gd name="connsiteX350" fmla="*/ 1301611 w 2172185"/>
                    <a:gd name="connsiteY350" fmla="*/ 463091 h 1418833"/>
                    <a:gd name="connsiteX351" fmla="*/ 1267231 w 2172185"/>
                    <a:gd name="connsiteY351" fmla="*/ 482048 h 1418833"/>
                    <a:gd name="connsiteX352" fmla="*/ 1225139 w 2172185"/>
                    <a:gd name="connsiteY352" fmla="*/ 508717 h 1418833"/>
                    <a:gd name="connsiteX353" fmla="*/ 1219435 w 2172185"/>
                    <a:gd name="connsiteY353" fmla="*/ 502050 h 1418833"/>
                    <a:gd name="connsiteX354" fmla="*/ 1214857 w 2172185"/>
                    <a:gd name="connsiteY354" fmla="*/ 499801 h 1418833"/>
                    <a:gd name="connsiteX355" fmla="*/ 1204735 w 2172185"/>
                    <a:gd name="connsiteY355" fmla="*/ 488555 h 1418833"/>
                    <a:gd name="connsiteX356" fmla="*/ 1196863 w 2172185"/>
                    <a:gd name="connsiteY356" fmla="*/ 486065 h 1418833"/>
                    <a:gd name="connsiteX357" fmla="*/ 1200237 w 2172185"/>
                    <a:gd name="connsiteY357" fmla="*/ 489519 h 1418833"/>
                    <a:gd name="connsiteX358" fmla="*/ 1198470 w 2172185"/>
                    <a:gd name="connsiteY358" fmla="*/ 495945 h 1418833"/>
                    <a:gd name="connsiteX359" fmla="*/ 1188670 w 2172185"/>
                    <a:gd name="connsiteY359" fmla="*/ 494499 h 1418833"/>
                    <a:gd name="connsiteX360" fmla="*/ 1189393 w 2172185"/>
                    <a:gd name="connsiteY360" fmla="*/ 497793 h 1418833"/>
                    <a:gd name="connsiteX361" fmla="*/ 1185135 w 2172185"/>
                    <a:gd name="connsiteY361" fmla="*/ 498114 h 1418833"/>
                    <a:gd name="connsiteX362" fmla="*/ 1185216 w 2172185"/>
                    <a:gd name="connsiteY362" fmla="*/ 499158 h 1418833"/>
                    <a:gd name="connsiteX363" fmla="*/ 1188911 w 2172185"/>
                    <a:gd name="connsiteY363" fmla="*/ 501247 h 1418833"/>
                    <a:gd name="connsiteX364" fmla="*/ 1185778 w 2172185"/>
                    <a:gd name="connsiteY364" fmla="*/ 503255 h 1418833"/>
                    <a:gd name="connsiteX365" fmla="*/ 1188830 w 2172185"/>
                    <a:gd name="connsiteY365" fmla="*/ 503737 h 1418833"/>
                    <a:gd name="connsiteX366" fmla="*/ 1183368 w 2172185"/>
                    <a:gd name="connsiteY366" fmla="*/ 505343 h 1418833"/>
                    <a:gd name="connsiteX367" fmla="*/ 1189393 w 2172185"/>
                    <a:gd name="connsiteY367" fmla="*/ 510565 h 1418833"/>
                    <a:gd name="connsiteX368" fmla="*/ 1216945 w 2172185"/>
                    <a:gd name="connsiteY368" fmla="*/ 512171 h 1418833"/>
                    <a:gd name="connsiteX369" fmla="*/ 1193570 w 2172185"/>
                    <a:gd name="connsiteY369" fmla="*/ 527032 h 1418833"/>
                    <a:gd name="connsiteX370" fmla="*/ 1223211 w 2172185"/>
                    <a:gd name="connsiteY370" fmla="*/ 524221 h 1418833"/>
                    <a:gd name="connsiteX371" fmla="*/ 1220480 w 2172185"/>
                    <a:gd name="connsiteY371" fmla="*/ 530326 h 1418833"/>
                    <a:gd name="connsiteX372" fmla="*/ 1218873 w 2172185"/>
                    <a:gd name="connsiteY372" fmla="*/ 532494 h 1418833"/>
                    <a:gd name="connsiteX373" fmla="*/ 1226103 w 2172185"/>
                    <a:gd name="connsiteY373" fmla="*/ 529361 h 1418833"/>
                    <a:gd name="connsiteX374" fmla="*/ 1211483 w 2172185"/>
                    <a:gd name="connsiteY374" fmla="*/ 539483 h 1418833"/>
                    <a:gd name="connsiteX375" fmla="*/ 1213652 w 2172185"/>
                    <a:gd name="connsiteY375" fmla="*/ 544945 h 1418833"/>
                    <a:gd name="connsiteX376" fmla="*/ 1234698 w 2172185"/>
                    <a:gd name="connsiteY376" fmla="*/ 538037 h 1418833"/>
                    <a:gd name="connsiteX377" fmla="*/ 1244980 w 2172185"/>
                    <a:gd name="connsiteY377" fmla="*/ 538840 h 1418833"/>
                    <a:gd name="connsiteX378" fmla="*/ 1277754 w 2172185"/>
                    <a:gd name="connsiteY378" fmla="*/ 539001 h 1418833"/>
                    <a:gd name="connsiteX379" fmla="*/ 1280565 w 2172185"/>
                    <a:gd name="connsiteY379" fmla="*/ 536350 h 1418833"/>
                    <a:gd name="connsiteX380" fmla="*/ 1309885 w 2172185"/>
                    <a:gd name="connsiteY380" fmla="*/ 514019 h 1418833"/>
                    <a:gd name="connsiteX381" fmla="*/ 1320488 w 2172185"/>
                    <a:gd name="connsiteY381" fmla="*/ 501809 h 1418833"/>
                    <a:gd name="connsiteX382" fmla="*/ 1319604 w 2172185"/>
                    <a:gd name="connsiteY382" fmla="*/ 498756 h 1418833"/>
                    <a:gd name="connsiteX383" fmla="*/ 1323299 w 2172185"/>
                    <a:gd name="connsiteY383" fmla="*/ 483414 h 1418833"/>
                    <a:gd name="connsiteX384" fmla="*/ 1805107 w 2172185"/>
                    <a:gd name="connsiteY384" fmla="*/ 201864 h 1418833"/>
                    <a:gd name="connsiteX385" fmla="*/ 1805267 w 2172185"/>
                    <a:gd name="connsiteY385" fmla="*/ 201864 h 1418833"/>
                    <a:gd name="connsiteX386" fmla="*/ 1802456 w 2172185"/>
                    <a:gd name="connsiteY386" fmla="*/ 201141 h 1418833"/>
                    <a:gd name="connsiteX387" fmla="*/ 1802456 w 2172185"/>
                    <a:gd name="connsiteY387" fmla="*/ 201141 h 1418833"/>
                    <a:gd name="connsiteX388" fmla="*/ 1805107 w 2172185"/>
                    <a:gd name="connsiteY388" fmla="*/ 201864 h 1418833"/>
                    <a:gd name="connsiteX389" fmla="*/ 800204 w 2172185"/>
                    <a:gd name="connsiteY389" fmla="*/ 504781 h 1418833"/>
                    <a:gd name="connsiteX390" fmla="*/ 800364 w 2172185"/>
                    <a:gd name="connsiteY390" fmla="*/ 504701 h 1418833"/>
                    <a:gd name="connsiteX391" fmla="*/ 800204 w 2172185"/>
                    <a:gd name="connsiteY391" fmla="*/ 504781 h 1418833"/>
                    <a:gd name="connsiteX392" fmla="*/ 794741 w 2172185"/>
                    <a:gd name="connsiteY392" fmla="*/ 507512 h 1418833"/>
                    <a:gd name="connsiteX393" fmla="*/ 800204 w 2172185"/>
                    <a:gd name="connsiteY393" fmla="*/ 504781 h 1418833"/>
                    <a:gd name="connsiteX394" fmla="*/ 1591354 w 2172185"/>
                    <a:gd name="connsiteY394" fmla="*/ 316733 h 1418833"/>
                    <a:gd name="connsiteX395" fmla="*/ 1589506 w 2172185"/>
                    <a:gd name="connsiteY395" fmla="*/ 315287 h 1418833"/>
                    <a:gd name="connsiteX396" fmla="*/ 1589506 w 2172185"/>
                    <a:gd name="connsiteY396" fmla="*/ 315528 h 1418833"/>
                    <a:gd name="connsiteX397" fmla="*/ 1589988 w 2172185"/>
                    <a:gd name="connsiteY397" fmla="*/ 317778 h 1418833"/>
                    <a:gd name="connsiteX398" fmla="*/ 1592237 w 2172185"/>
                    <a:gd name="connsiteY398" fmla="*/ 321392 h 1418833"/>
                    <a:gd name="connsiteX399" fmla="*/ 1591354 w 2172185"/>
                    <a:gd name="connsiteY399" fmla="*/ 316733 h 1418833"/>
                    <a:gd name="connsiteX400" fmla="*/ 1595611 w 2172185"/>
                    <a:gd name="connsiteY400" fmla="*/ 308459 h 1418833"/>
                    <a:gd name="connsiteX401" fmla="*/ 1593683 w 2172185"/>
                    <a:gd name="connsiteY401" fmla="*/ 307737 h 1418833"/>
                    <a:gd name="connsiteX402" fmla="*/ 1592237 w 2172185"/>
                    <a:gd name="connsiteY402" fmla="*/ 308138 h 1418833"/>
                    <a:gd name="connsiteX403" fmla="*/ 1592398 w 2172185"/>
                    <a:gd name="connsiteY403" fmla="*/ 316091 h 1418833"/>
                    <a:gd name="connsiteX404" fmla="*/ 1592559 w 2172185"/>
                    <a:gd name="connsiteY404" fmla="*/ 313440 h 1418833"/>
                    <a:gd name="connsiteX405" fmla="*/ 1593764 w 2172185"/>
                    <a:gd name="connsiteY405" fmla="*/ 313842 h 1418833"/>
                    <a:gd name="connsiteX406" fmla="*/ 1595611 w 2172185"/>
                    <a:gd name="connsiteY406" fmla="*/ 308459 h 1418833"/>
                    <a:gd name="connsiteX407" fmla="*/ 553838 w 2172185"/>
                    <a:gd name="connsiteY407" fmla="*/ 477309 h 1418833"/>
                    <a:gd name="connsiteX408" fmla="*/ 554721 w 2172185"/>
                    <a:gd name="connsiteY408" fmla="*/ 476024 h 1418833"/>
                    <a:gd name="connsiteX409" fmla="*/ 553677 w 2172185"/>
                    <a:gd name="connsiteY409" fmla="*/ 477470 h 1418833"/>
                    <a:gd name="connsiteX410" fmla="*/ 539057 w 2172185"/>
                    <a:gd name="connsiteY410" fmla="*/ 498596 h 1418833"/>
                    <a:gd name="connsiteX411" fmla="*/ 553838 w 2172185"/>
                    <a:gd name="connsiteY411" fmla="*/ 477309 h 1418833"/>
                    <a:gd name="connsiteX412" fmla="*/ 342013 w 2172185"/>
                    <a:gd name="connsiteY412" fmla="*/ 398909 h 1418833"/>
                    <a:gd name="connsiteX413" fmla="*/ 342013 w 2172185"/>
                    <a:gd name="connsiteY413" fmla="*/ 398587 h 1418833"/>
                    <a:gd name="connsiteX414" fmla="*/ 336631 w 2172185"/>
                    <a:gd name="connsiteY414" fmla="*/ 398186 h 1418833"/>
                    <a:gd name="connsiteX415" fmla="*/ 334141 w 2172185"/>
                    <a:gd name="connsiteY415" fmla="*/ 400435 h 1418833"/>
                    <a:gd name="connsiteX416" fmla="*/ 342013 w 2172185"/>
                    <a:gd name="connsiteY416" fmla="*/ 398909 h 1418833"/>
                    <a:gd name="connsiteX417" fmla="*/ 1605652 w 2172185"/>
                    <a:gd name="connsiteY417" fmla="*/ 286610 h 1418833"/>
                    <a:gd name="connsiteX418" fmla="*/ 1605492 w 2172185"/>
                    <a:gd name="connsiteY418" fmla="*/ 286691 h 1418833"/>
                    <a:gd name="connsiteX419" fmla="*/ 1603403 w 2172185"/>
                    <a:gd name="connsiteY419" fmla="*/ 293358 h 1418833"/>
                    <a:gd name="connsiteX420" fmla="*/ 1590310 w 2172185"/>
                    <a:gd name="connsiteY420" fmla="*/ 281228 h 1418833"/>
                    <a:gd name="connsiteX421" fmla="*/ 1592639 w 2172185"/>
                    <a:gd name="connsiteY421" fmla="*/ 292474 h 1418833"/>
                    <a:gd name="connsiteX422" fmla="*/ 1589828 w 2172185"/>
                    <a:gd name="connsiteY422" fmla="*/ 289904 h 1418833"/>
                    <a:gd name="connsiteX423" fmla="*/ 1587980 w 2172185"/>
                    <a:gd name="connsiteY423" fmla="*/ 290145 h 1418833"/>
                    <a:gd name="connsiteX424" fmla="*/ 1589988 w 2172185"/>
                    <a:gd name="connsiteY424" fmla="*/ 292956 h 1418833"/>
                    <a:gd name="connsiteX425" fmla="*/ 1589105 w 2172185"/>
                    <a:gd name="connsiteY425" fmla="*/ 293117 h 1418833"/>
                    <a:gd name="connsiteX426" fmla="*/ 1593442 w 2172185"/>
                    <a:gd name="connsiteY426" fmla="*/ 294723 h 1418833"/>
                    <a:gd name="connsiteX427" fmla="*/ 1597861 w 2172185"/>
                    <a:gd name="connsiteY427" fmla="*/ 307576 h 1418833"/>
                    <a:gd name="connsiteX428" fmla="*/ 1603002 w 2172185"/>
                    <a:gd name="connsiteY428" fmla="*/ 301391 h 1418833"/>
                    <a:gd name="connsiteX429" fmla="*/ 1605652 w 2172185"/>
                    <a:gd name="connsiteY429" fmla="*/ 286610 h 1418833"/>
                    <a:gd name="connsiteX430" fmla="*/ 1760605 w 2172185"/>
                    <a:gd name="connsiteY430" fmla="*/ 131577 h 1418833"/>
                    <a:gd name="connsiteX431" fmla="*/ 1746789 w 2172185"/>
                    <a:gd name="connsiteY431" fmla="*/ 130372 h 1418833"/>
                    <a:gd name="connsiteX432" fmla="*/ 1748716 w 2172185"/>
                    <a:gd name="connsiteY432" fmla="*/ 131899 h 1418833"/>
                    <a:gd name="connsiteX433" fmla="*/ 1764380 w 2172185"/>
                    <a:gd name="connsiteY433" fmla="*/ 140333 h 1418833"/>
                    <a:gd name="connsiteX434" fmla="*/ 1759400 w 2172185"/>
                    <a:gd name="connsiteY434" fmla="*/ 131417 h 1418833"/>
                    <a:gd name="connsiteX435" fmla="*/ 1761890 w 2172185"/>
                    <a:gd name="connsiteY435" fmla="*/ 132381 h 1418833"/>
                    <a:gd name="connsiteX436" fmla="*/ 1760605 w 2172185"/>
                    <a:gd name="connsiteY436" fmla="*/ 131577 h 1418833"/>
                    <a:gd name="connsiteX437" fmla="*/ 1603323 w 2172185"/>
                    <a:gd name="connsiteY437" fmla="*/ 266528 h 1418833"/>
                    <a:gd name="connsiteX438" fmla="*/ 1596656 w 2172185"/>
                    <a:gd name="connsiteY438" fmla="*/ 265404 h 1418833"/>
                    <a:gd name="connsiteX439" fmla="*/ 1594487 w 2172185"/>
                    <a:gd name="connsiteY439" fmla="*/ 264761 h 1418833"/>
                    <a:gd name="connsiteX440" fmla="*/ 1594487 w 2172185"/>
                    <a:gd name="connsiteY440" fmla="*/ 265564 h 1418833"/>
                    <a:gd name="connsiteX441" fmla="*/ 1598342 w 2172185"/>
                    <a:gd name="connsiteY441" fmla="*/ 269742 h 1418833"/>
                    <a:gd name="connsiteX442" fmla="*/ 1600913 w 2172185"/>
                    <a:gd name="connsiteY442" fmla="*/ 278417 h 1418833"/>
                    <a:gd name="connsiteX443" fmla="*/ 1604367 w 2172185"/>
                    <a:gd name="connsiteY443" fmla="*/ 278417 h 1418833"/>
                    <a:gd name="connsiteX444" fmla="*/ 1603483 w 2172185"/>
                    <a:gd name="connsiteY444" fmla="*/ 272874 h 1418833"/>
                    <a:gd name="connsiteX445" fmla="*/ 1603323 w 2172185"/>
                    <a:gd name="connsiteY445" fmla="*/ 266528 h 1418833"/>
                    <a:gd name="connsiteX446" fmla="*/ 400331 w 2172185"/>
                    <a:gd name="connsiteY446" fmla="*/ 420999 h 1418833"/>
                    <a:gd name="connsiteX447" fmla="*/ 401456 w 2172185"/>
                    <a:gd name="connsiteY447" fmla="*/ 420919 h 1418833"/>
                    <a:gd name="connsiteX448" fmla="*/ 405070 w 2172185"/>
                    <a:gd name="connsiteY448" fmla="*/ 410316 h 1418833"/>
                    <a:gd name="connsiteX449" fmla="*/ 407480 w 2172185"/>
                    <a:gd name="connsiteY449" fmla="*/ 391438 h 1418833"/>
                    <a:gd name="connsiteX450" fmla="*/ 399447 w 2172185"/>
                    <a:gd name="connsiteY450" fmla="*/ 398587 h 1418833"/>
                    <a:gd name="connsiteX451" fmla="*/ 399367 w 2172185"/>
                    <a:gd name="connsiteY451" fmla="*/ 394571 h 1418833"/>
                    <a:gd name="connsiteX452" fmla="*/ 398965 w 2172185"/>
                    <a:gd name="connsiteY452" fmla="*/ 394732 h 1418833"/>
                    <a:gd name="connsiteX453" fmla="*/ 397680 w 2172185"/>
                    <a:gd name="connsiteY453" fmla="*/ 396820 h 1418833"/>
                    <a:gd name="connsiteX454" fmla="*/ 394949 w 2172185"/>
                    <a:gd name="connsiteY454" fmla="*/ 399150 h 1418833"/>
                    <a:gd name="connsiteX455" fmla="*/ 385149 w 2172185"/>
                    <a:gd name="connsiteY455" fmla="*/ 410235 h 1418833"/>
                    <a:gd name="connsiteX456" fmla="*/ 386033 w 2172185"/>
                    <a:gd name="connsiteY456" fmla="*/ 418509 h 1418833"/>
                    <a:gd name="connsiteX457" fmla="*/ 400331 w 2172185"/>
                    <a:gd name="connsiteY457" fmla="*/ 420999 h 1418833"/>
                    <a:gd name="connsiteX458" fmla="*/ 817876 w 2172185"/>
                    <a:gd name="connsiteY458" fmla="*/ 449435 h 1418833"/>
                    <a:gd name="connsiteX459" fmla="*/ 800927 w 2172185"/>
                    <a:gd name="connsiteY459" fmla="*/ 444375 h 1418833"/>
                    <a:gd name="connsiteX460" fmla="*/ 799159 w 2172185"/>
                    <a:gd name="connsiteY460" fmla="*/ 445178 h 1418833"/>
                    <a:gd name="connsiteX461" fmla="*/ 797151 w 2172185"/>
                    <a:gd name="connsiteY461" fmla="*/ 443812 h 1418833"/>
                    <a:gd name="connsiteX462" fmla="*/ 796107 w 2172185"/>
                    <a:gd name="connsiteY462" fmla="*/ 445419 h 1418833"/>
                    <a:gd name="connsiteX463" fmla="*/ 795304 w 2172185"/>
                    <a:gd name="connsiteY463" fmla="*/ 453371 h 1418833"/>
                    <a:gd name="connsiteX464" fmla="*/ 805586 w 2172185"/>
                    <a:gd name="connsiteY464" fmla="*/ 457147 h 1418833"/>
                    <a:gd name="connsiteX465" fmla="*/ 817876 w 2172185"/>
                    <a:gd name="connsiteY465" fmla="*/ 449435 h 1418833"/>
                    <a:gd name="connsiteX466" fmla="*/ 346511 w 2172185"/>
                    <a:gd name="connsiteY466" fmla="*/ 271027 h 1418833"/>
                    <a:gd name="connsiteX467" fmla="*/ 346511 w 2172185"/>
                    <a:gd name="connsiteY467" fmla="*/ 271027 h 1418833"/>
                    <a:gd name="connsiteX468" fmla="*/ 346511 w 2172185"/>
                    <a:gd name="connsiteY468" fmla="*/ 270866 h 1418833"/>
                    <a:gd name="connsiteX469" fmla="*/ 345547 w 2172185"/>
                    <a:gd name="connsiteY469" fmla="*/ 271187 h 1418833"/>
                    <a:gd name="connsiteX470" fmla="*/ 346511 w 2172185"/>
                    <a:gd name="connsiteY470" fmla="*/ 271027 h 1418833"/>
                    <a:gd name="connsiteX471" fmla="*/ 1602841 w 2172185"/>
                    <a:gd name="connsiteY471" fmla="*/ 238735 h 1418833"/>
                    <a:gd name="connsiteX472" fmla="*/ 1602600 w 2172185"/>
                    <a:gd name="connsiteY472" fmla="*/ 238494 h 1418833"/>
                    <a:gd name="connsiteX473" fmla="*/ 1602841 w 2172185"/>
                    <a:gd name="connsiteY473" fmla="*/ 238735 h 1418833"/>
                    <a:gd name="connsiteX474" fmla="*/ 1605813 w 2172185"/>
                    <a:gd name="connsiteY474" fmla="*/ 241787 h 1418833"/>
                    <a:gd name="connsiteX475" fmla="*/ 1602841 w 2172185"/>
                    <a:gd name="connsiteY475" fmla="*/ 238735 h 1418833"/>
                    <a:gd name="connsiteX476" fmla="*/ 1599708 w 2172185"/>
                    <a:gd name="connsiteY476" fmla="*/ 248615 h 1418833"/>
                    <a:gd name="connsiteX477" fmla="*/ 1591836 w 2172185"/>
                    <a:gd name="connsiteY477" fmla="*/ 244277 h 1418833"/>
                    <a:gd name="connsiteX478" fmla="*/ 1591996 w 2172185"/>
                    <a:gd name="connsiteY478" fmla="*/ 244920 h 1418833"/>
                    <a:gd name="connsiteX479" fmla="*/ 1595852 w 2172185"/>
                    <a:gd name="connsiteY479" fmla="*/ 249258 h 1418833"/>
                    <a:gd name="connsiteX480" fmla="*/ 1599146 w 2172185"/>
                    <a:gd name="connsiteY480" fmla="*/ 256005 h 1418833"/>
                    <a:gd name="connsiteX481" fmla="*/ 1598021 w 2172185"/>
                    <a:gd name="connsiteY481" fmla="*/ 255604 h 1418833"/>
                    <a:gd name="connsiteX482" fmla="*/ 1601957 w 2172185"/>
                    <a:gd name="connsiteY482" fmla="*/ 262673 h 1418833"/>
                    <a:gd name="connsiteX483" fmla="*/ 1599708 w 2172185"/>
                    <a:gd name="connsiteY483" fmla="*/ 248615 h 1418833"/>
                    <a:gd name="connsiteX484" fmla="*/ 346511 w 2172185"/>
                    <a:gd name="connsiteY484" fmla="*/ 277292 h 1418833"/>
                    <a:gd name="connsiteX485" fmla="*/ 346511 w 2172185"/>
                    <a:gd name="connsiteY485" fmla="*/ 277292 h 1418833"/>
                    <a:gd name="connsiteX486" fmla="*/ 346752 w 2172185"/>
                    <a:gd name="connsiteY486" fmla="*/ 276650 h 1418833"/>
                    <a:gd name="connsiteX487" fmla="*/ 346672 w 2172185"/>
                    <a:gd name="connsiteY487" fmla="*/ 276730 h 1418833"/>
                    <a:gd name="connsiteX488" fmla="*/ 346029 w 2172185"/>
                    <a:gd name="connsiteY488" fmla="*/ 277453 h 1418833"/>
                    <a:gd name="connsiteX489" fmla="*/ 346511 w 2172185"/>
                    <a:gd name="connsiteY489" fmla="*/ 277292 h 1418833"/>
                    <a:gd name="connsiteX490" fmla="*/ 1601074 w 2172185"/>
                    <a:gd name="connsiteY490" fmla="*/ 243555 h 1418833"/>
                    <a:gd name="connsiteX491" fmla="*/ 1594246 w 2172185"/>
                    <a:gd name="connsiteY491" fmla="*/ 242269 h 1418833"/>
                    <a:gd name="connsiteX492" fmla="*/ 1594567 w 2172185"/>
                    <a:gd name="connsiteY492" fmla="*/ 242591 h 1418833"/>
                    <a:gd name="connsiteX493" fmla="*/ 1597539 w 2172185"/>
                    <a:gd name="connsiteY493" fmla="*/ 243876 h 1418833"/>
                    <a:gd name="connsiteX494" fmla="*/ 1601074 w 2172185"/>
                    <a:gd name="connsiteY494" fmla="*/ 243555 h 1418833"/>
                    <a:gd name="connsiteX495" fmla="*/ 1601074 w 2172185"/>
                    <a:gd name="connsiteY495" fmla="*/ 243555 h 1418833"/>
                    <a:gd name="connsiteX496" fmla="*/ 1745664 w 2172185"/>
                    <a:gd name="connsiteY496" fmla="*/ 84103 h 1418833"/>
                    <a:gd name="connsiteX497" fmla="*/ 1746789 w 2172185"/>
                    <a:gd name="connsiteY497" fmla="*/ 84505 h 1418833"/>
                    <a:gd name="connsiteX498" fmla="*/ 1729839 w 2172185"/>
                    <a:gd name="connsiteY498" fmla="*/ 78400 h 1418833"/>
                    <a:gd name="connsiteX499" fmla="*/ 1745664 w 2172185"/>
                    <a:gd name="connsiteY499" fmla="*/ 84103 h 1418833"/>
                    <a:gd name="connsiteX500" fmla="*/ 1729839 w 2172185"/>
                    <a:gd name="connsiteY500" fmla="*/ 78400 h 1418833"/>
                    <a:gd name="connsiteX501" fmla="*/ 1729839 w 2172185"/>
                    <a:gd name="connsiteY501" fmla="*/ 78400 h 1418833"/>
                    <a:gd name="connsiteX502" fmla="*/ 1729839 w 2172185"/>
                    <a:gd name="connsiteY502" fmla="*/ 78400 h 1418833"/>
                    <a:gd name="connsiteX503" fmla="*/ 1729839 w 2172185"/>
                    <a:gd name="connsiteY503" fmla="*/ 78400 h 1418833"/>
                    <a:gd name="connsiteX504" fmla="*/ 346833 w 2172185"/>
                    <a:gd name="connsiteY504" fmla="*/ 276569 h 1418833"/>
                    <a:gd name="connsiteX505" fmla="*/ 346833 w 2172185"/>
                    <a:gd name="connsiteY505" fmla="*/ 276650 h 1418833"/>
                    <a:gd name="connsiteX506" fmla="*/ 349323 w 2172185"/>
                    <a:gd name="connsiteY506" fmla="*/ 273919 h 1418833"/>
                    <a:gd name="connsiteX507" fmla="*/ 349242 w 2172185"/>
                    <a:gd name="connsiteY507" fmla="*/ 273999 h 1418833"/>
                    <a:gd name="connsiteX508" fmla="*/ 346833 w 2172185"/>
                    <a:gd name="connsiteY508" fmla="*/ 276569 h 1418833"/>
                    <a:gd name="connsiteX509" fmla="*/ 1617139 w 2172185"/>
                    <a:gd name="connsiteY509" fmla="*/ 221625 h 1418833"/>
                    <a:gd name="connsiteX510" fmla="*/ 1612239 w 2172185"/>
                    <a:gd name="connsiteY510" fmla="*/ 218653 h 1418833"/>
                    <a:gd name="connsiteX511" fmla="*/ 1612159 w 2172185"/>
                    <a:gd name="connsiteY511" fmla="*/ 218894 h 1418833"/>
                    <a:gd name="connsiteX512" fmla="*/ 1615613 w 2172185"/>
                    <a:gd name="connsiteY512" fmla="*/ 226043 h 1418833"/>
                    <a:gd name="connsiteX513" fmla="*/ 1615533 w 2172185"/>
                    <a:gd name="connsiteY513" fmla="*/ 225240 h 1418833"/>
                    <a:gd name="connsiteX514" fmla="*/ 1618746 w 2172185"/>
                    <a:gd name="connsiteY514" fmla="*/ 224597 h 1418833"/>
                    <a:gd name="connsiteX515" fmla="*/ 1617139 w 2172185"/>
                    <a:gd name="connsiteY515" fmla="*/ 221625 h 1418833"/>
                    <a:gd name="connsiteX516" fmla="*/ 808959 w 2172185"/>
                    <a:gd name="connsiteY516" fmla="*/ 424935 h 1418833"/>
                    <a:gd name="connsiteX517" fmla="*/ 809120 w 2172185"/>
                    <a:gd name="connsiteY517" fmla="*/ 424935 h 1418833"/>
                    <a:gd name="connsiteX518" fmla="*/ 803417 w 2172185"/>
                    <a:gd name="connsiteY518" fmla="*/ 423489 h 1418833"/>
                    <a:gd name="connsiteX519" fmla="*/ 803577 w 2172185"/>
                    <a:gd name="connsiteY519" fmla="*/ 423570 h 1418833"/>
                    <a:gd name="connsiteX520" fmla="*/ 808959 w 2172185"/>
                    <a:gd name="connsiteY520" fmla="*/ 424935 h 1418833"/>
                    <a:gd name="connsiteX521" fmla="*/ 1613765 w 2172185"/>
                    <a:gd name="connsiteY521" fmla="*/ 216966 h 1418833"/>
                    <a:gd name="connsiteX522" fmla="*/ 1611677 w 2172185"/>
                    <a:gd name="connsiteY522" fmla="*/ 215440 h 1418833"/>
                    <a:gd name="connsiteX523" fmla="*/ 1610231 w 2172185"/>
                    <a:gd name="connsiteY523" fmla="*/ 215118 h 1418833"/>
                    <a:gd name="connsiteX524" fmla="*/ 1610552 w 2172185"/>
                    <a:gd name="connsiteY524" fmla="*/ 215359 h 1418833"/>
                    <a:gd name="connsiteX525" fmla="*/ 1615533 w 2172185"/>
                    <a:gd name="connsiteY525" fmla="*/ 218412 h 1418833"/>
                    <a:gd name="connsiteX526" fmla="*/ 1613765 w 2172185"/>
                    <a:gd name="connsiteY526" fmla="*/ 216966 h 1418833"/>
                    <a:gd name="connsiteX527" fmla="*/ 1606938 w 2172185"/>
                    <a:gd name="connsiteY527" fmla="*/ 216163 h 1418833"/>
                    <a:gd name="connsiteX528" fmla="*/ 1605251 w 2172185"/>
                    <a:gd name="connsiteY528" fmla="*/ 214877 h 1418833"/>
                    <a:gd name="connsiteX529" fmla="*/ 1605331 w 2172185"/>
                    <a:gd name="connsiteY529" fmla="*/ 215279 h 1418833"/>
                    <a:gd name="connsiteX530" fmla="*/ 1600993 w 2172185"/>
                    <a:gd name="connsiteY530" fmla="*/ 224436 h 1418833"/>
                    <a:gd name="connsiteX531" fmla="*/ 1608303 w 2172185"/>
                    <a:gd name="connsiteY531" fmla="*/ 224677 h 1418833"/>
                    <a:gd name="connsiteX532" fmla="*/ 1608785 w 2172185"/>
                    <a:gd name="connsiteY532" fmla="*/ 218573 h 1418833"/>
                    <a:gd name="connsiteX533" fmla="*/ 1606938 w 2172185"/>
                    <a:gd name="connsiteY533" fmla="*/ 216163 h 1418833"/>
                    <a:gd name="connsiteX534" fmla="*/ 1131878 w 2172185"/>
                    <a:gd name="connsiteY534" fmla="*/ 385815 h 1418833"/>
                    <a:gd name="connsiteX535" fmla="*/ 1132440 w 2172185"/>
                    <a:gd name="connsiteY535" fmla="*/ 384691 h 1418833"/>
                    <a:gd name="connsiteX536" fmla="*/ 1119266 w 2172185"/>
                    <a:gd name="connsiteY536" fmla="*/ 382442 h 1418833"/>
                    <a:gd name="connsiteX537" fmla="*/ 1105209 w 2172185"/>
                    <a:gd name="connsiteY537" fmla="*/ 394250 h 1418833"/>
                    <a:gd name="connsiteX538" fmla="*/ 1131878 w 2172185"/>
                    <a:gd name="connsiteY538" fmla="*/ 385815 h 1418833"/>
                    <a:gd name="connsiteX539" fmla="*/ 1616497 w 2172185"/>
                    <a:gd name="connsiteY539" fmla="*/ 199856 h 1418833"/>
                    <a:gd name="connsiteX540" fmla="*/ 1616657 w 2172185"/>
                    <a:gd name="connsiteY540" fmla="*/ 199535 h 1418833"/>
                    <a:gd name="connsiteX541" fmla="*/ 1613203 w 2172185"/>
                    <a:gd name="connsiteY541" fmla="*/ 199535 h 1418833"/>
                    <a:gd name="connsiteX542" fmla="*/ 1613123 w 2172185"/>
                    <a:gd name="connsiteY542" fmla="*/ 200097 h 1418833"/>
                    <a:gd name="connsiteX543" fmla="*/ 1614408 w 2172185"/>
                    <a:gd name="connsiteY543" fmla="*/ 202668 h 1418833"/>
                    <a:gd name="connsiteX544" fmla="*/ 1616497 w 2172185"/>
                    <a:gd name="connsiteY544" fmla="*/ 199856 h 1418833"/>
                    <a:gd name="connsiteX545" fmla="*/ 219754 w 2172185"/>
                    <a:gd name="connsiteY545" fmla="*/ 1343165 h 1418833"/>
                    <a:gd name="connsiteX546" fmla="*/ 217665 w 2172185"/>
                    <a:gd name="connsiteY546" fmla="*/ 1344369 h 1418833"/>
                    <a:gd name="connsiteX547" fmla="*/ 214050 w 2172185"/>
                    <a:gd name="connsiteY547" fmla="*/ 1340755 h 1418833"/>
                    <a:gd name="connsiteX548" fmla="*/ 219754 w 2172185"/>
                    <a:gd name="connsiteY548" fmla="*/ 1343165 h 1418833"/>
                    <a:gd name="connsiteX549" fmla="*/ 184088 w 2172185"/>
                    <a:gd name="connsiteY549" fmla="*/ 1292799 h 1418833"/>
                    <a:gd name="connsiteX550" fmla="*/ 179911 w 2172185"/>
                    <a:gd name="connsiteY550" fmla="*/ 1294968 h 1418833"/>
                    <a:gd name="connsiteX551" fmla="*/ 177903 w 2172185"/>
                    <a:gd name="connsiteY551" fmla="*/ 1293441 h 1418833"/>
                    <a:gd name="connsiteX552" fmla="*/ 184329 w 2172185"/>
                    <a:gd name="connsiteY552" fmla="*/ 1292397 h 1418833"/>
                    <a:gd name="connsiteX553" fmla="*/ 184088 w 2172185"/>
                    <a:gd name="connsiteY553" fmla="*/ 1292799 h 1418833"/>
                    <a:gd name="connsiteX554" fmla="*/ 122155 w 2172185"/>
                    <a:gd name="connsiteY554" fmla="*/ 1264604 h 1418833"/>
                    <a:gd name="connsiteX555" fmla="*/ 121111 w 2172185"/>
                    <a:gd name="connsiteY555" fmla="*/ 1263078 h 1418833"/>
                    <a:gd name="connsiteX556" fmla="*/ 122155 w 2172185"/>
                    <a:gd name="connsiteY556" fmla="*/ 1264604 h 1418833"/>
                    <a:gd name="connsiteX557" fmla="*/ 122155 w 2172185"/>
                    <a:gd name="connsiteY557" fmla="*/ 1264604 h 1418833"/>
                    <a:gd name="connsiteX558" fmla="*/ 48575 w 2172185"/>
                    <a:gd name="connsiteY558" fmla="*/ 1176725 h 1418833"/>
                    <a:gd name="connsiteX559" fmla="*/ 47450 w 2172185"/>
                    <a:gd name="connsiteY559" fmla="*/ 1176082 h 1418833"/>
                    <a:gd name="connsiteX560" fmla="*/ 43835 w 2172185"/>
                    <a:gd name="connsiteY560" fmla="*/ 1172226 h 1418833"/>
                    <a:gd name="connsiteX561" fmla="*/ 48735 w 2172185"/>
                    <a:gd name="connsiteY561" fmla="*/ 1176564 h 1418833"/>
                    <a:gd name="connsiteX562" fmla="*/ 48575 w 2172185"/>
                    <a:gd name="connsiteY562" fmla="*/ 1176725 h 1418833"/>
                    <a:gd name="connsiteX563" fmla="*/ 83999 w 2172185"/>
                    <a:gd name="connsiteY563" fmla="*/ 1114471 h 1418833"/>
                    <a:gd name="connsiteX564" fmla="*/ 83357 w 2172185"/>
                    <a:gd name="connsiteY564" fmla="*/ 1114872 h 1418833"/>
                    <a:gd name="connsiteX565" fmla="*/ 82232 w 2172185"/>
                    <a:gd name="connsiteY565" fmla="*/ 1111338 h 1418833"/>
                    <a:gd name="connsiteX566" fmla="*/ 81991 w 2172185"/>
                    <a:gd name="connsiteY566" fmla="*/ 1107884 h 1418833"/>
                    <a:gd name="connsiteX567" fmla="*/ 83999 w 2172185"/>
                    <a:gd name="connsiteY567" fmla="*/ 1114471 h 1418833"/>
                    <a:gd name="connsiteX568" fmla="*/ 288916 w 2172185"/>
                    <a:gd name="connsiteY568" fmla="*/ 1149172 h 1418833"/>
                    <a:gd name="connsiteX569" fmla="*/ 288193 w 2172185"/>
                    <a:gd name="connsiteY569" fmla="*/ 1150217 h 1418833"/>
                    <a:gd name="connsiteX570" fmla="*/ 287390 w 2172185"/>
                    <a:gd name="connsiteY570" fmla="*/ 1145879 h 1418833"/>
                    <a:gd name="connsiteX571" fmla="*/ 288916 w 2172185"/>
                    <a:gd name="connsiteY571" fmla="*/ 1149172 h 1418833"/>
                    <a:gd name="connsiteX572" fmla="*/ 74280 w 2172185"/>
                    <a:gd name="connsiteY572" fmla="*/ 1069808 h 1418833"/>
                    <a:gd name="connsiteX573" fmla="*/ 72994 w 2172185"/>
                    <a:gd name="connsiteY573" fmla="*/ 1069326 h 1418833"/>
                    <a:gd name="connsiteX574" fmla="*/ 71468 w 2172185"/>
                    <a:gd name="connsiteY574" fmla="*/ 1067800 h 1418833"/>
                    <a:gd name="connsiteX575" fmla="*/ 71870 w 2172185"/>
                    <a:gd name="connsiteY575" fmla="*/ 1066595 h 1418833"/>
                    <a:gd name="connsiteX576" fmla="*/ 73717 w 2172185"/>
                    <a:gd name="connsiteY576" fmla="*/ 1068764 h 1418833"/>
                    <a:gd name="connsiteX577" fmla="*/ 73798 w 2172185"/>
                    <a:gd name="connsiteY577" fmla="*/ 1069005 h 1418833"/>
                    <a:gd name="connsiteX578" fmla="*/ 74199 w 2172185"/>
                    <a:gd name="connsiteY578" fmla="*/ 1068202 h 1418833"/>
                    <a:gd name="connsiteX579" fmla="*/ 74280 w 2172185"/>
                    <a:gd name="connsiteY579" fmla="*/ 1069808 h 1418833"/>
                    <a:gd name="connsiteX580" fmla="*/ 74280 w 2172185"/>
                    <a:gd name="connsiteY580" fmla="*/ 1069808 h 1418833"/>
                    <a:gd name="connsiteX581" fmla="*/ 175814 w 2172185"/>
                    <a:gd name="connsiteY581" fmla="*/ 1106438 h 1418833"/>
                    <a:gd name="connsiteX582" fmla="*/ 175252 w 2172185"/>
                    <a:gd name="connsiteY582" fmla="*/ 1104992 h 1418833"/>
                    <a:gd name="connsiteX583" fmla="*/ 175814 w 2172185"/>
                    <a:gd name="connsiteY583" fmla="*/ 1106438 h 1418833"/>
                    <a:gd name="connsiteX584" fmla="*/ 175814 w 2172185"/>
                    <a:gd name="connsiteY584" fmla="*/ 1106438 h 1418833"/>
                    <a:gd name="connsiteX585" fmla="*/ 285462 w 2172185"/>
                    <a:gd name="connsiteY585" fmla="*/ 1088525 h 1418833"/>
                    <a:gd name="connsiteX586" fmla="*/ 280723 w 2172185"/>
                    <a:gd name="connsiteY586" fmla="*/ 1087802 h 1418833"/>
                    <a:gd name="connsiteX587" fmla="*/ 285060 w 2172185"/>
                    <a:gd name="connsiteY587" fmla="*/ 1087561 h 1418833"/>
                    <a:gd name="connsiteX588" fmla="*/ 281124 w 2172185"/>
                    <a:gd name="connsiteY588" fmla="*/ 1084749 h 1418833"/>
                    <a:gd name="connsiteX589" fmla="*/ 281285 w 2172185"/>
                    <a:gd name="connsiteY589" fmla="*/ 1082581 h 1418833"/>
                    <a:gd name="connsiteX590" fmla="*/ 285864 w 2172185"/>
                    <a:gd name="connsiteY590" fmla="*/ 1088605 h 1418833"/>
                    <a:gd name="connsiteX591" fmla="*/ 285462 w 2172185"/>
                    <a:gd name="connsiteY591" fmla="*/ 1088525 h 1418833"/>
                    <a:gd name="connsiteX592" fmla="*/ 11704 w 2172185"/>
                    <a:gd name="connsiteY592" fmla="*/ 938151 h 1418833"/>
                    <a:gd name="connsiteX593" fmla="*/ 11785 w 2172185"/>
                    <a:gd name="connsiteY593" fmla="*/ 932769 h 1418833"/>
                    <a:gd name="connsiteX594" fmla="*/ 11704 w 2172185"/>
                    <a:gd name="connsiteY594" fmla="*/ 938151 h 1418833"/>
                    <a:gd name="connsiteX595" fmla="*/ 225377 w 2172185"/>
                    <a:gd name="connsiteY595" fmla="*/ 1060892 h 1418833"/>
                    <a:gd name="connsiteX596" fmla="*/ 216782 w 2172185"/>
                    <a:gd name="connsiteY596" fmla="*/ 1055430 h 1418833"/>
                    <a:gd name="connsiteX597" fmla="*/ 226180 w 2172185"/>
                    <a:gd name="connsiteY597" fmla="*/ 1060892 h 1418833"/>
                    <a:gd name="connsiteX598" fmla="*/ 225377 w 2172185"/>
                    <a:gd name="connsiteY598" fmla="*/ 1060892 h 1418833"/>
                    <a:gd name="connsiteX599" fmla="*/ 17729 w 2172185"/>
                    <a:gd name="connsiteY599" fmla="*/ 915257 h 1418833"/>
                    <a:gd name="connsiteX600" fmla="*/ 15399 w 2172185"/>
                    <a:gd name="connsiteY600" fmla="*/ 909393 h 1418833"/>
                    <a:gd name="connsiteX601" fmla="*/ 18291 w 2172185"/>
                    <a:gd name="connsiteY601" fmla="*/ 906823 h 1418833"/>
                    <a:gd name="connsiteX602" fmla="*/ 17809 w 2172185"/>
                    <a:gd name="connsiteY602" fmla="*/ 915659 h 1418833"/>
                    <a:gd name="connsiteX603" fmla="*/ 17729 w 2172185"/>
                    <a:gd name="connsiteY603" fmla="*/ 915257 h 1418833"/>
                    <a:gd name="connsiteX604" fmla="*/ 216782 w 2172185"/>
                    <a:gd name="connsiteY604" fmla="*/ 1037757 h 1418833"/>
                    <a:gd name="connsiteX605" fmla="*/ 215416 w 2172185"/>
                    <a:gd name="connsiteY605" fmla="*/ 1037998 h 1418833"/>
                    <a:gd name="connsiteX606" fmla="*/ 215978 w 2172185"/>
                    <a:gd name="connsiteY606" fmla="*/ 1032777 h 1418833"/>
                    <a:gd name="connsiteX607" fmla="*/ 215496 w 2172185"/>
                    <a:gd name="connsiteY607" fmla="*/ 1033500 h 1418833"/>
                    <a:gd name="connsiteX608" fmla="*/ 215095 w 2172185"/>
                    <a:gd name="connsiteY608" fmla="*/ 1022094 h 1418833"/>
                    <a:gd name="connsiteX609" fmla="*/ 216782 w 2172185"/>
                    <a:gd name="connsiteY609" fmla="*/ 1037757 h 1418833"/>
                    <a:gd name="connsiteX610" fmla="*/ 7126 w 2172185"/>
                    <a:gd name="connsiteY610" fmla="*/ 869470 h 1418833"/>
                    <a:gd name="connsiteX611" fmla="*/ 6885 w 2172185"/>
                    <a:gd name="connsiteY611" fmla="*/ 869310 h 1418833"/>
                    <a:gd name="connsiteX612" fmla="*/ 7206 w 2172185"/>
                    <a:gd name="connsiteY612" fmla="*/ 869069 h 1418833"/>
                    <a:gd name="connsiteX613" fmla="*/ 7126 w 2172185"/>
                    <a:gd name="connsiteY613" fmla="*/ 869470 h 1418833"/>
                    <a:gd name="connsiteX614" fmla="*/ 37811 w 2172185"/>
                    <a:gd name="connsiteY614" fmla="*/ 911402 h 1418833"/>
                    <a:gd name="connsiteX615" fmla="*/ 34999 w 2172185"/>
                    <a:gd name="connsiteY615" fmla="*/ 917828 h 1418833"/>
                    <a:gd name="connsiteX616" fmla="*/ 30501 w 2172185"/>
                    <a:gd name="connsiteY616" fmla="*/ 917426 h 1418833"/>
                    <a:gd name="connsiteX617" fmla="*/ 30581 w 2172185"/>
                    <a:gd name="connsiteY617" fmla="*/ 915418 h 1418833"/>
                    <a:gd name="connsiteX618" fmla="*/ 32188 w 2172185"/>
                    <a:gd name="connsiteY618" fmla="*/ 915418 h 1418833"/>
                    <a:gd name="connsiteX619" fmla="*/ 32670 w 2172185"/>
                    <a:gd name="connsiteY619" fmla="*/ 915659 h 1418833"/>
                    <a:gd name="connsiteX620" fmla="*/ 38212 w 2172185"/>
                    <a:gd name="connsiteY620" fmla="*/ 911000 h 1418833"/>
                    <a:gd name="connsiteX621" fmla="*/ 37811 w 2172185"/>
                    <a:gd name="connsiteY621" fmla="*/ 911402 h 1418833"/>
                    <a:gd name="connsiteX622" fmla="*/ 14194 w 2172185"/>
                    <a:gd name="connsiteY622" fmla="*/ 840793 h 1418833"/>
                    <a:gd name="connsiteX623" fmla="*/ 14194 w 2172185"/>
                    <a:gd name="connsiteY623" fmla="*/ 840793 h 1418833"/>
                    <a:gd name="connsiteX624" fmla="*/ 14435 w 2172185"/>
                    <a:gd name="connsiteY624" fmla="*/ 839347 h 1418833"/>
                    <a:gd name="connsiteX625" fmla="*/ 14194 w 2172185"/>
                    <a:gd name="connsiteY625" fmla="*/ 840793 h 1418833"/>
                    <a:gd name="connsiteX626" fmla="*/ 14516 w 2172185"/>
                    <a:gd name="connsiteY626" fmla="*/ 838785 h 1418833"/>
                    <a:gd name="connsiteX627" fmla="*/ 14676 w 2172185"/>
                    <a:gd name="connsiteY627" fmla="*/ 837580 h 1418833"/>
                    <a:gd name="connsiteX628" fmla="*/ 14516 w 2172185"/>
                    <a:gd name="connsiteY628" fmla="*/ 838785 h 1418833"/>
                    <a:gd name="connsiteX629" fmla="*/ 14516 w 2172185"/>
                    <a:gd name="connsiteY629" fmla="*/ 838785 h 1418833"/>
                    <a:gd name="connsiteX630" fmla="*/ 42068 w 2172185"/>
                    <a:gd name="connsiteY630" fmla="*/ 870996 h 1418833"/>
                    <a:gd name="connsiteX631" fmla="*/ 40703 w 2172185"/>
                    <a:gd name="connsiteY631" fmla="*/ 871880 h 1418833"/>
                    <a:gd name="connsiteX632" fmla="*/ 42068 w 2172185"/>
                    <a:gd name="connsiteY632" fmla="*/ 867542 h 1418833"/>
                    <a:gd name="connsiteX633" fmla="*/ 42068 w 2172185"/>
                    <a:gd name="connsiteY633" fmla="*/ 870996 h 1418833"/>
                    <a:gd name="connsiteX634" fmla="*/ 42068 w 2172185"/>
                    <a:gd name="connsiteY634" fmla="*/ 870996 h 1418833"/>
                    <a:gd name="connsiteX635" fmla="*/ 19094 w 2172185"/>
                    <a:gd name="connsiteY635" fmla="*/ 804244 h 1418833"/>
                    <a:gd name="connsiteX636" fmla="*/ 19175 w 2172185"/>
                    <a:gd name="connsiteY636" fmla="*/ 801593 h 1418833"/>
                    <a:gd name="connsiteX637" fmla="*/ 19014 w 2172185"/>
                    <a:gd name="connsiteY637" fmla="*/ 802477 h 1418833"/>
                    <a:gd name="connsiteX638" fmla="*/ 19496 w 2172185"/>
                    <a:gd name="connsiteY638" fmla="*/ 801995 h 1418833"/>
                    <a:gd name="connsiteX639" fmla="*/ 19094 w 2172185"/>
                    <a:gd name="connsiteY639" fmla="*/ 804244 h 1418833"/>
                    <a:gd name="connsiteX640" fmla="*/ 19094 w 2172185"/>
                    <a:gd name="connsiteY640" fmla="*/ 804244 h 1418833"/>
                    <a:gd name="connsiteX641" fmla="*/ 43755 w 2172185"/>
                    <a:gd name="connsiteY641" fmla="*/ 859590 h 1418833"/>
                    <a:gd name="connsiteX642" fmla="*/ 41747 w 2172185"/>
                    <a:gd name="connsiteY642" fmla="*/ 859028 h 1418833"/>
                    <a:gd name="connsiteX643" fmla="*/ 42149 w 2172185"/>
                    <a:gd name="connsiteY643" fmla="*/ 856296 h 1418833"/>
                    <a:gd name="connsiteX644" fmla="*/ 41426 w 2172185"/>
                    <a:gd name="connsiteY644" fmla="*/ 857501 h 1418833"/>
                    <a:gd name="connsiteX645" fmla="*/ 44157 w 2172185"/>
                    <a:gd name="connsiteY645" fmla="*/ 846898 h 1418833"/>
                    <a:gd name="connsiteX646" fmla="*/ 44398 w 2172185"/>
                    <a:gd name="connsiteY646" fmla="*/ 852441 h 1418833"/>
                    <a:gd name="connsiteX647" fmla="*/ 43755 w 2172185"/>
                    <a:gd name="connsiteY647" fmla="*/ 859590 h 1418833"/>
                    <a:gd name="connsiteX648" fmla="*/ 26003 w 2172185"/>
                    <a:gd name="connsiteY648" fmla="*/ 797818 h 1418833"/>
                    <a:gd name="connsiteX649" fmla="*/ 26003 w 2172185"/>
                    <a:gd name="connsiteY649" fmla="*/ 797818 h 1418833"/>
                    <a:gd name="connsiteX650" fmla="*/ 26003 w 2172185"/>
                    <a:gd name="connsiteY650" fmla="*/ 797818 h 1418833"/>
                    <a:gd name="connsiteX651" fmla="*/ 26003 w 2172185"/>
                    <a:gd name="connsiteY651" fmla="*/ 797818 h 1418833"/>
                    <a:gd name="connsiteX652" fmla="*/ 26003 w 2172185"/>
                    <a:gd name="connsiteY652" fmla="*/ 797818 h 1418833"/>
                    <a:gd name="connsiteX653" fmla="*/ 26003 w 2172185"/>
                    <a:gd name="connsiteY653" fmla="*/ 797818 h 1418833"/>
                    <a:gd name="connsiteX654" fmla="*/ 26003 w 2172185"/>
                    <a:gd name="connsiteY654" fmla="*/ 797818 h 1418833"/>
                    <a:gd name="connsiteX655" fmla="*/ 26003 w 2172185"/>
                    <a:gd name="connsiteY655" fmla="*/ 797818 h 1418833"/>
                    <a:gd name="connsiteX656" fmla="*/ 26003 w 2172185"/>
                    <a:gd name="connsiteY656" fmla="*/ 797818 h 1418833"/>
                    <a:gd name="connsiteX657" fmla="*/ 26003 w 2172185"/>
                    <a:gd name="connsiteY657" fmla="*/ 797818 h 1418833"/>
                    <a:gd name="connsiteX658" fmla="*/ 26003 w 2172185"/>
                    <a:gd name="connsiteY658" fmla="*/ 797818 h 1418833"/>
                    <a:gd name="connsiteX659" fmla="*/ 26003 w 2172185"/>
                    <a:gd name="connsiteY659" fmla="*/ 797818 h 1418833"/>
                    <a:gd name="connsiteX660" fmla="*/ 26003 w 2172185"/>
                    <a:gd name="connsiteY660" fmla="*/ 797818 h 1418833"/>
                    <a:gd name="connsiteX661" fmla="*/ 26003 w 2172185"/>
                    <a:gd name="connsiteY661" fmla="*/ 797818 h 1418833"/>
                    <a:gd name="connsiteX662" fmla="*/ 26003 w 2172185"/>
                    <a:gd name="connsiteY662" fmla="*/ 797818 h 1418833"/>
                    <a:gd name="connsiteX663" fmla="*/ 26003 w 2172185"/>
                    <a:gd name="connsiteY663" fmla="*/ 797818 h 1418833"/>
                    <a:gd name="connsiteX664" fmla="*/ 26003 w 2172185"/>
                    <a:gd name="connsiteY664" fmla="*/ 797818 h 1418833"/>
                    <a:gd name="connsiteX665" fmla="*/ 26003 w 2172185"/>
                    <a:gd name="connsiteY665" fmla="*/ 797818 h 1418833"/>
                    <a:gd name="connsiteX666" fmla="*/ 26003 w 2172185"/>
                    <a:gd name="connsiteY666" fmla="*/ 797818 h 1418833"/>
                    <a:gd name="connsiteX667" fmla="*/ 26003 w 2172185"/>
                    <a:gd name="connsiteY667" fmla="*/ 797818 h 1418833"/>
                    <a:gd name="connsiteX668" fmla="*/ 26003 w 2172185"/>
                    <a:gd name="connsiteY668" fmla="*/ 797818 h 1418833"/>
                    <a:gd name="connsiteX669" fmla="*/ 26003 w 2172185"/>
                    <a:gd name="connsiteY669" fmla="*/ 797818 h 1418833"/>
                    <a:gd name="connsiteX670" fmla="*/ 26003 w 2172185"/>
                    <a:gd name="connsiteY670" fmla="*/ 797818 h 1418833"/>
                    <a:gd name="connsiteX671" fmla="*/ 26003 w 2172185"/>
                    <a:gd name="connsiteY671" fmla="*/ 797818 h 1418833"/>
                    <a:gd name="connsiteX672" fmla="*/ 26003 w 2172185"/>
                    <a:gd name="connsiteY672" fmla="*/ 797818 h 1418833"/>
                    <a:gd name="connsiteX673" fmla="*/ 26003 w 2172185"/>
                    <a:gd name="connsiteY673" fmla="*/ 797818 h 1418833"/>
                    <a:gd name="connsiteX674" fmla="*/ 26003 w 2172185"/>
                    <a:gd name="connsiteY674" fmla="*/ 797818 h 1418833"/>
                    <a:gd name="connsiteX675" fmla="*/ 26003 w 2172185"/>
                    <a:gd name="connsiteY675" fmla="*/ 797818 h 1418833"/>
                    <a:gd name="connsiteX676" fmla="*/ 26003 w 2172185"/>
                    <a:gd name="connsiteY676" fmla="*/ 797818 h 1418833"/>
                    <a:gd name="connsiteX677" fmla="*/ 26003 w 2172185"/>
                    <a:gd name="connsiteY677" fmla="*/ 797818 h 1418833"/>
                    <a:gd name="connsiteX678" fmla="*/ 26003 w 2172185"/>
                    <a:gd name="connsiteY678" fmla="*/ 797818 h 1418833"/>
                    <a:gd name="connsiteX679" fmla="*/ 26003 w 2172185"/>
                    <a:gd name="connsiteY679" fmla="*/ 797818 h 1418833"/>
                    <a:gd name="connsiteX680" fmla="*/ 26003 w 2172185"/>
                    <a:gd name="connsiteY680" fmla="*/ 797818 h 1418833"/>
                    <a:gd name="connsiteX681" fmla="*/ 26003 w 2172185"/>
                    <a:gd name="connsiteY681" fmla="*/ 797818 h 1418833"/>
                    <a:gd name="connsiteX682" fmla="*/ 26003 w 2172185"/>
                    <a:gd name="connsiteY682" fmla="*/ 797818 h 1418833"/>
                    <a:gd name="connsiteX683" fmla="*/ 26003 w 2172185"/>
                    <a:gd name="connsiteY683" fmla="*/ 797818 h 1418833"/>
                    <a:gd name="connsiteX684" fmla="*/ 26003 w 2172185"/>
                    <a:gd name="connsiteY684" fmla="*/ 797818 h 1418833"/>
                    <a:gd name="connsiteX685" fmla="*/ 26003 w 2172185"/>
                    <a:gd name="connsiteY685" fmla="*/ 797818 h 1418833"/>
                    <a:gd name="connsiteX686" fmla="*/ 26003 w 2172185"/>
                    <a:gd name="connsiteY686" fmla="*/ 797818 h 1418833"/>
                    <a:gd name="connsiteX687" fmla="*/ 26003 w 2172185"/>
                    <a:gd name="connsiteY687" fmla="*/ 797818 h 1418833"/>
                    <a:gd name="connsiteX688" fmla="*/ 26003 w 2172185"/>
                    <a:gd name="connsiteY688" fmla="*/ 797818 h 1418833"/>
                    <a:gd name="connsiteX689" fmla="*/ 26003 w 2172185"/>
                    <a:gd name="connsiteY689" fmla="*/ 797818 h 1418833"/>
                    <a:gd name="connsiteX690" fmla="*/ 26003 w 2172185"/>
                    <a:gd name="connsiteY690" fmla="*/ 797818 h 1418833"/>
                    <a:gd name="connsiteX691" fmla="*/ 26003 w 2172185"/>
                    <a:gd name="connsiteY691" fmla="*/ 797818 h 1418833"/>
                    <a:gd name="connsiteX692" fmla="*/ 26003 w 2172185"/>
                    <a:gd name="connsiteY692" fmla="*/ 797818 h 1418833"/>
                    <a:gd name="connsiteX693" fmla="*/ 26003 w 2172185"/>
                    <a:gd name="connsiteY693" fmla="*/ 797818 h 1418833"/>
                    <a:gd name="connsiteX694" fmla="*/ 26003 w 2172185"/>
                    <a:gd name="connsiteY694" fmla="*/ 797818 h 1418833"/>
                    <a:gd name="connsiteX695" fmla="*/ 26003 w 2172185"/>
                    <a:gd name="connsiteY695" fmla="*/ 797818 h 1418833"/>
                    <a:gd name="connsiteX696" fmla="*/ 26003 w 2172185"/>
                    <a:gd name="connsiteY696" fmla="*/ 797818 h 1418833"/>
                    <a:gd name="connsiteX697" fmla="*/ 26003 w 2172185"/>
                    <a:gd name="connsiteY697" fmla="*/ 797818 h 1418833"/>
                    <a:gd name="connsiteX698" fmla="*/ 26003 w 2172185"/>
                    <a:gd name="connsiteY698" fmla="*/ 797818 h 1418833"/>
                    <a:gd name="connsiteX699" fmla="*/ 26003 w 2172185"/>
                    <a:gd name="connsiteY699" fmla="*/ 797818 h 1418833"/>
                    <a:gd name="connsiteX700" fmla="*/ 26003 w 2172185"/>
                    <a:gd name="connsiteY700" fmla="*/ 797818 h 1418833"/>
                    <a:gd name="connsiteX701" fmla="*/ 26003 w 2172185"/>
                    <a:gd name="connsiteY701" fmla="*/ 797818 h 1418833"/>
                    <a:gd name="connsiteX702" fmla="*/ 26003 w 2172185"/>
                    <a:gd name="connsiteY702" fmla="*/ 797818 h 1418833"/>
                    <a:gd name="connsiteX703" fmla="*/ 26003 w 2172185"/>
                    <a:gd name="connsiteY703" fmla="*/ 797818 h 1418833"/>
                    <a:gd name="connsiteX704" fmla="*/ 26003 w 2172185"/>
                    <a:gd name="connsiteY704" fmla="*/ 797818 h 1418833"/>
                    <a:gd name="connsiteX705" fmla="*/ 26003 w 2172185"/>
                    <a:gd name="connsiteY705" fmla="*/ 797818 h 1418833"/>
                    <a:gd name="connsiteX706" fmla="*/ 26003 w 2172185"/>
                    <a:gd name="connsiteY706" fmla="*/ 797818 h 1418833"/>
                    <a:gd name="connsiteX707" fmla="*/ 26003 w 2172185"/>
                    <a:gd name="connsiteY707" fmla="*/ 797818 h 1418833"/>
                    <a:gd name="connsiteX708" fmla="*/ 26003 w 2172185"/>
                    <a:gd name="connsiteY708" fmla="*/ 797818 h 1418833"/>
                    <a:gd name="connsiteX709" fmla="*/ 26003 w 2172185"/>
                    <a:gd name="connsiteY709" fmla="*/ 797818 h 1418833"/>
                    <a:gd name="connsiteX710" fmla="*/ 26003 w 2172185"/>
                    <a:gd name="connsiteY710" fmla="*/ 797818 h 1418833"/>
                    <a:gd name="connsiteX711" fmla="*/ 26003 w 2172185"/>
                    <a:gd name="connsiteY711" fmla="*/ 797818 h 1418833"/>
                    <a:gd name="connsiteX712" fmla="*/ 26003 w 2172185"/>
                    <a:gd name="connsiteY712" fmla="*/ 797818 h 1418833"/>
                    <a:gd name="connsiteX713" fmla="*/ 26003 w 2172185"/>
                    <a:gd name="connsiteY713" fmla="*/ 797818 h 1418833"/>
                    <a:gd name="connsiteX714" fmla="*/ 26003 w 2172185"/>
                    <a:gd name="connsiteY714" fmla="*/ 797818 h 1418833"/>
                    <a:gd name="connsiteX715" fmla="*/ 26003 w 2172185"/>
                    <a:gd name="connsiteY715" fmla="*/ 797818 h 1418833"/>
                    <a:gd name="connsiteX716" fmla="*/ 26003 w 2172185"/>
                    <a:gd name="connsiteY716" fmla="*/ 797818 h 1418833"/>
                    <a:gd name="connsiteX717" fmla="*/ 26003 w 2172185"/>
                    <a:gd name="connsiteY717" fmla="*/ 797818 h 1418833"/>
                    <a:gd name="connsiteX718" fmla="*/ 26003 w 2172185"/>
                    <a:gd name="connsiteY718" fmla="*/ 797818 h 1418833"/>
                    <a:gd name="connsiteX719" fmla="*/ 26003 w 2172185"/>
                    <a:gd name="connsiteY719" fmla="*/ 797818 h 1418833"/>
                    <a:gd name="connsiteX720" fmla="*/ 26003 w 2172185"/>
                    <a:gd name="connsiteY720" fmla="*/ 797818 h 1418833"/>
                    <a:gd name="connsiteX721" fmla="*/ 26003 w 2172185"/>
                    <a:gd name="connsiteY721" fmla="*/ 797818 h 1418833"/>
                    <a:gd name="connsiteX722" fmla="*/ 26003 w 2172185"/>
                    <a:gd name="connsiteY722" fmla="*/ 797818 h 1418833"/>
                    <a:gd name="connsiteX723" fmla="*/ 26003 w 2172185"/>
                    <a:gd name="connsiteY723" fmla="*/ 797818 h 1418833"/>
                    <a:gd name="connsiteX724" fmla="*/ 26003 w 2172185"/>
                    <a:gd name="connsiteY724" fmla="*/ 797818 h 1418833"/>
                    <a:gd name="connsiteX725" fmla="*/ 26003 w 2172185"/>
                    <a:gd name="connsiteY725" fmla="*/ 797818 h 1418833"/>
                    <a:gd name="connsiteX726" fmla="*/ 26003 w 2172185"/>
                    <a:gd name="connsiteY726" fmla="*/ 797818 h 1418833"/>
                    <a:gd name="connsiteX727" fmla="*/ 26003 w 2172185"/>
                    <a:gd name="connsiteY727" fmla="*/ 797818 h 1418833"/>
                    <a:gd name="connsiteX728" fmla="*/ 26003 w 2172185"/>
                    <a:gd name="connsiteY728" fmla="*/ 797818 h 1418833"/>
                    <a:gd name="connsiteX729" fmla="*/ 26003 w 2172185"/>
                    <a:gd name="connsiteY729" fmla="*/ 797818 h 1418833"/>
                    <a:gd name="connsiteX730" fmla="*/ 26003 w 2172185"/>
                    <a:gd name="connsiteY730" fmla="*/ 797818 h 1418833"/>
                    <a:gd name="connsiteX731" fmla="*/ 26003 w 2172185"/>
                    <a:gd name="connsiteY731" fmla="*/ 797818 h 1418833"/>
                    <a:gd name="connsiteX732" fmla="*/ 26003 w 2172185"/>
                    <a:gd name="connsiteY732" fmla="*/ 797818 h 1418833"/>
                    <a:gd name="connsiteX733" fmla="*/ 26003 w 2172185"/>
                    <a:gd name="connsiteY733" fmla="*/ 797818 h 1418833"/>
                    <a:gd name="connsiteX734" fmla="*/ 26003 w 2172185"/>
                    <a:gd name="connsiteY734" fmla="*/ 797818 h 1418833"/>
                    <a:gd name="connsiteX735" fmla="*/ 26003 w 2172185"/>
                    <a:gd name="connsiteY735" fmla="*/ 797818 h 1418833"/>
                    <a:gd name="connsiteX736" fmla="*/ 26003 w 2172185"/>
                    <a:gd name="connsiteY736" fmla="*/ 797818 h 1418833"/>
                    <a:gd name="connsiteX737" fmla="*/ 26003 w 2172185"/>
                    <a:gd name="connsiteY737" fmla="*/ 797818 h 1418833"/>
                    <a:gd name="connsiteX738" fmla="*/ 26003 w 2172185"/>
                    <a:gd name="connsiteY738" fmla="*/ 797818 h 1418833"/>
                    <a:gd name="connsiteX739" fmla="*/ 26003 w 2172185"/>
                    <a:gd name="connsiteY739" fmla="*/ 797818 h 1418833"/>
                    <a:gd name="connsiteX740" fmla="*/ 26003 w 2172185"/>
                    <a:gd name="connsiteY740" fmla="*/ 797818 h 1418833"/>
                    <a:gd name="connsiteX741" fmla="*/ 26003 w 2172185"/>
                    <a:gd name="connsiteY741" fmla="*/ 797818 h 1418833"/>
                    <a:gd name="connsiteX742" fmla="*/ 26003 w 2172185"/>
                    <a:gd name="connsiteY742" fmla="*/ 797818 h 1418833"/>
                    <a:gd name="connsiteX743" fmla="*/ 26003 w 2172185"/>
                    <a:gd name="connsiteY743" fmla="*/ 797818 h 1418833"/>
                    <a:gd name="connsiteX744" fmla="*/ 26003 w 2172185"/>
                    <a:gd name="connsiteY744" fmla="*/ 797818 h 1418833"/>
                    <a:gd name="connsiteX745" fmla="*/ 26003 w 2172185"/>
                    <a:gd name="connsiteY745" fmla="*/ 797818 h 1418833"/>
                    <a:gd name="connsiteX746" fmla="*/ 26003 w 2172185"/>
                    <a:gd name="connsiteY746" fmla="*/ 797818 h 1418833"/>
                    <a:gd name="connsiteX747" fmla="*/ 26003 w 2172185"/>
                    <a:gd name="connsiteY747" fmla="*/ 797818 h 1418833"/>
                    <a:gd name="connsiteX748" fmla="*/ 26003 w 2172185"/>
                    <a:gd name="connsiteY748" fmla="*/ 797818 h 1418833"/>
                    <a:gd name="connsiteX749" fmla="*/ 26003 w 2172185"/>
                    <a:gd name="connsiteY749" fmla="*/ 797818 h 1418833"/>
                    <a:gd name="connsiteX750" fmla="*/ 26003 w 2172185"/>
                    <a:gd name="connsiteY750" fmla="*/ 797818 h 1418833"/>
                    <a:gd name="connsiteX751" fmla="*/ 26003 w 2172185"/>
                    <a:gd name="connsiteY751" fmla="*/ 797818 h 1418833"/>
                    <a:gd name="connsiteX752" fmla="*/ 26003 w 2172185"/>
                    <a:gd name="connsiteY752" fmla="*/ 797818 h 1418833"/>
                    <a:gd name="connsiteX753" fmla="*/ 26003 w 2172185"/>
                    <a:gd name="connsiteY753" fmla="*/ 797818 h 1418833"/>
                    <a:gd name="connsiteX754" fmla="*/ 26003 w 2172185"/>
                    <a:gd name="connsiteY754" fmla="*/ 797818 h 1418833"/>
                    <a:gd name="connsiteX755" fmla="*/ 26003 w 2172185"/>
                    <a:gd name="connsiteY755" fmla="*/ 797818 h 1418833"/>
                    <a:gd name="connsiteX756" fmla="*/ 26003 w 2172185"/>
                    <a:gd name="connsiteY756" fmla="*/ 797818 h 1418833"/>
                    <a:gd name="connsiteX757" fmla="*/ 26003 w 2172185"/>
                    <a:gd name="connsiteY757" fmla="*/ 797818 h 1418833"/>
                    <a:gd name="connsiteX758" fmla="*/ 26003 w 2172185"/>
                    <a:gd name="connsiteY758" fmla="*/ 797818 h 1418833"/>
                    <a:gd name="connsiteX759" fmla="*/ 26003 w 2172185"/>
                    <a:gd name="connsiteY759" fmla="*/ 797818 h 1418833"/>
                    <a:gd name="connsiteX760" fmla="*/ 26003 w 2172185"/>
                    <a:gd name="connsiteY760" fmla="*/ 797818 h 1418833"/>
                    <a:gd name="connsiteX761" fmla="*/ 26003 w 2172185"/>
                    <a:gd name="connsiteY761" fmla="*/ 797818 h 1418833"/>
                    <a:gd name="connsiteX762" fmla="*/ 26003 w 2172185"/>
                    <a:gd name="connsiteY762" fmla="*/ 797818 h 1418833"/>
                    <a:gd name="connsiteX763" fmla="*/ 26003 w 2172185"/>
                    <a:gd name="connsiteY763" fmla="*/ 797818 h 1418833"/>
                    <a:gd name="connsiteX764" fmla="*/ 26003 w 2172185"/>
                    <a:gd name="connsiteY764" fmla="*/ 797818 h 1418833"/>
                    <a:gd name="connsiteX765" fmla="*/ 26003 w 2172185"/>
                    <a:gd name="connsiteY765" fmla="*/ 797818 h 1418833"/>
                    <a:gd name="connsiteX766" fmla="*/ 26003 w 2172185"/>
                    <a:gd name="connsiteY766" fmla="*/ 797818 h 1418833"/>
                    <a:gd name="connsiteX767" fmla="*/ 26003 w 2172185"/>
                    <a:gd name="connsiteY767" fmla="*/ 797818 h 1418833"/>
                    <a:gd name="connsiteX768" fmla="*/ 26003 w 2172185"/>
                    <a:gd name="connsiteY768" fmla="*/ 797818 h 1418833"/>
                    <a:gd name="connsiteX769" fmla="*/ 26003 w 2172185"/>
                    <a:gd name="connsiteY769" fmla="*/ 797818 h 1418833"/>
                    <a:gd name="connsiteX770" fmla="*/ 26003 w 2172185"/>
                    <a:gd name="connsiteY770" fmla="*/ 797818 h 1418833"/>
                    <a:gd name="connsiteX771" fmla="*/ 26003 w 2172185"/>
                    <a:gd name="connsiteY771" fmla="*/ 797818 h 1418833"/>
                    <a:gd name="connsiteX772" fmla="*/ 26003 w 2172185"/>
                    <a:gd name="connsiteY772" fmla="*/ 797818 h 1418833"/>
                    <a:gd name="connsiteX773" fmla="*/ 26003 w 2172185"/>
                    <a:gd name="connsiteY773" fmla="*/ 797818 h 1418833"/>
                    <a:gd name="connsiteX774" fmla="*/ 26003 w 2172185"/>
                    <a:gd name="connsiteY774" fmla="*/ 797818 h 1418833"/>
                    <a:gd name="connsiteX775" fmla="*/ 26003 w 2172185"/>
                    <a:gd name="connsiteY775" fmla="*/ 797818 h 1418833"/>
                    <a:gd name="connsiteX776" fmla="*/ 26003 w 2172185"/>
                    <a:gd name="connsiteY776" fmla="*/ 797818 h 1418833"/>
                    <a:gd name="connsiteX777" fmla="*/ 26003 w 2172185"/>
                    <a:gd name="connsiteY777" fmla="*/ 797818 h 1418833"/>
                    <a:gd name="connsiteX778" fmla="*/ 26003 w 2172185"/>
                    <a:gd name="connsiteY778" fmla="*/ 797818 h 1418833"/>
                    <a:gd name="connsiteX779" fmla="*/ 26003 w 2172185"/>
                    <a:gd name="connsiteY779" fmla="*/ 797818 h 1418833"/>
                    <a:gd name="connsiteX780" fmla="*/ 26003 w 2172185"/>
                    <a:gd name="connsiteY780" fmla="*/ 797818 h 1418833"/>
                    <a:gd name="connsiteX781" fmla="*/ 26003 w 2172185"/>
                    <a:gd name="connsiteY781" fmla="*/ 797818 h 1418833"/>
                    <a:gd name="connsiteX782" fmla="*/ 26003 w 2172185"/>
                    <a:gd name="connsiteY782" fmla="*/ 797818 h 1418833"/>
                    <a:gd name="connsiteX783" fmla="*/ 26003 w 2172185"/>
                    <a:gd name="connsiteY783" fmla="*/ 797818 h 1418833"/>
                    <a:gd name="connsiteX784" fmla="*/ 26003 w 2172185"/>
                    <a:gd name="connsiteY784" fmla="*/ 797818 h 1418833"/>
                    <a:gd name="connsiteX785" fmla="*/ 26003 w 2172185"/>
                    <a:gd name="connsiteY785" fmla="*/ 797818 h 1418833"/>
                    <a:gd name="connsiteX786" fmla="*/ 26003 w 2172185"/>
                    <a:gd name="connsiteY786" fmla="*/ 797818 h 1418833"/>
                    <a:gd name="connsiteX787" fmla="*/ 26003 w 2172185"/>
                    <a:gd name="connsiteY787" fmla="*/ 797818 h 1418833"/>
                    <a:gd name="connsiteX788" fmla="*/ 26003 w 2172185"/>
                    <a:gd name="connsiteY788" fmla="*/ 797818 h 1418833"/>
                    <a:gd name="connsiteX789" fmla="*/ 26003 w 2172185"/>
                    <a:gd name="connsiteY789" fmla="*/ 797818 h 1418833"/>
                    <a:gd name="connsiteX790" fmla="*/ 26003 w 2172185"/>
                    <a:gd name="connsiteY790" fmla="*/ 797818 h 1418833"/>
                    <a:gd name="connsiteX791" fmla="*/ 26003 w 2172185"/>
                    <a:gd name="connsiteY791" fmla="*/ 797818 h 1418833"/>
                    <a:gd name="connsiteX792" fmla="*/ 26003 w 2172185"/>
                    <a:gd name="connsiteY792" fmla="*/ 797818 h 1418833"/>
                    <a:gd name="connsiteX793" fmla="*/ 26003 w 2172185"/>
                    <a:gd name="connsiteY793" fmla="*/ 797818 h 1418833"/>
                    <a:gd name="connsiteX794" fmla="*/ 26003 w 2172185"/>
                    <a:gd name="connsiteY794" fmla="*/ 797818 h 1418833"/>
                    <a:gd name="connsiteX795" fmla="*/ 26003 w 2172185"/>
                    <a:gd name="connsiteY795" fmla="*/ 797818 h 1418833"/>
                    <a:gd name="connsiteX796" fmla="*/ 26003 w 2172185"/>
                    <a:gd name="connsiteY796" fmla="*/ 797818 h 1418833"/>
                    <a:gd name="connsiteX797" fmla="*/ 26003 w 2172185"/>
                    <a:gd name="connsiteY797" fmla="*/ 797818 h 1418833"/>
                    <a:gd name="connsiteX798" fmla="*/ 26003 w 2172185"/>
                    <a:gd name="connsiteY798" fmla="*/ 797818 h 1418833"/>
                    <a:gd name="connsiteX799" fmla="*/ 26003 w 2172185"/>
                    <a:gd name="connsiteY799" fmla="*/ 797818 h 1418833"/>
                    <a:gd name="connsiteX800" fmla="*/ 26003 w 2172185"/>
                    <a:gd name="connsiteY800" fmla="*/ 797818 h 1418833"/>
                    <a:gd name="connsiteX801" fmla="*/ 26003 w 2172185"/>
                    <a:gd name="connsiteY801" fmla="*/ 797818 h 1418833"/>
                    <a:gd name="connsiteX802" fmla="*/ 26003 w 2172185"/>
                    <a:gd name="connsiteY802" fmla="*/ 797818 h 1418833"/>
                    <a:gd name="connsiteX803" fmla="*/ 26003 w 2172185"/>
                    <a:gd name="connsiteY803" fmla="*/ 797818 h 1418833"/>
                    <a:gd name="connsiteX804" fmla="*/ 26003 w 2172185"/>
                    <a:gd name="connsiteY804" fmla="*/ 797818 h 1418833"/>
                    <a:gd name="connsiteX805" fmla="*/ 26003 w 2172185"/>
                    <a:gd name="connsiteY805" fmla="*/ 797818 h 1418833"/>
                    <a:gd name="connsiteX806" fmla="*/ 26003 w 2172185"/>
                    <a:gd name="connsiteY806" fmla="*/ 797818 h 1418833"/>
                    <a:gd name="connsiteX807" fmla="*/ 26003 w 2172185"/>
                    <a:gd name="connsiteY807" fmla="*/ 797818 h 1418833"/>
                    <a:gd name="connsiteX808" fmla="*/ 26003 w 2172185"/>
                    <a:gd name="connsiteY808" fmla="*/ 797818 h 1418833"/>
                    <a:gd name="connsiteX809" fmla="*/ 26003 w 2172185"/>
                    <a:gd name="connsiteY809" fmla="*/ 797818 h 1418833"/>
                    <a:gd name="connsiteX810" fmla="*/ 26003 w 2172185"/>
                    <a:gd name="connsiteY810" fmla="*/ 797818 h 1418833"/>
                    <a:gd name="connsiteX811" fmla="*/ 26003 w 2172185"/>
                    <a:gd name="connsiteY811" fmla="*/ 797818 h 1418833"/>
                    <a:gd name="connsiteX812" fmla="*/ 26003 w 2172185"/>
                    <a:gd name="connsiteY812" fmla="*/ 797818 h 1418833"/>
                    <a:gd name="connsiteX813" fmla="*/ 26003 w 2172185"/>
                    <a:gd name="connsiteY813" fmla="*/ 797818 h 1418833"/>
                    <a:gd name="connsiteX814" fmla="*/ 26003 w 2172185"/>
                    <a:gd name="connsiteY814" fmla="*/ 797818 h 1418833"/>
                    <a:gd name="connsiteX815" fmla="*/ 26003 w 2172185"/>
                    <a:gd name="connsiteY815" fmla="*/ 797818 h 1418833"/>
                    <a:gd name="connsiteX816" fmla="*/ 26003 w 2172185"/>
                    <a:gd name="connsiteY816" fmla="*/ 797818 h 1418833"/>
                    <a:gd name="connsiteX817" fmla="*/ 26003 w 2172185"/>
                    <a:gd name="connsiteY817" fmla="*/ 797818 h 1418833"/>
                    <a:gd name="connsiteX818" fmla="*/ 26003 w 2172185"/>
                    <a:gd name="connsiteY818" fmla="*/ 797818 h 1418833"/>
                    <a:gd name="connsiteX819" fmla="*/ 26003 w 2172185"/>
                    <a:gd name="connsiteY819" fmla="*/ 797818 h 1418833"/>
                    <a:gd name="connsiteX820" fmla="*/ 26003 w 2172185"/>
                    <a:gd name="connsiteY820" fmla="*/ 797818 h 1418833"/>
                    <a:gd name="connsiteX821" fmla="*/ 26003 w 2172185"/>
                    <a:gd name="connsiteY821" fmla="*/ 797818 h 1418833"/>
                    <a:gd name="connsiteX822" fmla="*/ 26003 w 2172185"/>
                    <a:gd name="connsiteY822" fmla="*/ 797818 h 1418833"/>
                    <a:gd name="connsiteX823" fmla="*/ 26003 w 2172185"/>
                    <a:gd name="connsiteY823" fmla="*/ 797818 h 1418833"/>
                    <a:gd name="connsiteX824" fmla="*/ 26003 w 2172185"/>
                    <a:gd name="connsiteY824" fmla="*/ 797818 h 1418833"/>
                    <a:gd name="connsiteX825" fmla="*/ 26003 w 2172185"/>
                    <a:gd name="connsiteY825" fmla="*/ 797818 h 1418833"/>
                    <a:gd name="connsiteX826" fmla="*/ 26003 w 2172185"/>
                    <a:gd name="connsiteY826" fmla="*/ 797818 h 1418833"/>
                    <a:gd name="connsiteX827" fmla="*/ 26003 w 2172185"/>
                    <a:gd name="connsiteY827" fmla="*/ 797818 h 1418833"/>
                    <a:gd name="connsiteX828" fmla="*/ 26003 w 2172185"/>
                    <a:gd name="connsiteY828" fmla="*/ 797818 h 1418833"/>
                    <a:gd name="connsiteX829" fmla="*/ 26003 w 2172185"/>
                    <a:gd name="connsiteY829" fmla="*/ 797818 h 1418833"/>
                    <a:gd name="connsiteX830" fmla="*/ 26003 w 2172185"/>
                    <a:gd name="connsiteY830" fmla="*/ 797818 h 1418833"/>
                    <a:gd name="connsiteX831" fmla="*/ 26003 w 2172185"/>
                    <a:gd name="connsiteY831" fmla="*/ 797818 h 1418833"/>
                    <a:gd name="connsiteX832" fmla="*/ 26003 w 2172185"/>
                    <a:gd name="connsiteY832" fmla="*/ 797818 h 1418833"/>
                    <a:gd name="connsiteX833" fmla="*/ 51949 w 2172185"/>
                    <a:gd name="connsiteY833" fmla="*/ 846255 h 1418833"/>
                    <a:gd name="connsiteX834" fmla="*/ 50744 w 2172185"/>
                    <a:gd name="connsiteY834" fmla="*/ 849308 h 1418833"/>
                    <a:gd name="connsiteX835" fmla="*/ 51065 w 2172185"/>
                    <a:gd name="connsiteY835" fmla="*/ 847300 h 1418833"/>
                    <a:gd name="connsiteX836" fmla="*/ 52109 w 2172185"/>
                    <a:gd name="connsiteY836" fmla="*/ 845854 h 1418833"/>
                    <a:gd name="connsiteX837" fmla="*/ 51949 w 2172185"/>
                    <a:gd name="connsiteY837" fmla="*/ 846255 h 1418833"/>
                    <a:gd name="connsiteX838" fmla="*/ 26244 w 2172185"/>
                    <a:gd name="connsiteY838" fmla="*/ 785126 h 1418833"/>
                    <a:gd name="connsiteX839" fmla="*/ 27770 w 2172185"/>
                    <a:gd name="connsiteY839" fmla="*/ 779663 h 1418833"/>
                    <a:gd name="connsiteX840" fmla="*/ 26163 w 2172185"/>
                    <a:gd name="connsiteY840" fmla="*/ 785287 h 1418833"/>
                    <a:gd name="connsiteX841" fmla="*/ 26244 w 2172185"/>
                    <a:gd name="connsiteY841" fmla="*/ 785126 h 1418833"/>
                    <a:gd name="connsiteX842" fmla="*/ 376393 w 2172185"/>
                    <a:gd name="connsiteY842" fmla="*/ 974218 h 1418833"/>
                    <a:gd name="connsiteX843" fmla="*/ 375028 w 2172185"/>
                    <a:gd name="connsiteY843" fmla="*/ 975503 h 1418833"/>
                    <a:gd name="connsiteX844" fmla="*/ 377277 w 2172185"/>
                    <a:gd name="connsiteY844" fmla="*/ 972370 h 1418833"/>
                    <a:gd name="connsiteX845" fmla="*/ 377518 w 2172185"/>
                    <a:gd name="connsiteY845" fmla="*/ 972531 h 1418833"/>
                    <a:gd name="connsiteX846" fmla="*/ 376393 w 2172185"/>
                    <a:gd name="connsiteY846" fmla="*/ 974218 h 1418833"/>
                    <a:gd name="connsiteX847" fmla="*/ 379687 w 2172185"/>
                    <a:gd name="connsiteY847" fmla="*/ 975262 h 1418833"/>
                    <a:gd name="connsiteX848" fmla="*/ 379446 w 2172185"/>
                    <a:gd name="connsiteY848" fmla="*/ 976387 h 1418833"/>
                    <a:gd name="connsiteX849" fmla="*/ 379365 w 2172185"/>
                    <a:gd name="connsiteY849" fmla="*/ 969157 h 1418833"/>
                    <a:gd name="connsiteX850" fmla="*/ 379687 w 2172185"/>
                    <a:gd name="connsiteY850" fmla="*/ 975262 h 1418833"/>
                    <a:gd name="connsiteX851" fmla="*/ 373421 w 2172185"/>
                    <a:gd name="connsiteY851" fmla="*/ 971165 h 1418833"/>
                    <a:gd name="connsiteX852" fmla="*/ 375108 w 2172185"/>
                    <a:gd name="connsiteY852" fmla="*/ 968274 h 1418833"/>
                    <a:gd name="connsiteX853" fmla="*/ 375028 w 2172185"/>
                    <a:gd name="connsiteY853" fmla="*/ 969479 h 1418833"/>
                    <a:gd name="connsiteX854" fmla="*/ 373421 w 2172185"/>
                    <a:gd name="connsiteY854" fmla="*/ 971165 h 1418833"/>
                    <a:gd name="connsiteX855" fmla="*/ 386033 w 2172185"/>
                    <a:gd name="connsiteY855" fmla="*/ 971889 h 1418833"/>
                    <a:gd name="connsiteX856" fmla="*/ 385551 w 2172185"/>
                    <a:gd name="connsiteY856" fmla="*/ 969318 h 1418833"/>
                    <a:gd name="connsiteX857" fmla="*/ 386193 w 2172185"/>
                    <a:gd name="connsiteY857" fmla="*/ 971889 h 1418833"/>
                    <a:gd name="connsiteX858" fmla="*/ 386033 w 2172185"/>
                    <a:gd name="connsiteY858" fmla="*/ 971889 h 1418833"/>
                    <a:gd name="connsiteX859" fmla="*/ 384346 w 2172185"/>
                    <a:gd name="connsiteY859" fmla="*/ 975744 h 1418833"/>
                    <a:gd name="connsiteX860" fmla="*/ 382819 w 2172185"/>
                    <a:gd name="connsiteY860" fmla="*/ 968595 h 1418833"/>
                    <a:gd name="connsiteX861" fmla="*/ 384587 w 2172185"/>
                    <a:gd name="connsiteY861" fmla="*/ 975985 h 1418833"/>
                    <a:gd name="connsiteX862" fmla="*/ 384346 w 2172185"/>
                    <a:gd name="connsiteY862" fmla="*/ 975744 h 1418833"/>
                    <a:gd name="connsiteX863" fmla="*/ 387880 w 2172185"/>
                    <a:gd name="connsiteY863" fmla="*/ 970844 h 1418833"/>
                    <a:gd name="connsiteX864" fmla="*/ 387318 w 2172185"/>
                    <a:gd name="connsiteY864" fmla="*/ 968997 h 1418833"/>
                    <a:gd name="connsiteX865" fmla="*/ 389005 w 2172185"/>
                    <a:gd name="connsiteY865" fmla="*/ 972049 h 1418833"/>
                    <a:gd name="connsiteX866" fmla="*/ 387880 w 2172185"/>
                    <a:gd name="connsiteY866" fmla="*/ 970844 h 1418833"/>
                    <a:gd name="connsiteX867" fmla="*/ 352697 w 2172185"/>
                    <a:gd name="connsiteY867" fmla="*/ 965141 h 1418833"/>
                    <a:gd name="connsiteX868" fmla="*/ 292611 w 2172185"/>
                    <a:gd name="connsiteY868" fmla="*/ 975102 h 1418833"/>
                    <a:gd name="connsiteX869" fmla="*/ 297029 w 2172185"/>
                    <a:gd name="connsiteY869" fmla="*/ 975021 h 1418833"/>
                    <a:gd name="connsiteX870" fmla="*/ 296788 w 2172185"/>
                    <a:gd name="connsiteY870" fmla="*/ 960642 h 1418833"/>
                    <a:gd name="connsiteX871" fmla="*/ 300805 w 2172185"/>
                    <a:gd name="connsiteY871" fmla="*/ 969479 h 1418833"/>
                    <a:gd name="connsiteX872" fmla="*/ 310364 w 2172185"/>
                    <a:gd name="connsiteY872" fmla="*/ 965462 h 1418833"/>
                    <a:gd name="connsiteX873" fmla="*/ 310042 w 2172185"/>
                    <a:gd name="connsiteY873" fmla="*/ 966346 h 1418833"/>
                    <a:gd name="connsiteX874" fmla="*/ 335426 w 2172185"/>
                    <a:gd name="connsiteY874" fmla="*/ 966667 h 1418833"/>
                    <a:gd name="connsiteX875" fmla="*/ 352777 w 2172185"/>
                    <a:gd name="connsiteY875" fmla="*/ 962892 h 1418833"/>
                    <a:gd name="connsiteX876" fmla="*/ 352697 w 2172185"/>
                    <a:gd name="connsiteY876" fmla="*/ 965141 h 1418833"/>
                    <a:gd name="connsiteX877" fmla="*/ 396797 w 2172185"/>
                    <a:gd name="connsiteY877" fmla="*/ 966908 h 1418833"/>
                    <a:gd name="connsiteX878" fmla="*/ 393101 w 2172185"/>
                    <a:gd name="connsiteY878" fmla="*/ 965382 h 1418833"/>
                    <a:gd name="connsiteX879" fmla="*/ 393101 w 2172185"/>
                    <a:gd name="connsiteY879" fmla="*/ 965382 h 1418833"/>
                    <a:gd name="connsiteX880" fmla="*/ 397680 w 2172185"/>
                    <a:gd name="connsiteY880" fmla="*/ 966747 h 1418833"/>
                    <a:gd name="connsiteX881" fmla="*/ 396797 w 2172185"/>
                    <a:gd name="connsiteY881" fmla="*/ 966908 h 1418833"/>
                    <a:gd name="connsiteX882" fmla="*/ 34598 w 2172185"/>
                    <a:gd name="connsiteY882" fmla="*/ 788018 h 1418833"/>
                    <a:gd name="connsiteX883" fmla="*/ 34678 w 2172185"/>
                    <a:gd name="connsiteY883" fmla="*/ 786491 h 1418833"/>
                    <a:gd name="connsiteX884" fmla="*/ 34598 w 2172185"/>
                    <a:gd name="connsiteY884" fmla="*/ 788178 h 1418833"/>
                    <a:gd name="connsiteX885" fmla="*/ 34598 w 2172185"/>
                    <a:gd name="connsiteY885" fmla="*/ 788018 h 1418833"/>
                    <a:gd name="connsiteX886" fmla="*/ 464834 w 2172185"/>
                    <a:gd name="connsiteY886" fmla="*/ 968916 h 1418833"/>
                    <a:gd name="connsiteX887" fmla="*/ 464754 w 2172185"/>
                    <a:gd name="connsiteY887" fmla="*/ 968916 h 1418833"/>
                    <a:gd name="connsiteX888" fmla="*/ 462184 w 2172185"/>
                    <a:gd name="connsiteY888" fmla="*/ 967229 h 1418833"/>
                    <a:gd name="connsiteX889" fmla="*/ 462906 w 2172185"/>
                    <a:gd name="connsiteY889" fmla="*/ 966265 h 1418833"/>
                    <a:gd name="connsiteX890" fmla="*/ 464834 w 2172185"/>
                    <a:gd name="connsiteY890" fmla="*/ 968916 h 1418833"/>
                    <a:gd name="connsiteX891" fmla="*/ 133401 w 2172185"/>
                    <a:gd name="connsiteY891" fmla="*/ 893408 h 1418833"/>
                    <a:gd name="connsiteX892" fmla="*/ 131955 w 2172185"/>
                    <a:gd name="connsiteY892" fmla="*/ 876378 h 1418833"/>
                    <a:gd name="connsiteX893" fmla="*/ 134124 w 2172185"/>
                    <a:gd name="connsiteY893" fmla="*/ 893810 h 1418833"/>
                    <a:gd name="connsiteX894" fmla="*/ 133401 w 2172185"/>
                    <a:gd name="connsiteY894" fmla="*/ 893408 h 1418833"/>
                    <a:gd name="connsiteX895" fmla="*/ 562995 w 2172185"/>
                    <a:gd name="connsiteY895" fmla="*/ 966265 h 1418833"/>
                    <a:gd name="connsiteX896" fmla="*/ 560987 w 2172185"/>
                    <a:gd name="connsiteY896" fmla="*/ 966346 h 1418833"/>
                    <a:gd name="connsiteX897" fmla="*/ 560425 w 2172185"/>
                    <a:gd name="connsiteY897" fmla="*/ 965382 h 1418833"/>
                    <a:gd name="connsiteX898" fmla="*/ 561389 w 2172185"/>
                    <a:gd name="connsiteY898" fmla="*/ 964739 h 1418833"/>
                    <a:gd name="connsiteX899" fmla="*/ 563477 w 2172185"/>
                    <a:gd name="connsiteY899" fmla="*/ 965221 h 1418833"/>
                    <a:gd name="connsiteX900" fmla="*/ 562995 w 2172185"/>
                    <a:gd name="connsiteY900" fmla="*/ 966265 h 1418833"/>
                    <a:gd name="connsiteX901" fmla="*/ 398724 w 2172185"/>
                    <a:gd name="connsiteY901" fmla="*/ 946665 h 1418833"/>
                    <a:gd name="connsiteX902" fmla="*/ 391495 w 2172185"/>
                    <a:gd name="connsiteY902" fmla="*/ 951485 h 1418833"/>
                    <a:gd name="connsiteX903" fmla="*/ 391977 w 2172185"/>
                    <a:gd name="connsiteY903" fmla="*/ 952610 h 1418833"/>
                    <a:gd name="connsiteX904" fmla="*/ 393905 w 2172185"/>
                    <a:gd name="connsiteY904" fmla="*/ 952449 h 1418833"/>
                    <a:gd name="connsiteX905" fmla="*/ 393503 w 2172185"/>
                    <a:gd name="connsiteY905" fmla="*/ 953493 h 1418833"/>
                    <a:gd name="connsiteX906" fmla="*/ 395270 w 2172185"/>
                    <a:gd name="connsiteY906" fmla="*/ 953815 h 1418833"/>
                    <a:gd name="connsiteX907" fmla="*/ 392700 w 2172185"/>
                    <a:gd name="connsiteY907" fmla="*/ 955100 h 1418833"/>
                    <a:gd name="connsiteX908" fmla="*/ 352937 w 2172185"/>
                    <a:gd name="connsiteY908" fmla="*/ 949557 h 1418833"/>
                    <a:gd name="connsiteX909" fmla="*/ 374546 w 2172185"/>
                    <a:gd name="connsiteY909" fmla="*/ 950360 h 1418833"/>
                    <a:gd name="connsiteX910" fmla="*/ 374144 w 2172185"/>
                    <a:gd name="connsiteY910" fmla="*/ 950360 h 1418833"/>
                    <a:gd name="connsiteX911" fmla="*/ 378241 w 2172185"/>
                    <a:gd name="connsiteY911" fmla="*/ 951726 h 1418833"/>
                    <a:gd name="connsiteX912" fmla="*/ 377679 w 2172185"/>
                    <a:gd name="connsiteY912" fmla="*/ 951967 h 1418833"/>
                    <a:gd name="connsiteX913" fmla="*/ 377839 w 2172185"/>
                    <a:gd name="connsiteY913" fmla="*/ 952208 h 1418833"/>
                    <a:gd name="connsiteX914" fmla="*/ 379124 w 2172185"/>
                    <a:gd name="connsiteY914" fmla="*/ 952208 h 1418833"/>
                    <a:gd name="connsiteX915" fmla="*/ 383703 w 2172185"/>
                    <a:gd name="connsiteY915" fmla="*/ 952610 h 1418833"/>
                    <a:gd name="connsiteX916" fmla="*/ 381213 w 2172185"/>
                    <a:gd name="connsiteY916" fmla="*/ 952610 h 1418833"/>
                    <a:gd name="connsiteX917" fmla="*/ 384185 w 2172185"/>
                    <a:gd name="connsiteY917" fmla="*/ 950521 h 1418833"/>
                    <a:gd name="connsiteX918" fmla="*/ 382819 w 2172185"/>
                    <a:gd name="connsiteY918" fmla="*/ 950280 h 1418833"/>
                    <a:gd name="connsiteX919" fmla="*/ 381775 w 2172185"/>
                    <a:gd name="connsiteY919" fmla="*/ 950119 h 1418833"/>
                    <a:gd name="connsiteX920" fmla="*/ 380972 w 2172185"/>
                    <a:gd name="connsiteY920" fmla="*/ 949959 h 1418833"/>
                    <a:gd name="connsiteX921" fmla="*/ 380329 w 2172185"/>
                    <a:gd name="connsiteY921" fmla="*/ 949879 h 1418833"/>
                    <a:gd name="connsiteX922" fmla="*/ 379767 w 2172185"/>
                    <a:gd name="connsiteY922" fmla="*/ 949798 h 1418833"/>
                    <a:gd name="connsiteX923" fmla="*/ 379124 w 2172185"/>
                    <a:gd name="connsiteY923" fmla="*/ 949718 h 1418833"/>
                    <a:gd name="connsiteX924" fmla="*/ 378401 w 2172185"/>
                    <a:gd name="connsiteY924" fmla="*/ 949638 h 1418833"/>
                    <a:gd name="connsiteX925" fmla="*/ 377518 w 2172185"/>
                    <a:gd name="connsiteY925" fmla="*/ 949477 h 1418833"/>
                    <a:gd name="connsiteX926" fmla="*/ 377919 w 2172185"/>
                    <a:gd name="connsiteY926" fmla="*/ 948915 h 1418833"/>
                    <a:gd name="connsiteX927" fmla="*/ 373983 w 2172185"/>
                    <a:gd name="connsiteY927" fmla="*/ 949236 h 1418833"/>
                    <a:gd name="connsiteX928" fmla="*/ 382177 w 2172185"/>
                    <a:gd name="connsiteY928" fmla="*/ 948674 h 1418833"/>
                    <a:gd name="connsiteX929" fmla="*/ 381936 w 2172185"/>
                    <a:gd name="connsiteY929" fmla="*/ 949236 h 1418833"/>
                    <a:gd name="connsiteX930" fmla="*/ 383301 w 2172185"/>
                    <a:gd name="connsiteY930" fmla="*/ 949075 h 1418833"/>
                    <a:gd name="connsiteX931" fmla="*/ 398724 w 2172185"/>
                    <a:gd name="connsiteY931" fmla="*/ 946264 h 1418833"/>
                    <a:gd name="connsiteX932" fmla="*/ 398724 w 2172185"/>
                    <a:gd name="connsiteY932" fmla="*/ 946665 h 1418833"/>
                    <a:gd name="connsiteX933" fmla="*/ 67050 w 2172185"/>
                    <a:gd name="connsiteY933" fmla="*/ 817659 h 1418833"/>
                    <a:gd name="connsiteX934" fmla="*/ 67131 w 2172185"/>
                    <a:gd name="connsiteY934" fmla="*/ 816695 h 1418833"/>
                    <a:gd name="connsiteX935" fmla="*/ 66568 w 2172185"/>
                    <a:gd name="connsiteY935" fmla="*/ 816614 h 1418833"/>
                    <a:gd name="connsiteX936" fmla="*/ 68094 w 2172185"/>
                    <a:gd name="connsiteY936" fmla="*/ 816454 h 1418833"/>
                    <a:gd name="connsiteX937" fmla="*/ 67452 w 2172185"/>
                    <a:gd name="connsiteY937" fmla="*/ 819506 h 1418833"/>
                    <a:gd name="connsiteX938" fmla="*/ 67050 w 2172185"/>
                    <a:gd name="connsiteY938" fmla="*/ 817659 h 1418833"/>
                    <a:gd name="connsiteX939" fmla="*/ 353018 w 2172185"/>
                    <a:gd name="connsiteY939" fmla="*/ 938954 h 1418833"/>
                    <a:gd name="connsiteX940" fmla="*/ 348118 w 2172185"/>
                    <a:gd name="connsiteY940" fmla="*/ 942408 h 1418833"/>
                    <a:gd name="connsiteX941" fmla="*/ 351331 w 2172185"/>
                    <a:gd name="connsiteY941" fmla="*/ 935339 h 1418833"/>
                    <a:gd name="connsiteX942" fmla="*/ 353098 w 2172185"/>
                    <a:gd name="connsiteY942" fmla="*/ 938311 h 1418833"/>
                    <a:gd name="connsiteX943" fmla="*/ 353018 w 2172185"/>
                    <a:gd name="connsiteY943" fmla="*/ 938954 h 1418833"/>
                    <a:gd name="connsiteX944" fmla="*/ 439692 w 2172185"/>
                    <a:gd name="connsiteY944" fmla="*/ 946023 h 1418833"/>
                    <a:gd name="connsiteX945" fmla="*/ 437282 w 2172185"/>
                    <a:gd name="connsiteY945" fmla="*/ 952208 h 1418833"/>
                    <a:gd name="connsiteX946" fmla="*/ 437202 w 2172185"/>
                    <a:gd name="connsiteY946" fmla="*/ 952128 h 1418833"/>
                    <a:gd name="connsiteX947" fmla="*/ 433747 w 2172185"/>
                    <a:gd name="connsiteY947" fmla="*/ 962651 h 1418833"/>
                    <a:gd name="connsiteX948" fmla="*/ 437683 w 2172185"/>
                    <a:gd name="connsiteY948" fmla="*/ 942729 h 1418833"/>
                    <a:gd name="connsiteX949" fmla="*/ 439692 w 2172185"/>
                    <a:gd name="connsiteY949" fmla="*/ 946023 h 1418833"/>
                    <a:gd name="connsiteX950" fmla="*/ 433024 w 2172185"/>
                    <a:gd name="connsiteY950" fmla="*/ 931403 h 1418833"/>
                    <a:gd name="connsiteX951" fmla="*/ 427482 w 2172185"/>
                    <a:gd name="connsiteY951" fmla="*/ 934536 h 1418833"/>
                    <a:gd name="connsiteX952" fmla="*/ 424670 w 2172185"/>
                    <a:gd name="connsiteY952" fmla="*/ 933010 h 1418833"/>
                    <a:gd name="connsiteX953" fmla="*/ 433426 w 2172185"/>
                    <a:gd name="connsiteY953" fmla="*/ 931242 h 1418833"/>
                    <a:gd name="connsiteX954" fmla="*/ 433024 w 2172185"/>
                    <a:gd name="connsiteY954" fmla="*/ 931403 h 1418833"/>
                    <a:gd name="connsiteX955" fmla="*/ 527089 w 2172185"/>
                    <a:gd name="connsiteY955" fmla="*/ 941525 h 1418833"/>
                    <a:gd name="connsiteX956" fmla="*/ 525964 w 2172185"/>
                    <a:gd name="connsiteY956" fmla="*/ 941525 h 1418833"/>
                    <a:gd name="connsiteX957" fmla="*/ 521225 w 2172185"/>
                    <a:gd name="connsiteY957" fmla="*/ 938954 h 1418833"/>
                    <a:gd name="connsiteX958" fmla="*/ 522349 w 2172185"/>
                    <a:gd name="connsiteY958" fmla="*/ 938633 h 1418833"/>
                    <a:gd name="connsiteX959" fmla="*/ 527008 w 2172185"/>
                    <a:gd name="connsiteY959" fmla="*/ 940239 h 1418833"/>
                    <a:gd name="connsiteX960" fmla="*/ 527249 w 2172185"/>
                    <a:gd name="connsiteY960" fmla="*/ 941444 h 1418833"/>
                    <a:gd name="connsiteX961" fmla="*/ 527089 w 2172185"/>
                    <a:gd name="connsiteY961" fmla="*/ 941525 h 1418833"/>
                    <a:gd name="connsiteX962" fmla="*/ 192362 w 2172185"/>
                    <a:gd name="connsiteY962" fmla="*/ 867060 h 1418833"/>
                    <a:gd name="connsiteX963" fmla="*/ 191880 w 2172185"/>
                    <a:gd name="connsiteY963" fmla="*/ 864249 h 1418833"/>
                    <a:gd name="connsiteX964" fmla="*/ 192362 w 2172185"/>
                    <a:gd name="connsiteY964" fmla="*/ 867221 h 1418833"/>
                    <a:gd name="connsiteX965" fmla="*/ 192362 w 2172185"/>
                    <a:gd name="connsiteY965" fmla="*/ 867060 h 1418833"/>
                    <a:gd name="connsiteX966" fmla="*/ 354303 w 2172185"/>
                    <a:gd name="connsiteY966" fmla="*/ 909715 h 1418833"/>
                    <a:gd name="connsiteX967" fmla="*/ 347957 w 2172185"/>
                    <a:gd name="connsiteY967" fmla="*/ 910598 h 1418833"/>
                    <a:gd name="connsiteX968" fmla="*/ 342495 w 2172185"/>
                    <a:gd name="connsiteY968" fmla="*/ 907626 h 1418833"/>
                    <a:gd name="connsiteX969" fmla="*/ 354383 w 2172185"/>
                    <a:gd name="connsiteY969" fmla="*/ 909634 h 1418833"/>
                    <a:gd name="connsiteX970" fmla="*/ 354303 w 2172185"/>
                    <a:gd name="connsiteY970" fmla="*/ 909715 h 1418833"/>
                    <a:gd name="connsiteX971" fmla="*/ 129867 w 2172185"/>
                    <a:gd name="connsiteY971" fmla="*/ 856698 h 1418833"/>
                    <a:gd name="connsiteX972" fmla="*/ 126172 w 2172185"/>
                    <a:gd name="connsiteY972" fmla="*/ 859108 h 1418833"/>
                    <a:gd name="connsiteX973" fmla="*/ 125770 w 2172185"/>
                    <a:gd name="connsiteY973" fmla="*/ 863847 h 1418833"/>
                    <a:gd name="connsiteX974" fmla="*/ 121914 w 2172185"/>
                    <a:gd name="connsiteY974" fmla="*/ 857260 h 1418833"/>
                    <a:gd name="connsiteX975" fmla="*/ 125690 w 2172185"/>
                    <a:gd name="connsiteY975" fmla="*/ 856698 h 1418833"/>
                    <a:gd name="connsiteX976" fmla="*/ 126895 w 2172185"/>
                    <a:gd name="connsiteY976" fmla="*/ 858787 h 1418833"/>
                    <a:gd name="connsiteX977" fmla="*/ 129304 w 2172185"/>
                    <a:gd name="connsiteY977" fmla="*/ 850272 h 1418833"/>
                    <a:gd name="connsiteX978" fmla="*/ 131393 w 2172185"/>
                    <a:gd name="connsiteY978" fmla="*/ 850834 h 1418833"/>
                    <a:gd name="connsiteX979" fmla="*/ 130670 w 2172185"/>
                    <a:gd name="connsiteY979" fmla="*/ 845452 h 1418833"/>
                    <a:gd name="connsiteX980" fmla="*/ 135088 w 2172185"/>
                    <a:gd name="connsiteY980" fmla="*/ 829868 h 1418833"/>
                    <a:gd name="connsiteX981" fmla="*/ 129867 w 2172185"/>
                    <a:gd name="connsiteY981" fmla="*/ 856698 h 1418833"/>
                    <a:gd name="connsiteX982" fmla="*/ 408765 w 2172185"/>
                    <a:gd name="connsiteY982" fmla="*/ 909795 h 1418833"/>
                    <a:gd name="connsiteX983" fmla="*/ 406356 w 2172185"/>
                    <a:gd name="connsiteY983" fmla="*/ 910839 h 1418833"/>
                    <a:gd name="connsiteX984" fmla="*/ 404026 w 2172185"/>
                    <a:gd name="connsiteY984" fmla="*/ 909875 h 1418833"/>
                    <a:gd name="connsiteX985" fmla="*/ 408926 w 2172185"/>
                    <a:gd name="connsiteY985" fmla="*/ 906582 h 1418833"/>
                    <a:gd name="connsiteX986" fmla="*/ 408765 w 2172185"/>
                    <a:gd name="connsiteY986" fmla="*/ 909795 h 1418833"/>
                    <a:gd name="connsiteX987" fmla="*/ 190595 w 2172185"/>
                    <a:gd name="connsiteY987" fmla="*/ 848665 h 1418833"/>
                    <a:gd name="connsiteX988" fmla="*/ 187301 w 2172185"/>
                    <a:gd name="connsiteY988" fmla="*/ 848906 h 1418833"/>
                    <a:gd name="connsiteX989" fmla="*/ 187703 w 2172185"/>
                    <a:gd name="connsiteY989" fmla="*/ 846496 h 1418833"/>
                    <a:gd name="connsiteX990" fmla="*/ 190996 w 2172185"/>
                    <a:gd name="connsiteY990" fmla="*/ 846496 h 1418833"/>
                    <a:gd name="connsiteX991" fmla="*/ 190273 w 2172185"/>
                    <a:gd name="connsiteY991" fmla="*/ 848103 h 1418833"/>
                    <a:gd name="connsiteX992" fmla="*/ 190916 w 2172185"/>
                    <a:gd name="connsiteY992" fmla="*/ 848183 h 1418833"/>
                    <a:gd name="connsiteX993" fmla="*/ 190595 w 2172185"/>
                    <a:gd name="connsiteY993" fmla="*/ 848665 h 1418833"/>
                    <a:gd name="connsiteX994" fmla="*/ 52832 w 2172185"/>
                    <a:gd name="connsiteY994" fmla="*/ 708573 h 1418833"/>
                    <a:gd name="connsiteX995" fmla="*/ 52190 w 2172185"/>
                    <a:gd name="connsiteY995" fmla="*/ 708332 h 1418833"/>
                    <a:gd name="connsiteX996" fmla="*/ 53314 w 2172185"/>
                    <a:gd name="connsiteY996" fmla="*/ 706565 h 1418833"/>
                    <a:gd name="connsiteX997" fmla="*/ 52832 w 2172185"/>
                    <a:gd name="connsiteY997" fmla="*/ 708573 h 1418833"/>
                    <a:gd name="connsiteX998" fmla="*/ 52832 w 2172185"/>
                    <a:gd name="connsiteY998" fmla="*/ 708573 h 1418833"/>
                    <a:gd name="connsiteX999" fmla="*/ 393262 w 2172185"/>
                    <a:gd name="connsiteY999" fmla="*/ 896701 h 1418833"/>
                    <a:gd name="connsiteX1000" fmla="*/ 390451 w 2172185"/>
                    <a:gd name="connsiteY1000" fmla="*/ 896942 h 1418833"/>
                    <a:gd name="connsiteX1001" fmla="*/ 389165 w 2172185"/>
                    <a:gd name="connsiteY1001" fmla="*/ 897746 h 1418833"/>
                    <a:gd name="connsiteX1002" fmla="*/ 389728 w 2172185"/>
                    <a:gd name="connsiteY1002" fmla="*/ 893328 h 1418833"/>
                    <a:gd name="connsiteX1003" fmla="*/ 393503 w 2172185"/>
                    <a:gd name="connsiteY1003" fmla="*/ 896862 h 1418833"/>
                    <a:gd name="connsiteX1004" fmla="*/ 393262 w 2172185"/>
                    <a:gd name="connsiteY1004" fmla="*/ 896701 h 1418833"/>
                    <a:gd name="connsiteX1005" fmla="*/ 372377 w 2172185"/>
                    <a:gd name="connsiteY1005" fmla="*/ 889793 h 1418833"/>
                    <a:gd name="connsiteX1006" fmla="*/ 369646 w 2172185"/>
                    <a:gd name="connsiteY1006" fmla="*/ 889954 h 1418833"/>
                    <a:gd name="connsiteX1007" fmla="*/ 372537 w 2172185"/>
                    <a:gd name="connsiteY1007" fmla="*/ 889793 h 1418833"/>
                    <a:gd name="connsiteX1008" fmla="*/ 372377 w 2172185"/>
                    <a:gd name="connsiteY1008" fmla="*/ 889793 h 1418833"/>
                    <a:gd name="connsiteX1009" fmla="*/ 400090 w 2172185"/>
                    <a:gd name="connsiteY1009" fmla="*/ 902967 h 1418833"/>
                    <a:gd name="connsiteX1010" fmla="*/ 397038 w 2172185"/>
                    <a:gd name="connsiteY1010" fmla="*/ 901119 h 1418833"/>
                    <a:gd name="connsiteX1011" fmla="*/ 397198 w 2172185"/>
                    <a:gd name="connsiteY1011" fmla="*/ 901762 h 1418833"/>
                    <a:gd name="connsiteX1012" fmla="*/ 400572 w 2172185"/>
                    <a:gd name="connsiteY1012" fmla="*/ 893729 h 1418833"/>
                    <a:gd name="connsiteX1013" fmla="*/ 397279 w 2172185"/>
                    <a:gd name="connsiteY1013" fmla="*/ 896059 h 1418833"/>
                    <a:gd name="connsiteX1014" fmla="*/ 399046 w 2172185"/>
                    <a:gd name="connsiteY1014" fmla="*/ 895497 h 1418833"/>
                    <a:gd name="connsiteX1015" fmla="*/ 398323 w 2172185"/>
                    <a:gd name="connsiteY1015" fmla="*/ 896541 h 1418833"/>
                    <a:gd name="connsiteX1016" fmla="*/ 400090 w 2172185"/>
                    <a:gd name="connsiteY1016" fmla="*/ 902967 h 1418833"/>
                    <a:gd name="connsiteX1017" fmla="*/ 104965 w 2172185"/>
                    <a:gd name="connsiteY1017" fmla="*/ 790347 h 1418833"/>
                    <a:gd name="connsiteX1018" fmla="*/ 105447 w 2172185"/>
                    <a:gd name="connsiteY1018" fmla="*/ 785287 h 1418833"/>
                    <a:gd name="connsiteX1019" fmla="*/ 104563 w 2172185"/>
                    <a:gd name="connsiteY1019" fmla="*/ 785929 h 1418833"/>
                    <a:gd name="connsiteX1020" fmla="*/ 102234 w 2172185"/>
                    <a:gd name="connsiteY1020" fmla="*/ 786250 h 1418833"/>
                    <a:gd name="connsiteX1021" fmla="*/ 95326 w 2172185"/>
                    <a:gd name="connsiteY1021" fmla="*/ 784885 h 1418833"/>
                    <a:gd name="connsiteX1022" fmla="*/ 95968 w 2172185"/>
                    <a:gd name="connsiteY1022" fmla="*/ 782073 h 1418833"/>
                    <a:gd name="connsiteX1023" fmla="*/ 96209 w 2172185"/>
                    <a:gd name="connsiteY1023" fmla="*/ 782314 h 1418833"/>
                    <a:gd name="connsiteX1024" fmla="*/ 98057 w 2172185"/>
                    <a:gd name="connsiteY1024" fmla="*/ 781270 h 1418833"/>
                    <a:gd name="connsiteX1025" fmla="*/ 102314 w 2172185"/>
                    <a:gd name="connsiteY1025" fmla="*/ 784483 h 1418833"/>
                    <a:gd name="connsiteX1026" fmla="*/ 106572 w 2172185"/>
                    <a:gd name="connsiteY1026" fmla="*/ 785206 h 1418833"/>
                    <a:gd name="connsiteX1027" fmla="*/ 105367 w 2172185"/>
                    <a:gd name="connsiteY1027" fmla="*/ 790106 h 1418833"/>
                    <a:gd name="connsiteX1028" fmla="*/ 104965 w 2172185"/>
                    <a:gd name="connsiteY1028" fmla="*/ 790347 h 1418833"/>
                    <a:gd name="connsiteX1029" fmla="*/ 135088 w 2172185"/>
                    <a:gd name="connsiteY1029" fmla="*/ 813401 h 1418833"/>
                    <a:gd name="connsiteX1030" fmla="*/ 133321 w 2172185"/>
                    <a:gd name="connsiteY1030" fmla="*/ 812357 h 1418833"/>
                    <a:gd name="connsiteX1031" fmla="*/ 128421 w 2172185"/>
                    <a:gd name="connsiteY1031" fmla="*/ 808019 h 1418833"/>
                    <a:gd name="connsiteX1032" fmla="*/ 128340 w 2172185"/>
                    <a:gd name="connsiteY1032" fmla="*/ 798621 h 1418833"/>
                    <a:gd name="connsiteX1033" fmla="*/ 131955 w 2172185"/>
                    <a:gd name="connsiteY1033" fmla="*/ 802155 h 1418833"/>
                    <a:gd name="connsiteX1034" fmla="*/ 137498 w 2172185"/>
                    <a:gd name="connsiteY1034" fmla="*/ 813080 h 1418833"/>
                    <a:gd name="connsiteX1035" fmla="*/ 135088 w 2172185"/>
                    <a:gd name="connsiteY1035" fmla="*/ 813401 h 1418833"/>
                    <a:gd name="connsiteX1036" fmla="*/ 73396 w 2172185"/>
                    <a:gd name="connsiteY1036" fmla="*/ 746970 h 1418833"/>
                    <a:gd name="connsiteX1037" fmla="*/ 72031 w 2172185"/>
                    <a:gd name="connsiteY1037" fmla="*/ 748416 h 1418833"/>
                    <a:gd name="connsiteX1038" fmla="*/ 73878 w 2172185"/>
                    <a:gd name="connsiteY1038" fmla="*/ 743436 h 1418833"/>
                    <a:gd name="connsiteX1039" fmla="*/ 74440 w 2172185"/>
                    <a:gd name="connsiteY1039" fmla="*/ 742713 h 1418833"/>
                    <a:gd name="connsiteX1040" fmla="*/ 73396 w 2172185"/>
                    <a:gd name="connsiteY1040" fmla="*/ 746970 h 1418833"/>
                    <a:gd name="connsiteX1041" fmla="*/ 124083 w 2172185"/>
                    <a:gd name="connsiteY1041" fmla="*/ 794364 h 1418833"/>
                    <a:gd name="connsiteX1042" fmla="*/ 124003 w 2172185"/>
                    <a:gd name="connsiteY1042" fmla="*/ 794283 h 1418833"/>
                    <a:gd name="connsiteX1043" fmla="*/ 123762 w 2172185"/>
                    <a:gd name="connsiteY1043" fmla="*/ 794042 h 1418833"/>
                    <a:gd name="connsiteX1044" fmla="*/ 124083 w 2172185"/>
                    <a:gd name="connsiteY1044" fmla="*/ 794364 h 1418833"/>
                    <a:gd name="connsiteX1045" fmla="*/ 124083 w 2172185"/>
                    <a:gd name="connsiteY1045" fmla="*/ 794364 h 1418833"/>
                    <a:gd name="connsiteX1046" fmla="*/ 59821 w 2172185"/>
                    <a:gd name="connsiteY1046" fmla="*/ 712831 h 1418833"/>
                    <a:gd name="connsiteX1047" fmla="*/ 61588 w 2172185"/>
                    <a:gd name="connsiteY1047" fmla="*/ 704798 h 1418833"/>
                    <a:gd name="connsiteX1048" fmla="*/ 59580 w 2172185"/>
                    <a:gd name="connsiteY1048" fmla="*/ 714759 h 1418833"/>
                    <a:gd name="connsiteX1049" fmla="*/ 59821 w 2172185"/>
                    <a:gd name="connsiteY1049" fmla="*/ 712831 h 1418833"/>
                    <a:gd name="connsiteX1050" fmla="*/ 68657 w 2172185"/>
                    <a:gd name="connsiteY1050" fmla="*/ 730503 h 1418833"/>
                    <a:gd name="connsiteX1051" fmla="*/ 66970 w 2172185"/>
                    <a:gd name="connsiteY1051" fmla="*/ 731708 h 1418833"/>
                    <a:gd name="connsiteX1052" fmla="*/ 68737 w 2172185"/>
                    <a:gd name="connsiteY1052" fmla="*/ 727370 h 1418833"/>
                    <a:gd name="connsiteX1053" fmla="*/ 69058 w 2172185"/>
                    <a:gd name="connsiteY1053" fmla="*/ 730664 h 1418833"/>
                    <a:gd name="connsiteX1054" fmla="*/ 68657 w 2172185"/>
                    <a:gd name="connsiteY1054" fmla="*/ 730503 h 1418833"/>
                    <a:gd name="connsiteX1055" fmla="*/ 313336 w 2172185"/>
                    <a:gd name="connsiteY1055" fmla="*/ 863526 h 1418833"/>
                    <a:gd name="connsiteX1056" fmla="*/ 306508 w 2172185"/>
                    <a:gd name="connsiteY1056" fmla="*/ 865133 h 1418833"/>
                    <a:gd name="connsiteX1057" fmla="*/ 313496 w 2172185"/>
                    <a:gd name="connsiteY1057" fmla="*/ 863365 h 1418833"/>
                    <a:gd name="connsiteX1058" fmla="*/ 313336 w 2172185"/>
                    <a:gd name="connsiteY1058" fmla="*/ 863526 h 1418833"/>
                    <a:gd name="connsiteX1059" fmla="*/ 345146 w 2172185"/>
                    <a:gd name="connsiteY1059" fmla="*/ 933652 h 1418833"/>
                    <a:gd name="connsiteX1060" fmla="*/ 330526 w 2172185"/>
                    <a:gd name="connsiteY1060" fmla="*/ 932688 h 1418833"/>
                    <a:gd name="connsiteX1061" fmla="*/ 329321 w 2172185"/>
                    <a:gd name="connsiteY1061" fmla="*/ 929556 h 1418833"/>
                    <a:gd name="connsiteX1062" fmla="*/ 315424 w 2172185"/>
                    <a:gd name="connsiteY1062" fmla="*/ 938552 h 1418833"/>
                    <a:gd name="connsiteX1063" fmla="*/ 306749 w 2172185"/>
                    <a:gd name="connsiteY1063" fmla="*/ 939195 h 1418833"/>
                    <a:gd name="connsiteX1064" fmla="*/ 295824 w 2172185"/>
                    <a:gd name="connsiteY1064" fmla="*/ 936624 h 1418833"/>
                    <a:gd name="connsiteX1065" fmla="*/ 289960 w 2172185"/>
                    <a:gd name="connsiteY1065" fmla="*/ 938070 h 1418833"/>
                    <a:gd name="connsiteX1066" fmla="*/ 289639 w 2172185"/>
                    <a:gd name="connsiteY1066" fmla="*/ 937267 h 1418833"/>
                    <a:gd name="connsiteX1067" fmla="*/ 294619 w 2172185"/>
                    <a:gd name="connsiteY1067" fmla="*/ 932206 h 1418833"/>
                    <a:gd name="connsiteX1068" fmla="*/ 301126 w 2172185"/>
                    <a:gd name="connsiteY1068" fmla="*/ 919836 h 1418833"/>
                    <a:gd name="connsiteX1069" fmla="*/ 282972 w 2172185"/>
                    <a:gd name="connsiteY1069" fmla="*/ 902887 h 1418833"/>
                    <a:gd name="connsiteX1070" fmla="*/ 282249 w 2172185"/>
                    <a:gd name="connsiteY1070" fmla="*/ 908670 h 1418833"/>
                    <a:gd name="connsiteX1071" fmla="*/ 272529 w 2172185"/>
                    <a:gd name="connsiteY1071" fmla="*/ 914534 h 1418833"/>
                    <a:gd name="connsiteX1072" fmla="*/ 272690 w 2172185"/>
                    <a:gd name="connsiteY1072" fmla="*/ 914695 h 1418833"/>
                    <a:gd name="connsiteX1073" fmla="*/ 271485 w 2172185"/>
                    <a:gd name="connsiteY1073" fmla="*/ 916060 h 1418833"/>
                    <a:gd name="connsiteX1074" fmla="*/ 271967 w 2172185"/>
                    <a:gd name="connsiteY1074" fmla="*/ 915579 h 1418833"/>
                    <a:gd name="connsiteX1075" fmla="*/ 238952 w 2172185"/>
                    <a:gd name="connsiteY1075" fmla="*/ 958072 h 1418833"/>
                    <a:gd name="connsiteX1076" fmla="*/ 259918 w 2172185"/>
                    <a:gd name="connsiteY1076" fmla="*/ 894211 h 1418833"/>
                    <a:gd name="connsiteX1077" fmla="*/ 264657 w 2172185"/>
                    <a:gd name="connsiteY1077" fmla="*/ 896059 h 1418833"/>
                    <a:gd name="connsiteX1078" fmla="*/ 262970 w 2172185"/>
                    <a:gd name="connsiteY1078" fmla="*/ 899995 h 1418833"/>
                    <a:gd name="connsiteX1079" fmla="*/ 291567 w 2172185"/>
                    <a:gd name="connsiteY1079" fmla="*/ 892605 h 1418833"/>
                    <a:gd name="connsiteX1080" fmla="*/ 287229 w 2172185"/>
                    <a:gd name="connsiteY1080" fmla="*/ 886982 h 1418833"/>
                    <a:gd name="connsiteX1081" fmla="*/ 246985 w 2172185"/>
                    <a:gd name="connsiteY1081" fmla="*/ 874129 h 1418833"/>
                    <a:gd name="connsiteX1082" fmla="*/ 222485 w 2172185"/>
                    <a:gd name="connsiteY1082" fmla="*/ 869229 h 1418833"/>
                    <a:gd name="connsiteX1083" fmla="*/ 209391 w 2172185"/>
                    <a:gd name="connsiteY1083" fmla="*/ 862562 h 1418833"/>
                    <a:gd name="connsiteX1084" fmla="*/ 252528 w 2172185"/>
                    <a:gd name="connsiteY1084" fmla="*/ 845452 h 1418833"/>
                    <a:gd name="connsiteX1085" fmla="*/ 249555 w 2172185"/>
                    <a:gd name="connsiteY1085" fmla="*/ 848906 h 1418833"/>
                    <a:gd name="connsiteX1086" fmla="*/ 267870 w 2172185"/>
                    <a:gd name="connsiteY1086" fmla="*/ 855574 h 1418833"/>
                    <a:gd name="connsiteX1087" fmla="*/ 277028 w 2172185"/>
                    <a:gd name="connsiteY1087" fmla="*/ 868506 h 1418833"/>
                    <a:gd name="connsiteX1088" fmla="*/ 293495 w 2172185"/>
                    <a:gd name="connsiteY1088" fmla="*/ 889392 h 1418833"/>
                    <a:gd name="connsiteX1089" fmla="*/ 324501 w 2172185"/>
                    <a:gd name="connsiteY1089" fmla="*/ 907706 h 1418833"/>
                    <a:gd name="connsiteX1090" fmla="*/ 326751 w 2172185"/>
                    <a:gd name="connsiteY1090" fmla="*/ 907305 h 1418833"/>
                    <a:gd name="connsiteX1091" fmla="*/ 326028 w 2172185"/>
                    <a:gd name="connsiteY1091" fmla="*/ 908349 h 1418833"/>
                    <a:gd name="connsiteX1092" fmla="*/ 326028 w 2172185"/>
                    <a:gd name="connsiteY1092" fmla="*/ 909393 h 1418833"/>
                    <a:gd name="connsiteX1093" fmla="*/ 338639 w 2172185"/>
                    <a:gd name="connsiteY1093" fmla="*/ 915338 h 1418833"/>
                    <a:gd name="connsiteX1094" fmla="*/ 347636 w 2172185"/>
                    <a:gd name="connsiteY1094" fmla="*/ 931805 h 1418833"/>
                    <a:gd name="connsiteX1095" fmla="*/ 347556 w 2172185"/>
                    <a:gd name="connsiteY1095" fmla="*/ 933572 h 1418833"/>
                    <a:gd name="connsiteX1096" fmla="*/ 345146 w 2172185"/>
                    <a:gd name="connsiteY1096" fmla="*/ 933652 h 1418833"/>
                    <a:gd name="connsiteX1097" fmla="*/ 435836 w 2172185"/>
                    <a:gd name="connsiteY1097" fmla="*/ 887142 h 1418833"/>
                    <a:gd name="connsiteX1098" fmla="*/ 428285 w 2172185"/>
                    <a:gd name="connsiteY1098" fmla="*/ 886259 h 1418833"/>
                    <a:gd name="connsiteX1099" fmla="*/ 421698 w 2172185"/>
                    <a:gd name="connsiteY1099" fmla="*/ 886500 h 1418833"/>
                    <a:gd name="connsiteX1100" fmla="*/ 424590 w 2172185"/>
                    <a:gd name="connsiteY1100" fmla="*/ 881439 h 1418833"/>
                    <a:gd name="connsiteX1101" fmla="*/ 421698 w 2172185"/>
                    <a:gd name="connsiteY1101" fmla="*/ 884411 h 1418833"/>
                    <a:gd name="connsiteX1102" fmla="*/ 418405 w 2172185"/>
                    <a:gd name="connsiteY1102" fmla="*/ 883528 h 1418833"/>
                    <a:gd name="connsiteX1103" fmla="*/ 436639 w 2172185"/>
                    <a:gd name="connsiteY1103" fmla="*/ 887062 h 1418833"/>
                    <a:gd name="connsiteX1104" fmla="*/ 435836 w 2172185"/>
                    <a:gd name="connsiteY1104" fmla="*/ 887142 h 1418833"/>
                    <a:gd name="connsiteX1105" fmla="*/ 467566 w 2172185"/>
                    <a:gd name="connsiteY1105" fmla="*/ 888508 h 1418833"/>
                    <a:gd name="connsiteX1106" fmla="*/ 465477 w 2172185"/>
                    <a:gd name="connsiteY1106" fmla="*/ 883769 h 1418833"/>
                    <a:gd name="connsiteX1107" fmla="*/ 467084 w 2172185"/>
                    <a:gd name="connsiteY1107" fmla="*/ 887303 h 1418833"/>
                    <a:gd name="connsiteX1108" fmla="*/ 467566 w 2172185"/>
                    <a:gd name="connsiteY1108" fmla="*/ 888508 h 1418833"/>
                    <a:gd name="connsiteX1109" fmla="*/ 467566 w 2172185"/>
                    <a:gd name="connsiteY1109" fmla="*/ 888508 h 1418833"/>
                    <a:gd name="connsiteX1110" fmla="*/ 367075 w 2172185"/>
                    <a:gd name="connsiteY1110" fmla="*/ 873406 h 1418833"/>
                    <a:gd name="connsiteX1111" fmla="*/ 365790 w 2172185"/>
                    <a:gd name="connsiteY1111" fmla="*/ 875013 h 1418833"/>
                    <a:gd name="connsiteX1112" fmla="*/ 355990 w 2172185"/>
                    <a:gd name="connsiteY1112" fmla="*/ 866900 h 1418833"/>
                    <a:gd name="connsiteX1113" fmla="*/ 359846 w 2172185"/>
                    <a:gd name="connsiteY1113" fmla="*/ 866980 h 1418833"/>
                    <a:gd name="connsiteX1114" fmla="*/ 363862 w 2172185"/>
                    <a:gd name="connsiteY1114" fmla="*/ 868506 h 1418833"/>
                    <a:gd name="connsiteX1115" fmla="*/ 367236 w 2172185"/>
                    <a:gd name="connsiteY1115" fmla="*/ 872924 h 1418833"/>
                    <a:gd name="connsiteX1116" fmla="*/ 367075 w 2172185"/>
                    <a:gd name="connsiteY1116" fmla="*/ 873406 h 1418833"/>
                    <a:gd name="connsiteX1117" fmla="*/ 213167 w 2172185"/>
                    <a:gd name="connsiteY1117" fmla="*/ 833564 h 1418833"/>
                    <a:gd name="connsiteX1118" fmla="*/ 213327 w 2172185"/>
                    <a:gd name="connsiteY1118" fmla="*/ 833483 h 1418833"/>
                    <a:gd name="connsiteX1119" fmla="*/ 210275 w 2172185"/>
                    <a:gd name="connsiteY1119" fmla="*/ 834447 h 1418833"/>
                    <a:gd name="connsiteX1120" fmla="*/ 212444 w 2172185"/>
                    <a:gd name="connsiteY1120" fmla="*/ 832680 h 1418833"/>
                    <a:gd name="connsiteX1121" fmla="*/ 210436 w 2172185"/>
                    <a:gd name="connsiteY1121" fmla="*/ 830591 h 1418833"/>
                    <a:gd name="connsiteX1122" fmla="*/ 208186 w 2172185"/>
                    <a:gd name="connsiteY1122" fmla="*/ 829868 h 1418833"/>
                    <a:gd name="connsiteX1123" fmla="*/ 207062 w 2172185"/>
                    <a:gd name="connsiteY1123" fmla="*/ 827459 h 1418833"/>
                    <a:gd name="connsiteX1124" fmla="*/ 205616 w 2172185"/>
                    <a:gd name="connsiteY1124" fmla="*/ 824085 h 1418833"/>
                    <a:gd name="connsiteX1125" fmla="*/ 205857 w 2172185"/>
                    <a:gd name="connsiteY1125" fmla="*/ 824085 h 1418833"/>
                    <a:gd name="connsiteX1126" fmla="*/ 207303 w 2172185"/>
                    <a:gd name="connsiteY1126" fmla="*/ 824567 h 1418833"/>
                    <a:gd name="connsiteX1127" fmla="*/ 207383 w 2172185"/>
                    <a:gd name="connsiteY1127" fmla="*/ 823523 h 1418833"/>
                    <a:gd name="connsiteX1128" fmla="*/ 208909 w 2172185"/>
                    <a:gd name="connsiteY1128" fmla="*/ 823603 h 1418833"/>
                    <a:gd name="connsiteX1129" fmla="*/ 209632 w 2172185"/>
                    <a:gd name="connsiteY1129" fmla="*/ 827700 h 1418833"/>
                    <a:gd name="connsiteX1130" fmla="*/ 209070 w 2172185"/>
                    <a:gd name="connsiteY1130" fmla="*/ 828423 h 1418833"/>
                    <a:gd name="connsiteX1131" fmla="*/ 212524 w 2172185"/>
                    <a:gd name="connsiteY1131" fmla="*/ 829788 h 1418833"/>
                    <a:gd name="connsiteX1132" fmla="*/ 213649 w 2172185"/>
                    <a:gd name="connsiteY1132" fmla="*/ 833323 h 1418833"/>
                    <a:gd name="connsiteX1133" fmla="*/ 213167 w 2172185"/>
                    <a:gd name="connsiteY1133" fmla="*/ 833564 h 1418833"/>
                    <a:gd name="connsiteX1134" fmla="*/ 72994 w 2172185"/>
                    <a:gd name="connsiteY1134" fmla="*/ 703272 h 1418833"/>
                    <a:gd name="connsiteX1135" fmla="*/ 75967 w 2172185"/>
                    <a:gd name="connsiteY1135" fmla="*/ 695399 h 1418833"/>
                    <a:gd name="connsiteX1136" fmla="*/ 73155 w 2172185"/>
                    <a:gd name="connsiteY1136" fmla="*/ 703513 h 1418833"/>
                    <a:gd name="connsiteX1137" fmla="*/ 72994 w 2172185"/>
                    <a:gd name="connsiteY1137" fmla="*/ 703272 h 1418833"/>
                    <a:gd name="connsiteX1138" fmla="*/ 202162 w 2172185"/>
                    <a:gd name="connsiteY1138" fmla="*/ 816936 h 1418833"/>
                    <a:gd name="connsiteX1139" fmla="*/ 194129 w 2172185"/>
                    <a:gd name="connsiteY1139" fmla="*/ 813160 h 1418833"/>
                    <a:gd name="connsiteX1140" fmla="*/ 193968 w 2172185"/>
                    <a:gd name="connsiteY1140" fmla="*/ 810108 h 1418833"/>
                    <a:gd name="connsiteX1141" fmla="*/ 194450 w 2172185"/>
                    <a:gd name="connsiteY1141" fmla="*/ 809144 h 1418833"/>
                    <a:gd name="connsiteX1142" fmla="*/ 195414 w 2172185"/>
                    <a:gd name="connsiteY1142" fmla="*/ 807939 h 1418833"/>
                    <a:gd name="connsiteX1143" fmla="*/ 196700 w 2172185"/>
                    <a:gd name="connsiteY1143" fmla="*/ 805610 h 1418833"/>
                    <a:gd name="connsiteX1144" fmla="*/ 197904 w 2172185"/>
                    <a:gd name="connsiteY1144" fmla="*/ 807055 h 1418833"/>
                    <a:gd name="connsiteX1145" fmla="*/ 204170 w 2172185"/>
                    <a:gd name="connsiteY1145" fmla="*/ 807537 h 1418833"/>
                    <a:gd name="connsiteX1146" fmla="*/ 203206 w 2172185"/>
                    <a:gd name="connsiteY1146" fmla="*/ 814285 h 1418833"/>
                    <a:gd name="connsiteX1147" fmla="*/ 202564 w 2172185"/>
                    <a:gd name="connsiteY1147" fmla="*/ 812357 h 1418833"/>
                    <a:gd name="connsiteX1148" fmla="*/ 198949 w 2172185"/>
                    <a:gd name="connsiteY1148" fmla="*/ 811313 h 1418833"/>
                    <a:gd name="connsiteX1149" fmla="*/ 202965 w 2172185"/>
                    <a:gd name="connsiteY1149" fmla="*/ 817257 h 1418833"/>
                    <a:gd name="connsiteX1150" fmla="*/ 202162 w 2172185"/>
                    <a:gd name="connsiteY1150" fmla="*/ 816936 h 1418833"/>
                    <a:gd name="connsiteX1151" fmla="*/ 501143 w 2172185"/>
                    <a:gd name="connsiteY1151" fmla="*/ 877342 h 1418833"/>
                    <a:gd name="connsiteX1152" fmla="*/ 497688 w 2172185"/>
                    <a:gd name="connsiteY1152" fmla="*/ 875174 h 1418833"/>
                    <a:gd name="connsiteX1153" fmla="*/ 491262 w 2172185"/>
                    <a:gd name="connsiteY1153" fmla="*/ 875093 h 1418833"/>
                    <a:gd name="connsiteX1154" fmla="*/ 488772 w 2172185"/>
                    <a:gd name="connsiteY1154" fmla="*/ 874531 h 1418833"/>
                    <a:gd name="connsiteX1155" fmla="*/ 484836 w 2172185"/>
                    <a:gd name="connsiteY1155" fmla="*/ 874531 h 1418833"/>
                    <a:gd name="connsiteX1156" fmla="*/ 487487 w 2172185"/>
                    <a:gd name="connsiteY1156" fmla="*/ 870996 h 1418833"/>
                    <a:gd name="connsiteX1157" fmla="*/ 490298 w 2172185"/>
                    <a:gd name="connsiteY1157" fmla="*/ 871720 h 1418833"/>
                    <a:gd name="connsiteX1158" fmla="*/ 494877 w 2172185"/>
                    <a:gd name="connsiteY1158" fmla="*/ 867141 h 1418833"/>
                    <a:gd name="connsiteX1159" fmla="*/ 497207 w 2172185"/>
                    <a:gd name="connsiteY1159" fmla="*/ 870354 h 1418833"/>
                    <a:gd name="connsiteX1160" fmla="*/ 501785 w 2172185"/>
                    <a:gd name="connsiteY1160" fmla="*/ 877262 h 1418833"/>
                    <a:gd name="connsiteX1161" fmla="*/ 501143 w 2172185"/>
                    <a:gd name="connsiteY1161" fmla="*/ 877342 h 1418833"/>
                    <a:gd name="connsiteX1162" fmla="*/ 265139 w 2172185"/>
                    <a:gd name="connsiteY1162" fmla="*/ 828503 h 1418833"/>
                    <a:gd name="connsiteX1163" fmla="*/ 263131 w 2172185"/>
                    <a:gd name="connsiteY1163" fmla="*/ 830431 h 1418833"/>
                    <a:gd name="connsiteX1164" fmla="*/ 259918 w 2172185"/>
                    <a:gd name="connsiteY1164" fmla="*/ 830190 h 1418833"/>
                    <a:gd name="connsiteX1165" fmla="*/ 258552 w 2172185"/>
                    <a:gd name="connsiteY1165" fmla="*/ 830350 h 1418833"/>
                    <a:gd name="connsiteX1166" fmla="*/ 257749 w 2172185"/>
                    <a:gd name="connsiteY1166" fmla="*/ 829949 h 1418833"/>
                    <a:gd name="connsiteX1167" fmla="*/ 255178 w 2172185"/>
                    <a:gd name="connsiteY1167" fmla="*/ 828262 h 1418833"/>
                    <a:gd name="connsiteX1168" fmla="*/ 256785 w 2172185"/>
                    <a:gd name="connsiteY1168" fmla="*/ 825531 h 1418833"/>
                    <a:gd name="connsiteX1169" fmla="*/ 255741 w 2172185"/>
                    <a:gd name="connsiteY1169" fmla="*/ 823924 h 1418833"/>
                    <a:gd name="connsiteX1170" fmla="*/ 256464 w 2172185"/>
                    <a:gd name="connsiteY1170" fmla="*/ 824567 h 1418833"/>
                    <a:gd name="connsiteX1171" fmla="*/ 257347 w 2172185"/>
                    <a:gd name="connsiteY1171" fmla="*/ 823362 h 1418833"/>
                    <a:gd name="connsiteX1172" fmla="*/ 265139 w 2172185"/>
                    <a:gd name="connsiteY1172" fmla="*/ 818141 h 1418833"/>
                    <a:gd name="connsiteX1173" fmla="*/ 266826 w 2172185"/>
                    <a:gd name="connsiteY1173" fmla="*/ 821916 h 1418833"/>
                    <a:gd name="connsiteX1174" fmla="*/ 265541 w 2172185"/>
                    <a:gd name="connsiteY1174" fmla="*/ 824567 h 1418833"/>
                    <a:gd name="connsiteX1175" fmla="*/ 265139 w 2172185"/>
                    <a:gd name="connsiteY1175" fmla="*/ 828503 h 1418833"/>
                    <a:gd name="connsiteX1176" fmla="*/ 447564 w 2172185"/>
                    <a:gd name="connsiteY1176" fmla="*/ 854529 h 1418833"/>
                    <a:gd name="connsiteX1177" fmla="*/ 440977 w 2172185"/>
                    <a:gd name="connsiteY1177" fmla="*/ 858385 h 1418833"/>
                    <a:gd name="connsiteX1178" fmla="*/ 447724 w 2172185"/>
                    <a:gd name="connsiteY1178" fmla="*/ 853405 h 1418833"/>
                    <a:gd name="connsiteX1179" fmla="*/ 447564 w 2172185"/>
                    <a:gd name="connsiteY1179" fmla="*/ 854529 h 1418833"/>
                    <a:gd name="connsiteX1180" fmla="*/ 247788 w 2172185"/>
                    <a:gd name="connsiteY1180" fmla="*/ 796773 h 1418833"/>
                    <a:gd name="connsiteX1181" fmla="*/ 238952 w 2172185"/>
                    <a:gd name="connsiteY1181" fmla="*/ 797416 h 1418833"/>
                    <a:gd name="connsiteX1182" fmla="*/ 239354 w 2172185"/>
                    <a:gd name="connsiteY1182" fmla="*/ 796773 h 1418833"/>
                    <a:gd name="connsiteX1183" fmla="*/ 247788 w 2172185"/>
                    <a:gd name="connsiteY1183" fmla="*/ 796773 h 1418833"/>
                    <a:gd name="connsiteX1184" fmla="*/ 247788 w 2172185"/>
                    <a:gd name="connsiteY1184" fmla="*/ 796773 h 1418833"/>
                    <a:gd name="connsiteX1185" fmla="*/ 386916 w 2172185"/>
                    <a:gd name="connsiteY1185" fmla="*/ 832921 h 1418833"/>
                    <a:gd name="connsiteX1186" fmla="*/ 386515 w 2172185"/>
                    <a:gd name="connsiteY1186" fmla="*/ 832841 h 1418833"/>
                    <a:gd name="connsiteX1187" fmla="*/ 383944 w 2172185"/>
                    <a:gd name="connsiteY1187" fmla="*/ 830270 h 1418833"/>
                    <a:gd name="connsiteX1188" fmla="*/ 384265 w 2172185"/>
                    <a:gd name="connsiteY1188" fmla="*/ 830431 h 1418833"/>
                    <a:gd name="connsiteX1189" fmla="*/ 386916 w 2172185"/>
                    <a:gd name="connsiteY1189" fmla="*/ 832921 h 1418833"/>
                    <a:gd name="connsiteX1190" fmla="*/ 386916 w 2172185"/>
                    <a:gd name="connsiteY1190" fmla="*/ 832921 h 1418833"/>
                    <a:gd name="connsiteX1191" fmla="*/ 239514 w 2172185"/>
                    <a:gd name="connsiteY1191" fmla="*/ 794926 h 1418833"/>
                    <a:gd name="connsiteX1192" fmla="*/ 239273 w 2172185"/>
                    <a:gd name="connsiteY1192" fmla="*/ 794846 h 1418833"/>
                    <a:gd name="connsiteX1193" fmla="*/ 237586 w 2172185"/>
                    <a:gd name="connsiteY1193" fmla="*/ 792596 h 1418833"/>
                    <a:gd name="connsiteX1194" fmla="*/ 239514 w 2172185"/>
                    <a:gd name="connsiteY1194" fmla="*/ 794926 h 1418833"/>
                    <a:gd name="connsiteX1195" fmla="*/ 239514 w 2172185"/>
                    <a:gd name="connsiteY1195" fmla="*/ 794926 h 1418833"/>
                    <a:gd name="connsiteX1196" fmla="*/ 466039 w 2172185"/>
                    <a:gd name="connsiteY1196" fmla="*/ 840793 h 1418833"/>
                    <a:gd name="connsiteX1197" fmla="*/ 454311 w 2172185"/>
                    <a:gd name="connsiteY1197" fmla="*/ 846898 h 1418833"/>
                    <a:gd name="connsiteX1198" fmla="*/ 458488 w 2172185"/>
                    <a:gd name="connsiteY1198" fmla="*/ 841677 h 1418833"/>
                    <a:gd name="connsiteX1199" fmla="*/ 448206 w 2172185"/>
                    <a:gd name="connsiteY1199" fmla="*/ 853405 h 1418833"/>
                    <a:gd name="connsiteX1200" fmla="*/ 447885 w 2172185"/>
                    <a:gd name="connsiteY1200" fmla="*/ 853083 h 1418833"/>
                    <a:gd name="connsiteX1201" fmla="*/ 448528 w 2172185"/>
                    <a:gd name="connsiteY1201" fmla="*/ 849067 h 1418833"/>
                    <a:gd name="connsiteX1202" fmla="*/ 446439 w 2172185"/>
                    <a:gd name="connsiteY1202" fmla="*/ 852039 h 1418833"/>
                    <a:gd name="connsiteX1203" fmla="*/ 443547 w 2172185"/>
                    <a:gd name="connsiteY1203" fmla="*/ 852601 h 1418833"/>
                    <a:gd name="connsiteX1204" fmla="*/ 450616 w 2172185"/>
                    <a:gd name="connsiteY1204" fmla="*/ 843203 h 1418833"/>
                    <a:gd name="connsiteX1205" fmla="*/ 463308 w 2172185"/>
                    <a:gd name="connsiteY1205" fmla="*/ 837259 h 1418833"/>
                    <a:gd name="connsiteX1206" fmla="*/ 461862 w 2172185"/>
                    <a:gd name="connsiteY1206" fmla="*/ 838464 h 1418833"/>
                    <a:gd name="connsiteX1207" fmla="*/ 466923 w 2172185"/>
                    <a:gd name="connsiteY1207" fmla="*/ 840472 h 1418833"/>
                    <a:gd name="connsiteX1208" fmla="*/ 466039 w 2172185"/>
                    <a:gd name="connsiteY1208" fmla="*/ 840793 h 1418833"/>
                    <a:gd name="connsiteX1209" fmla="*/ 414549 w 2172185"/>
                    <a:gd name="connsiteY1209" fmla="*/ 831556 h 1418833"/>
                    <a:gd name="connsiteX1210" fmla="*/ 411015 w 2172185"/>
                    <a:gd name="connsiteY1210" fmla="*/ 832198 h 1418833"/>
                    <a:gd name="connsiteX1211" fmla="*/ 408283 w 2172185"/>
                    <a:gd name="connsiteY1211" fmla="*/ 831074 h 1418833"/>
                    <a:gd name="connsiteX1212" fmla="*/ 414710 w 2172185"/>
                    <a:gd name="connsiteY1212" fmla="*/ 831475 h 1418833"/>
                    <a:gd name="connsiteX1213" fmla="*/ 414549 w 2172185"/>
                    <a:gd name="connsiteY1213" fmla="*/ 831556 h 1418833"/>
                    <a:gd name="connsiteX1214" fmla="*/ 177341 w 2172185"/>
                    <a:gd name="connsiteY1214" fmla="*/ 781993 h 1418833"/>
                    <a:gd name="connsiteX1215" fmla="*/ 175011 w 2172185"/>
                    <a:gd name="connsiteY1215" fmla="*/ 764642 h 1418833"/>
                    <a:gd name="connsiteX1216" fmla="*/ 175091 w 2172185"/>
                    <a:gd name="connsiteY1216" fmla="*/ 767213 h 1418833"/>
                    <a:gd name="connsiteX1217" fmla="*/ 173726 w 2172185"/>
                    <a:gd name="connsiteY1217" fmla="*/ 755806 h 1418833"/>
                    <a:gd name="connsiteX1218" fmla="*/ 177903 w 2172185"/>
                    <a:gd name="connsiteY1218" fmla="*/ 753316 h 1418833"/>
                    <a:gd name="connsiteX1219" fmla="*/ 177180 w 2172185"/>
                    <a:gd name="connsiteY1219" fmla="*/ 760787 h 1418833"/>
                    <a:gd name="connsiteX1220" fmla="*/ 178545 w 2172185"/>
                    <a:gd name="connsiteY1220" fmla="*/ 758939 h 1418833"/>
                    <a:gd name="connsiteX1221" fmla="*/ 178304 w 2172185"/>
                    <a:gd name="connsiteY1221" fmla="*/ 771791 h 1418833"/>
                    <a:gd name="connsiteX1222" fmla="*/ 177662 w 2172185"/>
                    <a:gd name="connsiteY1222" fmla="*/ 781993 h 1418833"/>
                    <a:gd name="connsiteX1223" fmla="*/ 177341 w 2172185"/>
                    <a:gd name="connsiteY1223" fmla="*/ 781993 h 1418833"/>
                    <a:gd name="connsiteX1224" fmla="*/ 532230 w 2172185"/>
                    <a:gd name="connsiteY1224" fmla="*/ 838624 h 1418833"/>
                    <a:gd name="connsiteX1225" fmla="*/ 521305 w 2172185"/>
                    <a:gd name="connsiteY1225" fmla="*/ 854851 h 1418833"/>
                    <a:gd name="connsiteX1226" fmla="*/ 517530 w 2172185"/>
                    <a:gd name="connsiteY1226" fmla="*/ 837018 h 1418833"/>
                    <a:gd name="connsiteX1227" fmla="*/ 520180 w 2172185"/>
                    <a:gd name="connsiteY1227" fmla="*/ 836375 h 1418833"/>
                    <a:gd name="connsiteX1228" fmla="*/ 523152 w 2172185"/>
                    <a:gd name="connsiteY1228" fmla="*/ 837018 h 1418833"/>
                    <a:gd name="connsiteX1229" fmla="*/ 524679 w 2172185"/>
                    <a:gd name="connsiteY1229" fmla="*/ 837821 h 1418833"/>
                    <a:gd name="connsiteX1230" fmla="*/ 526125 w 2172185"/>
                    <a:gd name="connsiteY1230" fmla="*/ 837419 h 1418833"/>
                    <a:gd name="connsiteX1231" fmla="*/ 526446 w 2172185"/>
                    <a:gd name="connsiteY1231" fmla="*/ 837259 h 1418833"/>
                    <a:gd name="connsiteX1232" fmla="*/ 529016 w 2172185"/>
                    <a:gd name="connsiteY1232" fmla="*/ 835492 h 1418833"/>
                    <a:gd name="connsiteX1233" fmla="*/ 532390 w 2172185"/>
                    <a:gd name="connsiteY1233" fmla="*/ 838062 h 1418833"/>
                    <a:gd name="connsiteX1234" fmla="*/ 532230 w 2172185"/>
                    <a:gd name="connsiteY1234" fmla="*/ 838624 h 1418833"/>
                    <a:gd name="connsiteX1235" fmla="*/ 239273 w 2172185"/>
                    <a:gd name="connsiteY1235" fmla="*/ 777977 h 1418833"/>
                    <a:gd name="connsiteX1236" fmla="*/ 239595 w 2172185"/>
                    <a:gd name="connsiteY1236" fmla="*/ 777655 h 1418833"/>
                    <a:gd name="connsiteX1237" fmla="*/ 239996 w 2172185"/>
                    <a:gd name="connsiteY1237" fmla="*/ 777414 h 1418833"/>
                    <a:gd name="connsiteX1238" fmla="*/ 239514 w 2172185"/>
                    <a:gd name="connsiteY1238" fmla="*/ 778941 h 1418833"/>
                    <a:gd name="connsiteX1239" fmla="*/ 239273 w 2172185"/>
                    <a:gd name="connsiteY1239" fmla="*/ 777977 h 1418833"/>
                    <a:gd name="connsiteX1240" fmla="*/ 647741 w 2172185"/>
                    <a:gd name="connsiteY1240" fmla="*/ 831636 h 1418833"/>
                    <a:gd name="connsiteX1241" fmla="*/ 638021 w 2172185"/>
                    <a:gd name="connsiteY1241" fmla="*/ 826575 h 1418833"/>
                    <a:gd name="connsiteX1242" fmla="*/ 642922 w 2172185"/>
                    <a:gd name="connsiteY1242" fmla="*/ 827378 h 1418833"/>
                    <a:gd name="connsiteX1243" fmla="*/ 647982 w 2172185"/>
                    <a:gd name="connsiteY1243" fmla="*/ 831877 h 1418833"/>
                    <a:gd name="connsiteX1244" fmla="*/ 647741 w 2172185"/>
                    <a:gd name="connsiteY1244" fmla="*/ 831636 h 1418833"/>
                    <a:gd name="connsiteX1245" fmla="*/ 93317 w 2172185"/>
                    <a:gd name="connsiteY1245" fmla="*/ 657967 h 1418833"/>
                    <a:gd name="connsiteX1246" fmla="*/ 93237 w 2172185"/>
                    <a:gd name="connsiteY1246" fmla="*/ 657886 h 1418833"/>
                    <a:gd name="connsiteX1247" fmla="*/ 96691 w 2172185"/>
                    <a:gd name="connsiteY1247" fmla="*/ 643427 h 1418833"/>
                    <a:gd name="connsiteX1248" fmla="*/ 93719 w 2172185"/>
                    <a:gd name="connsiteY1248" fmla="*/ 657404 h 1418833"/>
                    <a:gd name="connsiteX1249" fmla="*/ 93317 w 2172185"/>
                    <a:gd name="connsiteY1249" fmla="*/ 657967 h 1418833"/>
                    <a:gd name="connsiteX1250" fmla="*/ 89140 w 2172185"/>
                    <a:gd name="connsiteY1250" fmla="*/ 608163 h 1418833"/>
                    <a:gd name="connsiteX1251" fmla="*/ 90345 w 2172185"/>
                    <a:gd name="connsiteY1251" fmla="*/ 604790 h 1418833"/>
                    <a:gd name="connsiteX1252" fmla="*/ 89863 w 2172185"/>
                    <a:gd name="connsiteY1252" fmla="*/ 604308 h 1418833"/>
                    <a:gd name="connsiteX1253" fmla="*/ 89301 w 2172185"/>
                    <a:gd name="connsiteY1253" fmla="*/ 604870 h 1418833"/>
                    <a:gd name="connsiteX1254" fmla="*/ 93960 w 2172185"/>
                    <a:gd name="connsiteY1254" fmla="*/ 599086 h 1418833"/>
                    <a:gd name="connsiteX1255" fmla="*/ 88980 w 2172185"/>
                    <a:gd name="connsiteY1255" fmla="*/ 608806 h 1418833"/>
                    <a:gd name="connsiteX1256" fmla="*/ 89140 w 2172185"/>
                    <a:gd name="connsiteY1256" fmla="*/ 608163 h 1418833"/>
                    <a:gd name="connsiteX1257" fmla="*/ 275582 w 2172185"/>
                    <a:gd name="connsiteY1257" fmla="*/ 770265 h 1418833"/>
                    <a:gd name="connsiteX1258" fmla="*/ 271646 w 2172185"/>
                    <a:gd name="connsiteY1258" fmla="*/ 771390 h 1418833"/>
                    <a:gd name="connsiteX1259" fmla="*/ 269396 w 2172185"/>
                    <a:gd name="connsiteY1259" fmla="*/ 769944 h 1418833"/>
                    <a:gd name="connsiteX1260" fmla="*/ 270200 w 2172185"/>
                    <a:gd name="connsiteY1260" fmla="*/ 769703 h 1418833"/>
                    <a:gd name="connsiteX1261" fmla="*/ 272850 w 2172185"/>
                    <a:gd name="connsiteY1261" fmla="*/ 768900 h 1418833"/>
                    <a:gd name="connsiteX1262" fmla="*/ 275823 w 2172185"/>
                    <a:gd name="connsiteY1262" fmla="*/ 769944 h 1418833"/>
                    <a:gd name="connsiteX1263" fmla="*/ 275582 w 2172185"/>
                    <a:gd name="connsiteY1263" fmla="*/ 770265 h 1418833"/>
                    <a:gd name="connsiteX1264" fmla="*/ 173163 w 2172185"/>
                    <a:gd name="connsiteY1264" fmla="*/ 753557 h 1418833"/>
                    <a:gd name="connsiteX1265" fmla="*/ 172521 w 2172185"/>
                    <a:gd name="connsiteY1265" fmla="*/ 748978 h 1418833"/>
                    <a:gd name="connsiteX1266" fmla="*/ 171477 w 2172185"/>
                    <a:gd name="connsiteY1266" fmla="*/ 750585 h 1418833"/>
                    <a:gd name="connsiteX1267" fmla="*/ 177421 w 2172185"/>
                    <a:gd name="connsiteY1267" fmla="*/ 725924 h 1418833"/>
                    <a:gd name="connsiteX1268" fmla="*/ 173565 w 2172185"/>
                    <a:gd name="connsiteY1268" fmla="*/ 751388 h 1418833"/>
                    <a:gd name="connsiteX1269" fmla="*/ 174931 w 2172185"/>
                    <a:gd name="connsiteY1269" fmla="*/ 750022 h 1418833"/>
                    <a:gd name="connsiteX1270" fmla="*/ 173565 w 2172185"/>
                    <a:gd name="connsiteY1270" fmla="*/ 753959 h 1418833"/>
                    <a:gd name="connsiteX1271" fmla="*/ 173163 w 2172185"/>
                    <a:gd name="connsiteY1271" fmla="*/ 753557 h 1418833"/>
                    <a:gd name="connsiteX1272" fmla="*/ 505320 w 2172185"/>
                    <a:gd name="connsiteY1272" fmla="*/ 813241 h 1418833"/>
                    <a:gd name="connsiteX1273" fmla="*/ 503713 w 2172185"/>
                    <a:gd name="connsiteY1273" fmla="*/ 817418 h 1418833"/>
                    <a:gd name="connsiteX1274" fmla="*/ 501303 w 2172185"/>
                    <a:gd name="connsiteY1274" fmla="*/ 816855 h 1418833"/>
                    <a:gd name="connsiteX1275" fmla="*/ 499616 w 2172185"/>
                    <a:gd name="connsiteY1275" fmla="*/ 813482 h 1418833"/>
                    <a:gd name="connsiteX1276" fmla="*/ 497126 w 2172185"/>
                    <a:gd name="connsiteY1276" fmla="*/ 814205 h 1418833"/>
                    <a:gd name="connsiteX1277" fmla="*/ 497046 w 2172185"/>
                    <a:gd name="connsiteY1277" fmla="*/ 814205 h 1418833"/>
                    <a:gd name="connsiteX1278" fmla="*/ 500821 w 2172185"/>
                    <a:gd name="connsiteY1278" fmla="*/ 811955 h 1418833"/>
                    <a:gd name="connsiteX1279" fmla="*/ 500098 w 2172185"/>
                    <a:gd name="connsiteY1279" fmla="*/ 810670 h 1418833"/>
                    <a:gd name="connsiteX1280" fmla="*/ 505721 w 2172185"/>
                    <a:gd name="connsiteY1280" fmla="*/ 812759 h 1418833"/>
                    <a:gd name="connsiteX1281" fmla="*/ 505320 w 2172185"/>
                    <a:gd name="connsiteY1281" fmla="*/ 813241 h 1418833"/>
                    <a:gd name="connsiteX1282" fmla="*/ 424429 w 2172185"/>
                    <a:gd name="connsiteY1282" fmla="*/ 793882 h 1418833"/>
                    <a:gd name="connsiteX1283" fmla="*/ 419047 w 2172185"/>
                    <a:gd name="connsiteY1283" fmla="*/ 802236 h 1418833"/>
                    <a:gd name="connsiteX1284" fmla="*/ 418164 w 2172185"/>
                    <a:gd name="connsiteY1284" fmla="*/ 799103 h 1418833"/>
                    <a:gd name="connsiteX1285" fmla="*/ 418324 w 2172185"/>
                    <a:gd name="connsiteY1285" fmla="*/ 798782 h 1418833"/>
                    <a:gd name="connsiteX1286" fmla="*/ 419208 w 2172185"/>
                    <a:gd name="connsiteY1286" fmla="*/ 797336 h 1418833"/>
                    <a:gd name="connsiteX1287" fmla="*/ 419208 w 2172185"/>
                    <a:gd name="connsiteY1287" fmla="*/ 797014 h 1418833"/>
                    <a:gd name="connsiteX1288" fmla="*/ 419851 w 2172185"/>
                    <a:gd name="connsiteY1288" fmla="*/ 795328 h 1418833"/>
                    <a:gd name="connsiteX1289" fmla="*/ 422421 w 2172185"/>
                    <a:gd name="connsiteY1289" fmla="*/ 793641 h 1418833"/>
                    <a:gd name="connsiteX1290" fmla="*/ 422421 w 2172185"/>
                    <a:gd name="connsiteY1290" fmla="*/ 794524 h 1418833"/>
                    <a:gd name="connsiteX1291" fmla="*/ 424510 w 2172185"/>
                    <a:gd name="connsiteY1291" fmla="*/ 793641 h 1418833"/>
                    <a:gd name="connsiteX1292" fmla="*/ 424429 w 2172185"/>
                    <a:gd name="connsiteY1292" fmla="*/ 793882 h 1418833"/>
                    <a:gd name="connsiteX1293" fmla="*/ 500821 w 2172185"/>
                    <a:gd name="connsiteY1293" fmla="*/ 803441 h 1418833"/>
                    <a:gd name="connsiteX1294" fmla="*/ 500018 w 2172185"/>
                    <a:gd name="connsiteY1294" fmla="*/ 802637 h 1418833"/>
                    <a:gd name="connsiteX1295" fmla="*/ 498170 w 2172185"/>
                    <a:gd name="connsiteY1295" fmla="*/ 800629 h 1418833"/>
                    <a:gd name="connsiteX1296" fmla="*/ 500821 w 2172185"/>
                    <a:gd name="connsiteY1296" fmla="*/ 803441 h 1418833"/>
                    <a:gd name="connsiteX1297" fmla="*/ 500821 w 2172185"/>
                    <a:gd name="connsiteY1297" fmla="*/ 803441 h 1418833"/>
                    <a:gd name="connsiteX1298" fmla="*/ 273814 w 2172185"/>
                    <a:gd name="connsiteY1298" fmla="*/ 754119 h 1418833"/>
                    <a:gd name="connsiteX1299" fmla="*/ 270280 w 2172185"/>
                    <a:gd name="connsiteY1299" fmla="*/ 754119 h 1418833"/>
                    <a:gd name="connsiteX1300" fmla="*/ 266987 w 2172185"/>
                    <a:gd name="connsiteY1300" fmla="*/ 751549 h 1418833"/>
                    <a:gd name="connsiteX1301" fmla="*/ 270682 w 2172185"/>
                    <a:gd name="connsiteY1301" fmla="*/ 750746 h 1418833"/>
                    <a:gd name="connsiteX1302" fmla="*/ 274377 w 2172185"/>
                    <a:gd name="connsiteY1302" fmla="*/ 753878 h 1418833"/>
                    <a:gd name="connsiteX1303" fmla="*/ 273814 w 2172185"/>
                    <a:gd name="connsiteY1303" fmla="*/ 754119 h 1418833"/>
                    <a:gd name="connsiteX1304" fmla="*/ 532631 w 2172185"/>
                    <a:gd name="connsiteY1304" fmla="*/ 801593 h 1418833"/>
                    <a:gd name="connsiteX1305" fmla="*/ 530703 w 2172185"/>
                    <a:gd name="connsiteY1305" fmla="*/ 803200 h 1418833"/>
                    <a:gd name="connsiteX1306" fmla="*/ 529257 w 2172185"/>
                    <a:gd name="connsiteY1306" fmla="*/ 799103 h 1418833"/>
                    <a:gd name="connsiteX1307" fmla="*/ 527571 w 2172185"/>
                    <a:gd name="connsiteY1307" fmla="*/ 794685 h 1418833"/>
                    <a:gd name="connsiteX1308" fmla="*/ 529579 w 2172185"/>
                    <a:gd name="connsiteY1308" fmla="*/ 794846 h 1418833"/>
                    <a:gd name="connsiteX1309" fmla="*/ 532631 w 2172185"/>
                    <a:gd name="connsiteY1309" fmla="*/ 801593 h 1418833"/>
                    <a:gd name="connsiteX1310" fmla="*/ 451982 w 2172185"/>
                    <a:gd name="connsiteY1310" fmla="*/ 794203 h 1418833"/>
                    <a:gd name="connsiteX1311" fmla="*/ 445234 w 2172185"/>
                    <a:gd name="connsiteY1311" fmla="*/ 794765 h 1418833"/>
                    <a:gd name="connsiteX1312" fmla="*/ 440656 w 2172185"/>
                    <a:gd name="connsiteY1312" fmla="*/ 793078 h 1418833"/>
                    <a:gd name="connsiteX1313" fmla="*/ 428285 w 2172185"/>
                    <a:gd name="connsiteY1313" fmla="*/ 792436 h 1418833"/>
                    <a:gd name="connsiteX1314" fmla="*/ 413665 w 2172185"/>
                    <a:gd name="connsiteY1314" fmla="*/ 789142 h 1418833"/>
                    <a:gd name="connsiteX1315" fmla="*/ 411175 w 2172185"/>
                    <a:gd name="connsiteY1315" fmla="*/ 787777 h 1418833"/>
                    <a:gd name="connsiteX1316" fmla="*/ 432864 w 2172185"/>
                    <a:gd name="connsiteY1316" fmla="*/ 782073 h 1418833"/>
                    <a:gd name="connsiteX1317" fmla="*/ 433828 w 2172185"/>
                    <a:gd name="connsiteY1317" fmla="*/ 782877 h 1418833"/>
                    <a:gd name="connsiteX1318" fmla="*/ 423465 w 2172185"/>
                    <a:gd name="connsiteY1318" fmla="*/ 788821 h 1418833"/>
                    <a:gd name="connsiteX1319" fmla="*/ 450616 w 2172185"/>
                    <a:gd name="connsiteY1319" fmla="*/ 789383 h 1418833"/>
                    <a:gd name="connsiteX1320" fmla="*/ 442664 w 2172185"/>
                    <a:gd name="connsiteY1320" fmla="*/ 791793 h 1418833"/>
                    <a:gd name="connsiteX1321" fmla="*/ 452223 w 2172185"/>
                    <a:gd name="connsiteY1321" fmla="*/ 793962 h 1418833"/>
                    <a:gd name="connsiteX1322" fmla="*/ 451982 w 2172185"/>
                    <a:gd name="connsiteY1322" fmla="*/ 794203 h 1418833"/>
                    <a:gd name="connsiteX1323" fmla="*/ 186578 w 2172185"/>
                    <a:gd name="connsiteY1323" fmla="*/ 729378 h 1418833"/>
                    <a:gd name="connsiteX1324" fmla="*/ 184811 w 2172185"/>
                    <a:gd name="connsiteY1324" fmla="*/ 728816 h 1418833"/>
                    <a:gd name="connsiteX1325" fmla="*/ 184972 w 2172185"/>
                    <a:gd name="connsiteY1325" fmla="*/ 727290 h 1418833"/>
                    <a:gd name="connsiteX1326" fmla="*/ 184249 w 2172185"/>
                    <a:gd name="connsiteY1326" fmla="*/ 726888 h 1418833"/>
                    <a:gd name="connsiteX1327" fmla="*/ 180875 w 2172185"/>
                    <a:gd name="connsiteY1327" fmla="*/ 717329 h 1418833"/>
                    <a:gd name="connsiteX1328" fmla="*/ 180955 w 2172185"/>
                    <a:gd name="connsiteY1328" fmla="*/ 716686 h 1418833"/>
                    <a:gd name="connsiteX1329" fmla="*/ 185534 w 2172185"/>
                    <a:gd name="connsiteY1329" fmla="*/ 711626 h 1418833"/>
                    <a:gd name="connsiteX1330" fmla="*/ 191077 w 2172185"/>
                    <a:gd name="connsiteY1330" fmla="*/ 708975 h 1418833"/>
                    <a:gd name="connsiteX1331" fmla="*/ 187221 w 2172185"/>
                    <a:gd name="connsiteY1331" fmla="*/ 710582 h 1418833"/>
                    <a:gd name="connsiteX1332" fmla="*/ 190916 w 2172185"/>
                    <a:gd name="connsiteY1332" fmla="*/ 713072 h 1418833"/>
                    <a:gd name="connsiteX1333" fmla="*/ 191639 w 2172185"/>
                    <a:gd name="connsiteY1333" fmla="*/ 712590 h 1418833"/>
                    <a:gd name="connsiteX1334" fmla="*/ 186819 w 2172185"/>
                    <a:gd name="connsiteY1334" fmla="*/ 729137 h 1418833"/>
                    <a:gd name="connsiteX1335" fmla="*/ 186578 w 2172185"/>
                    <a:gd name="connsiteY1335" fmla="*/ 729378 h 1418833"/>
                    <a:gd name="connsiteX1336" fmla="*/ 192764 w 2172185"/>
                    <a:gd name="connsiteY1336" fmla="*/ 784162 h 1418833"/>
                    <a:gd name="connsiteX1337" fmla="*/ 191398 w 2172185"/>
                    <a:gd name="connsiteY1337" fmla="*/ 781511 h 1418833"/>
                    <a:gd name="connsiteX1338" fmla="*/ 191398 w 2172185"/>
                    <a:gd name="connsiteY1338" fmla="*/ 763919 h 1418833"/>
                    <a:gd name="connsiteX1339" fmla="*/ 190836 w 2172185"/>
                    <a:gd name="connsiteY1339" fmla="*/ 753396 h 1418833"/>
                    <a:gd name="connsiteX1340" fmla="*/ 188345 w 2172185"/>
                    <a:gd name="connsiteY1340" fmla="*/ 746086 h 1418833"/>
                    <a:gd name="connsiteX1341" fmla="*/ 189470 w 2172185"/>
                    <a:gd name="connsiteY1341" fmla="*/ 740463 h 1418833"/>
                    <a:gd name="connsiteX1342" fmla="*/ 192442 w 2172185"/>
                    <a:gd name="connsiteY1342" fmla="*/ 734519 h 1418833"/>
                    <a:gd name="connsiteX1343" fmla="*/ 194209 w 2172185"/>
                    <a:gd name="connsiteY1343" fmla="*/ 724880 h 1418833"/>
                    <a:gd name="connsiteX1344" fmla="*/ 205616 w 2172185"/>
                    <a:gd name="connsiteY1344" fmla="*/ 714036 h 1418833"/>
                    <a:gd name="connsiteX1345" fmla="*/ 202082 w 2172185"/>
                    <a:gd name="connsiteY1345" fmla="*/ 720542 h 1418833"/>
                    <a:gd name="connsiteX1346" fmla="*/ 205696 w 2172185"/>
                    <a:gd name="connsiteY1346" fmla="*/ 719257 h 1418833"/>
                    <a:gd name="connsiteX1347" fmla="*/ 196539 w 2172185"/>
                    <a:gd name="connsiteY1347" fmla="*/ 765927 h 1418833"/>
                    <a:gd name="connsiteX1348" fmla="*/ 192764 w 2172185"/>
                    <a:gd name="connsiteY1348" fmla="*/ 784162 h 1418833"/>
                    <a:gd name="connsiteX1349" fmla="*/ 525321 w 2172185"/>
                    <a:gd name="connsiteY1349" fmla="*/ 794524 h 1418833"/>
                    <a:gd name="connsiteX1350" fmla="*/ 517048 w 2172185"/>
                    <a:gd name="connsiteY1350" fmla="*/ 795488 h 1418833"/>
                    <a:gd name="connsiteX1351" fmla="*/ 517770 w 2172185"/>
                    <a:gd name="connsiteY1351" fmla="*/ 792596 h 1418833"/>
                    <a:gd name="connsiteX1352" fmla="*/ 514075 w 2172185"/>
                    <a:gd name="connsiteY1352" fmla="*/ 792275 h 1418833"/>
                    <a:gd name="connsiteX1353" fmla="*/ 516325 w 2172185"/>
                    <a:gd name="connsiteY1353" fmla="*/ 788178 h 1418833"/>
                    <a:gd name="connsiteX1354" fmla="*/ 515682 w 2172185"/>
                    <a:gd name="connsiteY1354" fmla="*/ 787937 h 1418833"/>
                    <a:gd name="connsiteX1355" fmla="*/ 520903 w 2172185"/>
                    <a:gd name="connsiteY1355" fmla="*/ 789865 h 1418833"/>
                    <a:gd name="connsiteX1356" fmla="*/ 520582 w 2172185"/>
                    <a:gd name="connsiteY1356" fmla="*/ 791633 h 1418833"/>
                    <a:gd name="connsiteX1357" fmla="*/ 520984 w 2172185"/>
                    <a:gd name="connsiteY1357" fmla="*/ 792596 h 1418833"/>
                    <a:gd name="connsiteX1358" fmla="*/ 524116 w 2172185"/>
                    <a:gd name="connsiteY1358" fmla="*/ 792918 h 1418833"/>
                    <a:gd name="connsiteX1359" fmla="*/ 525723 w 2172185"/>
                    <a:gd name="connsiteY1359" fmla="*/ 794444 h 1418833"/>
                    <a:gd name="connsiteX1360" fmla="*/ 525321 w 2172185"/>
                    <a:gd name="connsiteY1360" fmla="*/ 794524 h 1418833"/>
                    <a:gd name="connsiteX1361" fmla="*/ 157660 w 2172185"/>
                    <a:gd name="connsiteY1361" fmla="*/ 681744 h 1418833"/>
                    <a:gd name="connsiteX1362" fmla="*/ 157018 w 2172185"/>
                    <a:gd name="connsiteY1362" fmla="*/ 682627 h 1418833"/>
                    <a:gd name="connsiteX1363" fmla="*/ 153885 w 2172185"/>
                    <a:gd name="connsiteY1363" fmla="*/ 686403 h 1418833"/>
                    <a:gd name="connsiteX1364" fmla="*/ 158142 w 2172185"/>
                    <a:gd name="connsiteY1364" fmla="*/ 678772 h 1418833"/>
                    <a:gd name="connsiteX1365" fmla="*/ 157660 w 2172185"/>
                    <a:gd name="connsiteY1365" fmla="*/ 681744 h 1418833"/>
                    <a:gd name="connsiteX1366" fmla="*/ 588861 w 2172185"/>
                    <a:gd name="connsiteY1366" fmla="*/ 796291 h 1418833"/>
                    <a:gd name="connsiteX1367" fmla="*/ 583880 w 2172185"/>
                    <a:gd name="connsiteY1367" fmla="*/ 790427 h 1418833"/>
                    <a:gd name="connsiteX1368" fmla="*/ 587897 w 2172185"/>
                    <a:gd name="connsiteY1368" fmla="*/ 790026 h 1418833"/>
                    <a:gd name="connsiteX1369" fmla="*/ 589021 w 2172185"/>
                    <a:gd name="connsiteY1369" fmla="*/ 796532 h 1418833"/>
                    <a:gd name="connsiteX1370" fmla="*/ 588861 w 2172185"/>
                    <a:gd name="connsiteY1370" fmla="*/ 796291 h 1418833"/>
                    <a:gd name="connsiteX1371" fmla="*/ 179911 w 2172185"/>
                    <a:gd name="connsiteY1371" fmla="*/ 691624 h 1418833"/>
                    <a:gd name="connsiteX1372" fmla="*/ 177180 w 2172185"/>
                    <a:gd name="connsiteY1372" fmla="*/ 692909 h 1418833"/>
                    <a:gd name="connsiteX1373" fmla="*/ 179911 w 2172185"/>
                    <a:gd name="connsiteY1373" fmla="*/ 691624 h 1418833"/>
                    <a:gd name="connsiteX1374" fmla="*/ 179911 w 2172185"/>
                    <a:gd name="connsiteY1374" fmla="*/ 691624 h 1418833"/>
                    <a:gd name="connsiteX1375" fmla="*/ 520020 w 2172185"/>
                    <a:gd name="connsiteY1375" fmla="*/ 786090 h 1418833"/>
                    <a:gd name="connsiteX1376" fmla="*/ 511184 w 2172185"/>
                    <a:gd name="connsiteY1376" fmla="*/ 787295 h 1418833"/>
                    <a:gd name="connsiteX1377" fmla="*/ 510139 w 2172185"/>
                    <a:gd name="connsiteY1377" fmla="*/ 785688 h 1418833"/>
                    <a:gd name="connsiteX1378" fmla="*/ 510943 w 2172185"/>
                    <a:gd name="connsiteY1378" fmla="*/ 785849 h 1418833"/>
                    <a:gd name="connsiteX1379" fmla="*/ 517931 w 2172185"/>
                    <a:gd name="connsiteY1379" fmla="*/ 781832 h 1418833"/>
                    <a:gd name="connsiteX1380" fmla="*/ 520582 w 2172185"/>
                    <a:gd name="connsiteY1380" fmla="*/ 786090 h 1418833"/>
                    <a:gd name="connsiteX1381" fmla="*/ 520020 w 2172185"/>
                    <a:gd name="connsiteY1381" fmla="*/ 786090 h 1418833"/>
                    <a:gd name="connsiteX1382" fmla="*/ 613521 w 2172185"/>
                    <a:gd name="connsiteY1382" fmla="*/ 798782 h 1418833"/>
                    <a:gd name="connsiteX1383" fmla="*/ 606453 w 2172185"/>
                    <a:gd name="connsiteY1383" fmla="*/ 800870 h 1418833"/>
                    <a:gd name="connsiteX1384" fmla="*/ 585407 w 2172185"/>
                    <a:gd name="connsiteY1384" fmla="*/ 809144 h 1418833"/>
                    <a:gd name="connsiteX1385" fmla="*/ 576651 w 2172185"/>
                    <a:gd name="connsiteY1385" fmla="*/ 807136 h 1418833"/>
                    <a:gd name="connsiteX1386" fmla="*/ 576731 w 2172185"/>
                    <a:gd name="connsiteY1386" fmla="*/ 795006 h 1418833"/>
                    <a:gd name="connsiteX1387" fmla="*/ 580908 w 2172185"/>
                    <a:gd name="connsiteY1387" fmla="*/ 798701 h 1418833"/>
                    <a:gd name="connsiteX1388" fmla="*/ 581149 w 2172185"/>
                    <a:gd name="connsiteY1388" fmla="*/ 798621 h 1418833"/>
                    <a:gd name="connsiteX1389" fmla="*/ 585166 w 2172185"/>
                    <a:gd name="connsiteY1389" fmla="*/ 798782 h 1418833"/>
                    <a:gd name="connsiteX1390" fmla="*/ 584362 w 2172185"/>
                    <a:gd name="connsiteY1390" fmla="*/ 797577 h 1418833"/>
                    <a:gd name="connsiteX1391" fmla="*/ 589584 w 2172185"/>
                    <a:gd name="connsiteY1391" fmla="*/ 797737 h 1418833"/>
                    <a:gd name="connsiteX1392" fmla="*/ 588941 w 2172185"/>
                    <a:gd name="connsiteY1392" fmla="*/ 796452 h 1418833"/>
                    <a:gd name="connsiteX1393" fmla="*/ 598661 w 2172185"/>
                    <a:gd name="connsiteY1393" fmla="*/ 796291 h 1418833"/>
                    <a:gd name="connsiteX1394" fmla="*/ 597697 w 2172185"/>
                    <a:gd name="connsiteY1394" fmla="*/ 785688 h 1418833"/>
                    <a:gd name="connsiteX1395" fmla="*/ 613923 w 2172185"/>
                    <a:gd name="connsiteY1395" fmla="*/ 797737 h 1418833"/>
                    <a:gd name="connsiteX1396" fmla="*/ 613521 w 2172185"/>
                    <a:gd name="connsiteY1396" fmla="*/ 798782 h 1418833"/>
                    <a:gd name="connsiteX1397" fmla="*/ 243932 w 2172185"/>
                    <a:gd name="connsiteY1397" fmla="*/ 721908 h 1418833"/>
                    <a:gd name="connsiteX1398" fmla="*/ 231883 w 2172185"/>
                    <a:gd name="connsiteY1398" fmla="*/ 724639 h 1418833"/>
                    <a:gd name="connsiteX1399" fmla="*/ 232365 w 2172185"/>
                    <a:gd name="connsiteY1399" fmla="*/ 723514 h 1418833"/>
                    <a:gd name="connsiteX1400" fmla="*/ 237265 w 2172185"/>
                    <a:gd name="connsiteY1400" fmla="*/ 718695 h 1418833"/>
                    <a:gd name="connsiteX1401" fmla="*/ 244254 w 2172185"/>
                    <a:gd name="connsiteY1401" fmla="*/ 721827 h 1418833"/>
                    <a:gd name="connsiteX1402" fmla="*/ 243932 w 2172185"/>
                    <a:gd name="connsiteY1402" fmla="*/ 721908 h 1418833"/>
                    <a:gd name="connsiteX1403" fmla="*/ 572956 w 2172185"/>
                    <a:gd name="connsiteY1403" fmla="*/ 791311 h 1418833"/>
                    <a:gd name="connsiteX1404" fmla="*/ 567895 w 2172185"/>
                    <a:gd name="connsiteY1404" fmla="*/ 787616 h 1418833"/>
                    <a:gd name="connsiteX1405" fmla="*/ 568056 w 2172185"/>
                    <a:gd name="connsiteY1405" fmla="*/ 795408 h 1418833"/>
                    <a:gd name="connsiteX1406" fmla="*/ 565566 w 2172185"/>
                    <a:gd name="connsiteY1406" fmla="*/ 786331 h 1418833"/>
                    <a:gd name="connsiteX1407" fmla="*/ 566771 w 2172185"/>
                    <a:gd name="connsiteY1407" fmla="*/ 786331 h 1418833"/>
                    <a:gd name="connsiteX1408" fmla="*/ 568297 w 2172185"/>
                    <a:gd name="connsiteY1408" fmla="*/ 777414 h 1418833"/>
                    <a:gd name="connsiteX1409" fmla="*/ 573197 w 2172185"/>
                    <a:gd name="connsiteY1409" fmla="*/ 791552 h 1418833"/>
                    <a:gd name="connsiteX1410" fmla="*/ 572956 w 2172185"/>
                    <a:gd name="connsiteY1410" fmla="*/ 791311 h 1418833"/>
                    <a:gd name="connsiteX1411" fmla="*/ 489897 w 2172185"/>
                    <a:gd name="connsiteY1411" fmla="*/ 768337 h 1418833"/>
                    <a:gd name="connsiteX1412" fmla="*/ 472787 w 2172185"/>
                    <a:gd name="connsiteY1412" fmla="*/ 772514 h 1418833"/>
                    <a:gd name="connsiteX1413" fmla="*/ 470698 w 2172185"/>
                    <a:gd name="connsiteY1413" fmla="*/ 772193 h 1418833"/>
                    <a:gd name="connsiteX1414" fmla="*/ 473349 w 2172185"/>
                    <a:gd name="connsiteY1414" fmla="*/ 770988 h 1418833"/>
                    <a:gd name="connsiteX1415" fmla="*/ 490861 w 2172185"/>
                    <a:gd name="connsiteY1415" fmla="*/ 767614 h 1418833"/>
                    <a:gd name="connsiteX1416" fmla="*/ 489897 w 2172185"/>
                    <a:gd name="connsiteY1416" fmla="*/ 768337 h 1418833"/>
                    <a:gd name="connsiteX1417" fmla="*/ 230759 w 2172185"/>
                    <a:gd name="connsiteY1417" fmla="*/ 705039 h 1418833"/>
                    <a:gd name="connsiteX1418" fmla="*/ 227224 w 2172185"/>
                    <a:gd name="connsiteY1418" fmla="*/ 705039 h 1418833"/>
                    <a:gd name="connsiteX1419" fmla="*/ 226180 w 2172185"/>
                    <a:gd name="connsiteY1419" fmla="*/ 704155 h 1418833"/>
                    <a:gd name="connsiteX1420" fmla="*/ 231000 w 2172185"/>
                    <a:gd name="connsiteY1420" fmla="*/ 704959 h 1418833"/>
                    <a:gd name="connsiteX1421" fmla="*/ 230759 w 2172185"/>
                    <a:gd name="connsiteY1421" fmla="*/ 705039 h 1418833"/>
                    <a:gd name="connsiteX1422" fmla="*/ 119986 w 2172185"/>
                    <a:gd name="connsiteY1422" fmla="*/ 543098 h 1418833"/>
                    <a:gd name="connsiteX1423" fmla="*/ 118139 w 2172185"/>
                    <a:gd name="connsiteY1423" fmla="*/ 545106 h 1418833"/>
                    <a:gd name="connsiteX1424" fmla="*/ 121272 w 2172185"/>
                    <a:gd name="connsiteY1424" fmla="*/ 540206 h 1418833"/>
                    <a:gd name="connsiteX1425" fmla="*/ 119986 w 2172185"/>
                    <a:gd name="connsiteY1425" fmla="*/ 543098 h 1418833"/>
                    <a:gd name="connsiteX1426" fmla="*/ 119986 w 2172185"/>
                    <a:gd name="connsiteY1426" fmla="*/ 543098 h 1418833"/>
                    <a:gd name="connsiteX1427" fmla="*/ 233972 w 2172185"/>
                    <a:gd name="connsiteY1427" fmla="*/ 700460 h 1418833"/>
                    <a:gd name="connsiteX1428" fmla="*/ 232365 w 2172185"/>
                    <a:gd name="connsiteY1428" fmla="*/ 702067 h 1418833"/>
                    <a:gd name="connsiteX1429" fmla="*/ 230437 w 2172185"/>
                    <a:gd name="connsiteY1429" fmla="*/ 702308 h 1418833"/>
                    <a:gd name="connsiteX1430" fmla="*/ 234534 w 2172185"/>
                    <a:gd name="connsiteY1430" fmla="*/ 699898 h 1418833"/>
                    <a:gd name="connsiteX1431" fmla="*/ 233972 w 2172185"/>
                    <a:gd name="connsiteY1431" fmla="*/ 700460 h 1418833"/>
                    <a:gd name="connsiteX1432" fmla="*/ 164890 w 2172185"/>
                    <a:gd name="connsiteY1432" fmla="*/ 655717 h 1418833"/>
                    <a:gd name="connsiteX1433" fmla="*/ 164167 w 2172185"/>
                    <a:gd name="connsiteY1433" fmla="*/ 655316 h 1418833"/>
                    <a:gd name="connsiteX1434" fmla="*/ 165773 w 2172185"/>
                    <a:gd name="connsiteY1434" fmla="*/ 653950 h 1418833"/>
                    <a:gd name="connsiteX1435" fmla="*/ 164890 w 2172185"/>
                    <a:gd name="connsiteY1435" fmla="*/ 655717 h 1418833"/>
                    <a:gd name="connsiteX1436" fmla="*/ 158222 w 2172185"/>
                    <a:gd name="connsiteY1436" fmla="*/ 649693 h 1418833"/>
                    <a:gd name="connsiteX1437" fmla="*/ 153804 w 2172185"/>
                    <a:gd name="connsiteY1437" fmla="*/ 657163 h 1418833"/>
                    <a:gd name="connsiteX1438" fmla="*/ 157259 w 2172185"/>
                    <a:gd name="connsiteY1438" fmla="*/ 649693 h 1418833"/>
                    <a:gd name="connsiteX1439" fmla="*/ 157981 w 2172185"/>
                    <a:gd name="connsiteY1439" fmla="*/ 648649 h 1418833"/>
                    <a:gd name="connsiteX1440" fmla="*/ 160632 w 2172185"/>
                    <a:gd name="connsiteY1440" fmla="*/ 644873 h 1418833"/>
                    <a:gd name="connsiteX1441" fmla="*/ 158222 w 2172185"/>
                    <a:gd name="connsiteY1441" fmla="*/ 649693 h 1418833"/>
                    <a:gd name="connsiteX1442" fmla="*/ 164247 w 2172185"/>
                    <a:gd name="connsiteY1442" fmla="*/ 648327 h 1418833"/>
                    <a:gd name="connsiteX1443" fmla="*/ 163203 w 2172185"/>
                    <a:gd name="connsiteY1443" fmla="*/ 650175 h 1418833"/>
                    <a:gd name="connsiteX1444" fmla="*/ 164247 w 2172185"/>
                    <a:gd name="connsiteY1444" fmla="*/ 648327 h 1418833"/>
                    <a:gd name="connsiteX1445" fmla="*/ 164247 w 2172185"/>
                    <a:gd name="connsiteY1445" fmla="*/ 648327 h 1418833"/>
                    <a:gd name="connsiteX1446" fmla="*/ 157901 w 2172185"/>
                    <a:gd name="connsiteY1446" fmla="*/ 642945 h 1418833"/>
                    <a:gd name="connsiteX1447" fmla="*/ 153162 w 2172185"/>
                    <a:gd name="connsiteY1447" fmla="*/ 647444 h 1418833"/>
                    <a:gd name="connsiteX1448" fmla="*/ 156214 w 2172185"/>
                    <a:gd name="connsiteY1448" fmla="*/ 636358 h 1418833"/>
                    <a:gd name="connsiteX1449" fmla="*/ 156295 w 2172185"/>
                    <a:gd name="connsiteY1449" fmla="*/ 636358 h 1418833"/>
                    <a:gd name="connsiteX1450" fmla="*/ 156054 w 2172185"/>
                    <a:gd name="connsiteY1450" fmla="*/ 642383 h 1418833"/>
                    <a:gd name="connsiteX1451" fmla="*/ 161034 w 2172185"/>
                    <a:gd name="connsiteY1451" fmla="*/ 636599 h 1418833"/>
                    <a:gd name="connsiteX1452" fmla="*/ 157901 w 2172185"/>
                    <a:gd name="connsiteY1452" fmla="*/ 642945 h 1418833"/>
                    <a:gd name="connsiteX1453" fmla="*/ 470056 w 2172185"/>
                    <a:gd name="connsiteY1453" fmla="*/ 749380 h 1418833"/>
                    <a:gd name="connsiteX1454" fmla="*/ 467887 w 2172185"/>
                    <a:gd name="connsiteY1454" fmla="*/ 752111 h 1418833"/>
                    <a:gd name="connsiteX1455" fmla="*/ 467244 w 2172185"/>
                    <a:gd name="connsiteY1455" fmla="*/ 751709 h 1418833"/>
                    <a:gd name="connsiteX1456" fmla="*/ 468047 w 2172185"/>
                    <a:gd name="connsiteY1456" fmla="*/ 751147 h 1418833"/>
                    <a:gd name="connsiteX1457" fmla="*/ 462023 w 2172185"/>
                    <a:gd name="connsiteY1457" fmla="*/ 744641 h 1418833"/>
                    <a:gd name="connsiteX1458" fmla="*/ 470056 w 2172185"/>
                    <a:gd name="connsiteY1458" fmla="*/ 749380 h 1418833"/>
                    <a:gd name="connsiteX1459" fmla="*/ 238068 w 2172185"/>
                    <a:gd name="connsiteY1459" fmla="*/ 686804 h 1418833"/>
                    <a:gd name="connsiteX1460" fmla="*/ 235659 w 2172185"/>
                    <a:gd name="connsiteY1460" fmla="*/ 687206 h 1418833"/>
                    <a:gd name="connsiteX1461" fmla="*/ 234855 w 2172185"/>
                    <a:gd name="connsiteY1461" fmla="*/ 689535 h 1418833"/>
                    <a:gd name="connsiteX1462" fmla="*/ 230919 w 2172185"/>
                    <a:gd name="connsiteY1462" fmla="*/ 688090 h 1418833"/>
                    <a:gd name="connsiteX1463" fmla="*/ 232044 w 2172185"/>
                    <a:gd name="connsiteY1463" fmla="*/ 686724 h 1418833"/>
                    <a:gd name="connsiteX1464" fmla="*/ 238390 w 2172185"/>
                    <a:gd name="connsiteY1464" fmla="*/ 686563 h 1418833"/>
                    <a:gd name="connsiteX1465" fmla="*/ 238068 w 2172185"/>
                    <a:gd name="connsiteY1465" fmla="*/ 686804 h 1418833"/>
                    <a:gd name="connsiteX1466" fmla="*/ 123119 w 2172185"/>
                    <a:gd name="connsiteY1466" fmla="*/ 569204 h 1418833"/>
                    <a:gd name="connsiteX1467" fmla="*/ 121432 w 2172185"/>
                    <a:gd name="connsiteY1467" fmla="*/ 567758 h 1418833"/>
                    <a:gd name="connsiteX1468" fmla="*/ 118621 w 2172185"/>
                    <a:gd name="connsiteY1468" fmla="*/ 572498 h 1418833"/>
                    <a:gd name="connsiteX1469" fmla="*/ 123199 w 2172185"/>
                    <a:gd name="connsiteY1469" fmla="*/ 559565 h 1418833"/>
                    <a:gd name="connsiteX1470" fmla="*/ 123119 w 2172185"/>
                    <a:gd name="connsiteY1470" fmla="*/ 560288 h 1418833"/>
                    <a:gd name="connsiteX1471" fmla="*/ 123199 w 2172185"/>
                    <a:gd name="connsiteY1471" fmla="*/ 560609 h 1418833"/>
                    <a:gd name="connsiteX1472" fmla="*/ 123360 w 2172185"/>
                    <a:gd name="connsiteY1472" fmla="*/ 560609 h 1418833"/>
                    <a:gd name="connsiteX1473" fmla="*/ 125770 w 2172185"/>
                    <a:gd name="connsiteY1473" fmla="*/ 556111 h 1418833"/>
                    <a:gd name="connsiteX1474" fmla="*/ 123119 w 2172185"/>
                    <a:gd name="connsiteY1474" fmla="*/ 569204 h 1418833"/>
                    <a:gd name="connsiteX1475" fmla="*/ 123119 w 2172185"/>
                    <a:gd name="connsiteY1475" fmla="*/ 569204 h 1418833"/>
                    <a:gd name="connsiteX1476" fmla="*/ 446439 w 2172185"/>
                    <a:gd name="connsiteY1476" fmla="*/ 744400 h 1418833"/>
                    <a:gd name="connsiteX1477" fmla="*/ 443949 w 2172185"/>
                    <a:gd name="connsiteY1477" fmla="*/ 744882 h 1418833"/>
                    <a:gd name="connsiteX1478" fmla="*/ 439370 w 2172185"/>
                    <a:gd name="connsiteY1478" fmla="*/ 743677 h 1418833"/>
                    <a:gd name="connsiteX1479" fmla="*/ 444029 w 2172185"/>
                    <a:gd name="connsiteY1479" fmla="*/ 736608 h 1418833"/>
                    <a:gd name="connsiteX1480" fmla="*/ 444110 w 2172185"/>
                    <a:gd name="connsiteY1480" fmla="*/ 740062 h 1418833"/>
                    <a:gd name="connsiteX1481" fmla="*/ 446439 w 2172185"/>
                    <a:gd name="connsiteY1481" fmla="*/ 744400 h 1418833"/>
                    <a:gd name="connsiteX1482" fmla="*/ 540744 w 2172185"/>
                    <a:gd name="connsiteY1482" fmla="*/ 756850 h 1418833"/>
                    <a:gd name="connsiteX1483" fmla="*/ 537692 w 2172185"/>
                    <a:gd name="connsiteY1483" fmla="*/ 746809 h 1418833"/>
                    <a:gd name="connsiteX1484" fmla="*/ 539298 w 2172185"/>
                    <a:gd name="connsiteY1484" fmla="*/ 745283 h 1418833"/>
                    <a:gd name="connsiteX1485" fmla="*/ 541066 w 2172185"/>
                    <a:gd name="connsiteY1485" fmla="*/ 757091 h 1418833"/>
                    <a:gd name="connsiteX1486" fmla="*/ 540744 w 2172185"/>
                    <a:gd name="connsiteY1486" fmla="*/ 756850 h 1418833"/>
                    <a:gd name="connsiteX1487" fmla="*/ 161355 w 2172185"/>
                    <a:gd name="connsiteY1487" fmla="*/ 635394 h 1418833"/>
                    <a:gd name="connsiteX1488" fmla="*/ 161837 w 2172185"/>
                    <a:gd name="connsiteY1488" fmla="*/ 632101 h 1418833"/>
                    <a:gd name="connsiteX1489" fmla="*/ 164970 w 2172185"/>
                    <a:gd name="connsiteY1489" fmla="*/ 627121 h 1418833"/>
                    <a:gd name="connsiteX1490" fmla="*/ 165050 w 2172185"/>
                    <a:gd name="connsiteY1490" fmla="*/ 627121 h 1418833"/>
                    <a:gd name="connsiteX1491" fmla="*/ 161516 w 2172185"/>
                    <a:gd name="connsiteY1491" fmla="*/ 635635 h 1418833"/>
                    <a:gd name="connsiteX1492" fmla="*/ 161355 w 2172185"/>
                    <a:gd name="connsiteY1492" fmla="*/ 635394 h 1418833"/>
                    <a:gd name="connsiteX1493" fmla="*/ 231482 w 2172185"/>
                    <a:gd name="connsiteY1493" fmla="*/ 658690 h 1418833"/>
                    <a:gd name="connsiteX1494" fmla="*/ 214131 w 2172185"/>
                    <a:gd name="connsiteY1494" fmla="*/ 665999 h 1418833"/>
                    <a:gd name="connsiteX1495" fmla="*/ 221280 w 2172185"/>
                    <a:gd name="connsiteY1495" fmla="*/ 660457 h 1418833"/>
                    <a:gd name="connsiteX1496" fmla="*/ 222003 w 2172185"/>
                    <a:gd name="connsiteY1496" fmla="*/ 659975 h 1418833"/>
                    <a:gd name="connsiteX1497" fmla="*/ 230196 w 2172185"/>
                    <a:gd name="connsiteY1497" fmla="*/ 651942 h 1418833"/>
                    <a:gd name="connsiteX1498" fmla="*/ 229714 w 2172185"/>
                    <a:gd name="connsiteY1498" fmla="*/ 653308 h 1418833"/>
                    <a:gd name="connsiteX1499" fmla="*/ 233008 w 2172185"/>
                    <a:gd name="connsiteY1499" fmla="*/ 652424 h 1418833"/>
                    <a:gd name="connsiteX1500" fmla="*/ 231964 w 2172185"/>
                    <a:gd name="connsiteY1500" fmla="*/ 658288 h 1418833"/>
                    <a:gd name="connsiteX1501" fmla="*/ 231482 w 2172185"/>
                    <a:gd name="connsiteY1501" fmla="*/ 658690 h 1418833"/>
                    <a:gd name="connsiteX1502" fmla="*/ 183124 w 2172185"/>
                    <a:gd name="connsiteY1502" fmla="*/ 624470 h 1418833"/>
                    <a:gd name="connsiteX1503" fmla="*/ 178144 w 2172185"/>
                    <a:gd name="connsiteY1503" fmla="*/ 624631 h 1418833"/>
                    <a:gd name="connsiteX1504" fmla="*/ 178947 w 2172185"/>
                    <a:gd name="connsiteY1504" fmla="*/ 619891 h 1418833"/>
                    <a:gd name="connsiteX1505" fmla="*/ 183365 w 2172185"/>
                    <a:gd name="connsiteY1505" fmla="*/ 618606 h 1418833"/>
                    <a:gd name="connsiteX1506" fmla="*/ 183526 w 2172185"/>
                    <a:gd name="connsiteY1506" fmla="*/ 624390 h 1418833"/>
                    <a:gd name="connsiteX1507" fmla="*/ 183124 w 2172185"/>
                    <a:gd name="connsiteY1507" fmla="*/ 624470 h 1418833"/>
                    <a:gd name="connsiteX1508" fmla="*/ 212605 w 2172185"/>
                    <a:gd name="connsiteY1508" fmla="*/ 635716 h 1418833"/>
                    <a:gd name="connsiteX1509" fmla="*/ 190514 w 2172185"/>
                    <a:gd name="connsiteY1509" fmla="*/ 652826 h 1418833"/>
                    <a:gd name="connsiteX1510" fmla="*/ 193727 w 2172185"/>
                    <a:gd name="connsiteY1510" fmla="*/ 647926 h 1418833"/>
                    <a:gd name="connsiteX1511" fmla="*/ 194852 w 2172185"/>
                    <a:gd name="connsiteY1511" fmla="*/ 651540 h 1418833"/>
                    <a:gd name="connsiteX1512" fmla="*/ 198788 w 2172185"/>
                    <a:gd name="connsiteY1512" fmla="*/ 641660 h 1418833"/>
                    <a:gd name="connsiteX1513" fmla="*/ 200796 w 2172185"/>
                    <a:gd name="connsiteY1513" fmla="*/ 637885 h 1418833"/>
                    <a:gd name="connsiteX1514" fmla="*/ 201278 w 2172185"/>
                    <a:gd name="connsiteY1514" fmla="*/ 637403 h 1418833"/>
                    <a:gd name="connsiteX1515" fmla="*/ 203045 w 2172185"/>
                    <a:gd name="connsiteY1515" fmla="*/ 636439 h 1418833"/>
                    <a:gd name="connsiteX1516" fmla="*/ 208026 w 2172185"/>
                    <a:gd name="connsiteY1516" fmla="*/ 632021 h 1418833"/>
                    <a:gd name="connsiteX1517" fmla="*/ 208668 w 2172185"/>
                    <a:gd name="connsiteY1517" fmla="*/ 631539 h 1418833"/>
                    <a:gd name="connsiteX1518" fmla="*/ 212364 w 2172185"/>
                    <a:gd name="connsiteY1518" fmla="*/ 628808 h 1418833"/>
                    <a:gd name="connsiteX1519" fmla="*/ 211400 w 2172185"/>
                    <a:gd name="connsiteY1519" fmla="*/ 631860 h 1418833"/>
                    <a:gd name="connsiteX1520" fmla="*/ 213327 w 2172185"/>
                    <a:gd name="connsiteY1520" fmla="*/ 630575 h 1418833"/>
                    <a:gd name="connsiteX1521" fmla="*/ 211159 w 2172185"/>
                    <a:gd name="connsiteY1521" fmla="*/ 634672 h 1418833"/>
                    <a:gd name="connsiteX1522" fmla="*/ 213568 w 2172185"/>
                    <a:gd name="connsiteY1522" fmla="*/ 634270 h 1418833"/>
                    <a:gd name="connsiteX1523" fmla="*/ 212605 w 2172185"/>
                    <a:gd name="connsiteY1523" fmla="*/ 635716 h 1418833"/>
                    <a:gd name="connsiteX1524" fmla="*/ 210596 w 2172185"/>
                    <a:gd name="connsiteY1524" fmla="*/ 618847 h 1418833"/>
                    <a:gd name="connsiteX1525" fmla="*/ 200395 w 2172185"/>
                    <a:gd name="connsiteY1525" fmla="*/ 631458 h 1418833"/>
                    <a:gd name="connsiteX1526" fmla="*/ 202082 w 2172185"/>
                    <a:gd name="connsiteY1526" fmla="*/ 622783 h 1418833"/>
                    <a:gd name="connsiteX1527" fmla="*/ 207223 w 2172185"/>
                    <a:gd name="connsiteY1527" fmla="*/ 616357 h 1418833"/>
                    <a:gd name="connsiteX1528" fmla="*/ 209793 w 2172185"/>
                    <a:gd name="connsiteY1528" fmla="*/ 616678 h 1418833"/>
                    <a:gd name="connsiteX1529" fmla="*/ 211319 w 2172185"/>
                    <a:gd name="connsiteY1529" fmla="*/ 617321 h 1418833"/>
                    <a:gd name="connsiteX1530" fmla="*/ 210596 w 2172185"/>
                    <a:gd name="connsiteY1530" fmla="*/ 618847 h 1418833"/>
                    <a:gd name="connsiteX1531" fmla="*/ 207544 w 2172185"/>
                    <a:gd name="connsiteY1531" fmla="*/ 614268 h 1418833"/>
                    <a:gd name="connsiteX1532" fmla="*/ 208749 w 2172185"/>
                    <a:gd name="connsiteY1532" fmla="*/ 611858 h 1418833"/>
                    <a:gd name="connsiteX1533" fmla="*/ 209231 w 2172185"/>
                    <a:gd name="connsiteY1533" fmla="*/ 612340 h 1418833"/>
                    <a:gd name="connsiteX1534" fmla="*/ 207544 w 2172185"/>
                    <a:gd name="connsiteY1534" fmla="*/ 614268 h 1418833"/>
                    <a:gd name="connsiteX1535" fmla="*/ 171155 w 2172185"/>
                    <a:gd name="connsiteY1535" fmla="*/ 579245 h 1418833"/>
                    <a:gd name="connsiteX1536" fmla="*/ 168022 w 2172185"/>
                    <a:gd name="connsiteY1536" fmla="*/ 581816 h 1418833"/>
                    <a:gd name="connsiteX1537" fmla="*/ 173404 w 2172185"/>
                    <a:gd name="connsiteY1537" fmla="*/ 573301 h 1418833"/>
                    <a:gd name="connsiteX1538" fmla="*/ 173003 w 2172185"/>
                    <a:gd name="connsiteY1538" fmla="*/ 574265 h 1418833"/>
                    <a:gd name="connsiteX1539" fmla="*/ 171155 w 2172185"/>
                    <a:gd name="connsiteY1539" fmla="*/ 579245 h 1418833"/>
                    <a:gd name="connsiteX1540" fmla="*/ 204732 w 2172185"/>
                    <a:gd name="connsiteY1540" fmla="*/ 598203 h 1418833"/>
                    <a:gd name="connsiteX1541" fmla="*/ 204009 w 2172185"/>
                    <a:gd name="connsiteY1541" fmla="*/ 594427 h 1418833"/>
                    <a:gd name="connsiteX1542" fmla="*/ 204732 w 2172185"/>
                    <a:gd name="connsiteY1542" fmla="*/ 598203 h 1418833"/>
                    <a:gd name="connsiteX1543" fmla="*/ 199913 w 2172185"/>
                    <a:gd name="connsiteY1543" fmla="*/ 586475 h 1418833"/>
                    <a:gd name="connsiteX1544" fmla="*/ 198708 w 2172185"/>
                    <a:gd name="connsiteY1544" fmla="*/ 586234 h 1418833"/>
                    <a:gd name="connsiteX1545" fmla="*/ 174288 w 2172185"/>
                    <a:gd name="connsiteY1545" fmla="*/ 584306 h 1418833"/>
                    <a:gd name="connsiteX1546" fmla="*/ 175252 w 2172185"/>
                    <a:gd name="connsiteY1546" fmla="*/ 581976 h 1418833"/>
                    <a:gd name="connsiteX1547" fmla="*/ 175091 w 2172185"/>
                    <a:gd name="connsiteY1547" fmla="*/ 581816 h 1418833"/>
                    <a:gd name="connsiteX1548" fmla="*/ 173244 w 2172185"/>
                    <a:gd name="connsiteY1548" fmla="*/ 583422 h 1418833"/>
                    <a:gd name="connsiteX1549" fmla="*/ 175252 w 2172185"/>
                    <a:gd name="connsiteY1549" fmla="*/ 577960 h 1418833"/>
                    <a:gd name="connsiteX1550" fmla="*/ 175413 w 2172185"/>
                    <a:gd name="connsiteY1550" fmla="*/ 577960 h 1418833"/>
                    <a:gd name="connsiteX1551" fmla="*/ 175573 w 2172185"/>
                    <a:gd name="connsiteY1551" fmla="*/ 578763 h 1418833"/>
                    <a:gd name="connsiteX1552" fmla="*/ 190836 w 2172185"/>
                    <a:gd name="connsiteY1552" fmla="*/ 570891 h 1418833"/>
                    <a:gd name="connsiteX1553" fmla="*/ 193406 w 2172185"/>
                    <a:gd name="connsiteY1553" fmla="*/ 574908 h 1418833"/>
                    <a:gd name="connsiteX1554" fmla="*/ 191800 w 2172185"/>
                    <a:gd name="connsiteY1554" fmla="*/ 576835 h 1418833"/>
                    <a:gd name="connsiteX1555" fmla="*/ 200073 w 2172185"/>
                    <a:gd name="connsiteY1555" fmla="*/ 586635 h 1418833"/>
                    <a:gd name="connsiteX1556" fmla="*/ 199913 w 2172185"/>
                    <a:gd name="connsiteY1556" fmla="*/ 586475 h 1418833"/>
                    <a:gd name="connsiteX1557" fmla="*/ 215095 w 2172185"/>
                    <a:gd name="connsiteY1557" fmla="*/ 574667 h 1418833"/>
                    <a:gd name="connsiteX1558" fmla="*/ 212042 w 2172185"/>
                    <a:gd name="connsiteY1558" fmla="*/ 575952 h 1418833"/>
                    <a:gd name="connsiteX1559" fmla="*/ 212364 w 2172185"/>
                    <a:gd name="connsiteY1559" fmla="*/ 577398 h 1418833"/>
                    <a:gd name="connsiteX1560" fmla="*/ 209713 w 2172185"/>
                    <a:gd name="connsiteY1560" fmla="*/ 579406 h 1418833"/>
                    <a:gd name="connsiteX1561" fmla="*/ 208990 w 2172185"/>
                    <a:gd name="connsiteY1561" fmla="*/ 578763 h 1418833"/>
                    <a:gd name="connsiteX1562" fmla="*/ 210998 w 2172185"/>
                    <a:gd name="connsiteY1562" fmla="*/ 573783 h 1418833"/>
                    <a:gd name="connsiteX1563" fmla="*/ 211078 w 2172185"/>
                    <a:gd name="connsiteY1563" fmla="*/ 575871 h 1418833"/>
                    <a:gd name="connsiteX1564" fmla="*/ 215416 w 2172185"/>
                    <a:gd name="connsiteY1564" fmla="*/ 574667 h 1418833"/>
                    <a:gd name="connsiteX1565" fmla="*/ 215095 w 2172185"/>
                    <a:gd name="connsiteY1565" fmla="*/ 574667 h 1418833"/>
                    <a:gd name="connsiteX1566" fmla="*/ 180875 w 2172185"/>
                    <a:gd name="connsiteY1566" fmla="*/ 533298 h 1418833"/>
                    <a:gd name="connsiteX1567" fmla="*/ 179429 w 2172185"/>
                    <a:gd name="connsiteY1567" fmla="*/ 534503 h 1418833"/>
                    <a:gd name="connsiteX1568" fmla="*/ 180714 w 2172185"/>
                    <a:gd name="connsiteY1568" fmla="*/ 529602 h 1418833"/>
                    <a:gd name="connsiteX1569" fmla="*/ 181036 w 2172185"/>
                    <a:gd name="connsiteY1569" fmla="*/ 533298 h 1418833"/>
                    <a:gd name="connsiteX1570" fmla="*/ 180875 w 2172185"/>
                    <a:gd name="connsiteY1570" fmla="*/ 533298 h 1418833"/>
                    <a:gd name="connsiteX1571" fmla="*/ 171075 w 2172185"/>
                    <a:gd name="connsiteY1571" fmla="*/ 456906 h 1418833"/>
                    <a:gd name="connsiteX1572" fmla="*/ 181437 w 2172185"/>
                    <a:gd name="connsiteY1572" fmla="*/ 440037 h 1418833"/>
                    <a:gd name="connsiteX1573" fmla="*/ 171075 w 2172185"/>
                    <a:gd name="connsiteY1573" fmla="*/ 456906 h 1418833"/>
                    <a:gd name="connsiteX1574" fmla="*/ 233168 w 2172185"/>
                    <a:gd name="connsiteY1574" fmla="*/ 592901 h 1418833"/>
                    <a:gd name="connsiteX1575" fmla="*/ 231964 w 2172185"/>
                    <a:gd name="connsiteY1575" fmla="*/ 594267 h 1418833"/>
                    <a:gd name="connsiteX1576" fmla="*/ 233731 w 2172185"/>
                    <a:gd name="connsiteY1576" fmla="*/ 584949 h 1418833"/>
                    <a:gd name="connsiteX1577" fmla="*/ 234052 w 2172185"/>
                    <a:gd name="connsiteY1577" fmla="*/ 584868 h 1418833"/>
                    <a:gd name="connsiteX1578" fmla="*/ 235980 w 2172185"/>
                    <a:gd name="connsiteY1578" fmla="*/ 583503 h 1418833"/>
                    <a:gd name="connsiteX1579" fmla="*/ 237908 w 2172185"/>
                    <a:gd name="connsiteY1579" fmla="*/ 581173 h 1418833"/>
                    <a:gd name="connsiteX1580" fmla="*/ 238711 w 2172185"/>
                    <a:gd name="connsiteY1580" fmla="*/ 580611 h 1418833"/>
                    <a:gd name="connsiteX1581" fmla="*/ 233409 w 2172185"/>
                    <a:gd name="connsiteY1581" fmla="*/ 593865 h 1418833"/>
                    <a:gd name="connsiteX1582" fmla="*/ 233168 w 2172185"/>
                    <a:gd name="connsiteY1582" fmla="*/ 592901 h 1418833"/>
                    <a:gd name="connsiteX1583" fmla="*/ 175814 w 2172185"/>
                    <a:gd name="connsiteY1583" fmla="*/ 498355 h 1418833"/>
                    <a:gd name="connsiteX1584" fmla="*/ 173244 w 2172185"/>
                    <a:gd name="connsiteY1584" fmla="*/ 500042 h 1418833"/>
                    <a:gd name="connsiteX1585" fmla="*/ 173404 w 2172185"/>
                    <a:gd name="connsiteY1585" fmla="*/ 498837 h 1418833"/>
                    <a:gd name="connsiteX1586" fmla="*/ 177903 w 2172185"/>
                    <a:gd name="connsiteY1586" fmla="*/ 493937 h 1418833"/>
                    <a:gd name="connsiteX1587" fmla="*/ 175814 w 2172185"/>
                    <a:gd name="connsiteY1587" fmla="*/ 498355 h 1418833"/>
                    <a:gd name="connsiteX1588" fmla="*/ 233891 w 2172185"/>
                    <a:gd name="connsiteY1588" fmla="*/ 568321 h 1418833"/>
                    <a:gd name="connsiteX1589" fmla="*/ 230116 w 2172185"/>
                    <a:gd name="connsiteY1589" fmla="*/ 573221 h 1418833"/>
                    <a:gd name="connsiteX1590" fmla="*/ 224814 w 2172185"/>
                    <a:gd name="connsiteY1590" fmla="*/ 577719 h 1418833"/>
                    <a:gd name="connsiteX1591" fmla="*/ 230518 w 2172185"/>
                    <a:gd name="connsiteY1591" fmla="*/ 565911 h 1418833"/>
                    <a:gd name="connsiteX1592" fmla="*/ 228831 w 2172185"/>
                    <a:gd name="connsiteY1592" fmla="*/ 566794 h 1418833"/>
                    <a:gd name="connsiteX1593" fmla="*/ 228670 w 2172185"/>
                    <a:gd name="connsiteY1593" fmla="*/ 565750 h 1418833"/>
                    <a:gd name="connsiteX1594" fmla="*/ 229232 w 2172185"/>
                    <a:gd name="connsiteY1594" fmla="*/ 566071 h 1418833"/>
                    <a:gd name="connsiteX1595" fmla="*/ 231883 w 2172185"/>
                    <a:gd name="connsiteY1595" fmla="*/ 563983 h 1418833"/>
                    <a:gd name="connsiteX1596" fmla="*/ 230196 w 2172185"/>
                    <a:gd name="connsiteY1596" fmla="*/ 568240 h 1418833"/>
                    <a:gd name="connsiteX1597" fmla="*/ 230759 w 2172185"/>
                    <a:gd name="connsiteY1597" fmla="*/ 568321 h 1418833"/>
                    <a:gd name="connsiteX1598" fmla="*/ 229313 w 2172185"/>
                    <a:gd name="connsiteY1598" fmla="*/ 569686 h 1418833"/>
                    <a:gd name="connsiteX1599" fmla="*/ 234534 w 2172185"/>
                    <a:gd name="connsiteY1599" fmla="*/ 567437 h 1418833"/>
                    <a:gd name="connsiteX1600" fmla="*/ 233891 w 2172185"/>
                    <a:gd name="connsiteY1600" fmla="*/ 568321 h 1418833"/>
                    <a:gd name="connsiteX1601" fmla="*/ 201519 w 2172185"/>
                    <a:gd name="connsiteY1601" fmla="*/ 406701 h 1418833"/>
                    <a:gd name="connsiteX1602" fmla="*/ 208267 w 2172185"/>
                    <a:gd name="connsiteY1602" fmla="*/ 397383 h 1418833"/>
                    <a:gd name="connsiteX1603" fmla="*/ 201359 w 2172185"/>
                    <a:gd name="connsiteY1603" fmla="*/ 407022 h 1418833"/>
                    <a:gd name="connsiteX1604" fmla="*/ 201519 w 2172185"/>
                    <a:gd name="connsiteY1604" fmla="*/ 406701 h 1418833"/>
                    <a:gd name="connsiteX1605" fmla="*/ 245941 w 2172185"/>
                    <a:gd name="connsiteY1605" fmla="*/ 555548 h 1418833"/>
                    <a:gd name="connsiteX1606" fmla="*/ 241121 w 2172185"/>
                    <a:gd name="connsiteY1606" fmla="*/ 560368 h 1418833"/>
                    <a:gd name="connsiteX1607" fmla="*/ 243129 w 2172185"/>
                    <a:gd name="connsiteY1607" fmla="*/ 557235 h 1418833"/>
                    <a:gd name="connsiteX1608" fmla="*/ 246262 w 2172185"/>
                    <a:gd name="connsiteY1608" fmla="*/ 554986 h 1418833"/>
                    <a:gd name="connsiteX1609" fmla="*/ 245941 w 2172185"/>
                    <a:gd name="connsiteY1609" fmla="*/ 555548 h 1418833"/>
                    <a:gd name="connsiteX1610" fmla="*/ 261444 w 2172185"/>
                    <a:gd name="connsiteY1610" fmla="*/ 539161 h 1418833"/>
                    <a:gd name="connsiteX1611" fmla="*/ 258311 w 2172185"/>
                    <a:gd name="connsiteY1611" fmla="*/ 541812 h 1418833"/>
                    <a:gd name="connsiteX1612" fmla="*/ 263211 w 2172185"/>
                    <a:gd name="connsiteY1612" fmla="*/ 534824 h 1418833"/>
                    <a:gd name="connsiteX1613" fmla="*/ 261444 w 2172185"/>
                    <a:gd name="connsiteY1613" fmla="*/ 539161 h 1418833"/>
                    <a:gd name="connsiteX1614" fmla="*/ 228991 w 2172185"/>
                    <a:gd name="connsiteY1614" fmla="*/ 509681 h 1418833"/>
                    <a:gd name="connsiteX1615" fmla="*/ 224493 w 2172185"/>
                    <a:gd name="connsiteY1615" fmla="*/ 507593 h 1418833"/>
                    <a:gd name="connsiteX1616" fmla="*/ 215014 w 2172185"/>
                    <a:gd name="connsiteY1616" fmla="*/ 513376 h 1418833"/>
                    <a:gd name="connsiteX1617" fmla="*/ 215496 w 2172185"/>
                    <a:gd name="connsiteY1617" fmla="*/ 513858 h 1418833"/>
                    <a:gd name="connsiteX1618" fmla="*/ 195013 w 2172185"/>
                    <a:gd name="connsiteY1618" fmla="*/ 521811 h 1418833"/>
                    <a:gd name="connsiteX1619" fmla="*/ 187863 w 2172185"/>
                    <a:gd name="connsiteY1619" fmla="*/ 507111 h 1418833"/>
                    <a:gd name="connsiteX1620" fmla="*/ 189791 w 2172185"/>
                    <a:gd name="connsiteY1620" fmla="*/ 501166 h 1418833"/>
                    <a:gd name="connsiteX1621" fmla="*/ 189068 w 2172185"/>
                    <a:gd name="connsiteY1621" fmla="*/ 505504 h 1418833"/>
                    <a:gd name="connsiteX1622" fmla="*/ 191559 w 2172185"/>
                    <a:gd name="connsiteY1622" fmla="*/ 511368 h 1418833"/>
                    <a:gd name="connsiteX1623" fmla="*/ 191960 w 2172185"/>
                    <a:gd name="connsiteY1623" fmla="*/ 510966 h 1418833"/>
                    <a:gd name="connsiteX1624" fmla="*/ 193808 w 2172185"/>
                    <a:gd name="connsiteY1624" fmla="*/ 507834 h 1418833"/>
                    <a:gd name="connsiteX1625" fmla="*/ 196941 w 2172185"/>
                    <a:gd name="connsiteY1625" fmla="*/ 503657 h 1418833"/>
                    <a:gd name="connsiteX1626" fmla="*/ 206982 w 2172185"/>
                    <a:gd name="connsiteY1626" fmla="*/ 496668 h 1418833"/>
                    <a:gd name="connsiteX1627" fmla="*/ 212042 w 2172185"/>
                    <a:gd name="connsiteY1627" fmla="*/ 482289 h 1418833"/>
                    <a:gd name="connsiteX1628" fmla="*/ 210837 w 2172185"/>
                    <a:gd name="connsiteY1628" fmla="*/ 508396 h 1418833"/>
                    <a:gd name="connsiteX1629" fmla="*/ 227787 w 2172185"/>
                    <a:gd name="connsiteY1629" fmla="*/ 503094 h 1418833"/>
                    <a:gd name="connsiteX1630" fmla="*/ 229714 w 2172185"/>
                    <a:gd name="connsiteY1630" fmla="*/ 509520 h 1418833"/>
                    <a:gd name="connsiteX1631" fmla="*/ 228991 w 2172185"/>
                    <a:gd name="connsiteY1631" fmla="*/ 509681 h 1418833"/>
                    <a:gd name="connsiteX1632" fmla="*/ 230598 w 2172185"/>
                    <a:gd name="connsiteY1632" fmla="*/ 512011 h 1418833"/>
                    <a:gd name="connsiteX1633" fmla="*/ 227787 w 2172185"/>
                    <a:gd name="connsiteY1633" fmla="*/ 503094 h 1418833"/>
                    <a:gd name="connsiteX1634" fmla="*/ 230678 w 2172185"/>
                    <a:gd name="connsiteY1634" fmla="*/ 512332 h 1418833"/>
                    <a:gd name="connsiteX1635" fmla="*/ 230598 w 2172185"/>
                    <a:gd name="connsiteY1635" fmla="*/ 512011 h 1418833"/>
                    <a:gd name="connsiteX1636" fmla="*/ 291808 w 2172185"/>
                    <a:gd name="connsiteY1636" fmla="*/ 559243 h 1418833"/>
                    <a:gd name="connsiteX1637" fmla="*/ 288032 w 2172185"/>
                    <a:gd name="connsiteY1637" fmla="*/ 556352 h 1418833"/>
                    <a:gd name="connsiteX1638" fmla="*/ 288836 w 2172185"/>
                    <a:gd name="connsiteY1638" fmla="*/ 556191 h 1418833"/>
                    <a:gd name="connsiteX1639" fmla="*/ 289077 w 2172185"/>
                    <a:gd name="connsiteY1639" fmla="*/ 552416 h 1418833"/>
                    <a:gd name="connsiteX1640" fmla="*/ 287229 w 2172185"/>
                    <a:gd name="connsiteY1640" fmla="*/ 553460 h 1418833"/>
                    <a:gd name="connsiteX1641" fmla="*/ 289318 w 2172185"/>
                    <a:gd name="connsiteY1641" fmla="*/ 548640 h 1418833"/>
                    <a:gd name="connsiteX1642" fmla="*/ 290282 w 2172185"/>
                    <a:gd name="connsiteY1642" fmla="*/ 549684 h 1418833"/>
                    <a:gd name="connsiteX1643" fmla="*/ 290683 w 2172185"/>
                    <a:gd name="connsiteY1643" fmla="*/ 549845 h 1418833"/>
                    <a:gd name="connsiteX1644" fmla="*/ 291005 w 2172185"/>
                    <a:gd name="connsiteY1644" fmla="*/ 549443 h 1418833"/>
                    <a:gd name="connsiteX1645" fmla="*/ 296708 w 2172185"/>
                    <a:gd name="connsiteY1645" fmla="*/ 548239 h 1418833"/>
                    <a:gd name="connsiteX1646" fmla="*/ 292129 w 2172185"/>
                    <a:gd name="connsiteY1646" fmla="*/ 559243 h 1418833"/>
                    <a:gd name="connsiteX1647" fmla="*/ 291808 w 2172185"/>
                    <a:gd name="connsiteY1647" fmla="*/ 559243 h 1418833"/>
                    <a:gd name="connsiteX1648" fmla="*/ 288354 w 2172185"/>
                    <a:gd name="connsiteY1648" fmla="*/ 538519 h 1418833"/>
                    <a:gd name="connsiteX1649" fmla="*/ 283213 w 2172185"/>
                    <a:gd name="connsiteY1649" fmla="*/ 545025 h 1418833"/>
                    <a:gd name="connsiteX1650" fmla="*/ 283534 w 2172185"/>
                    <a:gd name="connsiteY1650" fmla="*/ 541893 h 1418833"/>
                    <a:gd name="connsiteX1651" fmla="*/ 288514 w 2172185"/>
                    <a:gd name="connsiteY1651" fmla="*/ 538117 h 1418833"/>
                    <a:gd name="connsiteX1652" fmla="*/ 288354 w 2172185"/>
                    <a:gd name="connsiteY1652" fmla="*/ 538519 h 1418833"/>
                    <a:gd name="connsiteX1653" fmla="*/ 279357 w 2172185"/>
                    <a:gd name="connsiteY1653" fmla="*/ 532093 h 1418833"/>
                    <a:gd name="connsiteX1654" fmla="*/ 272690 w 2172185"/>
                    <a:gd name="connsiteY1654" fmla="*/ 536189 h 1418833"/>
                    <a:gd name="connsiteX1655" fmla="*/ 268352 w 2172185"/>
                    <a:gd name="connsiteY1655" fmla="*/ 541170 h 1418833"/>
                    <a:gd name="connsiteX1656" fmla="*/ 271565 w 2172185"/>
                    <a:gd name="connsiteY1656" fmla="*/ 528478 h 1418833"/>
                    <a:gd name="connsiteX1657" fmla="*/ 281044 w 2172185"/>
                    <a:gd name="connsiteY1657" fmla="*/ 524783 h 1418833"/>
                    <a:gd name="connsiteX1658" fmla="*/ 281365 w 2172185"/>
                    <a:gd name="connsiteY1658" fmla="*/ 526389 h 1418833"/>
                    <a:gd name="connsiteX1659" fmla="*/ 283775 w 2172185"/>
                    <a:gd name="connsiteY1659" fmla="*/ 525265 h 1418833"/>
                    <a:gd name="connsiteX1660" fmla="*/ 279357 w 2172185"/>
                    <a:gd name="connsiteY1660" fmla="*/ 532093 h 1418833"/>
                    <a:gd name="connsiteX1661" fmla="*/ 332052 w 2172185"/>
                    <a:gd name="connsiteY1661" fmla="*/ 534342 h 1418833"/>
                    <a:gd name="connsiteX1662" fmla="*/ 324260 w 2172185"/>
                    <a:gd name="connsiteY1662" fmla="*/ 523980 h 1418833"/>
                    <a:gd name="connsiteX1663" fmla="*/ 332052 w 2172185"/>
                    <a:gd name="connsiteY1663" fmla="*/ 534342 h 1418833"/>
                    <a:gd name="connsiteX1664" fmla="*/ 332052 w 2172185"/>
                    <a:gd name="connsiteY1664" fmla="*/ 534342 h 1418833"/>
                    <a:gd name="connsiteX1665" fmla="*/ 258472 w 2172185"/>
                    <a:gd name="connsiteY1665" fmla="*/ 492973 h 1418833"/>
                    <a:gd name="connsiteX1666" fmla="*/ 255982 w 2172185"/>
                    <a:gd name="connsiteY1666" fmla="*/ 489921 h 1418833"/>
                    <a:gd name="connsiteX1667" fmla="*/ 250600 w 2172185"/>
                    <a:gd name="connsiteY1667" fmla="*/ 481325 h 1418833"/>
                    <a:gd name="connsiteX1668" fmla="*/ 260560 w 2172185"/>
                    <a:gd name="connsiteY1668" fmla="*/ 478433 h 1418833"/>
                    <a:gd name="connsiteX1669" fmla="*/ 258472 w 2172185"/>
                    <a:gd name="connsiteY1669" fmla="*/ 481647 h 1418833"/>
                    <a:gd name="connsiteX1670" fmla="*/ 259918 w 2172185"/>
                    <a:gd name="connsiteY1670" fmla="*/ 481245 h 1418833"/>
                    <a:gd name="connsiteX1671" fmla="*/ 257508 w 2172185"/>
                    <a:gd name="connsiteY1671" fmla="*/ 485904 h 1418833"/>
                    <a:gd name="connsiteX1672" fmla="*/ 258472 w 2172185"/>
                    <a:gd name="connsiteY1672" fmla="*/ 492973 h 1418833"/>
                    <a:gd name="connsiteX1673" fmla="*/ 265782 w 2172185"/>
                    <a:gd name="connsiteY1673" fmla="*/ 473855 h 1418833"/>
                    <a:gd name="connsiteX1674" fmla="*/ 262569 w 2172185"/>
                    <a:gd name="connsiteY1674" fmla="*/ 474979 h 1418833"/>
                    <a:gd name="connsiteX1675" fmla="*/ 265942 w 2172185"/>
                    <a:gd name="connsiteY1675" fmla="*/ 473694 h 1418833"/>
                    <a:gd name="connsiteX1676" fmla="*/ 265782 w 2172185"/>
                    <a:gd name="connsiteY1676" fmla="*/ 473855 h 1418833"/>
                    <a:gd name="connsiteX1677" fmla="*/ 261364 w 2172185"/>
                    <a:gd name="connsiteY1677" fmla="*/ 474016 h 1418833"/>
                    <a:gd name="connsiteX1678" fmla="*/ 260882 w 2172185"/>
                    <a:gd name="connsiteY1678" fmla="*/ 472329 h 1418833"/>
                    <a:gd name="connsiteX1679" fmla="*/ 261926 w 2172185"/>
                    <a:gd name="connsiteY1679" fmla="*/ 470883 h 1418833"/>
                    <a:gd name="connsiteX1680" fmla="*/ 263131 w 2172185"/>
                    <a:gd name="connsiteY1680" fmla="*/ 469598 h 1418833"/>
                    <a:gd name="connsiteX1681" fmla="*/ 261283 w 2172185"/>
                    <a:gd name="connsiteY1681" fmla="*/ 474257 h 1418833"/>
                    <a:gd name="connsiteX1682" fmla="*/ 261364 w 2172185"/>
                    <a:gd name="connsiteY1682" fmla="*/ 474016 h 1418833"/>
                    <a:gd name="connsiteX1683" fmla="*/ 260962 w 2172185"/>
                    <a:gd name="connsiteY1683" fmla="*/ 471043 h 1418833"/>
                    <a:gd name="connsiteX1684" fmla="*/ 259436 w 2172185"/>
                    <a:gd name="connsiteY1684" fmla="*/ 472730 h 1418833"/>
                    <a:gd name="connsiteX1685" fmla="*/ 262328 w 2172185"/>
                    <a:gd name="connsiteY1685" fmla="*/ 468232 h 1418833"/>
                    <a:gd name="connsiteX1686" fmla="*/ 260962 w 2172185"/>
                    <a:gd name="connsiteY1686" fmla="*/ 471043 h 1418833"/>
                    <a:gd name="connsiteX1687" fmla="*/ 267308 w 2172185"/>
                    <a:gd name="connsiteY1687" fmla="*/ 473694 h 1418833"/>
                    <a:gd name="connsiteX1688" fmla="*/ 266505 w 2172185"/>
                    <a:gd name="connsiteY1688" fmla="*/ 474096 h 1418833"/>
                    <a:gd name="connsiteX1689" fmla="*/ 267067 w 2172185"/>
                    <a:gd name="connsiteY1689" fmla="*/ 473132 h 1418833"/>
                    <a:gd name="connsiteX1690" fmla="*/ 267308 w 2172185"/>
                    <a:gd name="connsiteY1690" fmla="*/ 473694 h 1418833"/>
                    <a:gd name="connsiteX1691" fmla="*/ 252126 w 2172185"/>
                    <a:gd name="connsiteY1691" fmla="*/ 459878 h 1418833"/>
                    <a:gd name="connsiteX1692" fmla="*/ 255259 w 2172185"/>
                    <a:gd name="connsiteY1692" fmla="*/ 452889 h 1418833"/>
                    <a:gd name="connsiteX1693" fmla="*/ 253331 w 2172185"/>
                    <a:gd name="connsiteY1693" fmla="*/ 458914 h 1418833"/>
                    <a:gd name="connsiteX1694" fmla="*/ 252126 w 2172185"/>
                    <a:gd name="connsiteY1694" fmla="*/ 459878 h 1418833"/>
                    <a:gd name="connsiteX1695" fmla="*/ 340165 w 2172185"/>
                    <a:gd name="connsiteY1695" fmla="*/ 511770 h 1418833"/>
                    <a:gd name="connsiteX1696" fmla="*/ 334703 w 2172185"/>
                    <a:gd name="connsiteY1696" fmla="*/ 514902 h 1418833"/>
                    <a:gd name="connsiteX1697" fmla="*/ 334060 w 2172185"/>
                    <a:gd name="connsiteY1697" fmla="*/ 514099 h 1418833"/>
                    <a:gd name="connsiteX1698" fmla="*/ 333659 w 2172185"/>
                    <a:gd name="connsiteY1698" fmla="*/ 512171 h 1418833"/>
                    <a:gd name="connsiteX1699" fmla="*/ 335185 w 2172185"/>
                    <a:gd name="connsiteY1699" fmla="*/ 510083 h 1418833"/>
                    <a:gd name="connsiteX1700" fmla="*/ 340808 w 2172185"/>
                    <a:gd name="connsiteY1700" fmla="*/ 511207 h 1418833"/>
                    <a:gd name="connsiteX1701" fmla="*/ 340165 w 2172185"/>
                    <a:gd name="connsiteY1701" fmla="*/ 511770 h 1418833"/>
                    <a:gd name="connsiteX1702" fmla="*/ 244414 w 2172185"/>
                    <a:gd name="connsiteY1702" fmla="*/ 425578 h 1418833"/>
                    <a:gd name="connsiteX1703" fmla="*/ 242647 w 2172185"/>
                    <a:gd name="connsiteY1703" fmla="*/ 427666 h 1418833"/>
                    <a:gd name="connsiteX1704" fmla="*/ 246262 w 2172185"/>
                    <a:gd name="connsiteY1704" fmla="*/ 420597 h 1418833"/>
                    <a:gd name="connsiteX1705" fmla="*/ 246342 w 2172185"/>
                    <a:gd name="connsiteY1705" fmla="*/ 420597 h 1418833"/>
                    <a:gd name="connsiteX1706" fmla="*/ 244414 w 2172185"/>
                    <a:gd name="connsiteY1706" fmla="*/ 425578 h 1418833"/>
                    <a:gd name="connsiteX1707" fmla="*/ 260480 w 2172185"/>
                    <a:gd name="connsiteY1707" fmla="*/ 447025 h 1418833"/>
                    <a:gd name="connsiteX1708" fmla="*/ 258070 w 2172185"/>
                    <a:gd name="connsiteY1708" fmla="*/ 447186 h 1418833"/>
                    <a:gd name="connsiteX1709" fmla="*/ 259436 w 2172185"/>
                    <a:gd name="connsiteY1709" fmla="*/ 432406 h 1418833"/>
                    <a:gd name="connsiteX1710" fmla="*/ 260962 w 2172185"/>
                    <a:gd name="connsiteY1710" fmla="*/ 430799 h 1418833"/>
                    <a:gd name="connsiteX1711" fmla="*/ 262649 w 2172185"/>
                    <a:gd name="connsiteY1711" fmla="*/ 428791 h 1418833"/>
                    <a:gd name="connsiteX1712" fmla="*/ 261846 w 2172185"/>
                    <a:gd name="connsiteY1712" fmla="*/ 430398 h 1418833"/>
                    <a:gd name="connsiteX1713" fmla="*/ 261203 w 2172185"/>
                    <a:gd name="connsiteY1713" fmla="*/ 439716 h 1418833"/>
                    <a:gd name="connsiteX1714" fmla="*/ 260962 w 2172185"/>
                    <a:gd name="connsiteY1714" fmla="*/ 446624 h 1418833"/>
                    <a:gd name="connsiteX1715" fmla="*/ 260480 w 2172185"/>
                    <a:gd name="connsiteY1715" fmla="*/ 447025 h 1418833"/>
                    <a:gd name="connsiteX1716" fmla="*/ 412541 w 2172185"/>
                    <a:gd name="connsiteY1716" fmla="*/ 492571 h 1418833"/>
                    <a:gd name="connsiteX1717" fmla="*/ 408042 w 2172185"/>
                    <a:gd name="connsiteY1717" fmla="*/ 495222 h 1418833"/>
                    <a:gd name="connsiteX1718" fmla="*/ 409890 w 2172185"/>
                    <a:gd name="connsiteY1718" fmla="*/ 493053 h 1418833"/>
                    <a:gd name="connsiteX1719" fmla="*/ 412621 w 2172185"/>
                    <a:gd name="connsiteY1719" fmla="*/ 492411 h 1418833"/>
                    <a:gd name="connsiteX1720" fmla="*/ 412541 w 2172185"/>
                    <a:gd name="connsiteY1720" fmla="*/ 492571 h 1418833"/>
                    <a:gd name="connsiteX1721" fmla="*/ 416557 w 2172185"/>
                    <a:gd name="connsiteY1721" fmla="*/ 495061 h 1418833"/>
                    <a:gd name="connsiteX1722" fmla="*/ 412701 w 2172185"/>
                    <a:gd name="connsiteY1722" fmla="*/ 493937 h 1418833"/>
                    <a:gd name="connsiteX1723" fmla="*/ 413264 w 2172185"/>
                    <a:gd name="connsiteY1723" fmla="*/ 492571 h 1418833"/>
                    <a:gd name="connsiteX1724" fmla="*/ 415513 w 2172185"/>
                    <a:gd name="connsiteY1724" fmla="*/ 491366 h 1418833"/>
                    <a:gd name="connsiteX1725" fmla="*/ 417521 w 2172185"/>
                    <a:gd name="connsiteY1725" fmla="*/ 492491 h 1418833"/>
                    <a:gd name="connsiteX1726" fmla="*/ 417923 w 2172185"/>
                    <a:gd name="connsiteY1726" fmla="*/ 494820 h 1418833"/>
                    <a:gd name="connsiteX1727" fmla="*/ 416557 w 2172185"/>
                    <a:gd name="connsiteY1727" fmla="*/ 495061 h 1418833"/>
                    <a:gd name="connsiteX1728" fmla="*/ 268995 w 2172185"/>
                    <a:gd name="connsiteY1728" fmla="*/ 400194 h 1418833"/>
                    <a:gd name="connsiteX1729" fmla="*/ 259837 w 2172185"/>
                    <a:gd name="connsiteY1729" fmla="*/ 409271 h 1418833"/>
                    <a:gd name="connsiteX1730" fmla="*/ 255259 w 2172185"/>
                    <a:gd name="connsiteY1730" fmla="*/ 412243 h 1418833"/>
                    <a:gd name="connsiteX1731" fmla="*/ 250760 w 2172185"/>
                    <a:gd name="connsiteY1731" fmla="*/ 411761 h 1418833"/>
                    <a:gd name="connsiteX1732" fmla="*/ 247869 w 2172185"/>
                    <a:gd name="connsiteY1732" fmla="*/ 411119 h 1418833"/>
                    <a:gd name="connsiteX1733" fmla="*/ 237667 w 2172185"/>
                    <a:gd name="connsiteY1733" fmla="*/ 416099 h 1418833"/>
                    <a:gd name="connsiteX1734" fmla="*/ 251242 w 2172185"/>
                    <a:gd name="connsiteY1734" fmla="*/ 404933 h 1418833"/>
                    <a:gd name="connsiteX1735" fmla="*/ 241282 w 2172185"/>
                    <a:gd name="connsiteY1735" fmla="*/ 406058 h 1418833"/>
                    <a:gd name="connsiteX1736" fmla="*/ 256865 w 2172185"/>
                    <a:gd name="connsiteY1736" fmla="*/ 387824 h 1418833"/>
                    <a:gd name="connsiteX1737" fmla="*/ 259355 w 2172185"/>
                    <a:gd name="connsiteY1737" fmla="*/ 390474 h 1418833"/>
                    <a:gd name="connsiteX1738" fmla="*/ 261524 w 2172185"/>
                    <a:gd name="connsiteY1738" fmla="*/ 380353 h 1418833"/>
                    <a:gd name="connsiteX1739" fmla="*/ 257909 w 2172185"/>
                    <a:gd name="connsiteY1739" fmla="*/ 383968 h 1418833"/>
                    <a:gd name="connsiteX1740" fmla="*/ 257347 w 2172185"/>
                    <a:gd name="connsiteY1740" fmla="*/ 377140 h 1418833"/>
                    <a:gd name="connsiteX1741" fmla="*/ 255580 w 2172185"/>
                    <a:gd name="connsiteY1741" fmla="*/ 378746 h 1418833"/>
                    <a:gd name="connsiteX1742" fmla="*/ 261123 w 2172185"/>
                    <a:gd name="connsiteY1742" fmla="*/ 371597 h 1418833"/>
                    <a:gd name="connsiteX1743" fmla="*/ 269798 w 2172185"/>
                    <a:gd name="connsiteY1743" fmla="*/ 375132 h 1418833"/>
                    <a:gd name="connsiteX1744" fmla="*/ 277028 w 2172185"/>
                    <a:gd name="connsiteY1744" fmla="*/ 383245 h 1418833"/>
                    <a:gd name="connsiteX1745" fmla="*/ 269718 w 2172185"/>
                    <a:gd name="connsiteY1745" fmla="*/ 398587 h 1418833"/>
                    <a:gd name="connsiteX1746" fmla="*/ 271244 w 2172185"/>
                    <a:gd name="connsiteY1746" fmla="*/ 398587 h 1418833"/>
                    <a:gd name="connsiteX1747" fmla="*/ 268995 w 2172185"/>
                    <a:gd name="connsiteY1747" fmla="*/ 400194 h 1418833"/>
                    <a:gd name="connsiteX1748" fmla="*/ 370851 w 2172185"/>
                    <a:gd name="connsiteY1748" fmla="*/ 460280 h 1418833"/>
                    <a:gd name="connsiteX1749" fmla="*/ 361372 w 2172185"/>
                    <a:gd name="connsiteY1749" fmla="*/ 473453 h 1418833"/>
                    <a:gd name="connsiteX1750" fmla="*/ 366754 w 2172185"/>
                    <a:gd name="connsiteY1750" fmla="*/ 463734 h 1418833"/>
                    <a:gd name="connsiteX1751" fmla="*/ 370610 w 2172185"/>
                    <a:gd name="connsiteY1751" fmla="*/ 460360 h 1418833"/>
                    <a:gd name="connsiteX1752" fmla="*/ 371172 w 2172185"/>
                    <a:gd name="connsiteY1752" fmla="*/ 459958 h 1418833"/>
                    <a:gd name="connsiteX1753" fmla="*/ 370851 w 2172185"/>
                    <a:gd name="connsiteY1753" fmla="*/ 460280 h 1418833"/>
                    <a:gd name="connsiteX1754" fmla="*/ 281124 w 2172185"/>
                    <a:gd name="connsiteY1754" fmla="*/ 347178 h 1418833"/>
                    <a:gd name="connsiteX1755" fmla="*/ 277269 w 2172185"/>
                    <a:gd name="connsiteY1755" fmla="*/ 349829 h 1418833"/>
                    <a:gd name="connsiteX1756" fmla="*/ 277269 w 2172185"/>
                    <a:gd name="connsiteY1756" fmla="*/ 349829 h 1418833"/>
                    <a:gd name="connsiteX1757" fmla="*/ 280241 w 2172185"/>
                    <a:gd name="connsiteY1757" fmla="*/ 347017 h 1418833"/>
                    <a:gd name="connsiteX1758" fmla="*/ 281285 w 2172185"/>
                    <a:gd name="connsiteY1758" fmla="*/ 347017 h 1418833"/>
                    <a:gd name="connsiteX1759" fmla="*/ 281124 w 2172185"/>
                    <a:gd name="connsiteY1759" fmla="*/ 347178 h 1418833"/>
                    <a:gd name="connsiteX1760" fmla="*/ 357677 w 2172185"/>
                    <a:gd name="connsiteY1760" fmla="*/ 449998 h 1418833"/>
                    <a:gd name="connsiteX1761" fmla="*/ 354865 w 2172185"/>
                    <a:gd name="connsiteY1761" fmla="*/ 452006 h 1418833"/>
                    <a:gd name="connsiteX1762" fmla="*/ 357034 w 2172185"/>
                    <a:gd name="connsiteY1762" fmla="*/ 447989 h 1418833"/>
                    <a:gd name="connsiteX1763" fmla="*/ 358480 w 2172185"/>
                    <a:gd name="connsiteY1763" fmla="*/ 446383 h 1418833"/>
                    <a:gd name="connsiteX1764" fmla="*/ 357677 w 2172185"/>
                    <a:gd name="connsiteY1764" fmla="*/ 449998 h 1418833"/>
                    <a:gd name="connsiteX1765" fmla="*/ 282088 w 2172185"/>
                    <a:gd name="connsiteY1765" fmla="*/ 344205 h 1418833"/>
                    <a:gd name="connsiteX1766" fmla="*/ 286667 w 2172185"/>
                    <a:gd name="connsiteY1766" fmla="*/ 337619 h 1418833"/>
                    <a:gd name="connsiteX1767" fmla="*/ 286828 w 2172185"/>
                    <a:gd name="connsiteY1767" fmla="*/ 337538 h 1418833"/>
                    <a:gd name="connsiteX1768" fmla="*/ 284096 w 2172185"/>
                    <a:gd name="connsiteY1768" fmla="*/ 341394 h 1418833"/>
                    <a:gd name="connsiteX1769" fmla="*/ 282088 w 2172185"/>
                    <a:gd name="connsiteY1769" fmla="*/ 344205 h 1418833"/>
                    <a:gd name="connsiteX1770" fmla="*/ 305223 w 2172185"/>
                    <a:gd name="connsiteY1770" fmla="*/ 350391 h 1418833"/>
                    <a:gd name="connsiteX1771" fmla="*/ 304259 w 2172185"/>
                    <a:gd name="connsiteY1771" fmla="*/ 351274 h 1418833"/>
                    <a:gd name="connsiteX1772" fmla="*/ 309882 w 2172185"/>
                    <a:gd name="connsiteY1772" fmla="*/ 344366 h 1418833"/>
                    <a:gd name="connsiteX1773" fmla="*/ 313657 w 2172185"/>
                    <a:gd name="connsiteY1773" fmla="*/ 341394 h 1418833"/>
                    <a:gd name="connsiteX1774" fmla="*/ 305223 w 2172185"/>
                    <a:gd name="connsiteY1774" fmla="*/ 350391 h 1418833"/>
                    <a:gd name="connsiteX1775" fmla="*/ 424992 w 2172185"/>
                    <a:gd name="connsiteY1775" fmla="*/ 413448 h 1418833"/>
                    <a:gd name="connsiteX1776" fmla="*/ 420413 w 2172185"/>
                    <a:gd name="connsiteY1776" fmla="*/ 416099 h 1418833"/>
                    <a:gd name="connsiteX1777" fmla="*/ 424108 w 2172185"/>
                    <a:gd name="connsiteY1777" fmla="*/ 412002 h 1418833"/>
                    <a:gd name="connsiteX1778" fmla="*/ 425313 w 2172185"/>
                    <a:gd name="connsiteY1778" fmla="*/ 413207 h 1418833"/>
                    <a:gd name="connsiteX1779" fmla="*/ 424992 w 2172185"/>
                    <a:gd name="connsiteY1779" fmla="*/ 413448 h 1418833"/>
                    <a:gd name="connsiteX1780" fmla="*/ 430052 w 2172185"/>
                    <a:gd name="connsiteY1780" fmla="*/ 167404 h 1418833"/>
                    <a:gd name="connsiteX1781" fmla="*/ 431016 w 2172185"/>
                    <a:gd name="connsiteY1781" fmla="*/ 166681 h 1418833"/>
                    <a:gd name="connsiteX1782" fmla="*/ 438487 w 2172185"/>
                    <a:gd name="connsiteY1782" fmla="*/ 160817 h 1418833"/>
                    <a:gd name="connsiteX1783" fmla="*/ 429972 w 2172185"/>
                    <a:gd name="connsiteY1783" fmla="*/ 167404 h 1418833"/>
                    <a:gd name="connsiteX1784" fmla="*/ 430052 w 2172185"/>
                    <a:gd name="connsiteY1784" fmla="*/ 167404 h 1418833"/>
                    <a:gd name="connsiteX1785" fmla="*/ 723571 w 2172185"/>
                    <a:gd name="connsiteY1785" fmla="*/ 829547 h 1418833"/>
                    <a:gd name="connsiteX1786" fmla="*/ 717145 w 2172185"/>
                    <a:gd name="connsiteY1786" fmla="*/ 827941 h 1418833"/>
                    <a:gd name="connsiteX1787" fmla="*/ 721723 w 2172185"/>
                    <a:gd name="connsiteY1787" fmla="*/ 812598 h 1418833"/>
                    <a:gd name="connsiteX1788" fmla="*/ 699231 w 2172185"/>
                    <a:gd name="connsiteY1788" fmla="*/ 808903 h 1418833"/>
                    <a:gd name="connsiteX1789" fmla="*/ 696822 w 2172185"/>
                    <a:gd name="connsiteY1789" fmla="*/ 802557 h 1418833"/>
                    <a:gd name="connsiteX1790" fmla="*/ 655694 w 2172185"/>
                    <a:gd name="connsiteY1790" fmla="*/ 813321 h 1418833"/>
                    <a:gd name="connsiteX1791" fmla="*/ 654890 w 2172185"/>
                    <a:gd name="connsiteY1791" fmla="*/ 813000 h 1418833"/>
                    <a:gd name="connsiteX1792" fmla="*/ 658344 w 2172185"/>
                    <a:gd name="connsiteY1792" fmla="*/ 810670 h 1418833"/>
                    <a:gd name="connsiteX1793" fmla="*/ 693207 w 2172185"/>
                    <a:gd name="connsiteY1793" fmla="*/ 789624 h 1418833"/>
                    <a:gd name="connsiteX1794" fmla="*/ 669028 w 2172185"/>
                    <a:gd name="connsiteY1794" fmla="*/ 786090 h 1418833"/>
                    <a:gd name="connsiteX1795" fmla="*/ 671518 w 2172185"/>
                    <a:gd name="connsiteY1795" fmla="*/ 780065 h 1418833"/>
                    <a:gd name="connsiteX1796" fmla="*/ 657782 w 2172185"/>
                    <a:gd name="connsiteY1796" fmla="*/ 779583 h 1418833"/>
                    <a:gd name="connsiteX1797" fmla="*/ 660995 w 2172185"/>
                    <a:gd name="connsiteY1797" fmla="*/ 772836 h 1418833"/>
                    <a:gd name="connsiteX1798" fmla="*/ 658907 w 2172185"/>
                    <a:gd name="connsiteY1798" fmla="*/ 767132 h 1418833"/>
                    <a:gd name="connsiteX1799" fmla="*/ 657381 w 2172185"/>
                    <a:gd name="connsiteY1799" fmla="*/ 768659 h 1418833"/>
                    <a:gd name="connsiteX1800" fmla="*/ 635772 w 2172185"/>
                    <a:gd name="connsiteY1800" fmla="*/ 746649 h 1418833"/>
                    <a:gd name="connsiteX1801" fmla="*/ 648303 w 2172185"/>
                    <a:gd name="connsiteY1801" fmla="*/ 746006 h 1418833"/>
                    <a:gd name="connsiteX1802" fmla="*/ 641797 w 2172185"/>
                    <a:gd name="connsiteY1802" fmla="*/ 734760 h 1418833"/>
                    <a:gd name="connsiteX1803" fmla="*/ 635531 w 2172185"/>
                    <a:gd name="connsiteY1803" fmla="*/ 733636 h 1418833"/>
                    <a:gd name="connsiteX1804" fmla="*/ 641636 w 2172185"/>
                    <a:gd name="connsiteY1804" fmla="*/ 728896 h 1418833"/>
                    <a:gd name="connsiteX1805" fmla="*/ 636736 w 2172185"/>
                    <a:gd name="connsiteY1805" fmla="*/ 723032 h 1418833"/>
                    <a:gd name="connsiteX1806" fmla="*/ 629828 w 2172185"/>
                    <a:gd name="connsiteY1806" fmla="*/ 722711 h 1418833"/>
                    <a:gd name="connsiteX1807" fmla="*/ 635371 w 2172185"/>
                    <a:gd name="connsiteY1807" fmla="*/ 717409 h 1418833"/>
                    <a:gd name="connsiteX1808" fmla="*/ 629667 w 2172185"/>
                    <a:gd name="connsiteY1808" fmla="*/ 714518 h 1418833"/>
                    <a:gd name="connsiteX1809" fmla="*/ 633282 w 2172185"/>
                    <a:gd name="connsiteY1809" fmla="*/ 708493 h 1418833"/>
                    <a:gd name="connsiteX1810" fmla="*/ 630792 w 2172185"/>
                    <a:gd name="connsiteY1810" fmla="*/ 702468 h 1418833"/>
                    <a:gd name="connsiteX1811" fmla="*/ 623321 w 2172185"/>
                    <a:gd name="connsiteY1811" fmla="*/ 701424 h 1418833"/>
                    <a:gd name="connsiteX1812" fmla="*/ 624687 w 2172185"/>
                    <a:gd name="connsiteY1812" fmla="*/ 687768 h 1418833"/>
                    <a:gd name="connsiteX1813" fmla="*/ 620671 w 2172185"/>
                    <a:gd name="connsiteY1813" fmla="*/ 686965 h 1418833"/>
                    <a:gd name="connsiteX1814" fmla="*/ 616172 w 2172185"/>
                    <a:gd name="connsiteY1814" fmla="*/ 675398 h 1418833"/>
                    <a:gd name="connsiteX1815" fmla="*/ 609585 w 2172185"/>
                    <a:gd name="connsiteY1815" fmla="*/ 686162 h 1418833"/>
                    <a:gd name="connsiteX1816" fmla="*/ 601312 w 2172185"/>
                    <a:gd name="connsiteY1816" fmla="*/ 694195 h 1418833"/>
                    <a:gd name="connsiteX1817" fmla="*/ 599303 w 2172185"/>
                    <a:gd name="connsiteY1817" fmla="*/ 701103 h 1418833"/>
                    <a:gd name="connsiteX1818" fmla="*/ 590387 w 2172185"/>
                    <a:gd name="connsiteY1818" fmla="*/ 711305 h 1418833"/>
                    <a:gd name="connsiteX1819" fmla="*/ 585085 w 2172185"/>
                    <a:gd name="connsiteY1819" fmla="*/ 707770 h 1418833"/>
                    <a:gd name="connsiteX1820" fmla="*/ 565485 w 2172185"/>
                    <a:gd name="connsiteY1820" fmla="*/ 720140 h 1418833"/>
                    <a:gd name="connsiteX1821" fmla="*/ 566449 w 2172185"/>
                    <a:gd name="connsiteY1821" fmla="*/ 713875 h 1418833"/>
                    <a:gd name="connsiteX1822" fmla="*/ 546689 w 2172185"/>
                    <a:gd name="connsiteY1822" fmla="*/ 720623 h 1418833"/>
                    <a:gd name="connsiteX1823" fmla="*/ 557774 w 2172185"/>
                    <a:gd name="connsiteY1823" fmla="*/ 709376 h 1418833"/>
                    <a:gd name="connsiteX1824" fmla="*/ 555766 w 2172185"/>
                    <a:gd name="connsiteY1824" fmla="*/ 703111 h 1418833"/>
                    <a:gd name="connsiteX1825" fmla="*/ 541387 w 2172185"/>
                    <a:gd name="connsiteY1825" fmla="*/ 701264 h 1418833"/>
                    <a:gd name="connsiteX1826" fmla="*/ 548857 w 2172185"/>
                    <a:gd name="connsiteY1826" fmla="*/ 690098 h 1418833"/>
                    <a:gd name="connsiteX1827" fmla="*/ 537692 w 2172185"/>
                    <a:gd name="connsiteY1827" fmla="*/ 675398 h 1418833"/>
                    <a:gd name="connsiteX1828" fmla="*/ 555203 w 2172185"/>
                    <a:gd name="connsiteY1828" fmla="*/ 658770 h 1418833"/>
                    <a:gd name="connsiteX1829" fmla="*/ 519698 w 2172185"/>
                    <a:gd name="connsiteY1829" fmla="*/ 621899 h 1418833"/>
                    <a:gd name="connsiteX1830" fmla="*/ 504034 w 2172185"/>
                    <a:gd name="connsiteY1830" fmla="*/ 625273 h 1418833"/>
                    <a:gd name="connsiteX1831" fmla="*/ 498974 w 2172185"/>
                    <a:gd name="connsiteY1831" fmla="*/ 620614 h 1418833"/>
                    <a:gd name="connsiteX1832" fmla="*/ 490941 w 2172185"/>
                    <a:gd name="connsiteY1832" fmla="*/ 621739 h 1418833"/>
                    <a:gd name="connsiteX1833" fmla="*/ 492949 w 2172185"/>
                    <a:gd name="connsiteY1833" fmla="*/ 620695 h 1418833"/>
                    <a:gd name="connsiteX1834" fmla="*/ 456079 w 2172185"/>
                    <a:gd name="connsiteY1834" fmla="*/ 643508 h 1418833"/>
                    <a:gd name="connsiteX1835" fmla="*/ 458890 w 2172185"/>
                    <a:gd name="connsiteY1835" fmla="*/ 648408 h 1418833"/>
                    <a:gd name="connsiteX1836" fmla="*/ 393664 w 2172185"/>
                    <a:gd name="connsiteY1836" fmla="*/ 776852 h 1418833"/>
                    <a:gd name="connsiteX1837" fmla="*/ 383060 w 2172185"/>
                    <a:gd name="connsiteY1837" fmla="*/ 829306 h 1418833"/>
                    <a:gd name="connsiteX1838" fmla="*/ 378803 w 2172185"/>
                    <a:gd name="connsiteY1838" fmla="*/ 823924 h 1418833"/>
                    <a:gd name="connsiteX1839" fmla="*/ 374867 w 2172185"/>
                    <a:gd name="connsiteY1839" fmla="*/ 830431 h 1418833"/>
                    <a:gd name="connsiteX1840" fmla="*/ 362336 w 2172185"/>
                    <a:gd name="connsiteY1840" fmla="*/ 824728 h 1418833"/>
                    <a:gd name="connsiteX1841" fmla="*/ 351411 w 2172185"/>
                    <a:gd name="connsiteY1841" fmla="*/ 804244 h 1418833"/>
                    <a:gd name="connsiteX1842" fmla="*/ 328598 w 2172185"/>
                    <a:gd name="connsiteY1842" fmla="*/ 743195 h 1418833"/>
                    <a:gd name="connsiteX1843" fmla="*/ 274296 w 2172185"/>
                    <a:gd name="connsiteY1843" fmla="*/ 684796 h 1418833"/>
                    <a:gd name="connsiteX1844" fmla="*/ 281205 w 2172185"/>
                    <a:gd name="connsiteY1844" fmla="*/ 656601 h 1418833"/>
                    <a:gd name="connsiteX1845" fmla="*/ 275983 w 2172185"/>
                    <a:gd name="connsiteY1845" fmla="*/ 652103 h 1418833"/>
                    <a:gd name="connsiteX1846" fmla="*/ 268432 w 2172185"/>
                    <a:gd name="connsiteY1846" fmla="*/ 654031 h 1418833"/>
                    <a:gd name="connsiteX1847" fmla="*/ 339442 w 2172185"/>
                    <a:gd name="connsiteY1847" fmla="*/ 535627 h 1418833"/>
                    <a:gd name="connsiteX1848" fmla="*/ 399929 w 2172185"/>
                    <a:gd name="connsiteY1848" fmla="*/ 533860 h 1418833"/>
                    <a:gd name="connsiteX1849" fmla="*/ 382900 w 2172185"/>
                    <a:gd name="connsiteY1849" fmla="*/ 505343 h 1418833"/>
                    <a:gd name="connsiteX1850" fmla="*/ 392941 w 2172185"/>
                    <a:gd name="connsiteY1850" fmla="*/ 505906 h 1418833"/>
                    <a:gd name="connsiteX1851" fmla="*/ 414951 w 2172185"/>
                    <a:gd name="connsiteY1851" fmla="*/ 522453 h 1418833"/>
                    <a:gd name="connsiteX1852" fmla="*/ 426679 w 2172185"/>
                    <a:gd name="connsiteY1852" fmla="*/ 502211 h 1418833"/>
                    <a:gd name="connsiteX1853" fmla="*/ 438728 w 2172185"/>
                    <a:gd name="connsiteY1853" fmla="*/ 509601 h 1418833"/>
                    <a:gd name="connsiteX1854" fmla="*/ 443226 w 2172185"/>
                    <a:gd name="connsiteY1854" fmla="*/ 513617 h 1418833"/>
                    <a:gd name="connsiteX1855" fmla="*/ 443226 w 2172185"/>
                    <a:gd name="connsiteY1855" fmla="*/ 513617 h 1418833"/>
                    <a:gd name="connsiteX1856" fmla="*/ 443226 w 2172185"/>
                    <a:gd name="connsiteY1856" fmla="*/ 513617 h 1418833"/>
                    <a:gd name="connsiteX1857" fmla="*/ 443226 w 2172185"/>
                    <a:gd name="connsiteY1857" fmla="*/ 513617 h 1418833"/>
                    <a:gd name="connsiteX1858" fmla="*/ 443226 w 2172185"/>
                    <a:gd name="connsiteY1858" fmla="*/ 513617 h 1418833"/>
                    <a:gd name="connsiteX1859" fmla="*/ 443226 w 2172185"/>
                    <a:gd name="connsiteY1859" fmla="*/ 513617 h 1418833"/>
                    <a:gd name="connsiteX1860" fmla="*/ 443226 w 2172185"/>
                    <a:gd name="connsiteY1860" fmla="*/ 513617 h 1418833"/>
                    <a:gd name="connsiteX1861" fmla="*/ 443226 w 2172185"/>
                    <a:gd name="connsiteY1861" fmla="*/ 513617 h 1418833"/>
                    <a:gd name="connsiteX1862" fmla="*/ 454552 w 2172185"/>
                    <a:gd name="connsiteY1862" fmla="*/ 496106 h 1418833"/>
                    <a:gd name="connsiteX1863" fmla="*/ 512228 w 2172185"/>
                    <a:gd name="connsiteY1863" fmla="*/ 440679 h 1418833"/>
                    <a:gd name="connsiteX1864" fmla="*/ 507649 w 2172185"/>
                    <a:gd name="connsiteY1864" fmla="*/ 434414 h 1418833"/>
                    <a:gd name="connsiteX1865" fmla="*/ 432543 w 2172185"/>
                    <a:gd name="connsiteY1865" fmla="*/ 483012 h 1418833"/>
                    <a:gd name="connsiteX1866" fmla="*/ 439772 w 2172185"/>
                    <a:gd name="connsiteY1866" fmla="*/ 444294 h 1418833"/>
                    <a:gd name="connsiteX1867" fmla="*/ 432944 w 2172185"/>
                    <a:gd name="connsiteY1867" fmla="*/ 444856 h 1418833"/>
                    <a:gd name="connsiteX1868" fmla="*/ 444511 w 2172185"/>
                    <a:gd name="connsiteY1868" fmla="*/ 419714 h 1418833"/>
                    <a:gd name="connsiteX1869" fmla="*/ 437844 w 2172185"/>
                    <a:gd name="connsiteY1869" fmla="*/ 408950 h 1418833"/>
                    <a:gd name="connsiteX1870" fmla="*/ 473751 w 2172185"/>
                    <a:gd name="connsiteY1870" fmla="*/ 341876 h 1418833"/>
                    <a:gd name="connsiteX1871" fmla="*/ 465638 w 2172185"/>
                    <a:gd name="connsiteY1871" fmla="*/ 345491 h 1418833"/>
                    <a:gd name="connsiteX1872" fmla="*/ 423465 w 2172185"/>
                    <a:gd name="connsiteY1872" fmla="*/ 411520 h 1418833"/>
                    <a:gd name="connsiteX1873" fmla="*/ 410934 w 2172185"/>
                    <a:gd name="connsiteY1873" fmla="*/ 431924 h 1418833"/>
                    <a:gd name="connsiteX1874" fmla="*/ 372859 w 2172185"/>
                    <a:gd name="connsiteY1874" fmla="*/ 457709 h 1418833"/>
                    <a:gd name="connsiteX1875" fmla="*/ 383542 w 2172185"/>
                    <a:gd name="connsiteY1875" fmla="*/ 424855 h 1418833"/>
                    <a:gd name="connsiteX1876" fmla="*/ 371092 w 2172185"/>
                    <a:gd name="connsiteY1876" fmla="*/ 429353 h 1418833"/>
                    <a:gd name="connsiteX1877" fmla="*/ 333900 w 2172185"/>
                    <a:gd name="connsiteY1877" fmla="*/ 400355 h 1418833"/>
                    <a:gd name="connsiteX1878" fmla="*/ 306829 w 2172185"/>
                    <a:gd name="connsiteY1878" fmla="*/ 429755 h 1418833"/>
                    <a:gd name="connsiteX1879" fmla="*/ 307070 w 2172185"/>
                    <a:gd name="connsiteY1879" fmla="*/ 427345 h 1418833"/>
                    <a:gd name="connsiteX1880" fmla="*/ 297752 w 2172185"/>
                    <a:gd name="connsiteY1880" fmla="*/ 440117 h 1418833"/>
                    <a:gd name="connsiteX1881" fmla="*/ 311970 w 2172185"/>
                    <a:gd name="connsiteY1881" fmla="*/ 413689 h 1418833"/>
                    <a:gd name="connsiteX1882" fmla="*/ 303214 w 2172185"/>
                    <a:gd name="connsiteY1882" fmla="*/ 377943 h 1418833"/>
                    <a:gd name="connsiteX1883" fmla="*/ 339041 w 2172185"/>
                    <a:gd name="connsiteY1883" fmla="*/ 294322 h 1418833"/>
                    <a:gd name="connsiteX1884" fmla="*/ 332855 w 2172185"/>
                    <a:gd name="connsiteY1884" fmla="*/ 295768 h 1418833"/>
                    <a:gd name="connsiteX1885" fmla="*/ 343780 w 2172185"/>
                    <a:gd name="connsiteY1885" fmla="*/ 279702 h 1418833"/>
                    <a:gd name="connsiteX1886" fmla="*/ 323377 w 2172185"/>
                    <a:gd name="connsiteY1886" fmla="*/ 282996 h 1418833"/>
                    <a:gd name="connsiteX1887" fmla="*/ 345547 w 2172185"/>
                    <a:gd name="connsiteY1887" fmla="*/ 269179 h 1418833"/>
                    <a:gd name="connsiteX1888" fmla="*/ 331008 w 2172185"/>
                    <a:gd name="connsiteY1888" fmla="*/ 271669 h 1418833"/>
                    <a:gd name="connsiteX1889" fmla="*/ 336069 w 2172185"/>
                    <a:gd name="connsiteY1889" fmla="*/ 267171 h 1418833"/>
                    <a:gd name="connsiteX1890" fmla="*/ 335426 w 2172185"/>
                    <a:gd name="connsiteY1890" fmla="*/ 264118 h 1418833"/>
                    <a:gd name="connsiteX1891" fmla="*/ 330446 w 2172185"/>
                    <a:gd name="connsiteY1891" fmla="*/ 268376 h 1418833"/>
                    <a:gd name="connsiteX1892" fmla="*/ 441138 w 2172185"/>
                    <a:gd name="connsiteY1892" fmla="*/ 158407 h 1418833"/>
                    <a:gd name="connsiteX1893" fmla="*/ 388442 w 2172185"/>
                    <a:gd name="connsiteY1893" fmla="*/ 201463 h 1418833"/>
                    <a:gd name="connsiteX1894" fmla="*/ 237828 w 2172185"/>
                    <a:gd name="connsiteY1894" fmla="*/ 356978 h 1418833"/>
                    <a:gd name="connsiteX1895" fmla="*/ 195093 w 2172185"/>
                    <a:gd name="connsiteY1895" fmla="*/ 412886 h 1418833"/>
                    <a:gd name="connsiteX1896" fmla="*/ 194370 w 2172185"/>
                    <a:gd name="connsiteY1896" fmla="*/ 413930 h 1418833"/>
                    <a:gd name="connsiteX1897" fmla="*/ 180634 w 2172185"/>
                    <a:gd name="connsiteY1897" fmla="*/ 433611 h 1418833"/>
                    <a:gd name="connsiteX1898" fmla="*/ 167460 w 2172185"/>
                    <a:gd name="connsiteY1898" fmla="*/ 453532 h 1418833"/>
                    <a:gd name="connsiteX1899" fmla="*/ 171557 w 2172185"/>
                    <a:gd name="connsiteY1899" fmla="*/ 447748 h 1418833"/>
                    <a:gd name="connsiteX1900" fmla="*/ 169067 w 2172185"/>
                    <a:gd name="connsiteY1900" fmla="*/ 452407 h 1418833"/>
                    <a:gd name="connsiteX1901" fmla="*/ 164649 w 2172185"/>
                    <a:gd name="connsiteY1901" fmla="*/ 459155 h 1418833"/>
                    <a:gd name="connsiteX1902" fmla="*/ 171477 w 2172185"/>
                    <a:gd name="connsiteY1902" fmla="*/ 449516 h 1418833"/>
                    <a:gd name="connsiteX1903" fmla="*/ 172842 w 2172185"/>
                    <a:gd name="connsiteY1903" fmla="*/ 447427 h 1418833"/>
                    <a:gd name="connsiteX1904" fmla="*/ 116854 w 2172185"/>
                    <a:gd name="connsiteY1904" fmla="*/ 544383 h 1418833"/>
                    <a:gd name="connsiteX1905" fmla="*/ 122396 w 2172185"/>
                    <a:gd name="connsiteY1905" fmla="*/ 536671 h 1418833"/>
                    <a:gd name="connsiteX1906" fmla="*/ 86731 w 2172185"/>
                    <a:gd name="connsiteY1906" fmla="*/ 607360 h 1418833"/>
                    <a:gd name="connsiteX1907" fmla="*/ 87213 w 2172185"/>
                    <a:gd name="connsiteY1907" fmla="*/ 608083 h 1418833"/>
                    <a:gd name="connsiteX1908" fmla="*/ 53876 w 2172185"/>
                    <a:gd name="connsiteY1908" fmla="*/ 707449 h 1418833"/>
                    <a:gd name="connsiteX1909" fmla="*/ 53234 w 2172185"/>
                    <a:gd name="connsiteY1909" fmla="*/ 707368 h 1418833"/>
                    <a:gd name="connsiteX1910" fmla="*/ 56206 w 2172185"/>
                    <a:gd name="connsiteY1910" fmla="*/ 701183 h 1418833"/>
                    <a:gd name="connsiteX1911" fmla="*/ 53796 w 2172185"/>
                    <a:gd name="connsiteY1911" fmla="*/ 704637 h 1418833"/>
                    <a:gd name="connsiteX1912" fmla="*/ 55885 w 2172185"/>
                    <a:gd name="connsiteY1912" fmla="*/ 700541 h 1418833"/>
                    <a:gd name="connsiteX1913" fmla="*/ 59580 w 2172185"/>
                    <a:gd name="connsiteY1913" fmla="*/ 680057 h 1418833"/>
                    <a:gd name="connsiteX1914" fmla="*/ 50503 w 2172185"/>
                    <a:gd name="connsiteY1914" fmla="*/ 704396 h 1418833"/>
                    <a:gd name="connsiteX1915" fmla="*/ 50985 w 2172185"/>
                    <a:gd name="connsiteY1915" fmla="*/ 703352 h 1418833"/>
                    <a:gd name="connsiteX1916" fmla="*/ 30581 w 2172185"/>
                    <a:gd name="connsiteY1916" fmla="*/ 754682 h 1418833"/>
                    <a:gd name="connsiteX1917" fmla="*/ 17889 w 2172185"/>
                    <a:gd name="connsiteY1917" fmla="*/ 791472 h 1418833"/>
                    <a:gd name="connsiteX1918" fmla="*/ 17568 w 2172185"/>
                    <a:gd name="connsiteY1918" fmla="*/ 792355 h 1418833"/>
                    <a:gd name="connsiteX1919" fmla="*/ 17568 w 2172185"/>
                    <a:gd name="connsiteY1919" fmla="*/ 792114 h 1418833"/>
                    <a:gd name="connsiteX1920" fmla="*/ 7367 w 2172185"/>
                    <a:gd name="connsiteY1920" fmla="*/ 835090 h 1418833"/>
                    <a:gd name="connsiteX1921" fmla="*/ 7688 w 2172185"/>
                    <a:gd name="connsiteY1921" fmla="*/ 833162 h 1418833"/>
                    <a:gd name="connsiteX1922" fmla="*/ 7045 w 2172185"/>
                    <a:gd name="connsiteY1922" fmla="*/ 835652 h 1418833"/>
                    <a:gd name="connsiteX1923" fmla="*/ 6081 w 2172185"/>
                    <a:gd name="connsiteY1923" fmla="*/ 1104751 h 1418833"/>
                    <a:gd name="connsiteX1924" fmla="*/ 8571 w 2172185"/>
                    <a:gd name="connsiteY1924" fmla="*/ 1103867 h 1418833"/>
                    <a:gd name="connsiteX1925" fmla="*/ 2306 w 2172185"/>
                    <a:gd name="connsiteY1925" fmla="*/ 963695 h 1418833"/>
                    <a:gd name="connsiteX1926" fmla="*/ 15399 w 2172185"/>
                    <a:gd name="connsiteY1926" fmla="*/ 1080893 h 1418833"/>
                    <a:gd name="connsiteX1927" fmla="*/ 48173 w 2172185"/>
                    <a:gd name="connsiteY1927" fmla="*/ 1200984 h 1418833"/>
                    <a:gd name="connsiteX1928" fmla="*/ 118942 w 2172185"/>
                    <a:gd name="connsiteY1928" fmla="*/ 1261712 h 1418833"/>
                    <a:gd name="connsiteX1929" fmla="*/ 117898 w 2172185"/>
                    <a:gd name="connsiteY1929" fmla="*/ 1262274 h 1418833"/>
                    <a:gd name="connsiteX1930" fmla="*/ 188988 w 2172185"/>
                    <a:gd name="connsiteY1930" fmla="*/ 1323966 h 1418833"/>
                    <a:gd name="connsiteX1931" fmla="*/ 186418 w 2172185"/>
                    <a:gd name="connsiteY1931" fmla="*/ 1322118 h 1418833"/>
                    <a:gd name="connsiteX1932" fmla="*/ 231482 w 2172185"/>
                    <a:gd name="connsiteY1932" fmla="*/ 1375296 h 1418833"/>
                    <a:gd name="connsiteX1933" fmla="*/ 306106 w 2172185"/>
                    <a:gd name="connsiteY1933" fmla="*/ 1418833 h 1418833"/>
                    <a:gd name="connsiteX1934" fmla="*/ 314300 w 2172185"/>
                    <a:gd name="connsiteY1934" fmla="*/ 1407587 h 1418833"/>
                    <a:gd name="connsiteX1935" fmla="*/ 281767 w 2172185"/>
                    <a:gd name="connsiteY1935" fmla="*/ 1394655 h 1418833"/>
                    <a:gd name="connsiteX1936" fmla="*/ 283614 w 2172185"/>
                    <a:gd name="connsiteY1936" fmla="*/ 1397145 h 1418833"/>
                    <a:gd name="connsiteX1937" fmla="*/ 252608 w 2172185"/>
                    <a:gd name="connsiteY1937" fmla="*/ 1354410 h 1418833"/>
                    <a:gd name="connsiteX1938" fmla="*/ 253893 w 2172185"/>
                    <a:gd name="connsiteY1938" fmla="*/ 1355133 h 1418833"/>
                    <a:gd name="connsiteX1939" fmla="*/ 260078 w 2172185"/>
                    <a:gd name="connsiteY1939" fmla="*/ 1321717 h 1418833"/>
                    <a:gd name="connsiteX1940" fmla="*/ 254777 w 2172185"/>
                    <a:gd name="connsiteY1940" fmla="*/ 1316817 h 1418833"/>
                    <a:gd name="connsiteX1941" fmla="*/ 255178 w 2172185"/>
                    <a:gd name="connsiteY1941" fmla="*/ 1317861 h 1418833"/>
                    <a:gd name="connsiteX1942" fmla="*/ 242005 w 2172185"/>
                    <a:gd name="connsiteY1942" fmla="*/ 1307418 h 1418833"/>
                    <a:gd name="connsiteX1943" fmla="*/ 221441 w 2172185"/>
                    <a:gd name="connsiteY1943" fmla="*/ 1300751 h 1418833"/>
                    <a:gd name="connsiteX1944" fmla="*/ 189068 w 2172185"/>
                    <a:gd name="connsiteY1944" fmla="*/ 1291835 h 1418833"/>
                    <a:gd name="connsiteX1945" fmla="*/ 192523 w 2172185"/>
                    <a:gd name="connsiteY1945" fmla="*/ 1259463 h 1418833"/>
                    <a:gd name="connsiteX1946" fmla="*/ 197503 w 2172185"/>
                    <a:gd name="connsiteY1946" fmla="*/ 1263399 h 1418833"/>
                    <a:gd name="connsiteX1947" fmla="*/ 203527 w 2172185"/>
                    <a:gd name="connsiteY1947" fmla="*/ 1227492 h 1418833"/>
                    <a:gd name="connsiteX1948" fmla="*/ 153322 w 2172185"/>
                    <a:gd name="connsiteY1948" fmla="*/ 1244602 h 1418833"/>
                    <a:gd name="connsiteX1949" fmla="*/ 154768 w 2172185"/>
                    <a:gd name="connsiteY1949" fmla="*/ 1244281 h 1418833"/>
                    <a:gd name="connsiteX1950" fmla="*/ 108178 w 2172185"/>
                    <a:gd name="connsiteY1950" fmla="*/ 1227010 h 1418833"/>
                    <a:gd name="connsiteX1951" fmla="*/ 109544 w 2172185"/>
                    <a:gd name="connsiteY1951" fmla="*/ 1228536 h 1418833"/>
                    <a:gd name="connsiteX1952" fmla="*/ 107536 w 2172185"/>
                    <a:gd name="connsiteY1952" fmla="*/ 1226287 h 1418833"/>
                    <a:gd name="connsiteX1953" fmla="*/ 95165 w 2172185"/>
                    <a:gd name="connsiteY1953" fmla="*/ 1148208 h 1418833"/>
                    <a:gd name="connsiteX1954" fmla="*/ 92514 w 2172185"/>
                    <a:gd name="connsiteY1954" fmla="*/ 1154715 h 1418833"/>
                    <a:gd name="connsiteX1955" fmla="*/ 93960 w 2172185"/>
                    <a:gd name="connsiteY1955" fmla="*/ 1145236 h 1418833"/>
                    <a:gd name="connsiteX1956" fmla="*/ 97013 w 2172185"/>
                    <a:gd name="connsiteY1956" fmla="*/ 1110374 h 1418833"/>
                    <a:gd name="connsiteX1957" fmla="*/ 103680 w 2172185"/>
                    <a:gd name="connsiteY1957" fmla="*/ 1105554 h 1418833"/>
                    <a:gd name="connsiteX1958" fmla="*/ 106009 w 2172185"/>
                    <a:gd name="connsiteY1958" fmla="*/ 1105474 h 1418833"/>
                    <a:gd name="connsiteX1959" fmla="*/ 109303 w 2172185"/>
                    <a:gd name="connsiteY1959" fmla="*/ 1099610 h 1418833"/>
                    <a:gd name="connsiteX1960" fmla="*/ 111632 w 2172185"/>
                    <a:gd name="connsiteY1960" fmla="*/ 1101377 h 1418833"/>
                    <a:gd name="connsiteX1961" fmla="*/ 112677 w 2172185"/>
                    <a:gd name="connsiteY1961" fmla="*/ 1104189 h 1418833"/>
                    <a:gd name="connsiteX1962" fmla="*/ 125047 w 2172185"/>
                    <a:gd name="connsiteY1962" fmla="*/ 1098807 h 1418833"/>
                    <a:gd name="connsiteX1963" fmla="*/ 131072 w 2172185"/>
                    <a:gd name="connsiteY1963" fmla="*/ 1098003 h 1418833"/>
                    <a:gd name="connsiteX1964" fmla="*/ 164006 w 2172185"/>
                    <a:gd name="connsiteY1964" fmla="*/ 1109731 h 1418833"/>
                    <a:gd name="connsiteX1965" fmla="*/ 164649 w 2172185"/>
                    <a:gd name="connsiteY1965" fmla="*/ 1114712 h 1418833"/>
                    <a:gd name="connsiteX1966" fmla="*/ 183124 w 2172185"/>
                    <a:gd name="connsiteY1966" fmla="*/ 1120495 h 1418833"/>
                    <a:gd name="connsiteX1967" fmla="*/ 186096 w 2172185"/>
                    <a:gd name="connsiteY1967" fmla="*/ 1126199 h 1418833"/>
                    <a:gd name="connsiteX1968" fmla="*/ 187944 w 2172185"/>
                    <a:gd name="connsiteY1968" fmla="*/ 1125395 h 1418833"/>
                    <a:gd name="connsiteX1969" fmla="*/ 188827 w 2172185"/>
                    <a:gd name="connsiteY1969" fmla="*/ 1126520 h 1418833"/>
                    <a:gd name="connsiteX1970" fmla="*/ 185052 w 2172185"/>
                    <a:gd name="connsiteY1970" fmla="*/ 1116077 h 1418833"/>
                    <a:gd name="connsiteX1971" fmla="*/ 184811 w 2172185"/>
                    <a:gd name="connsiteY1971" fmla="*/ 1115676 h 1418833"/>
                    <a:gd name="connsiteX1972" fmla="*/ 187462 w 2172185"/>
                    <a:gd name="connsiteY1972" fmla="*/ 1112222 h 1418833"/>
                    <a:gd name="connsiteX1973" fmla="*/ 181036 w 2172185"/>
                    <a:gd name="connsiteY1973" fmla="*/ 1109731 h 1418833"/>
                    <a:gd name="connsiteX1974" fmla="*/ 205054 w 2172185"/>
                    <a:gd name="connsiteY1974" fmla="*/ 1108767 h 1418833"/>
                    <a:gd name="connsiteX1975" fmla="*/ 207142 w 2172185"/>
                    <a:gd name="connsiteY1975" fmla="*/ 1114953 h 1418833"/>
                    <a:gd name="connsiteX1976" fmla="*/ 204411 w 2172185"/>
                    <a:gd name="connsiteY1976" fmla="*/ 1114953 h 1418833"/>
                    <a:gd name="connsiteX1977" fmla="*/ 210757 w 2172185"/>
                    <a:gd name="connsiteY1977" fmla="*/ 1115113 h 1418833"/>
                    <a:gd name="connsiteX1978" fmla="*/ 210596 w 2172185"/>
                    <a:gd name="connsiteY1978" fmla="*/ 1115756 h 1418833"/>
                    <a:gd name="connsiteX1979" fmla="*/ 216219 w 2172185"/>
                    <a:gd name="connsiteY1979" fmla="*/ 1114792 h 1418833"/>
                    <a:gd name="connsiteX1980" fmla="*/ 217344 w 2172185"/>
                    <a:gd name="connsiteY1980" fmla="*/ 1114069 h 1418833"/>
                    <a:gd name="connsiteX1981" fmla="*/ 270200 w 2172185"/>
                    <a:gd name="connsiteY1981" fmla="*/ 1165720 h 1418833"/>
                    <a:gd name="connsiteX1982" fmla="*/ 274537 w 2172185"/>
                    <a:gd name="connsiteY1982" fmla="*/ 1164113 h 1418833"/>
                    <a:gd name="connsiteX1983" fmla="*/ 270842 w 2172185"/>
                    <a:gd name="connsiteY1983" fmla="*/ 1169897 h 1418833"/>
                    <a:gd name="connsiteX1984" fmla="*/ 297351 w 2172185"/>
                    <a:gd name="connsiteY1984" fmla="*/ 1203073 h 1418833"/>
                    <a:gd name="connsiteX1985" fmla="*/ 306106 w 2172185"/>
                    <a:gd name="connsiteY1985" fmla="*/ 1197530 h 1418833"/>
                    <a:gd name="connsiteX1986" fmla="*/ 300564 w 2172185"/>
                    <a:gd name="connsiteY1986" fmla="*/ 1162668 h 1418833"/>
                    <a:gd name="connsiteX1987" fmla="*/ 295503 w 2172185"/>
                    <a:gd name="connsiteY1987" fmla="*/ 1119853 h 1418833"/>
                    <a:gd name="connsiteX1988" fmla="*/ 303214 w 2172185"/>
                    <a:gd name="connsiteY1988" fmla="*/ 1108928 h 1418833"/>
                    <a:gd name="connsiteX1989" fmla="*/ 304419 w 2172185"/>
                    <a:gd name="connsiteY1989" fmla="*/ 1110615 h 1418833"/>
                    <a:gd name="connsiteX1990" fmla="*/ 305383 w 2172185"/>
                    <a:gd name="connsiteY1990" fmla="*/ 1110053 h 1418833"/>
                    <a:gd name="connsiteX1991" fmla="*/ 327393 w 2172185"/>
                    <a:gd name="connsiteY1991" fmla="*/ 1102341 h 1418833"/>
                    <a:gd name="connsiteX1992" fmla="*/ 355910 w 2172185"/>
                    <a:gd name="connsiteY1992" fmla="*/ 1089248 h 1418833"/>
                    <a:gd name="connsiteX1993" fmla="*/ 355669 w 2172185"/>
                    <a:gd name="connsiteY1993" fmla="*/ 1086356 h 1418833"/>
                    <a:gd name="connsiteX1994" fmla="*/ 370208 w 2172185"/>
                    <a:gd name="connsiteY1994" fmla="*/ 1086517 h 1418833"/>
                    <a:gd name="connsiteX1995" fmla="*/ 363621 w 2172185"/>
                    <a:gd name="connsiteY1995" fmla="*/ 1083705 h 1418833"/>
                    <a:gd name="connsiteX1996" fmla="*/ 362496 w 2172185"/>
                    <a:gd name="connsiteY1996" fmla="*/ 1076154 h 1418833"/>
                    <a:gd name="connsiteX1997" fmla="*/ 376072 w 2172185"/>
                    <a:gd name="connsiteY1997" fmla="*/ 1078243 h 1418833"/>
                    <a:gd name="connsiteX1998" fmla="*/ 374706 w 2172185"/>
                    <a:gd name="connsiteY1998" fmla="*/ 1071575 h 1418833"/>
                    <a:gd name="connsiteX1999" fmla="*/ 367798 w 2172185"/>
                    <a:gd name="connsiteY1999" fmla="*/ 1070933 h 1418833"/>
                    <a:gd name="connsiteX2000" fmla="*/ 374385 w 2172185"/>
                    <a:gd name="connsiteY2000" fmla="*/ 1070049 h 1418833"/>
                    <a:gd name="connsiteX2001" fmla="*/ 374867 w 2172185"/>
                    <a:gd name="connsiteY2001" fmla="*/ 1068684 h 1418833"/>
                    <a:gd name="connsiteX2002" fmla="*/ 376634 w 2172185"/>
                    <a:gd name="connsiteY2002" fmla="*/ 1069567 h 1418833"/>
                    <a:gd name="connsiteX2003" fmla="*/ 376875 w 2172185"/>
                    <a:gd name="connsiteY2003" fmla="*/ 1067639 h 1418833"/>
                    <a:gd name="connsiteX2004" fmla="*/ 382819 w 2172185"/>
                    <a:gd name="connsiteY2004" fmla="*/ 1070772 h 1418833"/>
                    <a:gd name="connsiteX2005" fmla="*/ 375831 w 2172185"/>
                    <a:gd name="connsiteY2005" fmla="*/ 1057438 h 1418833"/>
                    <a:gd name="connsiteX2006" fmla="*/ 376956 w 2172185"/>
                    <a:gd name="connsiteY2006" fmla="*/ 1052056 h 1418833"/>
                    <a:gd name="connsiteX2007" fmla="*/ 376715 w 2172185"/>
                    <a:gd name="connsiteY2007" fmla="*/ 1048923 h 1418833"/>
                    <a:gd name="connsiteX2008" fmla="*/ 366111 w 2172185"/>
                    <a:gd name="connsiteY2008" fmla="*/ 1038561 h 1418833"/>
                    <a:gd name="connsiteX2009" fmla="*/ 371493 w 2172185"/>
                    <a:gd name="connsiteY2009" fmla="*/ 1043862 h 1418833"/>
                    <a:gd name="connsiteX2010" fmla="*/ 376554 w 2172185"/>
                    <a:gd name="connsiteY2010" fmla="*/ 1040087 h 1418833"/>
                    <a:gd name="connsiteX2011" fmla="*/ 375911 w 2172185"/>
                    <a:gd name="connsiteY2011" fmla="*/ 1026752 h 1418833"/>
                    <a:gd name="connsiteX2012" fmla="*/ 378160 w 2172185"/>
                    <a:gd name="connsiteY2012" fmla="*/ 1024744 h 1418833"/>
                    <a:gd name="connsiteX2013" fmla="*/ 379847 w 2172185"/>
                    <a:gd name="connsiteY2013" fmla="*/ 1022335 h 1418833"/>
                    <a:gd name="connsiteX2014" fmla="*/ 380570 w 2172185"/>
                    <a:gd name="connsiteY2014" fmla="*/ 1023700 h 1418833"/>
                    <a:gd name="connsiteX2015" fmla="*/ 381213 w 2172185"/>
                    <a:gd name="connsiteY2015" fmla="*/ 1022013 h 1418833"/>
                    <a:gd name="connsiteX2016" fmla="*/ 381454 w 2172185"/>
                    <a:gd name="connsiteY2016" fmla="*/ 1022977 h 1418833"/>
                    <a:gd name="connsiteX2017" fmla="*/ 385390 w 2172185"/>
                    <a:gd name="connsiteY2017" fmla="*/ 1021692 h 1418833"/>
                    <a:gd name="connsiteX2018" fmla="*/ 386836 w 2172185"/>
                    <a:gd name="connsiteY2018" fmla="*/ 1021772 h 1418833"/>
                    <a:gd name="connsiteX2019" fmla="*/ 384667 w 2172185"/>
                    <a:gd name="connsiteY2019" fmla="*/ 1022897 h 1418833"/>
                    <a:gd name="connsiteX2020" fmla="*/ 386434 w 2172185"/>
                    <a:gd name="connsiteY2020" fmla="*/ 1023700 h 1418833"/>
                    <a:gd name="connsiteX2021" fmla="*/ 380811 w 2172185"/>
                    <a:gd name="connsiteY2021" fmla="*/ 1027636 h 1418833"/>
                    <a:gd name="connsiteX2022" fmla="*/ 382257 w 2172185"/>
                    <a:gd name="connsiteY2022" fmla="*/ 1026913 h 1418833"/>
                    <a:gd name="connsiteX2023" fmla="*/ 381213 w 2172185"/>
                    <a:gd name="connsiteY2023" fmla="*/ 1028680 h 1418833"/>
                    <a:gd name="connsiteX2024" fmla="*/ 379365 w 2172185"/>
                    <a:gd name="connsiteY2024" fmla="*/ 1031733 h 1418833"/>
                    <a:gd name="connsiteX2025" fmla="*/ 383141 w 2172185"/>
                    <a:gd name="connsiteY2025" fmla="*/ 1034785 h 1418833"/>
                    <a:gd name="connsiteX2026" fmla="*/ 383060 w 2172185"/>
                    <a:gd name="connsiteY2026" fmla="*/ 1039444 h 1418833"/>
                    <a:gd name="connsiteX2027" fmla="*/ 384747 w 2172185"/>
                    <a:gd name="connsiteY2027" fmla="*/ 1038641 h 1418833"/>
                    <a:gd name="connsiteX2028" fmla="*/ 386997 w 2172185"/>
                    <a:gd name="connsiteY2028" fmla="*/ 1044907 h 1418833"/>
                    <a:gd name="connsiteX2029" fmla="*/ 382659 w 2172185"/>
                    <a:gd name="connsiteY2029" fmla="*/ 1049887 h 1418833"/>
                    <a:gd name="connsiteX2030" fmla="*/ 396395 w 2172185"/>
                    <a:gd name="connsiteY2030" fmla="*/ 1040087 h 1418833"/>
                    <a:gd name="connsiteX2031" fmla="*/ 396395 w 2172185"/>
                    <a:gd name="connsiteY2031" fmla="*/ 1018318 h 1418833"/>
                    <a:gd name="connsiteX2032" fmla="*/ 394467 w 2172185"/>
                    <a:gd name="connsiteY2032" fmla="*/ 1025949 h 1418833"/>
                    <a:gd name="connsiteX2033" fmla="*/ 399367 w 2172185"/>
                    <a:gd name="connsiteY2033" fmla="*/ 1031894 h 1418833"/>
                    <a:gd name="connsiteX2034" fmla="*/ 414147 w 2172185"/>
                    <a:gd name="connsiteY2034" fmla="*/ 1019282 h 1418833"/>
                    <a:gd name="connsiteX2035" fmla="*/ 413987 w 2172185"/>
                    <a:gd name="connsiteY2035" fmla="*/ 1021370 h 1418833"/>
                    <a:gd name="connsiteX2036" fmla="*/ 417441 w 2172185"/>
                    <a:gd name="connsiteY2036" fmla="*/ 1001771 h 1418833"/>
                    <a:gd name="connsiteX2037" fmla="*/ 423064 w 2172185"/>
                    <a:gd name="connsiteY2037" fmla="*/ 1006269 h 1418833"/>
                    <a:gd name="connsiteX2038" fmla="*/ 460175 w 2172185"/>
                    <a:gd name="connsiteY2038" fmla="*/ 997754 h 1418833"/>
                    <a:gd name="connsiteX2039" fmla="*/ 462103 w 2172185"/>
                    <a:gd name="connsiteY2039" fmla="*/ 997031 h 1418833"/>
                    <a:gd name="connsiteX2040" fmla="*/ 474715 w 2172185"/>
                    <a:gd name="connsiteY2040" fmla="*/ 999843 h 1418833"/>
                    <a:gd name="connsiteX2041" fmla="*/ 479856 w 2172185"/>
                    <a:gd name="connsiteY2041" fmla="*/ 995666 h 1418833"/>
                    <a:gd name="connsiteX2042" fmla="*/ 473510 w 2172185"/>
                    <a:gd name="connsiteY2042" fmla="*/ 997111 h 1418833"/>
                    <a:gd name="connsiteX2043" fmla="*/ 467084 w 2172185"/>
                    <a:gd name="connsiteY2043" fmla="*/ 986026 h 1418833"/>
                    <a:gd name="connsiteX2044" fmla="*/ 482266 w 2172185"/>
                    <a:gd name="connsiteY2044" fmla="*/ 966747 h 1418833"/>
                    <a:gd name="connsiteX2045" fmla="*/ 484193 w 2172185"/>
                    <a:gd name="connsiteY2045" fmla="*/ 967310 h 1418833"/>
                    <a:gd name="connsiteX2046" fmla="*/ 486764 w 2172185"/>
                    <a:gd name="connsiteY2046" fmla="*/ 967711 h 1418833"/>
                    <a:gd name="connsiteX2047" fmla="*/ 487166 w 2172185"/>
                    <a:gd name="connsiteY2047" fmla="*/ 965623 h 1418833"/>
                    <a:gd name="connsiteX2048" fmla="*/ 488129 w 2172185"/>
                    <a:gd name="connsiteY2048" fmla="*/ 966587 h 1418833"/>
                    <a:gd name="connsiteX2049" fmla="*/ 489495 w 2172185"/>
                    <a:gd name="connsiteY2049" fmla="*/ 964498 h 1418833"/>
                    <a:gd name="connsiteX2050" fmla="*/ 489656 w 2172185"/>
                    <a:gd name="connsiteY2050" fmla="*/ 966265 h 1418833"/>
                    <a:gd name="connsiteX2051" fmla="*/ 490941 w 2172185"/>
                    <a:gd name="connsiteY2051" fmla="*/ 964739 h 1418833"/>
                    <a:gd name="connsiteX2052" fmla="*/ 491262 w 2172185"/>
                    <a:gd name="connsiteY2052" fmla="*/ 966185 h 1418833"/>
                    <a:gd name="connsiteX2053" fmla="*/ 503713 w 2172185"/>
                    <a:gd name="connsiteY2053" fmla="*/ 957429 h 1418833"/>
                    <a:gd name="connsiteX2054" fmla="*/ 502990 w 2172185"/>
                    <a:gd name="connsiteY2054" fmla="*/ 960160 h 1418833"/>
                    <a:gd name="connsiteX2055" fmla="*/ 516485 w 2172185"/>
                    <a:gd name="connsiteY2055" fmla="*/ 959116 h 1418833"/>
                    <a:gd name="connsiteX2056" fmla="*/ 517289 w 2172185"/>
                    <a:gd name="connsiteY2056" fmla="*/ 959357 h 1418833"/>
                    <a:gd name="connsiteX2057" fmla="*/ 548536 w 2172185"/>
                    <a:gd name="connsiteY2057" fmla="*/ 945862 h 1418833"/>
                    <a:gd name="connsiteX2058" fmla="*/ 546930 w 2172185"/>
                    <a:gd name="connsiteY2058" fmla="*/ 947388 h 1418833"/>
                    <a:gd name="connsiteX2059" fmla="*/ 576008 w 2172185"/>
                    <a:gd name="connsiteY2059" fmla="*/ 940480 h 1418833"/>
                    <a:gd name="connsiteX2060" fmla="*/ 569823 w 2172185"/>
                    <a:gd name="connsiteY2060" fmla="*/ 944898 h 1418833"/>
                    <a:gd name="connsiteX2061" fmla="*/ 590467 w 2172185"/>
                    <a:gd name="connsiteY2061" fmla="*/ 948593 h 1418833"/>
                    <a:gd name="connsiteX2062" fmla="*/ 577695 w 2172185"/>
                    <a:gd name="connsiteY2062" fmla="*/ 953574 h 1418833"/>
                    <a:gd name="connsiteX2063" fmla="*/ 573277 w 2172185"/>
                    <a:gd name="connsiteY2063" fmla="*/ 948352 h 1418833"/>
                    <a:gd name="connsiteX2064" fmla="*/ 551830 w 2172185"/>
                    <a:gd name="connsiteY2064" fmla="*/ 957670 h 1418833"/>
                    <a:gd name="connsiteX2065" fmla="*/ 555444 w 2172185"/>
                    <a:gd name="connsiteY2065" fmla="*/ 956706 h 1418833"/>
                    <a:gd name="connsiteX2066" fmla="*/ 544198 w 2172185"/>
                    <a:gd name="connsiteY2066" fmla="*/ 970603 h 1418833"/>
                    <a:gd name="connsiteX2067" fmla="*/ 546367 w 2172185"/>
                    <a:gd name="connsiteY2067" fmla="*/ 971246 h 1418833"/>
                    <a:gd name="connsiteX2068" fmla="*/ 551589 w 2172185"/>
                    <a:gd name="connsiteY2068" fmla="*/ 975664 h 1418833"/>
                    <a:gd name="connsiteX2069" fmla="*/ 577294 w 2172185"/>
                    <a:gd name="connsiteY2069" fmla="*/ 962089 h 1418833"/>
                    <a:gd name="connsiteX2070" fmla="*/ 579221 w 2172185"/>
                    <a:gd name="connsiteY2070" fmla="*/ 959759 h 1418833"/>
                    <a:gd name="connsiteX2071" fmla="*/ 621153 w 2172185"/>
                    <a:gd name="connsiteY2071" fmla="*/ 949397 h 1418833"/>
                    <a:gd name="connsiteX2072" fmla="*/ 617859 w 2172185"/>
                    <a:gd name="connsiteY2072" fmla="*/ 943774 h 1418833"/>
                    <a:gd name="connsiteX2073" fmla="*/ 601713 w 2172185"/>
                    <a:gd name="connsiteY2073" fmla="*/ 942970 h 1418833"/>
                    <a:gd name="connsiteX2074" fmla="*/ 585487 w 2172185"/>
                    <a:gd name="connsiteY2074" fmla="*/ 939838 h 1418833"/>
                    <a:gd name="connsiteX2075" fmla="*/ 584443 w 2172185"/>
                    <a:gd name="connsiteY2075" fmla="*/ 936383 h 1418833"/>
                    <a:gd name="connsiteX2076" fmla="*/ 570787 w 2172185"/>
                    <a:gd name="connsiteY2076" fmla="*/ 928592 h 1418833"/>
                    <a:gd name="connsiteX2077" fmla="*/ 570546 w 2172185"/>
                    <a:gd name="connsiteY2077" fmla="*/ 920237 h 1418833"/>
                    <a:gd name="connsiteX2078" fmla="*/ 563718 w 2172185"/>
                    <a:gd name="connsiteY2078" fmla="*/ 919354 h 1418833"/>
                    <a:gd name="connsiteX2079" fmla="*/ 573839 w 2172185"/>
                    <a:gd name="connsiteY2079" fmla="*/ 909313 h 1418833"/>
                    <a:gd name="connsiteX2080" fmla="*/ 569502 w 2172185"/>
                    <a:gd name="connsiteY2080" fmla="*/ 907144 h 1418833"/>
                    <a:gd name="connsiteX2081" fmla="*/ 543716 w 2172185"/>
                    <a:gd name="connsiteY2081" fmla="*/ 902806 h 1418833"/>
                    <a:gd name="connsiteX2082" fmla="*/ 578980 w 2172185"/>
                    <a:gd name="connsiteY2082" fmla="*/ 891641 h 1418833"/>
                    <a:gd name="connsiteX2083" fmla="*/ 478249 w 2172185"/>
                    <a:gd name="connsiteY2083" fmla="*/ 911000 h 1418833"/>
                    <a:gd name="connsiteX2084" fmla="*/ 482587 w 2172185"/>
                    <a:gd name="connsiteY2084" fmla="*/ 896219 h 1418833"/>
                    <a:gd name="connsiteX2085" fmla="*/ 522992 w 2172185"/>
                    <a:gd name="connsiteY2085" fmla="*/ 881520 h 1418833"/>
                    <a:gd name="connsiteX2086" fmla="*/ 723571 w 2172185"/>
                    <a:gd name="connsiteY2086" fmla="*/ 829547 h 1418833"/>
                    <a:gd name="connsiteX2087" fmla="*/ 495038 w 2172185"/>
                    <a:gd name="connsiteY2087" fmla="*/ 321794 h 1418833"/>
                    <a:gd name="connsiteX2088" fmla="*/ 495038 w 2172185"/>
                    <a:gd name="connsiteY2088" fmla="*/ 321794 h 1418833"/>
                    <a:gd name="connsiteX2089" fmla="*/ 495038 w 2172185"/>
                    <a:gd name="connsiteY2089" fmla="*/ 321794 h 1418833"/>
                    <a:gd name="connsiteX2090" fmla="*/ 495038 w 2172185"/>
                    <a:gd name="connsiteY2090" fmla="*/ 321794 h 1418833"/>
                    <a:gd name="connsiteX2091" fmla="*/ 491102 w 2172185"/>
                    <a:gd name="connsiteY2091" fmla="*/ 305889 h 1418833"/>
                    <a:gd name="connsiteX2092" fmla="*/ 492708 w 2172185"/>
                    <a:gd name="connsiteY2092" fmla="*/ 303640 h 1418833"/>
                    <a:gd name="connsiteX2093" fmla="*/ 492387 w 2172185"/>
                    <a:gd name="connsiteY2093" fmla="*/ 303961 h 1418833"/>
                    <a:gd name="connsiteX2094" fmla="*/ 486764 w 2172185"/>
                    <a:gd name="connsiteY2094" fmla="*/ 309906 h 1418833"/>
                    <a:gd name="connsiteX2095" fmla="*/ 491102 w 2172185"/>
                    <a:gd name="connsiteY2095" fmla="*/ 305889 h 1418833"/>
                    <a:gd name="connsiteX2096" fmla="*/ 440013 w 2172185"/>
                    <a:gd name="connsiteY2096" fmla="*/ 250463 h 1418833"/>
                    <a:gd name="connsiteX2097" fmla="*/ 440013 w 2172185"/>
                    <a:gd name="connsiteY2097" fmla="*/ 250463 h 1418833"/>
                    <a:gd name="connsiteX2098" fmla="*/ 440013 w 2172185"/>
                    <a:gd name="connsiteY2098" fmla="*/ 250463 h 1418833"/>
                    <a:gd name="connsiteX2099" fmla="*/ 440013 w 2172185"/>
                    <a:gd name="connsiteY2099" fmla="*/ 250463 h 1418833"/>
                    <a:gd name="connsiteX2100" fmla="*/ 440013 w 2172185"/>
                    <a:gd name="connsiteY2100" fmla="*/ 250463 h 1418833"/>
                    <a:gd name="connsiteX2101" fmla="*/ 1609749 w 2172185"/>
                    <a:gd name="connsiteY2101" fmla="*/ 0 h 1418833"/>
                    <a:gd name="connsiteX2102" fmla="*/ 1609749 w 2172185"/>
                    <a:gd name="connsiteY2102" fmla="*/ 0 h 1418833"/>
                    <a:gd name="connsiteX2103" fmla="*/ 1625252 w 2172185"/>
                    <a:gd name="connsiteY2103" fmla="*/ 7229 h 1418833"/>
                    <a:gd name="connsiteX2104" fmla="*/ 1624449 w 2172185"/>
                    <a:gd name="connsiteY2104" fmla="*/ 6748 h 1418833"/>
                    <a:gd name="connsiteX2105" fmla="*/ 1609749 w 2172185"/>
                    <a:gd name="connsiteY2105" fmla="*/ 0 h 1418833"/>
                    <a:gd name="connsiteX2106" fmla="*/ 622679 w 2172185"/>
                    <a:gd name="connsiteY2106" fmla="*/ 345250 h 1418833"/>
                    <a:gd name="connsiteX2107" fmla="*/ 625892 w 2172185"/>
                    <a:gd name="connsiteY2107" fmla="*/ 343643 h 1418833"/>
                    <a:gd name="connsiteX2108" fmla="*/ 612718 w 2172185"/>
                    <a:gd name="connsiteY2108" fmla="*/ 322035 h 1418833"/>
                    <a:gd name="connsiteX2109" fmla="*/ 599785 w 2172185"/>
                    <a:gd name="connsiteY2109" fmla="*/ 326453 h 1418833"/>
                    <a:gd name="connsiteX2110" fmla="*/ 600107 w 2172185"/>
                    <a:gd name="connsiteY2110" fmla="*/ 347178 h 1418833"/>
                    <a:gd name="connsiteX2111" fmla="*/ 622679 w 2172185"/>
                    <a:gd name="connsiteY2111" fmla="*/ 345250 h 1418833"/>
                    <a:gd name="connsiteX2112" fmla="*/ 473911 w 2172185"/>
                    <a:gd name="connsiteY2112" fmla="*/ 267653 h 1418833"/>
                    <a:gd name="connsiteX2113" fmla="*/ 475277 w 2172185"/>
                    <a:gd name="connsiteY2113" fmla="*/ 266609 h 1418833"/>
                    <a:gd name="connsiteX2114" fmla="*/ 474313 w 2172185"/>
                    <a:gd name="connsiteY2114" fmla="*/ 267332 h 1418833"/>
                    <a:gd name="connsiteX2115" fmla="*/ 455356 w 2172185"/>
                    <a:gd name="connsiteY2115" fmla="*/ 282353 h 1418833"/>
                    <a:gd name="connsiteX2116" fmla="*/ 473911 w 2172185"/>
                    <a:gd name="connsiteY2116" fmla="*/ 267653 h 1418833"/>
                    <a:gd name="connsiteX2117" fmla="*/ 560505 w 2172185"/>
                    <a:gd name="connsiteY2117" fmla="*/ 565670 h 1418833"/>
                    <a:gd name="connsiteX2118" fmla="*/ 560023 w 2172185"/>
                    <a:gd name="connsiteY2118" fmla="*/ 566232 h 1418833"/>
                    <a:gd name="connsiteX2119" fmla="*/ 559782 w 2172185"/>
                    <a:gd name="connsiteY2119" fmla="*/ 565670 h 1418833"/>
                    <a:gd name="connsiteX2120" fmla="*/ 559782 w 2172185"/>
                    <a:gd name="connsiteY2120" fmla="*/ 565670 h 1418833"/>
                    <a:gd name="connsiteX2121" fmla="*/ 559782 w 2172185"/>
                    <a:gd name="connsiteY2121" fmla="*/ 565670 h 1418833"/>
                    <a:gd name="connsiteX2122" fmla="*/ 559782 w 2172185"/>
                    <a:gd name="connsiteY2122" fmla="*/ 565670 h 1418833"/>
                    <a:gd name="connsiteX2123" fmla="*/ 559782 w 2172185"/>
                    <a:gd name="connsiteY2123" fmla="*/ 565670 h 1418833"/>
                    <a:gd name="connsiteX2124" fmla="*/ 559782 w 2172185"/>
                    <a:gd name="connsiteY2124" fmla="*/ 565670 h 1418833"/>
                    <a:gd name="connsiteX2125" fmla="*/ 559782 w 2172185"/>
                    <a:gd name="connsiteY2125" fmla="*/ 565670 h 1418833"/>
                    <a:gd name="connsiteX2126" fmla="*/ 559782 w 2172185"/>
                    <a:gd name="connsiteY2126" fmla="*/ 565670 h 1418833"/>
                    <a:gd name="connsiteX2127" fmla="*/ 559782 w 2172185"/>
                    <a:gd name="connsiteY2127" fmla="*/ 565670 h 1418833"/>
                    <a:gd name="connsiteX2128" fmla="*/ 560505 w 2172185"/>
                    <a:gd name="connsiteY2128" fmla="*/ 565670 h 1418833"/>
                    <a:gd name="connsiteX2129" fmla="*/ 560505 w 2172185"/>
                    <a:gd name="connsiteY2129" fmla="*/ 565670 h 1418833"/>
                    <a:gd name="connsiteX2130" fmla="*/ 573759 w 2172185"/>
                    <a:gd name="connsiteY2130" fmla="*/ 574667 h 1418833"/>
                    <a:gd name="connsiteX2131" fmla="*/ 560826 w 2172185"/>
                    <a:gd name="connsiteY2131" fmla="*/ 567678 h 1418833"/>
                    <a:gd name="connsiteX2132" fmla="*/ 561228 w 2172185"/>
                    <a:gd name="connsiteY2132" fmla="*/ 567678 h 1418833"/>
                    <a:gd name="connsiteX2133" fmla="*/ 560987 w 2172185"/>
                    <a:gd name="connsiteY2133" fmla="*/ 566794 h 1418833"/>
                    <a:gd name="connsiteX2134" fmla="*/ 566048 w 2172185"/>
                    <a:gd name="connsiteY2134" fmla="*/ 553942 h 1418833"/>
                    <a:gd name="connsiteX2135" fmla="*/ 573839 w 2172185"/>
                    <a:gd name="connsiteY2135" fmla="*/ 573140 h 1418833"/>
                    <a:gd name="connsiteX2136" fmla="*/ 574321 w 2172185"/>
                    <a:gd name="connsiteY2136" fmla="*/ 574747 h 1418833"/>
                    <a:gd name="connsiteX2137" fmla="*/ 573759 w 2172185"/>
                    <a:gd name="connsiteY2137" fmla="*/ 574667 h 1418833"/>
                    <a:gd name="connsiteX2138" fmla="*/ 601312 w 2172185"/>
                    <a:gd name="connsiteY2138" fmla="*/ 534422 h 1418833"/>
                    <a:gd name="connsiteX2139" fmla="*/ 598259 w 2172185"/>
                    <a:gd name="connsiteY2139" fmla="*/ 536430 h 1418833"/>
                    <a:gd name="connsiteX2140" fmla="*/ 583961 w 2172185"/>
                    <a:gd name="connsiteY2140" fmla="*/ 526068 h 1418833"/>
                    <a:gd name="connsiteX2141" fmla="*/ 601874 w 2172185"/>
                    <a:gd name="connsiteY2141" fmla="*/ 533940 h 1418833"/>
                    <a:gd name="connsiteX2142" fmla="*/ 601312 w 2172185"/>
                    <a:gd name="connsiteY2142" fmla="*/ 534422 h 1418833"/>
                    <a:gd name="connsiteX2143" fmla="*/ 517289 w 2172185"/>
                    <a:gd name="connsiteY2143" fmla="*/ 389912 h 1418833"/>
                    <a:gd name="connsiteX2144" fmla="*/ 518815 w 2172185"/>
                    <a:gd name="connsiteY2144" fmla="*/ 386297 h 1418833"/>
                    <a:gd name="connsiteX2145" fmla="*/ 517369 w 2172185"/>
                    <a:gd name="connsiteY2145" fmla="*/ 390073 h 1418833"/>
                    <a:gd name="connsiteX2146" fmla="*/ 517289 w 2172185"/>
                    <a:gd name="connsiteY2146" fmla="*/ 389912 h 1418833"/>
                    <a:gd name="connsiteX2147" fmla="*/ 694090 w 2172185"/>
                    <a:gd name="connsiteY2147" fmla="*/ 527353 h 1418833"/>
                    <a:gd name="connsiteX2148" fmla="*/ 694653 w 2172185"/>
                    <a:gd name="connsiteY2148" fmla="*/ 525586 h 1418833"/>
                    <a:gd name="connsiteX2149" fmla="*/ 670795 w 2172185"/>
                    <a:gd name="connsiteY2149" fmla="*/ 525666 h 1418833"/>
                    <a:gd name="connsiteX2150" fmla="*/ 681720 w 2172185"/>
                    <a:gd name="connsiteY2150" fmla="*/ 515545 h 1418833"/>
                    <a:gd name="connsiteX2151" fmla="*/ 676579 w 2172185"/>
                    <a:gd name="connsiteY2151" fmla="*/ 511770 h 1418833"/>
                    <a:gd name="connsiteX2152" fmla="*/ 664128 w 2172185"/>
                    <a:gd name="connsiteY2152" fmla="*/ 512171 h 1418833"/>
                    <a:gd name="connsiteX2153" fmla="*/ 670474 w 2172185"/>
                    <a:gd name="connsiteY2153" fmla="*/ 512252 h 1418833"/>
                    <a:gd name="connsiteX2154" fmla="*/ 673928 w 2172185"/>
                    <a:gd name="connsiteY2154" fmla="*/ 507191 h 1418833"/>
                    <a:gd name="connsiteX2155" fmla="*/ 673848 w 2172185"/>
                    <a:gd name="connsiteY2155" fmla="*/ 504460 h 1418833"/>
                    <a:gd name="connsiteX2156" fmla="*/ 672081 w 2172185"/>
                    <a:gd name="connsiteY2156" fmla="*/ 505183 h 1418833"/>
                    <a:gd name="connsiteX2157" fmla="*/ 658505 w 2172185"/>
                    <a:gd name="connsiteY2157" fmla="*/ 503255 h 1418833"/>
                    <a:gd name="connsiteX2158" fmla="*/ 659710 w 2172185"/>
                    <a:gd name="connsiteY2158" fmla="*/ 496588 h 1418833"/>
                    <a:gd name="connsiteX2159" fmla="*/ 655051 w 2172185"/>
                    <a:gd name="connsiteY2159" fmla="*/ 495302 h 1418833"/>
                    <a:gd name="connsiteX2160" fmla="*/ 655694 w 2172185"/>
                    <a:gd name="connsiteY2160" fmla="*/ 493294 h 1418833"/>
                    <a:gd name="connsiteX2161" fmla="*/ 649589 w 2172185"/>
                    <a:gd name="connsiteY2161" fmla="*/ 497471 h 1418833"/>
                    <a:gd name="connsiteX2162" fmla="*/ 649107 w 2172185"/>
                    <a:gd name="connsiteY2162" fmla="*/ 495704 h 1418833"/>
                    <a:gd name="connsiteX2163" fmla="*/ 655131 w 2172185"/>
                    <a:gd name="connsiteY2163" fmla="*/ 487109 h 1418833"/>
                    <a:gd name="connsiteX2164" fmla="*/ 646858 w 2172185"/>
                    <a:gd name="connsiteY2164" fmla="*/ 491929 h 1418833"/>
                    <a:gd name="connsiteX2165" fmla="*/ 645572 w 2172185"/>
                    <a:gd name="connsiteY2165" fmla="*/ 490644 h 1418833"/>
                    <a:gd name="connsiteX2166" fmla="*/ 651356 w 2172185"/>
                    <a:gd name="connsiteY2166" fmla="*/ 482450 h 1418833"/>
                    <a:gd name="connsiteX2167" fmla="*/ 629667 w 2172185"/>
                    <a:gd name="connsiteY2167" fmla="*/ 472489 h 1418833"/>
                    <a:gd name="connsiteX2168" fmla="*/ 640913 w 2172185"/>
                    <a:gd name="connsiteY2168" fmla="*/ 472570 h 1418833"/>
                    <a:gd name="connsiteX2169" fmla="*/ 641877 w 2172185"/>
                    <a:gd name="connsiteY2169" fmla="*/ 462930 h 1418833"/>
                    <a:gd name="connsiteX2170" fmla="*/ 656256 w 2172185"/>
                    <a:gd name="connsiteY2170" fmla="*/ 459958 h 1418833"/>
                    <a:gd name="connsiteX2171" fmla="*/ 636094 w 2172185"/>
                    <a:gd name="connsiteY2171" fmla="*/ 452327 h 1418833"/>
                    <a:gd name="connsiteX2172" fmla="*/ 658826 w 2172185"/>
                    <a:gd name="connsiteY2172" fmla="*/ 441001 h 1418833"/>
                    <a:gd name="connsiteX2173" fmla="*/ 658987 w 2172185"/>
                    <a:gd name="connsiteY2173" fmla="*/ 439073 h 1418833"/>
                    <a:gd name="connsiteX2174" fmla="*/ 644046 w 2172185"/>
                    <a:gd name="connsiteY2174" fmla="*/ 439876 h 1418833"/>
                    <a:gd name="connsiteX2175" fmla="*/ 645251 w 2172185"/>
                    <a:gd name="connsiteY2175" fmla="*/ 437225 h 1418833"/>
                    <a:gd name="connsiteX2176" fmla="*/ 641235 w 2172185"/>
                    <a:gd name="connsiteY2176" fmla="*/ 433209 h 1418833"/>
                    <a:gd name="connsiteX2177" fmla="*/ 657220 w 2172185"/>
                    <a:gd name="connsiteY2177" fmla="*/ 425256 h 1418833"/>
                    <a:gd name="connsiteX2178" fmla="*/ 657220 w 2172185"/>
                    <a:gd name="connsiteY2178" fmla="*/ 423248 h 1418833"/>
                    <a:gd name="connsiteX2179" fmla="*/ 621876 w 2172185"/>
                    <a:gd name="connsiteY2179" fmla="*/ 433611 h 1418833"/>
                    <a:gd name="connsiteX2180" fmla="*/ 627820 w 2172185"/>
                    <a:gd name="connsiteY2180" fmla="*/ 423489 h 1418833"/>
                    <a:gd name="connsiteX2181" fmla="*/ 622438 w 2172185"/>
                    <a:gd name="connsiteY2181" fmla="*/ 424293 h 1418833"/>
                    <a:gd name="connsiteX2182" fmla="*/ 638664 w 2172185"/>
                    <a:gd name="connsiteY2182" fmla="*/ 409432 h 1418833"/>
                    <a:gd name="connsiteX2183" fmla="*/ 620108 w 2172185"/>
                    <a:gd name="connsiteY2183" fmla="*/ 412966 h 1418833"/>
                    <a:gd name="connsiteX2184" fmla="*/ 630390 w 2172185"/>
                    <a:gd name="connsiteY2184" fmla="*/ 388787 h 1418833"/>
                    <a:gd name="connsiteX2185" fmla="*/ 621795 w 2172185"/>
                    <a:gd name="connsiteY2185" fmla="*/ 399712 h 1418833"/>
                    <a:gd name="connsiteX2186" fmla="*/ 621715 w 2172185"/>
                    <a:gd name="connsiteY2186" fmla="*/ 390555 h 1418833"/>
                    <a:gd name="connsiteX2187" fmla="*/ 614485 w 2172185"/>
                    <a:gd name="connsiteY2187" fmla="*/ 395133 h 1418833"/>
                    <a:gd name="connsiteX2188" fmla="*/ 621153 w 2172185"/>
                    <a:gd name="connsiteY2188" fmla="*/ 386699 h 1418833"/>
                    <a:gd name="connsiteX2189" fmla="*/ 604284 w 2172185"/>
                    <a:gd name="connsiteY2189" fmla="*/ 399552 h 1418833"/>
                    <a:gd name="connsiteX2190" fmla="*/ 614325 w 2172185"/>
                    <a:gd name="connsiteY2190" fmla="*/ 386860 h 1418833"/>
                    <a:gd name="connsiteX2191" fmla="*/ 610951 w 2172185"/>
                    <a:gd name="connsiteY2191" fmla="*/ 386217 h 1418833"/>
                    <a:gd name="connsiteX2192" fmla="*/ 621876 w 2172185"/>
                    <a:gd name="connsiteY2192" fmla="*/ 377381 h 1418833"/>
                    <a:gd name="connsiteX2193" fmla="*/ 604284 w 2172185"/>
                    <a:gd name="connsiteY2193" fmla="*/ 384289 h 1418833"/>
                    <a:gd name="connsiteX2194" fmla="*/ 613762 w 2172185"/>
                    <a:gd name="connsiteY2194" fmla="*/ 356978 h 1418833"/>
                    <a:gd name="connsiteX2195" fmla="*/ 598741 w 2172185"/>
                    <a:gd name="connsiteY2195" fmla="*/ 369107 h 1418833"/>
                    <a:gd name="connsiteX2196" fmla="*/ 592315 w 2172185"/>
                    <a:gd name="connsiteY2196" fmla="*/ 362520 h 1418833"/>
                    <a:gd name="connsiteX2197" fmla="*/ 584523 w 2172185"/>
                    <a:gd name="connsiteY2197" fmla="*/ 376176 h 1418833"/>
                    <a:gd name="connsiteX2198" fmla="*/ 588057 w 2172185"/>
                    <a:gd name="connsiteY2198" fmla="*/ 360432 h 1418833"/>
                    <a:gd name="connsiteX2199" fmla="*/ 579382 w 2172185"/>
                    <a:gd name="connsiteY2199" fmla="*/ 365733 h 1418833"/>
                    <a:gd name="connsiteX2200" fmla="*/ 569662 w 2172185"/>
                    <a:gd name="connsiteY2200" fmla="*/ 366617 h 1418833"/>
                    <a:gd name="connsiteX2201" fmla="*/ 578177 w 2172185"/>
                    <a:gd name="connsiteY2201" fmla="*/ 353122 h 1418833"/>
                    <a:gd name="connsiteX2202" fmla="*/ 592797 w 2172185"/>
                    <a:gd name="connsiteY2202" fmla="*/ 324445 h 1418833"/>
                    <a:gd name="connsiteX2203" fmla="*/ 558256 w 2172185"/>
                    <a:gd name="connsiteY2203" fmla="*/ 332879 h 1418833"/>
                    <a:gd name="connsiteX2204" fmla="*/ 558738 w 2172185"/>
                    <a:gd name="connsiteY2204" fmla="*/ 340832 h 1418833"/>
                    <a:gd name="connsiteX2205" fmla="*/ 546930 w 2172185"/>
                    <a:gd name="connsiteY2205" fmla="*/ 352238 h 1418833"/>
                    <a:gd name="connsiteX2206" fmla="*/ 542190 w 2172185"/>
                    <a:gd name="connsiteY2206" fmla="*/ 360833 h 1418833"/>
                    <a:gd name="connsiteX2207" fmla="*/ 518734 w 2172185"/>
                    <a:gd name="connsiteY2207" fmla="*/ 385976 h 1418833"/>
                    <a:gd name="connsiteX2208" fmla="*/ 504275 w 2172185"/>
                    <a:gd name="connsiteY2208" fmla="*/ 386940 h 1418833"/>
                    <a:gd name="connsiteX2209" fmla="*/ 576249 w 2172185"/>
                    <a:gd name="connsiteY2209" fmla="*/ 309745 h 1418833"/>
                    <a:gd name="connsiteX2210" fmla="*/ 565244 w 2172185"/>
                    <a:gd name="connsiteY2210" fmla="*/ 309022 h 1418833"/>
                    <a:gd name="connsiteX2211" fmla="*/ 500500 w 2172185"/>
                    <a:gd name="connsiteY2211" fmla="*/ 385092 h 1418833"/>
                    <a:gd name="connsiteX2212" fmla="*/ 486041 w 2172185"/>
                    <a:gd name="connsiteY2212" fmla="*/ 379630 h 1418833"/>
                    <a:gd name="connsiteX2213" fmla="*/ 486523 w 2172185"/>
                    <a:gd name="connsiteY2213" fmla="*/ 403488 h 1418833"/>
                    <a:gd name="connsiteX2214" fmla="*/ 494074 w 2172185"/>
                    <a:gd name="connsiteY2214" fmla="*/ 401319 h 1418833"/>
                    <a:gd name="connsiteX2215" fmla="*/ 527651 w 2172185"/>
                    <a:gd name="connsiteY2215" fmla="*/ 431522 h 1418833"/>
                    <a:gd name="connsiteX2216" fmla="*/ 528133 w 2172185"/>
                    <a:gd name="connsiteY2216" fmla="*/ 421642 h 1418833"/>
                    <a:gd name="connsiteX2217" fmla="*/ 558256 w 2172185"/>
                    <a:gd name="connsiteY2217" fmla="*/ 411038 h 1418833"/>
                    <a:gd name="connsiteX2218" fmla="*/ 575285 w 2172185"/>
                    <a:gd name="connsiteY2218" fmla="*/ 459074 h 1418833"/>
                    <a:gd name="connsiteX2219" fmla="*/ 580828 w 2172185"/>
                    <a:gd name="connsiteY2219" fmla="*/ 478514 h 1418833"/>
                    <a:gd name="connsiteX2220" fmla="*/ 546528 w 2172185"/>
                    <a:gd name="connsiteY2220" fmla="*/ 549845 h 1418833"/>
                    <a:gd name="connsiteX2221" fmla="*/ 519216 w 2172185"/>
                    <a:gd name="connsiteY2221" fmla="*/ 562376 h 1418833"/>
                    <a:gd name="connsiteX2222" fmla="*/ 495761 w 2172185"/>
                    <a:gd name="connsiteY2222" fmla="*/ 561573 h 1418833"/>
                    <a:gd name="connsiteX2223" fmla="*/ 524598 w 2172185"/>
                    <a:gd name="connsiteY2223" fmla="*/ 564304 h 1418833"/>
                    <a:gd name="connsiteX2224" fmla="*/ 539861 w 2172185"/>
                    <a:gd name="connsiteY2224" fmla="*/ 571614 h 1418833"/>
                    <a:gd name="connsiteX2225" fmla="*/ 547653 w 2172185"/>
                    <a:gd name="connsiteY2225" fmla="*/ 588804 h 1418833"/>
                    <a:gd name="connsiteX2226" fmla="*/ 554159 w 2172185"/>
                    <a:gd name="connsiteY2226" fmla="*/ 596837 h 1418833"/>
                    <a:gd name="connsiteX2227" fmla="*/ 547171 w 2172185"/>
                    <a:gd name="connsiteY2227" fmla="*/ 601978 h 1418833"/>
                    <a:gd name="connsiteX2228" fmla="*/ 549580 w 2172185"/>
                    <a:gd name="connsiteY2228" fmla="*/ 605834 h 1418833"/>
                    <a:gd name="connsiteX2229" fmla="*/ 608059 w 2172185"/>
                    <a:gd name="connsiteY2229" fmla="*/ 639089 h 1418833"/>
                    <a:gd name="connsiteX2230" fmla="*/ 610148 w 2172185"/>
                    <a:gd name="connsiteY2230" fmla="*/ 632904 h 1418833"/>
                    <a:gd name="connsiteX2231" fmla="*/ 593359 w 2172185"/>
                    <a:gd name="connsiteY2231" fmla="*/ 598524 h 1418833"/>
                    <a:gd name="connsiteX2232" fmla="*/ 597135 w 2172185"/>
                    <a:gd name="connsiteY2232" fmla="*/ 603986 h 1418833"/>
                    <a:gd name="connsiteX2233" fmla="*/ 597215 w 2172185"/>
                    <a:gd name="connsiteY2233" fmla="*/ 596757 h 1418833"/>
                    <a:gd name="connsiteX2234" fmla="*/ 606292 w 2172185"/>
                    <a:gd name="connsiteY2234" fmla="*/ 610091 h 1418833"/>
                    <a:gd name="connsiteX2235" fmla="*/ 608139 w 2172185"/>
                    <a:gd name="connsiteY2235" fmla="*/ 609529 h 1418833"/>
                    <a:gd name="connsiteX2236" fmla="*/ 609666 w 2172185"/>
                    <a:gd name="connsiteY2236" fmla="*/ 610413 h 1418833"/>
                    <a:gd name="connsiteX2237" fmla="*/ 610790 w 2172185"/>
                    <a:gd name="connsiteY2237" fmla="*/ 613947 h 1418833"/>
                    <a:gd name="connsiteX2238" fmla="*/ 614405 w 2172185"/>
                    <a:gd name="connsiteY2238" fmla="*/ 613947 h 1418833"/>
                    <a:gd name="connsiteX2239" fmla="*/ 626374 w 2172185"/>
                    <a:gd name="connsiteY2239" fmla="*/ 616517 h 1418833"/>
                    <a:gd name="connsiteX2240" fmla="*/ 630792 w 2172185"/>
                    <a:gd name="connsiteY2240" fmla="*/ 597962 h 1418833"/>
                    <a:gd name="connsiteX2241" fmla="*/ 635451 w 2172185"/>
                    <a:gd name="connsiteY2241" fmla="*/ 608886 h 1418833"/>
                    <a:gd name="connsiteX2242" fmla="*/ 638182 w 2172185"/>
                    <a:gd name="connsiteY2242" fmla="*/ 600211 h 1418833"/>
                    <a:gd name="connsiteX2243" fmla="*/ 640271 w 2172185"/>
                    <a:gd name="connsiteY2243" fmla="*/ 599729 h 1418833"/>
                    <a:gd name="connsiteX2244" fmla="*/ 629587 w 2172185"/>
                    <a:gd name="connsiteY2244" fmla="*/ 585029 h 1418833"/>
                    <a:gd name="connsiteX2245" fmla="*/ 636174 w 2172185"/>
                    <a:gd name="connsiteY2245" fmla="*/ 583101 h 1418833"/>
                    <a:gd name="connsiteX2246" fmla="*/ 631676 w 2172185"/>
                    <a:gd name="connsiteY2246" fmla="*/ 580611 h 1418833"/>
                    <a:gd name="connsiteX2247" fmla="*/ 635049 w 2172185"/>
                    <a:gd name="connsiteY2247" fmla="*/ 578362 h 1418833"/>
                    <a:gd name="connsiteX2248" fmla="*/ 635049 w 2172185"/>
                    <a:gd name="connsiteY2248" fmla="*/ 576273 h 1418833"/>
                    <a:gd name="connsiteX2249" fmla="*/ 621956 w 2172185"/>
                    <a:gd name="connsiteY2249" fmla="*/ 568240 h 1418833"/>
                    <a:gd name="connsiteX2250" fmla="*/ 620189 w 2172185"/>
                    <a:gd name="connsiteY2250" fmla="*/ 571373 h 1418833"/>
                    <a:gd name="connsiteX2251" fmla="*/ 616413 w 2172185"/>
                    <a:gd name="connsiteY2251" fmla="*/ 559404 h 1418833"/>
                    <a:gd name="connsiteX2252" fmla="*/ 619707 w 2172185"/>
                    <a:gd name="connsiteY2252" fmla="*/ 557316 h 1418833"/>
                    <a:gd name="connsiteX2253" fmla="*/ 607256 w 2172185"/>
                    <a:gd name="connsiteY2253" fmla="*/ 537555 h 1418833"/>
                    <a:gd name="connsiteX2254" fmla="*/ 620590 w 2172185"/>
                    <a:gd name="connsiteY2254" fmla="*/ 543499 h 1418833"/>
                    <a:gd name="connsiteX2255" fmla="*/ 619948 w 2172185"/>
                    <a:gd name="connsiteY2255" fmla="*/ 531209 h 1418833"/>
                    <a:gd name="connsiteX2256" fmla="*/ 624366 w 2172185"/>
                    <a:gd name="connsiteY2256" fmla="*/ 535466 h 1418833"/>
                    <a:gd name="connsiteX2257" fmla="*/ 626133 w 2172185"/>
                    <a:gd name="connsiteY2257" fmla="*/ 534824 h 1418833"/>
                    <a:gd name="connsiteX2258" fmla="*/ 627017 w 2172185"/>
                    <a:gd name="connsiteY2258" fmla="*/ 529602 h 1418833"/>
                    <a:gd name="connsiteX2259" fmla="*/ 630390 w 2172185"/>
                    <a:gd name="connsiteY2259" fmla="*/ 530245 h 1418833"/>
                    <a:gd name="connsiteX2260" fmla="*/ 630872 w 2172185"/>
                    <a:gd name="connsiteY2260" fmla="*/ 528558 h 1418833"/>
                    <a:gd name="connsiteX2261" fmla="*/ 643082 w 2172185"/>
                    <a:gd name="connsiteY2261" fmla="*/ 539724 h 1418833"/>
                    <a:gd name="connsiteX2262" fmla="*/ 642520 w 2172185"/>
                    <a:gd name="connsiteY2262" fmla="*/ 544222 h 1418833"/>
                    <a:gd name="connsiteX2263" fmla="*/ 650874 w 2172185"/>
                    <a:gd name="connsiteY2263" fmla="*/ 542214 h 1418833"/>
                    <a:gd name="connsiteX2264" fmla="*/ 647902 w 2172185"/>
                    <a:gd name="connsiteY2264" fmla="*/ 566714 h 1418833"/>
                    <a:gd name="connsiteX2265" fmla="*/ 653525 w 2172185"/>
                    <a:gd name="connsiteY2265" fmla="*/ 559967 h 1418833"/>
                    <a:gd name="connsiteX2266" fmla="*/ 652561 w 2172185"/>
                    <a:gd name="connsiteY2266" fmla="*/ 568080 h 1418833"/>
                    <a:gd name="connsiteX2267" fmla="*/ 658264 w 2172185"/>
                    <a:gd name="connsiteY2267" fmla="*/ 571614 h 1418833"/>
                    <a:gd name="connsiteX2268" fmla="*/ 666297 w 2172185"/>
                    <a:gd name="connsiteY2268" fmla="*/ 555227 h 1418833"/>
                    <a:gd name="connsiteX2269" fmla="*/ 664289 w 2172185"/>
                    <a:gd name="connsiteY2269" fmla="*/ 554424 h 1418833"/>
                    <a:gd name="connsiteX2270" fmla="*/ 665574 w 2172185"/>
                    <a:gd name="connsiteY2270" fmla="*/ 550488 h 1418833"/>
                    <a:gd name="connsiteX2271" fmla="*/ 675454 w 2172185"/>
                    <a:gd name="connsiteY2271" fmla="*/ 553460 h 1418833"/>
                    <a:gd name="connsiteX2272" fmla="*/ 677784 w 2172185"/>
                    <a:gd name="connsiteY2272" fmla="*/ 545748 h 1418833"/>
                    <a:gd name="connsiteX2273" fmla="*/ 685576 w 2172185"/>
                    <a:gd name="connsiteY2273" fmla="*/ 545427 h 1418833"/>
                    <a:gd name="connsiteX2274" fmla="*/ 681158 w 2172185"/>
                    <a:gd name="connsiteY2274" fmla="*/ 537555 h 1418833"/>
                    <a:gd name="connsiteX2275" fmla="*/ 682523 w 2172185"/>
                    <a:gd name="connsiteY2275" fmla="*/ 536511 h 1418833"/>
                    <a:gd name="connsiteX2276" fmla="*/ 690154 w 2172185"/>
                    <a:gd name="connsiteY2276" fmla="*/ 537876 h 1418833"/>
                    <a:gd name="connsiteX2277" fmla="*/ 691600 w 2172185"/>
                    <a:gd name="connsiteY2277" fmla="*/ 536350 h 1418833"/>
                    <a:gd name="connsiteX2278" fmla="*/ 688146 w 2172185"/>
                    <a:gd name="connsiteY2278" fmla="*/ 530486 h 1418833"/>
                    <a:gd name="connsiteX2279" fmla="*/ 691038 w 2172185"/>
                    <a:gd name="connsiteY2279" fmla="*/ 529683 h 1418833"/>
                    <a:gd name="connsiteX2280" fmla="*/ 694090 w 2172185"/>
                    <a:gd name="connsiteY2280" fmla="*/ 527353 h 1418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  <a:cxn ang="0">
                      <a:pos x="connsiteX1605" y="connsiteY1605"/>
                    </a:cxn>
                    <a:cxn ang="0">
                      <a:pos x="connsiteX1606" y="connsiteY1606"/>
                    </a:cxn>
                    <a:cxn ang="0">
                      <a:pos x="connsiteX1607" y="connsiteY1607"/>
                    </a:cxn>
                    <a:cxn ang="0">
                      <a:pos x="connsiteX1608" y="connsiteY1608"/>
                    </a:cxn>
                    <a:cxn ang="0">
                      <a:pos x="connsiteX1609" y="connsiteY1609"/>
                    </a:cxn>
                    <a:cxn ang="0">
                      <a:pos x="connsiteX1610" y="connsiteY1610"/>
                    </a:cxn>
                    <a:cxn ang="0">
                      <a:pos x="connsiteX1611" y="connsiteY1611"/>
                    </a:cxn>
                    <a:cxn ang="0">
                      <a:pos x="connsiteX1612" y="connsiteY1612"/>
                    </a:cxn>
                    <a:cxn ang="0">
                      <a:pos x="connsiteX1613" y="connsiteY1613"/>
                    </a:cxn>
                    <a:cxn ang="0">
                      <a:pos x="connsiteX1614" y="connsiteY1614"/>
                    </a:cxn>
                    <a:cxn ang="0">
                      <a:pos x="connsiteX1615" y="connsiteY1615"/>
                    </a:cxn>
                    <a:cxn ang="0">
                      <a:pos x="connsiteX1616" y="connsiteY1616"/>
                    </a:cxn>
                    <a:cxn ang="0">
                      <a:pos x="connsiteX1617" y="connsiteY1617"/>
                    </a:cxn>
                    <a:cxn ang="0">
                      <a:pos x="connsiteX1618" y="connsiteY1618"/>
                    </a:cxn>
                    <a:cxn ang="0">
                      <a:pos x="connsiteX1619" y="connsiteY1619"/>
                    </a:cxn>
                    <a:cxn ang="0">
                      <a:pos x="connsiteX1620" y="connsiteY1620"/>
                    </a:cxn>
                    <a:cxn ang="0">
                      <a:pos x="connsiteX1621" y="connsiteY1621"/>
                    </a:cxn>
                    <a:cxn ang="0">
                      <a:pos x="connsiteX1622" y="connsiteY1622"/>
                    </a:cxn>
                    <a:cxn ang="0">
                      <a:pos x="connsiteX1623" y="connsiteY1623"/>
                    </a:cxn>
                    <a:cxn ang="0">
                      <a:pos x="connsiteX1624" y="connsiteY1624"/>
                    </a:cxn>
                    <a:cxn ang="0">
                      <a:pos x="connsiteX1625" y="connsiteY1625"/>
                    </a:cxn>
                    <a:cxn ang="0">
                      <a:pos x="connsiteX1626" y="connsiteY1626"/>
                    </a:cxn>
                    <a:cxn ang="0">
                      <a:pos x="connsiteX1627" y="connsiteY1627"/>
                    </a:cxn>
                    <a:cxn ang="0">
                      <a:pos x="connsiteX1628" y="connsiteY1628"/>
                    </a:cxn>
                    <a:cxn ang="0">
                      <a:pos x="connsiteX1629" y="connsiteY1629"/>
                    </a:cxn>
                    <a:cxn ang="0">
                      <a:pos x="connsiteX1630" y="connsiteY1630"/>
                    </a:cxn>
                    <a:cxn ang="0">
                      <a:pos x="connsiteX1631" y="connsiteY1631"/>
                    </a:cxn>
                    <a:cxn ang="0">
                      <a:pos x="connsiteX1632" y="connsiteY1632"/>
                    </a:cxn>
                    <a:cxn ang="0">
                      <a:pos x="connsiteX1633" y="connsiteY1633"/>
                    </a:cxn>
                    <a:cxn ang="0">
                      <a:pos x="connsiteX1634" y="connsiteY1634"/>
                    </a:cxn>
                    <a:cxn ang="0">
                      <a:pos x="connsiteX1635" y="connsiteY1635"/>
                    </a:cxn>
                    <a:cxn ang="0">
                      <a:pos x="connsiteX1636" y="connsiteY1636"/>
                    </a:cxn>
                    <a:cxn ang="0">
                      <a:pos x="connsiteX1637" y="connsiteY1637"/>
                    </a:cxn>
                    <a:cxn ang="0">
                      <a:pos x="connsiteX1638" y="connsiteY1638"/>
                    </a:cxn>
                    <a:cxn ang="0">
                      <a:pos x="connsiteX1639" y="connsiteY1639"/>
                    </a:cxn>
                    <a:cxn ang="0">
                      <a:pos x="connsiteX1640" y="connsiteY1640"/>
                    </a:cxn>
                    <a:cxn ang="0">
                      <a:pos x="connsiteX1641" y="connsiteY1641"/>
                    </a:cxn>
                    <a:cxn ang="0">
                      <a:pos x="connsiteX1642" y="connsiteY1642"/>
                    </a:cxn>
                    <a:cxn ang="0">
                      <a:pos x="connsiteX1643" y="connsiteY1643"/>
                    </a:cxn>
                    <a:cxn ang="0">
                      <a:pos x="connsiteX1644" y="connsiteY1644"/>
                    </a:cxn>
                    <a:cxn ang="0">
                      <a:pos x="connsiteX1645" y="connsiteY1645"/>
                    </a:cxn>
                    <a:cxn ang="0">
                      <a:pos x="connsiteX1646" y="connsiteY1646"/>
                    </a:cxn>
                    <a:cxn ang="0">
                      <a:pos x="connsiteX1647" y="connsiteY1647"/>
                    </a:cxn>
                    <a:cxn ang="0">
                      <a:pos x="connsiteX1648" y="connsiteY1648"/>
                    </a:cxn>
                    <a:cxn ang="0">
                      <a:pos x="connsiteX1649" y="connsiteY1649"/>
                    </a:cxn>
                    <a:cxn ang="0">
                      <a:pos x="connsiteX1650" y="connsiteY1650"/>
                    </a:cxn>
                    <a:cxn ang="0">
                      <a:pos x="connsiteX1651" y="connsiteY1651"/>
                    </a:cxn>
                    <a:cxn ang="0">
                      <a:pos x="connsiteX1652" y="connsiteY1652"/>
                    </a:cxn>
                    <a:cxn ang="0">
                      <a:pos x="connsiteX1653" y="connsiteY1653"/>
                    </a:cxn>
                    <a:cxn ang="0">
                      <a:pos x="connsiteX1654" y="connsiteY1654"/>
                    </a:cxn>
                    <a:cxn ang="0">
                      <a:pos x="connsiteX1655" y="connsiteY1655"/>
                    </a:cxn>
                    <a:cxn ang="0">
                      <a:pos x="connsiteX1656" y="connsiteY1656"/>
                    </a:cxn>
                    <a:cxn ang="0">
                      <a:pos x="connsiteX1657" y="connsiteY1657"/>
                    </a:cxn>
                    <a:cxn ang="0">
                      <a:pos x="connsiteX1658" y="connsiteY1658"/>
                    </a:cxn>
                    <a:cxn ang="0">
                      <a:pos x="connsiteX1659" y="connsiteY1659"/>
                    </a:cxn>
                    <a:cxn ang="0">
                      <a:pos x="connsiteX1660" y="connsiteY1660"/>
                    </a:cxn>
                    <a:cxn ang="0">
                      <a:pos x="connsiteX1661" y="connsiteY1661"/>
                    </a:cxn>
                    <a:cxn ang="0">
                      <a:pos x="connsiteX1662" y="connsiteY1662"/>
                    </a:cxn>
                    <a:cxn ang="0">
                      <a:pos x="connsiteX1663" y="connsiteY1663"/>
                    </a:cxn>
                    <a:cxn ang="0">
                      <a:pos x="connsiteX1664" y="connsiteY1664"/>
                    </a:cxn>
                    <a:cxn ang="0">
                      <a:pos x="connsiteX1665" y="connsiteY1665"/>
                    </a:cxn>
                    <a:cxn ang="0">
                      <a:pos x="connsiteX1666" y="connsiteY1666"/>
                    </a:cxn>
                    <a:cxn ang="0">
                      <a:pos x="connsiteX1667" y="connsiteY1667"/>
                    </a:cxn>
                    <a:cxn ang="0">
                      <a:pos x="connsiteX1668" y="connsiteY1668"/>
                    </a:cxn>
                    <a:cxn ang="0">
                      <a:pos x="connsiteX1669" y="connsiteY1669"/>
                    </a:cxn>
                    <a:cxn ang="0">
                      <a:pos x="connsiteX1670" y="connsiteY1670"/>
                    </a:cxn>
                    <a:cxn ang="0">
                      <a:pos x="connsiteX1671" y="connsiteY1671"/>
                    </a:cxn>
                    <a:cxn ang="0">
                      <a:pos x="connsiteX1672" y="connsiteY1672"/>
                    </a:cxn>
                    <a:cxn ang="0">
                      <a:pos x="connsiteX1673" y="connsiteY1673"/>
                    </a:cxn>
                    <a:cxn ang="0">
                      <a:pos x="connsiteX1674" y="connsiteY1674"/>
                    </a:cxn>
                    <a:cxn ang="0">
                      <a:pos x="connsiteX1675" y="connsiteY1675"/>
                    </a:cxn>
                    <a:cxn ang="0">
                      <a:pos x="connsiteX1676" y="connsiteY1676"/>
                    </a:cxn>
                    <a:cxn ang="0">
                      <a:pos x="connsiteX1677" y="connsiteY1677"/>
                    </a:cxn>
                    <a:cxn ang="0">
                      <a:pos x="connsiteX1678" y="connsiteY1678"/>
                    </a:cxn>
                    <a:cxn ang="0">
                      <a:pos x="connsiteX1679" y="connsiteY1679"/>
                    </a:cxn>
                    <a:cxn ang="0">
                      <a:pos x="connsiteX1680" y="connsiteY1680"/>
                    </a:cxn>
                    <a:cxn ang="0">
                      <a:pos x="connsiteX1681" y="connsiteY1681"/>
                    </a:cxn>
                    <a:cxn ang="0">
                      <a:pos x="connsiteX1682" y="connsiteY1682"/>
                    </a:cxn>
                    <a:cxn ang="0">
                      <a:pos x="connsiteX1683" y="connsiteY1683"/>
                    </a:cxn>
                    <a:cxn ang="0">
                      <a:pos x="connsiteX1684" y="connsiteY1684"/>
                    </a:cxn>
                    <a:cxn ang="0">
                      <a:pos x="connsiteX1685" y="connsiteY1685"/>
                    </a:cxn>
                    <a:cxn ang="0">
                      <a:pos x="connsiteX1686" y="connsiteY1686"/>
                    </a:cxn>
                    <a:cxn ang="0">
                      <a:pos x="connsiteX1687" y="connsiteY1687"/>
                    </a:cxn>
                    <a:cxn ang="0">
                      <a:pos x="connsiteX1688" y="connsiteY1688"/>
                    </a:cxn>
                    <a:cxn ang="0">
                      <a:pos x="connsiteX1689" y="connsiteY1689"/>
                    </a:cxn>
                    <a:cxn ang="0">
                      <a:pos x="connsiteX1690" y="connsiteY1690"/>
                    </a:cxn>
                    <a:cxn ang="0">
                      <a:pos x="connsiteX1691" y="connsiteY1691"/>
                    </a:cxn>
                    <a:cxn ang="0">
                      <a:pos x="connsiteX1692" y="connsiteY1692"/>
                    </a:cxn>
                    <a:cxn ang="0">
                      <a:pos x="connsiteX1693" y="connsiteY1693"/>
                    </a:cxn>
                    <a:cxn ang="0">
                      <a:pos x="connsiteX1694" y="connsiteY1694"/>
                    </a:cxn>
                    <a:cxn ang="0">
                      <a:pos x="connsiteX1695" y="connsiteY1695"/>
                    </a:cxn>
                    <a:cxn ang="0">
                      <a:pos x="connsiteX1696" y="connsiteY1696"/>
                    </a:cxn>
                    <a:cxn ang="0">
                      <a:pos x="connsiteX1697" y="connsiteY1697"/>
                    </a:cxn>
                    <a:cxn ang="0">
                      <a:pos x="connsiteX1698" y="connsiteY1698"/>
                    </a:cxn>
                    <a:cxn ang="0">
                      <a:pos x="connsiteX1699" y="connsiteY1699"/>
                    </a:cxn>
                    <a:cxn ang="0">
                      <a:pos x="connsiteX1700" y="connsiteY1700"/>
                    </a:cxn>
                    <a:cxn ang="0">
                      <a:pos x="connsiteX1701" y="connsiteY1701"/>
                    </a:cxn>
                    <a:cxn ang="0">
                      <a:pos x="connsiteX1702" y="connsiteY1702"/>
                    </a:cxn>
                    <a:cxn ang="0">
                      <a:pos x="connsiteX1703" y="connsiteY1703"/>
                    </a:cxn>
                    <a:cxn ang="0">
                      <a:pos x="connsiteX1704" y="connsiteY1704"/>
                    </a:cxn>
                    <a:cxn ang="0">
                      <a:pos x="connsiteX1705" y="connsiteY1705"/>
                    </a:cxn>
                    <a:cxn ang="0">
                      <a:pos x="connsiteX1706" y="connsiteY1706"/>
                    </a:cxn>
                    <a:cxn ang="0">
                      <a:pos x="connsiteX1707" y="connsiteY1707"/>
                    </a:cxn>
                    <a:cxn ang="0">
                      <a:pos x="connsiteX1708" y="connsiteY1708"/>
                    </a:cxn>
                    <a:cxn ang="0">
                      <a:pos x="connsiteX1709" y="connsiteY1709"/>
                    </a:cxn>
                    <a:cxn ang="0">
                      <a:pos x="connsiteX1710" y="connsiteY1710"/>
                    </a:cxn>
                    <a:cxn ang="0">
                      <a:pos x="connsiteX1711" y="connsiteY1711"/>
                    </a:cxn>
                    <a:cxn ang="0">
                      <a:pos x="connsiteX1712" y="connsiteY1712"/>
                    </a:cxn>
                    <a:cxn ang="0">
                      <a:pos x="connsiteX1713" y="connsiteY1713"/>
                    </a:cxn>
                    <a:cxn ang="0">
                      <a:pos x="connsiteX1714" y="connsiteY1714"/>
                    </a:cxn>
                    <a:cxn ang="0">
                      <a:pos x="connsiteX1715" y="connsiteY1715"/>
                    </a:cxn>
                    <a:cxn ang="0">
                      <a:pos x="connsiteX1716" y="connsiteY1716"/>
                    </a:cxn>
                    <a:cxn ang="0">
                      <a:pos x="connsiteX1717" y="connsiteY1717"/>
                    </a:cxn>
                    <a:cxn ang="0">
                      <a:pos x="connsiteX1718" y="connsiteY1718"/>
                    </a:cxn>
                    <a:cxn ang="0">
                      <a:pos x="connsiteX1719" y="connsiteY1719"/>
                    </a:cxn>
                    <a:cxn ang="0">
                      <a:pos x="connsiteX1720" y="connsiteY1720"/>
                    </a:cxn>
                    <a:cxn ang="0">
                      <a:pos x="connsiteX1721" y="connsiteY1721"/>
                    </a:cxn>
                    <a:cxn ang="0">
                      <a:pos x="connsiteX1722" y="connsiteY1722"/>
                    </a:cxn>
                    <a:cxn ang="0">
                      <a:pos x="connsiteX1723" y="connsiteY1723"/>
                    </a:cxn>
                    <a:cxn ang="0">
                      <a:pos x="connsiteX1724" y="connsiteY1724"/>
                    </a:cxn>
                    <a:cxn ang="0">
                      <a:pos x="connsiteX1725" y="connsiteY1725"/>
                    </a:cxn>
                    <a:cxn ang="0">
                      <a:pos x="connsiteX1726" y="connsiteY1726"/>
                    </a:cxn>
                    <a:cxn ang="0">
                      <a:pos x="connsiteX1727" y="connsiteY1727"/>
                    </a:cxn>
                    <a:cxn ang="0">
                      <a:pos x="connsiteX1728" y="connsiteY1728"/>
                    </a:cxn>
                    <a:cxn ang="0">
                      <a:pos x="connsiteX1729" y="connsiteY1729"/>
                    </a:cxn>
                    <a:cxn ang="0">
                      <a:pos x="connsiteX1730" y="connsiteY1730"/>
                    </a:cxn>
                    <a:cxn ang="0">
                      <a:pos x="connsiteX1731" y="connsiteY1731"/>
                    </a:cxn>
                    <a:cxn ang="0">
                      <a:pos x="connsiteX1732" y="connsiteY1732"/>
                    </a:cxn>
                    <a:cxn ang="0">
                      <a:pos x="connsiteX1733" y="connsiteY1733"/>
                    </a:cxn>
                    <a:cxn ang="0">
                      <a:pos x="connsiteX1734" y="connsiteY1734"/>
                    </a:cxn>
                    <a:cxn ang="0">
                      <a:pos x="connsiteX1735" y="connsiteY1735"/>
                    </a:cxn>
                    <a:cxn ang="0">
                      <a:pos x="connsiteX1736" y="connsiteY1736"/>
                    </a:cxn>
                    <a:cxn ang="0">
                      <a:pos x="connsiteX1737" y="connsiteY1737"/>
                    </a:cxn>
                    <a:cxn ang="0">
                      <a:pos x="connsiteX1738" y="connsiteY1738"/>
                    </a:cxn>
                    <a:cxn ang="0">
                      <a:pos x="connsiteX1739" y="connsiteY1739"/>
                    </a:cxn>
                    <a:cxn ang="0">
                      <a:pos x="connsiteX1740" y="connsiteY1740"/>
                    </a:cxn>
                    <a:cxn ang="0">
                      <a:pos x="connsiteX1741" y="connsiteY1741"/>
                    </a:cxn>
                    <a:cxn ang="0">
                      <a:pos x="connsiteX1742" y="connsiteY1742"/>
                    </a:cxn>
                    <a:cxn ang="0">
                      <a:pos x="connsiteX1743" y="connsiteY1743"/>
                    </a:cxn>
                    <a:cxn ang="0">
                      <a:pos x="connsiteX1744" y="connsiteY1744"/>
                    </a:cxn>
                    <a:cxn ang="0">
                      <a:pos x="connsiteX1745" y="connsiteY1745"/>
                    </a:cxn>
                    <a:cxn ang="0">
                      <a:pos x="connsiteX1746" y="connsiteY1746"/>
                    </a:cxn>
                    <a:cxn ang="0">
                      <a:pos x="connsiteX1747" y="connsiteY1747"/>
                    </a:cxn>
                    <a:cxn ang="0">
                      <a:pos x="connsiteX1748" y="connsiteY1748"/>
                    </a:cxn>
                    <a:cxn ang="0">
                      <a:pos x="connsiteX1749" y="connsiteY1749"/>
                    </a:cxn>
                    <a:cxn ang="0">
                      <a:pos x="connsiteX1750" y="connsiteY1750"/>
                    </a:cxn>
                    <a:cxn ang="0">
                      <a:pos x="connsiteX1751" y="connsiteY1751"/>
                    </a:cxn>
                    <a:cxn ang="0">
                      <a:pos x="connsiteX1752" y="connsiteY1752"/>
                    </a:cxn>
                    <a:cxn ang="0">
                      <a:pos x="connsiteX1753" y="connsiteY1753"/>
                    </a:cxn>
                    <a:cxn ang="0">
                      <a:pos x="connsiteX1754" y="connsiteY1754"/>
                    </a:cxn>
                    <a:cxn ang="0">
                      <a:pos x="connsiteX1755" y="connsiteY1755"/>
                    </a:cxn>
                    <a:cxn ang="0">
                      <a:pos x="connsiteX1756" y="connsiteY1756"/>
                    </a:cxn>
                    <a:cxn ang="0">
                      <a:pos x="connsiteX1757" y="connsiteY1757"/>
                    </a:cxn>
                    <a:cxn ang="0">
                      <a:pos x="connsiteX1758" y="connsiteY1758"/>
                    </a:cxn>
                    <a:cxn ang="0">
                      <a:pos x="connsiteX1759" y="connsiteY1759"/>
                    </a:cxn>
                    <a:cxn ang="0">
                      <a:pos x="connsiteX1760" y="connsiteY1760"/>
                    </a:cxn>
                    <a:cxn ang="0">
                      <a:pos x="connsiteX1761" y="connsiteY1761"/>
                    </a:cxn>
                    <a:cxn ang="0">
                      <a:pos x="connsiteX1762" y="connsiteY1762"/>
                    </a:cxn>
                    <a:cxn ang="0">
                      <a:pos x="connsiteX1763" y="connsiteY1763"/>
                    </a:cxn>
                    <a:cxn ang="0">
                      <a:pos x="connsiteX1764" y="connsiteY1764"/>
                    </a:cxn>
                    <a:cxn ang="0">
                      <a:pos x="connsiteX1765" y="connsiteY1765"/>
                    </a:cxn>
                    <a:cxn ang="0">
                      <a:pos x="connsiteX1766" y="connsiteY1766"/>
                    </a:cxn>
                    <a:cxn ang="0">
                      <a:pos x="connsiteX1767" y="connsiteY1767"/>
                    </a:cxn>
                    <a:cxn ang="0">
                      <a:pos x="connsiteX1768" y="connsiteY1768"/>
                    </a:cxn>
                    <a:cxn ang="0">
                      <a:pos x="connsiteX1769" y="connsiteY1769"/>
                    </a:cxn>
                    <a:cxn ang="0">
                      <a:pos x="connsiteX1770" y="connsiteY1770"/>
                    </a:cxn>
                    <a:cxn ang="0">
                      <a:pos x="connsiteX1771" y="connsiteY1771"/>
                    </a:cxn>
                    <a:cxn ang="0">
                      <a:pos x="connsiteX1772" y="connsiteY1772"/>
                    </a:cxn>
                    <a:cxn ang="0">
                      <a:pos x="connsiteX1773" y="connsiteY1773"/>
                    </a:cxn>
                    <a:cxn ang="0">
                      <a:pos x="connsiteX1774" y="connsiteY1774"/>
                    </a:cxn>
                    <a:cxn ang="0">
                      <a:pos x="connsiteX1775" y="connsiteY1775"/>
                    </a:cxn>
                    <a:cxn ang="0">
                      <a:pos x="connsiteX1776" y="connsiteY1776"/>
                    </a:cxn>
                    <a:cxn ang="0">
                      <a:pos x="connsiteX1777" y="connsiteY1777"/>
                    </a:cxn>
                    <a:cxn ang="0">
                      <a:pos x="connsiteX1778" y="connsiteY1778"/>
                    </a:cxn>
                    <a:cxn ang="0">
                      <a:pos x="connsiteX1779" y="connsiteY1779"/>
                    </a:cxn>
                    <a:cxn ang="0">
                      <a:pos x="connsiteX1780" y="connsiteY1780"/>
                    </a:cxn>
                    <a:cxn ang="0">
                      <a:pos x="connsiteX1781" y="connsiteY1781"/>
                    </a:cxn>
                    <a:cxn ang="0">
                      <a:pos x="connsiteX1782" y="connsiteY1782"/>
                    </a:cxn>
                    <a:cxn ang="0">
                      <a:pos x="connsiteX1783" y="connsiteY1783"/>
                    </a:cxn>
                    <a:cxn ang="0">
                      <a:pos x="connsiteX1784" y="connsiteY1784"/>
                    </a:cxn>
                    <a:cxn ang="0">
                      <a:pos x="connsiteX1785" y="connsiteY1785"/>
                    </a:cxn>
                    <a:cxn ang="0">
                      <a:pos x="connsiteX1786" y="connsiteY1786"/>
                    </a:cxn>
                    <a:cxn ang="0">
                      <a:pos x="connsiteX1787" y="connsiteY1787"/>
                    </a:cxn>
                    <a:cxn ang="0">
                      <a:pos x="connsiteX1788" y="connsiteY1788"/>
                    </a:cxn>
                    <a:cxn ang="0">
                      <a:pos x="connsiteX1789" y="connsiteY1789"/>
                    </a:cxn>
                    <a:cxn ang="0">
                      <a:pos x="connsiteX1790" y="connsiteY1790"/>
                    </a:cxn>
                    <a:cxn ang="0">
                      <a:pos x="connsiteX1791" y="connsiteY1791"/>
                    </a:cxn>
                    <a:cxn ang="0">
                      <a:pos x="connsiteX1792" y="connsiteY1792"/>
                    </a:cxn>
                    <a:cxn ang="0">
                      <a:pos x="connsiteX1793" y="connsiteY1793"/>
                    </a:cxn>
                    <a:cxn ang="0">
                      <a:pos x="connsiteX1794" y="connsiteY1794"/>
                    </a:cxn>
                    <a:cxn ang="0">
                      <a:pos x="connsiteX1795" y="connsiteY1795"/>
                    </a:cxn>
                    <a:cxn ang="0">
                      <a:pos x="connsiteX1796" y="connsiteY1796"/>
                    </a:cxn>
                    <a:cxn ang="0">
                      <a:pos x="connsiteX1797" y="connsiteY1797"/>
                    </a:cxn>
                    <a:cxn ang="0">
                      <a:pos x="connsiteX1798" y="connsiteY1798"/>
                    </a:cxn>
                    <a:cxn ang="0">
                      <a:pos x="connsiteX1799" y="connsiteY1799"/>
                    </a:cxn>
                    <a:cxn ang="0">
                      <a:pos x="connsiteX1800" y="connsiteY1800"/>
                    </a:cxn>
                    <a:cxn ang="0">
                      <a:pos x="connsiteX1801" y="connsiteY1801"/>
                    </a:cxn>
                    <a:cxn ang="0">
                      <a:pos x="connsiteX1802" y="connsiteY1802"/>
                    </a:cxn>
                    <a:cxn ang="0">
                      <a:pos x="connsiteX1803" y="connsiteY1803"/>
                    </a:cxn>
                    <a:cxn ang="0">
                      <a:pos x="connsiteX1804" y="connsiteY1804"/>
                    </a:cxn>
                    <a:cxn ang="0">
                      <a:pos x="connsiteX1805" y="connsiteY1805"/>
                    </a:cxn>
                    <a:cxn ang="0">
                      <a:pos x="connsiteX1806" y="connsiteY1806"/>
                    </a:cxn>
                    <a:cxn ang="0">
                      <a:pos x="connsiteX1807" y="connsiteY1807"/>
                    </a:cxn>
                    <a:cxn ang="0">
                      <a:pos x="connsiteX1808" y="connsiteY1808"/>
                    </a:cxn>
                    <a:cxn ang="0">
                      <a:pos x="connsiteX1809" y="connsiteY1809"/>
                    </a:cxn>
                    <a:cxn ang="0">
                      <a:pos x="connsiteX1810" y="connsiteY1810"/>
                    </a:cxn>
                    <a:cxn ang="0">
                      <a:pos x="connsiteX1811" y="connsiteY1811"/>
                    </a:cxn>
                    <a:cxn ang="0">
                      <a:pos x="connsiteX1812" y="connsiteY1812"/>
                    </a:cxn>
                    <a:cxn ang="0">
                      <a:pos x="connsiteX1813" y="connsiteY1813"/>
                    </a:cxn>
                    <a:cxn ang="0">
                      <a:pos x="connsiteX1814" y="connsiteY1814"/>
                    </a:cxn>
                    <a:cxn ang="0">
                      <a:pos x="connsiteX1815" y="connsiteY1815"/>
                    </a:cxn>
                    <a:cxn ang="0">
                      <a:pos x="connsiteX1816" y="connsiteY1816"/>
                    </a:cxn>
                    <a:cxn ang="0">
                      <a:pos x="connsiteX1817" y="connsiteY1817"/>
                    </a:cxn>
                    <a:cxn ang="0">
                      <a:pos x="connsiteX1818" y="connsiteY1818"/>
                    </a:cxn>
                    <a:cxn ang="0">
                      <a:pos x="connsiteX1819" y="connsiteY1819"/>
                    </a:cxn>
                    <a:cxn ang="0">
                      <a:pos x="connsiteX1820" y="connsiteY1820"/>
                    </a:cxn>
                    <a:cxn ang="0">
                      <a:pos x="connsiteX1821" y="connsiteY1821"/>
                    </a:cxn>
                    <a:cxn ang="0">
                      <a:pos x="connsiteX1822" y="connsiteY1822"/>
                    </a:cxn>
                    <a:cxn ang="0">
                      <a:pos x="connsiteX1823" y="connsiteY1823"/>
                    </a:cxn>
                    <a:cxn ang="0">
                      <a:pos x="connsiteX1824" y="connsiteY1824"/>
                    </a:cxn>
                    <a:cxn ang="0">
                      <a:pos x="connsiteX1825" y="connsiteY1825"/>
                    </a:cxn>
                    <a:cxn ang="0">
                      <a:pos x="connsiteX1826" y="connsiteY1826"/>
                    </a:cxn>
                    <a:cxn ang="0">
                      <a:pos x="connsiteX1827" y="connsiteY1827"/>
                    </a:cxn>
                    <a:cxn ang="0">
                      <a:pos x="connsiteX1828" y="connsiteY1828"/>
                    </a:cxn>
                    <a:cxn ang="0">
                      <a:pos x="connsiteX1829" y="connsiteY1829"/>
                    </a:cxn>
                    <a:cxn ang="0">
                      <a:pos x="connsiteX1830" y="connsiteY1830"/>
                    </a:cxn>
                    <a:cxn ang="0">
                      <a:pos x="connsiteX1831" y="connsiteY1831"/>
                    </a:cxn>
                    <a:cxn ang="0">
                      <a:pos x="connsiteX1832" y="connsiteY1832"/>
                    </a:cxn>
                    <a:cxn ang="0">
                      <a:pos x="connsiteX1833" y="connsiteY1833"/>
                    </a:cxn>
                    <a:cxn ang="0">
                      <a:pos x="connsiteX1834" y="connsiteY1834"/>
                    </a:cxn>
                    <a:cxn ang="0">
                      <a:pos x="connsiteX1835" y="connsiteY1835"/>
                    </a:cxn>
                    <a:cxn ang="0">
                      <a:pos x="connsiteX1836" y="connsiteY1836"/>
                    </a:cxn>
                    <a:cxn ang="0">
                      <a:pos x="connsiteX1837" y="connsiteY1837"/>
                    </a:cxn>
                    <a:cxn ang="0">
                      <a:pos x="connsiteX1838" y="connsiteY1838"/>
                    </a:cxn>
                    <a:cxn ang="0">
                      <a:pos x="connsiteX1839" y="connsiteY1839"/>
                    </a:cxn>
                    <a:cxn ang="0">
                      <a:pos x="connsiteX1840" y="connsiteY1840"/>
                    </a:cxn>
                    <a:cxn ang="0">
                      <a:pos x="connsiteX1841" y="connsiteY1841"/>
                    </a:cxn>
                    <a:cxn ang="0">
                      <a:pos x="connsiteX1842" y="connsiteY1842"/>
                    </a:cxn>
                    <a:cxn ang="0">
                      <a:pos x="connsiteX1843" y="connsiteY1843"/>
                    </a:cxn>
                    <a:cxn ang="0">
                      <a:pos x="connsiteX1844" y="connsiteY1844"/>
                    </a:cxn>
                    <a:cxn ang="0">
                      <a:pos x="connsiteX1845" y="connsiteY1845"/>
                    </a:cxn>
                    <a:cxn ang="0">
                      <a:pos x="connsiteX1846" y="connsiteY1846"/>
                    </a:cxn>
                    <a:cxn ang="0">
                      <a:pos x="connsiteX1847" y="connsiteY1847"/>
                    </a:cxn>
                    <a:cxn ang="0">
                      <a:pos x="connsiteX1848" y="connsiteY1848"/>
                    </a:cxn>
                    <a:cxn ang="0">
                      <a:pos x="connsiteX1849" y="connsiteY1849"/>
                    </a:cxn>
                    <a:cxn ang="0">
                      <a:pos x="connsiteX1850" y="connsiteY1850"/>
                    </a:cxn>
                    <a:cxn ang="0">
                      <a:pos x="connsiteX1851" y="connsiteY1851"/>
                    </a:cxn>
                    <a:cxn ang="0">
                      <a:pos x="connsiteX1852" y="connsiteY1852"/>
                    </a:cxn>
                    <a:cxn ang="0">
                      <a:pos x="connsiteX1853" y="connsiteY1853"/>
                    </a:cxn>
                    <a:cxn ang="0">
                      <a:pos x="connsiteX1854" y="connsiteY1854"/>
                    </a:cxn>
                    <a:cxn ang="0">
                      <a:pos x="connsiteX1855" y="connsiteY1855"/>
                    </a:cxn>
                    <a:cxn ang="0">
                      <a:pos x="connsiteX1856" y="connsiteY1856"/>
                    </a:cxn>
                    <a:cxn ang="0">
                      <a:pos x="connsiteX1857" y="connsiteY1857"/>
                    </a:cxn>
                    <a:cxn ang="0">
                      <a:pos x="connsiteX1858" y="connsiteY1858"/>
                    </a:cxn>
                    <a:cxn ang="0">
                      <a:pos x="connsiteX1859" y="connsiteY1859"/>
                    </a:cxn>
                    <a:cxn ang="0">
                      <a:pos x="connsiteX1860" y="connsiteY1860"/>
                    </a:cxn>
                    <a:cxn ang="0">
                      <a:pos x="connsiteX1861" y="connsiteY1861"/>
                    </a:cxn>
                    <a:cxn ang="0">
                      <a:pos x="connsiteX1862" y="connsiteY1862"/>
                    </a:cxn>
                    <a:cxn ang="0">
                      <a:pos x="connsiteX1863" y="connsiteY1863"/>
                    </a:cxn>
                    <a:cxn ang="0">
                      <a:pos x="connsiteX1864" y="connsiteY1864"/>
                    </a:cxn>
                    <a:cxn ang="0">
                      <a:pos x="connsiteX1865" y="connsiteY1865"/>
                    </a:cxn>
                    <a:cxn ang="0">
                      <a:pos x="connsiteX1866" y="connsiteY1866"/>
                    </a:cxn>
                    <a:cxn ang="0">
                      <a:pos x="connsiteX1867" y="connsiteY1867"/>
                    </a:cxn>
                    <a:cxn ang="0">
                      <a:pos x="connsiteX1868" y="connsiteY1868"/>
                    </a:cxn>
                    <a:cxn ang="0">
                      <a:pos x="connsiteX1869" y="connsiteY1869"/>
                    </a:cxn>
                    <a:cxn ang="0">
                      <a:pos x="connsiteX1870" y="connsiteY1870"/>
                    </a:cxn>
                    <a:cxn ang="0">
                      <a:pos x="connsiteX1871" y="connsiteY1871"/>
                    </a:cxn>
                    <a:cxn ang="0">
                      <a:pos x="connsiteX1872" y="connsiteY1872"/>
                    </a:cxn>
                    <a:cxn ang="0">
                      <a:pos x="connsiteX1873" y="connsiteY1873"/>
                    </a:cxn>
                    <a:cxn ang="0">
                      <a:pos x="connsiteX1874" y="connsiteY1874"/>
                    </a:cxn>
                    <a:cxn ang="0">
                      <a:pos x="connsiteX1875" y="connsiteY1875"/>
                    </a:cxn>
                    <a:cxn ang="0">
                      <a:pos x="connsiteX1876" y="connsiteY1876"/>
                    </a:cxn>
                    <a:cxn ang="0">
                      <a:pos x="connsiteX1877" y="connsiteY1877"/>
                    </a:cxn>
                    <a:cxn ang="0">
                      <a:pos x="connsiteX1878" y="connsiteY1878"/>
                    </a:cxn>
                    <a:cxn ang="0">
                      <a:pos x="connsiteX1879" y="connsiteY1879"/>
                    </a:cxn>
                    <a:cxn ang="0">
                      <a:pos x="connsiteX1880" y="connsiteY1880"/>
                    </a:cxn>
                    <a:cxn ang="0">
                      <a:pos x="connsiteX1881" y="connsiteY1881"/>
                    </a:cxn>
                    <a:cxn ang="0">
                      <a:pos x="connsiteX1882" y="connsiteY1882"/>
                    </a:cxn>
                    <a:cxn ang="0">
                      <a:pos x="connsiteX1883" y="connsiteY1883"/>
                    </a:cxn>
                    <a:cxn ang="0">
                      <a:pos x="connsiteX1884" y="connsiteY1884"/>
                    </a:cxn>
                    <a:cxn ang="0">
                      <a:pos x="connsiteX1885" y="connsiteY1885"/>
                    </a:cxn>
                    <a:cxn ang="0">
                      <a:pos x="connsiteX1886" y="connsiteY1886"/>
                    </a:cxn>
                    <a:cxn ang="0">
                      <a:pos x="connsiteX1887" y="connsiteY1887"/>
                    </a:cxn>
                    <a:cxn ang="0">
                      <a:pos x="connsiteX1888" y="connsiteY1888"/>
                    </a:cxn>
                    <a:cxn ang="0">
                      <a:pos x="connsiteX1889" y="connsiteY1889"/>
                    </a:cxn>
                    <a:cxn ang="0">
                      <a:pos x="connsiteX1890" y="connsiteY1890"/>
                    </a:cxn>
                    <a:cxn ang="0">
                      <a:pos x="connsiteX1891" y="connsiteY1891"/>
                    </a:cxn>
                    <a:cxn ang="0">
                      <a:pos x="connsiteX1892" y="connsiteY1892"/>
                    </a:cxn>
                    <a:cxn ang="0">
                      <a:pos x="connsiteX1893" y="connsiteY1893"/>
                    </a:cxn>
                    <a:cxn ang="0">
                      <a:pos x="connsiteX1894" y="connsiteY1894"/>
                    </a:cxn>
                    <a:cxn ang="0">
                      <a:pos x="connsiteX1895" y="connsiteY1895"/>
                    </a:cxn>
                    <a:cxn ang="0">
                      <a:pos x="connsiteX1896" y="connsiteY1896"/>
                    </a:cxn>
                    <a:cxn ang="0">
                      <a:pos x="connsiteX1897" y="connsiteY1897"/>
                    </a:cxn>
                    <a:cxn ang="0">
                      <a:pos x="connsiteX1898" y="connsiteY1898"/>
                    </a:cxn>
                    <a:cxn ang="0">
                      <a:pos x="connsiteX1899" y="connsiteY1899"/>
                    </a:cxn>
                    <a:cxn ang="0">
                      <a:pos x="connsiteX1900" y="connsiteY1900"/>
                    </a:cxn>
                    <a:cxn ang="0">
                      <a:pos x="connsiteX1901" y="connsiteY1901"/>
                    </a:cxn>
                    <a:cxn ang="0">
                      <a:pos x="connsiteX1902" y="connsiteY1902"/>
                    </a:cxn>
                    <a:cxn ang="0">
                      <a:pos x="connsiteX1903" y="connsiteY1903"/>
                    </a:cxn>
                    <a:cxn ang="0">
                      <a:pos x="connsiteX1904" y="connsiteY1904"/>
                    </a:cxn>
                    <a:cxn ang="0">
                      <a:pos x="connsiteX1905" y="connsiteY1905"/>
                    </a:cxn>
                    <a:cxn ang="0">
                      <a:pos x="connsiteX1906" y="connsiteY1906"/>
                    </a:cxn>
                    <a:cxn ang="0">
                      <a:pos x="connsiteX1907" y="connsiteY1907"/>
                    </a:cxn>
                    <a:cxn ang="0">
                      <a:pos x="connsiteX1908" y="connsiteY1908"/>
                    </a:cxn>
                    <a:cxn ang="0">
                      <a:pos x="connsiteX1909" y="connsiteY1909"/>
                    </a:cxn>
                    <a:cxn ang="0">
                      <a:pos x="connsiteX1910" y="connsiteY1910"/>
                    </a:cxn>
                    <a:cxn ang="0">
                      <a:pos x="connsiteX1911" y="connsiteY1911"/>
                    </a:cxn>
                    <a:cxn ang="0">
                      <a:pos x="connsiteX1912" y="connsiteY1912"/>
                    </a:cxn>
                    <a:cxn ang="0">
                      <a:pos x="connsiteX1913" y="connsiteY1913"/>
                    </a:cxn>
                    <a:cxn ang="0">
                      <a:pos x="connsiteX1914" y="connsiteY1914"/>
                    </a:cxn>
                    <a:cxn ang="0">
                      <a:pos x="connsiteX1915" y="connsiteY1915"/>
                    </a:cxn>
                    <a:cxn ang="0">
                      <a:pos x="connsiteX1916" y="connsiteY1916"/>
                    </a:cxn>
                    <a:cxn ang="0">
                      <a:pos x="connsiteX1917" y="connsiteY1917"/>
                    </a:cxn>
                    <a:cxn ang="0">
                      <a:pos x="connsiteX1918" y="connsiteY1918"/>
                    </a:cxn>
                    <a:cxn ang="0">
                      <a:pos x="connsiteX1919" y="connsiteY1919"/>
                    </a:cxn>
                    <a:cxn ang="0">
                      <a:pos x="connsiteX1920" y="connsiteY1920"/>
                    </a:cxn>
                    <a:cxn ang="0">
                      <a:pos x="connsiteX1921" y="connsiteY1921"/>
                    </a:cxn>
                    <a:cxn ang="0">
                      <a:pos x="connsiteX1922" y="connsiteY1922"/>
                    </a:cxn>
                    <a:cxn ang="0">
                      <a:pos x="connsiteX1923" y="connsiteY1923"/>
                    </a:cxn>
                    <a:cxn ang="0">
                      <a:pos x="connsiteX1924" y="connsiteY1924"/>
                    </a:cxn>
                    <a:cxn ang="0">
                      <a:pos x="connsiteX1925" y="connsiteY1925"/>
                    </a:cxn>
                    <a:cxn ang="0">
                      <a:pos x="connsiteX1926" y="connsiteY1926"/>
                    </a:cxn>
                    <a:cxn ang="0">
                      <a:pos x="connsiteX1927" y="connsiteY1927"/>
                    </a:cxn>
                    <a:cxn ang="0">
                      <a:pos x="connsiteX1928" y="connsiteY1928"/>
                    </a:cxn>
                    <a:cxn ang="0">
                      <a:pos x="connsiteX1929" y="connsiteY1929"/>
                    </a:cxn>
                    <a:cxn ang="0">
                      <a:pos x="connsiteX1930" y="connsiteY1930"/>
                    </a:cxn>
                    <a:cxn ang="0">
                      <a:pos x="connsiteX1931" y="connsiteY1931"/>
                    </a:cxn>
                    <a:cxn ang="0">
                      <a:pos x="connsiteX1932" y="connsiteY1932"/>
                    </a:cxn>
                    <a:cxn ang="0">
                      <a:pos x="connsiteX1933" y="connsiteY1933"/>
                    </a:cxn>
                    <a:cxn ang="0">
                      <a:pos x="connsiteX1934" y="connsiteY1934"/>
                    </a:cxn>
                    <a:cxn ang="0">
                      <a:pos x="connsiteX1935" y="connsiteY1935"/>
                    </a:cxn>
                    <a:cxn ang="0">
                      <a:pos x="connsiteX1936" y="connsiteY1936"/>
                    </a:cxn>
                    <a:cxn ang="0">
                      <a:pos x="connsiteX1937" y="connsiteY1937"/>
                    </a:cxn>
                    <a:cxn ang="0">
                      <a:pos x="connsiteX1938" y="connsiteY1938"/>
                    </a:cxn>
                    <a:cxn ang="0">
                      <a:pos x="connsiteX1939" y="connsiteY1939"/>
                    </a:cxn>
                    <a:cxn ang="0">
                      <a:pos x="connsiteX1940" y="connsiteY1940"/>
                    </a:cxn>
                    <a:cxn ang="0">
                      <a:pos x="connsiteX1941" y="connsiteY1941"/>
                    </a:cxn>
                    <a:cxn ang="0">
                      <a:pos x="connsiteX1942" y="connsiteY1942"/>
                    </a:cxn>
                    <a:cxn ang="0">
                      <a:pos x="connsiteX1943" y="connsiteY1943"/>
                    </a:cxn>
                    <a:cxn ang="0">
                      <a:pos x="connsiteX1944" y="connsiteY1944"/>
                    </a:cxn>
                    <a:cxn ang="0">
                      <a:pos x="connsiteX1945" y="connsiteY1945"/>
                    </a:cxn>
                    <a:cxn ang="0">
                      <a:pos x="connsiteX1946" y="connsiteY1946"/>
                    </a:cxn>
                    <a:cxn ang="0">
                      <a:pos x="connsiteX1947" y="connsiteY1947"/>
                    </a:cxn>
                    <a:cxn ang="0">
                      <a:pos x="connsiteX1948" y="connsiteY1948"/>
                    </a:cxn>
                    <a:cxn ang="0">
                      <a:pos x="connsiteX1949" y="connsiteY1949"/>
                    </a:cxn>
                    <a:cxn ang="0">
                      <a:pos x="connsiteX1950" y="connsiteY1950"/>
                    </a:cxn>
                    <a:cxn ang="0">
                      <a:pos x="connsiteX1951" y="connsiteY1951"/>
                    </a:cxn>
                    <a:cxn ang="0">
                      <a:pos x="connsiteX1952" y="connsiteY1952"/>
                    </a:cxn>
                    <a:cxn ang="0">
                      <a:pos x="connsiteX1953" y="connsiteY1953"/>
                    </a:cxn>
                    <a:cxn ang="0">
                      <a:pos x="connsiteX1954" y="connsiteY1954"/>
                    </a:cxn>
                    <a:cxn ang="0">
                      <a:pos x="connsiteX1955" y="connsiteY1955"/>
                    </a:cxn>
                    <a:cxn ang="0">
                      <a:pos x="connsiteX1956" y="connsiteY1956"/>
                    </a:cxn>
                    <a:cxn ang="0">
                      <a:pos x="connsiteX1957" y="connsiteY1957"/>
                    </a:cxn>
                    <a:cxn ang="0">
                      <a:pos x="connsiteX1958" y="connsiteY1958"/>
                    </a:cxn>
                    <a:cxn ang="0">
                      <a:pos x="connsiteX1959" y="connsiteY1959"/>
                    </a:cxn>
                    <a:cxn ang="0">
                      <a:pos x="connsiteX1960" y="connsiteY1960"/>
                    </a:cxn>
                    <a:cxn ang="0">
                      <a:pos x="connsiteX1961" y="connsiteY1961"/>
                    </a:cxn>
                    <a:cxn ang="0">
                      <a:pos x="connsiteX1962" y="connsiteY1962"/>
                    </a:cxn>
                    <a:cxn ang="0">
                      <a:pos x="connsiteX1963" y="connsiteY1963"/>
                    </a:cxn>
                    <a:cxn ang="0">
                      <a:pos x="connsiteX1964" y="connsiteY1964"/>
                    </a:cxn>
                    <a:cxn ang="0">
                      <a:pos x="connsiteX1965" y="connsiteY1965"/>
                    </a:cxn>
                    <a:cxn ang="0">
                      <a:pos x="connsiteX1966" y="connsiteY1966"/>
                    </a:cxn>
                    <a:cxn ang="0">
                      <a:pos x="connsiteX1967" y="connsiteY1967"/>
                    </a:cxn>
                    <a:cxn ang="0">
                      <a:pos x="connsiteX1968" y="connsiteY1968"/>
                    </a:cxn>
                    <a:cxn ang="0">
                      <a:pos x="connsiteX1969" y="connsiteY1969"/>
                    </a:cxn>
                    <a:cxn ang="0">
                      <a:pos x="connsiteX1970" y="connsiteY1970"/>
                    </a:cxn>
                    <a:cxn ang="0">
                      <a:pos x="connsiteX1971" y="connsiteY1971"/>
                    </a:cxn>
                    <a:cxn ang="0">
                      <a:pos x="connsiteX1972" y="connsiteY1972"/>
                    </a:cxn>
                    <a:cxn ang="0">
                      <a:pos x="connsiteX1973" y="connsiteY1973"/>
                    </a:cxn>
                    <a:cxn ang="0">
                      <a:pos x="connsiteX1974" y="connsiteY1974"/>
                    </a:cxn>
                    <a:cxn ang="0">
                      <a:pos x="connsiteX1975" y="connsiteY1975"/>
                    </a:cxn>
                    <a:cxn ang="0">
                      <a:pos x="connsiteX1976" y="connsiteY1976"/>
                    </a:cxn>
                    <a:cxn ang="0">
                      <a:pos x="connsiteX1977" y="connsiteY1977"/>
                    </a:cxn>
                    <a:cxn ang="0">
                      <a:pos x="connsiteX1978" y="connsiteY1978"/>
                    </a:cxn>
                    <a:cxn ang="0">
                      <a:pos x="connsiteX1979" y="connsiteY1979"/>
                    </a:cxn>
                    <a:cxn ang="0">
                      <a:pos x="connsiteX1980" y="connsiteY1980"/>
                    </a:cxn>
                    <a:cxn ang="0">
                      <a:pos x="connsiteX1981" y="connsiteY1981"/>
                    </a:cxn>
                    <a:cxn ang="0">
                      <a:pos x="connsiteX1982" y="connsiteY1982"/>
                    </a:cxn>
                    <a:cxn ang="0">
                      <a:pos x="connsiteX1983" y="connsiteY1983"/>
                    </a:cxn>
                    <a:cxn ang="0">
                      <a:pos x="connsiteX1984" y="connsiteY1984"/>
                    </a:cxn>
                    <a:cxn ang="0">
                      <a:pos x="connsiteX1985" y="connsiteY1985"/>
                    </a:cxn>
                    <a:cxn ang="0">
                      <a:pos x="connsiteX1986" y="connsiteY1986"/>
                    </a:cxn>
                    <a:cxn ang="0">
                      <a:pos x="connsiteX1987" y="connsiteY1987"/>
                    </a:cxn>
                    <a:cxn ang="0">
                      <a:pos x="connsiteX1988" y="connsiteY1988"/>
                    </a:cxn>
                    <a:cxn ang="0">
                      <a:pos x="connsiteX1989" y="connsiteY1989"/>
                    </a:cxn>
                    <a:cxn ang="0">
                      <a:pos x="connsiteX1990" y="connsiteY1990"/>
                    </a:cxn>
                    <a:cxn ang="0">
                      <a:pos x="connsiteX1991" y="connsiteY1991"/>
                    </a:cxn>
                    <a:cxn ang="0">
                      <a:pos x="connsiteX1992" y="connsiteY1992"/>
                    </a:cxn>
                    <a:cxn ang="0">
                      <a:pos x="connsiteX1993" y="connsiteY1993"/>
                    </a:cxn>
                    <a:cxn ang="0">
                      <a:pos x="connsiteX1994" y="connsiteY1994"/>
                    </a:cxn>
                    <a:cxn ang="0">
                      <a:pos x="connsiteX1995" y="connsiteY1995"/>
                    </a:cxn>
                    <a:cxn ang="0">
                      <a:pos x="connsiteX1996" y="connsiteY1996"/>
                    </a:cxn>
                    <a:cxn ang="0">
                      <a:pos x="connsiteX1997" y="connsiteY1997"/>
                    </a:cxn>
                    <a:cxn ang="0">
                      <a:pos x="connsiteX1998" y="connsiteY1998"/>
                    </a:cxn>
                    <a:cxn ang="0">
                      <a:pos x="connsiteX1999" y="connsiteY1999"/>
                    </a:cxn>
                    <a:cxn ang="0">
                      <a:pos x="connsiteX2000" y="connsiteY2000"/>
                    </a:cxn>
                    <a:cxn ang="0">
                      <a:pos x="connsiteX2001" y="connsiteY2001"/>
                    </a:cxn>
                    <a:cxn ang="0">
                      <a:pos x="connsiteX2002" y="connsiteY2002"/>
                    </a:cxn>
                    <a:cxn ang="0">
                      <a:pos x="connsiteX2003" y="connsiteY2003"/>
                    </a:cxn>
                    <a:cxn ang="0">
                      <a:pos x="connsiteX2004" y="connsiteY2004"/>
                    </a:cxn>
                    <a:cxn ang="0">
                      <a:pos x="connsiteX2005" y="connsiteY2005"/>
                    </a:cxn>
                    <a:cxn ang="0">
                      <a:pos x="connsiteX2006" y="connsiteY2006"/>
                    </a:cxn>
                    <a:cxn ang="0">
                      <a:pos x="connsiteX2007" y="connsiteY2007"/>
                    </a:cxn>
                    <a:cxn ang="0">
                      <a:pos x="connsiteX2008" y="connsiteY2008"/>
                    </a:cxn>
                    <a:cxn ang="0">
                      <a:pos x="connsiteX2009" y="connsiteY2009"/>
                    </a:cxn>
                    <a:cxn ang="0">
                      <a:pos x="connsiteX2010" y="connsiteY2010"/>
                    </a:cxn>
                    <a:cxn ang="0">
                      <a:pos x="connsiteX2011" y="connsiteY2011"/>
                    </a:cxn>
                    <a:cxn ang="0">
                      <a:pos x="connsiteX2012" y="connsiteY2012"/>
                    </a:cxn>
                    <a:cxn ang="0">
                      <a:pos x="connsiteX2013" y="connsiteY2013"/>
                    </a:cxn>
                    <a:cxn ang="0">
                      <a:pos x="connsiteX2014" y="connsiteY2014"/>
                    </a:cxn>
                    <a:cxn ang="0">
                      <a:pos x="connsiteX2015" y="connsiteY2015"/>
                    </a:cxn>
                    <a:cxn ang="0">
                      <a:pos x="connsiteX2016" y="connsiteY2016"/>
                    </a:cxn>
                    <a:cxn ang="0">
                      <a:pos x="connsiteX2017" y="connsiteY2017"/>
                    </a:cxn>
                    <a:cxn ang="0">
                      <a:pos x="connsiteX2018" y="connsiteY2018"/>
                    </a:cxn>
                    <a:cxn ang="0">
                      <a:pos x="connsiteX2019" y="connsiteY2019"/>
                    </a:cxn>
                    <a:cxn ang="0">
                      <a:pos x="connsiteX2020" y="connsiteY2020"/>
                    </a:cxn>
                    <a:cxn ang="0">
                      <a:pos x="connsiteX2021" y="connsiteY2021"/>
                    </a:cxn>
                    <a:cxn ang="0">
                      <a:pos x="connsiteX2022" y="connsiteY2022"/>
                    </a:cxn>
                    <a:cxn ang="0">
                      <a:pos x="connsiteX2023" y="connsiteY2023"/>
                    </a:cxn>
                    <a:cxn ang="0">
                      <a:pos x="connsiteX2024" y="connsiteY2024"/>
                    </a:cxn>
                    <a:cxn ang="0">
                      <a:pos x="connsiteX2025" y="connsiteY2025"/>
                    </a:cxn>
                    <a:cxn ang="0">
                      <a:pos x="connsiteX2026" y="connsiteY2026"/>
                    </a:cxn>
                    <a:cxn ang="0">
                      <a:pos x="connsiteX2027" y="connsiteY2027"/>
                    </a:cxn>
                    <a:cxn ang="0">
                      <a:pos x="connsiteX2028" y="connsiteY2028"/>
                    </a:cxn>
                    <a:cxn ang="0">
                      <a:pos x="connsiteX2029" y="connsiteY2029"/>
                    </a:cxn>
                    <a:cxn ang="0">
                      <a:pos x="connsiteX2030" y="connsiteY2030"/>
                    </a:cxn>
                    <a:cxn ang="0">
                      <a:pos x="connsiteX2031" y="connsiteY2031"/>
                    </a:cxn>
                    <a:cxn ang="0">
                      <a:pos x="connsiteX2032" y="connsiteY2032"/>
                    </a:cxn>
                    <a:cxn ang="0">
                      <a:pos x="connsiteX2033" y="connsiteY2033"/>
                    </a:cxn>
                    <a:cxn ang="0">
                      <a:pos x="connsiteX2034" y="connsiteY2034"/>
                    </a:cxn>
                    <a:cxn ang="0">
                      <a:pos x="connsiteX2035" y="connsiteY2035"/>
                    </a:cxn>
                    <a:cxn ang="0">
                      <a:pos x="connsiteX2036" y="connsiteY2036"/>
                    </a:cxn>
                    <a:cxn ang="0">
                      <a:pos x="connsiteX2037" y="connsiteY2037"/>
                    </a:cxn>
                    <a:cxn ang="0">
                      <a:pos x="connsiteX2038" y="connsiteY2038"/>
                    </a:cxn>
                    <a:cxn ang="0">
                      <a:pos x="connsiteX2039" y="connsiteY2039"/>
                    </a:cxn>
                    <a:cxn ang="0">
                      <a:pos x="connsiteX2040" y="connsiteY2040"/>
                    </a:cxn>
                    <a:cxn ang="0">
                      <a:pos x="connsiteX2041" y="connsiteY2041"/>
                    </a:cxn>
                    <a:cxn ang="0">
                      <a:pos x="connsiteX2042" y="connsiteY2042"/>
                    </a:cxn>
                    <a:cxn ang="0">
                      <a:pos x="connsiteX2043" y="connsiteY2043"/>
                    </a:cxn>
                    <a:cxn ang="0">
                      <a:pos x="connsiteX2044" y="connsiteY2044"/>
                    </a:cxn>
                    <a:cxn ang="0">
                      <a:pos x="connsiteX2045" y="connsiteY2045"/>
                    </a:cxn>
                    <a:cxn ang="0">
                      <a:pos x="connsiteX2046" y="connsiteY2046"/>
                    </a:cxn>
                    <a:cxn ang="0">
                      <a:pos x="connsiteX2047" y="connsiteY2047"/>
                    </a:cxn>
                    <a:cxn ang="0">
                      <a:pos x="connsiteX2048" y="connsiteY2048"/>
                    </a:cxn>
                    <a:cxn ang="0">
                      <a:pos x="connsiteX2049" y="connsiteY2049"/>
                    </a:cxn>
                    <a:cxn ang="0">
                      <a:pos x="connsiteX2050" y="connsiteY2050"/>
                    </a:cxn>
                    <a:cxn ang="0">
                      <a:pos x="connsiteX2051" y="connsiteY2051"/>
                    </a:cxn>
                    <a:cxn ang="0">
                      <a:pos x="connsiteX2052" y="connsiteY2052"/>
                    </a:cxn>
                    <a:cxn ang="0">
                      <a:pos x="connsiteX2053" y="connsiteY2053"/>
                    </a:cxn>
                    <a:cxn ang="0">
                      <a:pos x="connsiteX2054" y="connsiteY2054"/>
                    </a:cxn>
                    <a:cxn ang="0">
                      <a:pos x="connsiteX2055" y="connsiteY2055"/>
                    </a:cxn>
                    <a:cxn ang="0">
                      <a:pos x="connsiteX2056" y="connsiteY2056"/>
                    </a:cxn>
                    <a:cxn ang="0">
                      <a:pos x="connsiteX2057" y="connsiteY2057"/>
                    </a:cxn>
                    <a:cxn ang="0">
                      <a:pos x="connsiteX2058" y="connsiteY2058"/>
                    </a:cxn>
                    <a:cxn ang="0">
                      <a:pos x="connsiteX2059" y="connsiteY2059"/>
                    </a:cxn>
                    <a:cxn ang="0">
                      <a:pos x="connsiteX2060" y="connsiteY2060"/>
                    </a:cxn>
                    <a:cxn ang="0">
                      <a:pos x="connsiteX2061" y="connsiteY2061"/>
                    </a:cxn>
                    <a:cxn ang="0">
                      <a:pos x="connsiteX2062" y="connsiteY2062"/>
                    </a:cxn>
                    <a:cxn ang="0">
                      <a:pos x="connsiteX2063" y="connsiteY2063"/>
                    </a:cxn>
                    <a:cxn ang="0">
                      <a:pos x="connsiteX2064" y="connsiteY2064"/>
                    </a:cxn>
                    <a:cxn ang="0">
                      <a:pos x="connsiteX2065" y="connsiteY2065"/>
                    </a:cxn>
                    <a:cxn ang="0">
                      <a:pos x="connsiteX2066" y="connsiteY2066"/>
                    </a:cxn>
                    <a:cxn ang="0">
                      <a:pos x="connsiteX2067" y="connsiteY2067"/>
                    </a:cxn>
                    <a:cxn ang="0">
                      <a:pos x="connsiteX2068" y="connsiteY2068"/>
                    </a:cxn>
                    <a:cxn ang="0">
                      <a:pos x="connsiteX2069" y="connsiteY2069"/>
                    </a:cxn>
                    <a:cxn ang="0">
                      <a:pos x="connsiteX2070" y="connsiteY2070"/>
                    </a:cxn>
                    <a:cxn ang="0">
                      <a:pos x="connsiteX2071" y="connsiteY2071"/>
                    </a:cxn>
                    <a:cxn ang="0">
                      <a:pos x="connsiteX2072" y="connsiteY2072"/>
                    </a:cxn>
                    <a:cxn ang="0">
                      <a:pos x="connsiteX2073" y="connsiteY2073"/>
                    </a:cxn>
                    <a:cxn ang="0">
                      <a:pos x="connsiteX2074" y="connsiteY2074"/>
                    </a:cxn>
                    <a:cxn ang="0">
                      <a:pos x="connsiteX2075" y="connsiteY2075"/>
                    </a:cxn>
                    <a:cxn ang="0">
                      <a:pos x="connsiteX2076" y="connsiteY2076"/>
                    </a:cxn>
                    <a:cxn ang="0">
                      <a:pos x="connsiteX2077" y="connsiteY2077"/>
                    </a:cxn>
                    <a:cxn ang="0">
                      <a:pos x="connsiteX2078" y="connsiteY2078"/>
                    </a:cxn>
                    <a:cxn ang="0">
                      <a:pos x="connsiteX2079" y="connsiteY2079"/>
                    </a:cxn>
                    <a:cxn ang="0">
                      <a:pos x="connsiteX2080" y="connsiteY2080"/>
                    </a:cxn>
                    <a:cxn ang="0">
                      <a:pos x="connsiteX2081" y="connsiteY2081"/>
                    </a:cxn>
                    <a:cxn ang="0">
                      <a:pos x="connsiteX2082" y="connsiteY2082"/>
                    </a:cxn>
                    <a:cxn ang="0">
                      <a:pos x="connsiteX2083" y="connsiteY2083"/>
                    </a:cxn>
                    <a:cxn ang="0">
                      <a:pos x="connsiteX2084" y="connsiteY2084"/>
                    </a:cxn>
                    <a:cxn ang="0">
                      <a:pos x="connsiteX2085" y="connsiteY2085"/>
                    </a:cxn>
                    <a:cxn ang="0">
                      <a:pos x="connsiteX2086" y="connsiteY2086"/>
                    </a:cxn>
                    <a:cxn ang="0">
                      <a:pos x="connsiteX2087" y="connsiteY2087"/>
                    </a:cxn>
                    <a:cxn ang="0">
                      <a:pos x="connsiteX2088" y="connsiteY2088"/>
                    </a:cxn>
                    <a:cxn ang="0">
                      <a:pos x="connsiteX2089" y="connsiteY2089"/>
                    </a:cxn>
                    <a:cxn ang="0">
                      <a:pos x="connsiteX2090" y="connsiteY2090"/>
                    </a:cxn>
                    <a:cxn ang="0">
                      <a:pos x="connsiteX2091" y="connsiteY2091"/>
                    </a:cxn>
                    <a:cxn ang="0">
                      <a:pos x="connsiteX2092" y="connsiteY2092"/>
                    </a:cxn>
                    <a:cxn ang="0">
                      <a:pos x="connsiteX2093" y="connsiteY2093"/>
                    </a:cxn>
                    <a:cxn ang="0">
                      <a:pos x="connsiteX2094" y="connsiteY2094"/>
                    </a:cxn>
                    <a:cxn ang="0">
                      <a:pos x="connsiteX2095" y="connsiteY2095"/>
                    </a:cxn>
                    <a:cxn ang="0">
                      <a:pos x="connsiteX2096" y="connsiteY2096"/>
                    </a:cxn>
                    <a:cxn ang="0">
                      <a:pos x="connsiteX2097" y="connsiteY2097"/>
                    </a:cxn>
                    <a:cxn ang="0">
                      <a:pos x="connsiteX2098" y="connsiteY2098"/>
                    </a:cxn>
                    <a:cxn ang="0">
                      <a:pos x="connsiteX2099" y="connsiteY2099"/>
                    </a:cxn>
                    <a:cxn ang="0">
                      <a:pos x="connsiteX2100" y="connsiteY2100"/>
                    </a:cxn>
                    <a:cxn ang="0">
                      <a:pos x="connsiteX2101" y="connsiteY2101"/>
                    </a:cxn>
                    <a:cxn ang="0">
                      <a:pos x="connsiteX2102" y="connsiteY2102"/>
                    </a:cxn>
                    <a:cxn ang="0">
                      <a:pos x="connsiteX2103" y="connsiteY2103"/>
                    </a:cxn>
                    <a:cxn ang="0">
                      <a:pos x="connsiteX2104" y="connsiteY2104"/>
                    </a:cxn>
                    <a:cxn ang="0">
                      <a:pos x="connsiteX2105" y="connsiteY2105"/>
                    </a:cxn>
                    <a:cxn ang="0">
                      <a:pos x="connsiteX2106" y="connsiteY2106"/>
                    </a:cxn>
                    <a:cxn ang="0">
                      <a:pos x="connsiteX2107" y="connsiteY2107"/>
                    </a:cxn>
                    <a:cxn ang="0">
                      <a:pos x="connsiteX2108" y="connsiteY2108"/>
                    </a:cxn>
                    <a:cxn ang="0">
                      <a:pos x="connsiteX2109" y="connsiteY2109"/>
                    </a:cxn>
                    <a:cxn ang="0">
                      <a:pos x="connsiteX2110" y="connsiteY2110"/>
                    </a:cxn>
                    <a:cxn ang="0">
                      <a:pos x="connsiteX2111" y="connsiteY2111"/>
                    </a:cxn>
                    <a:cxn ang="0">
                      <a:pos x="connsiteX2112" y="connsiteY2112"/>
                    </a:cxn>
                    <a:cxn ang="0">
                      <a:pos x="connsiteX2113" y="connsiteY2113"/>
                    </a:cxn>
                    <a:cxn ang="0">
                      <a:pos x="connsiteX2114" y="connsiteY2114"/>
                    </a:cxn>
                    <a:cxn ang="0">
                      <a:pos x="connsiteX2115" y="connsiteY2115"/>
                    </a:cxn>
                    <a:cxn ang="0">
                      <a:pos x="connsiteX2116" y="connsiteY2116"/>
                    </a:cxn>
                    <a:cxn ang="0">
                      <a:pos x="connsiteX2117" y="connsiteY2117"/>
                    </a:cxn>
                    <a:cxn ang="0">
                      <a:pos x="connsiteX2118" y="connsiteY2118"/>
                    </a:cxn>
                    <a:cxn ang="0">
                      <a:pos x="connsiteX2119" y="connsiteY2119"/>
                    </a:cxn>
                    <a:cxn ang="0">
                      <a:pos x="connsiteX2120" y="connsiteY2120"/>
                    </a:cxn>
                    <a:cxn ang="0">
                      <a:pos x="connsiteX2121" y="connsiteY2121"/>
                    </a:cxn>
                    <a:cxn ang="0">
                      <a:pos x="connsiteX2122" y="connsiteY2122"/>
                    </a:cxn>
                    <a:cxn ang="0">
                      <a:pos x="connsiteX2123" y="connsiteY2123"/>
                    </a:cxn>
                    <a:cxn ang="0">
                      <a:pos x="connsiteX2124" y="connsiteY2124"/>
                    </a:cxn>
                    <a:cxn ang="0">
                      <a:pos x="connsiteX2125" y="connsiteY2125"/>
                    </a:cxn>
                    <a:cxn ang="0">
                      <a:pos x="connsiteX2126" y="connsiteY2126"/>
                    </a:cxn>
                    <a:cxn ang="0">
                      <a:pos x="connsiteX2127" y="connsiteY2127"/>
                    </a:cxn>
                    <a:cxn ang="0">
                      <a:pos x="connsiteX2128" y="connsiteY2128"/>
                    </a:cxn>
                    <a:cxn ang="0">
                      <a:pos x="connsiteX2129" y="connsiteY2129"/>
                    </a:cxn>
                    <a:cxn ang="0">
                      <a:pos x="connsiteX2130" y="connsiteY2130"/>
                    </a:cxn>
                    <a:cxn ang="0">
                      <a:pos x="connsiteX2131" y="connsiteY2131"/>
                    </a:cxn>
                    <a:cxn ang="0">
                      <a:pos x="connsiteX2132" y="connsiteY2132"/>
                    </a:cxn>
                    <a:cxn ang="0">
                      <a:pos x="connsiteX2133" y="connsiteY2133"/>
                    </a:cxn>
                    <a:cxn ang="0">
                      <a:pos x="connsiteX2134" y="connsiteY2134"/>
                    </a:cxn>
                    <a:cxn ang="0">
                      <a:pos x="connsiteX2135" y="connsiteY2135"/>
                    </a:cxn>
                    <a:cxn ang="0">
                      <a:pos x="connsiteX2136" y="connsiteY2136"/>
                    </a:cxn>
                    <a:cxn ang="0">
                      <a:pos x="connsiteX2137" y="connsiteY2137"/>
                    </a:cxn>
                    <a:cxn ang="0">
                      <a:pos x="connsiteX2138" y="connsiteY2138"/>
                    </a:cxn>
                    <a:cxn ang="0">
                      <a:pos x="connsiteX2139" y="connsiteY2139"/>
                    </a:cxn>
                    <a:cxn ang="0">
                      <a:pos x="connsiteX2140" y="connsiteY2140"/>
                    </a:cxn>
                    <a:cxn ang="0">
                      <a:pos x="connsiteX2141" y="connsiteY2141"/>
                    </a:cxn>
                    <a:cxn ang="0">
                      <a:pos x="connsiteX2142" y="connsiteY2142"/>
                    </a:cxn>
                    <a:cxn ang="0">
                      <a:pos x="connsiteX2143" y="connsiteY2143"/>
                    </a:cxn>
                    <a:cxn ang="0">
                      <a:pos x="connsiteX2144" y="connsiteY2144"/>
                    </a:cxn>
                    <a:cxn ang="0">
                      <a:pos x="connsiteX2145" y="connsiteY2145"/>
                    </a:cxn>
                    <a:cxn ang="0">
                      <a:pos x="connsiteX2146" y="connsiteY2146"/>
                    </a:cxn>
                    <a:cxn ang="0">
                      <a:pos x="connsiteX2147" y="connsiteY2147"/>
                    </a:cxn>
                    <a:cxn ang="0">
                      <a:pos x="connsiteX2148" y="connsiteY2148"/>
                    </a:cxn>
                    <a:cxn ang="0">
                      <a:pos x="connsiteX2149" y="connsiteY2149"/>
                    </a:cxn>
                    <a:cxn ang="0">
                      <a:pos x="connsiteX2150" y="connsiteY2150"/>
                    </a:cxn>
                    <a:cxn ang="0">
                      <a:pos x="connsiteX2151" y="connsiteY2151"/>
                    </a:cxn>
                    <a:cxn ang="0">
                      <a:pos x="connsiteX2152" y="connsiteY2152"/>
                    </a:cxn>
                    <a:cxn ang="0">
                      <a:pos x="connsiteX2153" y="connsiteY2153"/>
                    </a:cxn>
                    <a:cxn ang="0">
                      <a:pos x="connsiteX2154" y="connsiteY2154"/>
                    </a:cxn>
                    <a:cxn ang="0">
                      <a:pos x="connsiteX2155" y="connsiteY2155"/>
                    </a:cxn>
                    <a:cxn ang="0">
                      <a:pos x="connsiteX2156" y="connsiteY2156"/>
                    </a:cxn>
                    <a:cxn ang="0">
                      <a:pos x="connsiteX2157" y="connsiteY2157"/>
                    </a:cxn>
                    <a:cxn ang="0">
                      <a:pos x="connsiteX2158" y="connsiteY2158"/>
                    </a:cxn>
                    <a:cxn ang="0">
                      <a:pos x="connsiteX2159" y="connsiteY2159"/>
                    </a:cxn>
                    <a:cxn ang="0">
                      <a:pos x="connsiteX2160" y="connsiteY2160"/>
                    </a:cxn>
                    <a:cxn ang="0">
                      <a:pos x="connsiteX2161" y="connsiteY2161"/>
                    </a:cxn>
                    <a:cxn ang="0">
                      <a:pos x="connsiteX2162" y="connsiteY2162"/>
                    </a:cxn>
                    <a:cxn ang="0">
                      <a:pos x="connsiteX2163" y="connsiteY2163"/>
                    </a:cxn>
                    <a:cxn ang="0">
                      <a:pos x="connsiteX2164" y="connsiteY2164"/>
                    </a:cxn>
                    <a:cxn ang="0">
                      <a:pos x="connsiteX2165" y="connsiteY2165"/>
                    </a:cxn>
                    <a:cxn ang="0">
                      <a:pos x="connsiteX2166" y="connsiteY2166"/>
                    </a:cxn>
                    <a:cxn ang="0">
                      <a:pos x="connsiteX2167" y="connsiteY2167"/>
                    </a:cxn>
                    <a:cxn ang="0">
                      <a:pos x="connsiteX2168" y="connsiteY2168"/>
                    </a:cxn>
                    <a:cxn ang="0">
                      <a:pos x="connsiteX2169" y="connsiteY2169"/>
                    </a:cxn>
                    <a:cxn ang="0">
                      <a:pos x="connsiteX2170" y="connsiteY2170"/>
                    </a:cxn>
                    <a:cxn ang="0">
                      <a:pos x="connsiteX2171" y="connsiteY2171"/>
                    </a:cxn>
                    <a:cxn ang="0">
                      <a:pos x="connsiteX2172" y="connsiteY2172"/>
                    </a:cxn>
                    <a:cxn ang="0">
                      <a:pos x="connsiteX2173" y="connsiteY2173"/>
                    </a:cxn>
                    <a:cxn ang="0">
                      <a:pos x="connsiteX2174" y="connsiteY2174"/>
                    </a:cxn>
                    <a:cxn ang="0">
                      <a:pos x="connsiteX2175" y="connsiteY2175"/>
                    </a:cxn>
                    <a:cxn ang="0">
                      <a:pos x="connsiteX2176" y="connsiteY2176"/>
                    </a:cxn>
                    <a:cxn ang="0">
                      <a:pos x="connsiteX2177" y="connsiteY2177"/>
                    </a:cxn>
                    <a:cxn ang="0">
                      <a:pos x="connsiteX2178" y="connsiteY2178"/>
                    </a:cxn>
                    <a:cxn ang="0">
                      <a:pos x="connsiteX2179" y="connsiteY2179"/>
                    </a:cxn>
                    <a:cxn ang="0">
                      <a:pos x="connsiteX2180" y="connsiteY2180"/>
                    </a:cxn>
                    <a:cxn ang="0">
                      <a:pos x="connsiteX2181" y="connsiteY2181"/>
                    </a:cxn>
                    <a:cxn ang="0">
                      <a:pos x="connsiteX2182" y="connsiteY2182"/>
                    </a:cxn>
                    <a:cxn ang="0">
                      <a:pos x="connsiteX2183" y="connsiteY2183"/>
                    </a:cxn>
                    <a:cxn ang="0">
                      <a:pos x="connsiteX2184" y="connsiteY2184"/>
                    </a:cxn>
                    <a:cxn ang="0">
                      <a:pos x="connsiteX2185" y="connsiteY2185"/>
                    </a:cxn>
                    <a:cxn ang="0">
                      <a:pos x="connsiteX2186" y="connsiteY2186"/>
                    </a:cxn>
                    <a:cxn ang="0">
                      <a:pos x="connsiteX2187" y="connsiteY2187"/>
                    </a:cxn>
                    <a:cxn ang="0">
                      <a:pos x="connsiteX2188" y="connsiteY2188"/>
                    </a:cxn>
                    <a:cxn ang="0">
                      <a:pos x="connsiteX2189" y="connsiteY2189"/>
                    </a:cxn>
                    <a:cxn ang="0">
                      <a:pos x="connsiteX2190" y="connsiteY2190"/>
                    </a:cxn>
                    <a:cxn ang="0">
                      <a:pos x="connsiteX2191" y="connsiteY2191"/>
                    </a:cxn>
                    <a:cxn ang="0">
                      <a:pos x="connsiteX2192" y="connsiteY2192"/>
                    </a:cxn>
                    <a:cxn ang="0">
                      <a:pos x="connsiteX2193" y="connsiteY2193"/>
                    </a:cxn>
                    <a:cxn ang="0">
                      <a:pos x="connsiteX2194" y="connsiteY2194"/>
                    </a:cxn>
                    <a:cxn ang="0">
                      <a:pos x="connsiteX2195" y="connsiteY2195"/>
                    </a:cxn>
                    <a:cxn ang="0">
                      <a:pos x="connsiteX2196" y="connsiteY2196"/>
                    </a:cxn>
                    <a:cxn ang="0">
                      <a:pos x="connsiteX2197" y="connsiteY2197"/>
                    </a:cxn>
                    <a:cxn ang="0">
                      <a:pos x="connsiteX2198" y="connsiteY2198"/>
                    </a:cxn>
                    <a:cxn ang="0">
                      <a:pos x="connsiteX2199" y="connsiteY2199"/>
                    </a:cxn>
                    <a:cxn ang="0">
                      <a:pos x="connsiteX2200" y="connsiteY2200"/>
                    </a:cxn>
                    <a:cxn ang="0">
                      <a:pos x="connsiteX2201" y="connsiteY2201"/>
                    </a:cxn>
                    <a:cxn ang="0">
                      <a:pos x="connsiteX2202" y="connsiteY2202"/>
                    </a:cxn>
                    <a:cxn ang="0">
                      <a:pos x="connsiteX2203" y="connsiteY2203"/>
                    </a:cxn>
                    <a:cxn ang="0">
                      <a:pos x="connsiteX2204" y="connsiteY2204"/>
                    </a:cxn>
                    <a:cxn ang="0">
                      <a:pos x="connsiteX2205" y="connsiteY2205"/>
                    </a:cxn>
                    <a:cxn ang="0">
                      <a:pos x="connsiteX2206" y="connsiteY2206"/>
                    </a:cxn>
                    <a:cxn ang="0">
                      <a:pos x="connsiteX2207" y="connsiteY2207"/>
                    </a:cxn>
                    <a:cxn ang="0">
                      <a:pos x="connsiteX2208" y="connsiteY2208"/>
                    </a:cxn>
                    <a:cxn ang="0">
                      <a:pos x="connsiteX2209" y="connsiteY2209"/>
                    </a:cxn>
                    <a:cxn ang="0">
                      <a:pos x="connsiteX2210" y="connsiteY2210"/>
                    </a:cxn>
                    <a:cxn ang="0">
                      <a:pos x="connsiteX2211" y="connsiteY2211"/>
                    </a:cxn>
                    <a:cxn ang="0">
                      <a:pos x="connsiteX2212" y="connsiteY2212"/>
                    </a:cxn>
                    <a:cxn ang="0">
                      <a:pos x="connsiteX2213" y="connsiteY2213"/>
                    </a:cxn>
                    <a:cxn ang="0">
                      <a:pos x="connsiteX2214" y="connsiteY2214"/>
                    </a:cxn>
                    <a:cxn ang="0">
                      <a:pos x="connsiteX2215" y="connsiteY2215"/>
                    </a:cxn>
                    <a:cxn ang="0">
                      <a:pos x="connsiteX2216" y="connsiteY2216"/>
                    </a:cxn>
                    <a:cxn ang="0">
                      <a:pos x="connsiteX2217" y="connsiteY2217"/>
                    </a:cxn>
                    <a:cxn ang="0">
                      <a:pos x="connsiteX2218" y="connsiteY2218"/>
                    </a:cxn>
                    <a:cxn ang="0">
                      <a:pos x="connsiteX2219" y="connsiteY2219"/>
                    </a:cxn>
                    <a:cxn ang="0">
                      <a:pos x="connsiteX2220" y="connsiteY2220"/>
                    </a:cxn>
                    <a:cxn ang="0">
                      <a:pos x="connsiteX2221" y="connsiteY2221"/>
                    </a:cxn>
                    <a:cxn ang="0">
                      <a:pos x="connsiteX2222" y="connsiteY2222"/>
                    </a:cxn>
                    <a:cxn ang="0">
                      <a:pos x="connsiteX2223" y="connsiteY2223"/>
                    </a:cxn>
                    <a:cxn ang="0">
                      <a:pos x="connsiteX2224" y="connsiteY2224"/>
                    </a:cxn>
                    <a:cxn ang="0">
                      <a:pos x="connsiteX2225" y="connsiteY2225"/>
                    </a:cxn>
                    <a:cxn ang="0">
                      <a:pos x="connsiteX2226" y="connsiteY2226"/>
                    </a:cxn>
                    <a:cxn ang="0">
                      <a:pos x="connsiteX2227" y="connsiteY2227"/>
                    </a:cxn>
                    <a:cxn ang="0">
                      <a:pos x="connsiteX2228" y="connsiteY2228"/>
                    </a:cxn>
                    <a:cxn ang="0">
                      <a:pos x="connsiteX2229" y="connsiteY2229"/>
                    </a:cxn>
                    <a:cxn ang="0">
                      <a:pos x="connsiteX2230" y="connsiteY2230"/>
                    </a:cxn>
                    <a:cxn ang="0">
                      <a:pos x="connsiteX2231" y="connsiteY2231"/>
                    </a:cxn>
                    <a:cxn ang="0">
                      <a:pos x="connsiteX2232" y="connsiteY2232"/>
                    </a:cxn>
                    <a:cxn ang="0">
                      <a:pos x="connsiteX2233" y="connsiteY2233"/>
                    </a:cxn>
                    <a:cxn ang="0">
                      <a:pos x="connsiteX2234" y="connsiteY2234"/>
                    </a:cxn>
                    <a:cxn ang="0">
                      <a:pos x="connsiteX2235" y="connsiteY2235"/>
                    </a:cxn>
                    <a:cxn ang="0">
                      <a:pos x="connsiteX2236" y="connsiteY2236"/>
                    </a:cxn>
                    <a:cxn ang="0">
                      <a:pos x="connsiteX2237" y="connsiteY2237"/>
                    </a:cxn>
                    <a:cxn ang="0">
                      <a:pos x="connsiteX2238" y="connsiteY2238"/>
                    </a:cxn>
                    <a:cxn ang="0">
                      <a:pos x="connsiteX2239" y="connsiteY2239"/>
                    </a:cxn>
                    <a:cxn ang="0">
                      <a:pos x="connsiteX2240" y="connsiteY2240"/>
                    </a:cxn>
                    <a:cxn ang="0">
                      <a:pos x="connsiteX2241" y="connsiteY2241"/>
                    </a:cxn>
                    <a:cxn ang="0">
                      <a:pos x="connsiteX2242" y="connsiteY2242"/>
                    </a:cxn>
                    <a:cxn ang="0">
                      <a:pos x="connsiteX2243" y="connsiteY2243"/>
                    </a:cxn>
                    <a:cxn ang="0">
                      <a:pos x="connsiteX2244" y="connsiteY2244"/>
                    </a:cxn>
                    <a:cxn ang="0">
                      <a:pos x="connsiteX2245" y="connsiteY2245"/>
                    </a:cxn>
                    <a:cxn ang="0">
                      <a:pos x="connsiteX2246" y="connsiteY2246"/>
                    </a:cxn>
                    <a:cxn ang="0">
                      <a:pos x="connsiteX2247" y="connsiteY2247"/>
                    </a:cxn>
                    <a:cxn ang="0">
                      <a:pos x="connsiteX2248" y="connsiteY2248"/>
                    </a:cxn>
                    <a:cxn ang="0">
                      <a:pos x="connsiteX2249" y="connsiteY2249"/>
                    </a:cxn>
                    <a:cxn ang="0">
                      <a:pos x="connsiteX2250" y="connsiteY2250"/>
                    </a:cxn>
                    <a:cxn ang="0">
                      <a:pos x="connsiteX2251" y="connsiteY2251"/>
                    </a:cxn>
                    <a:cxn ang="0">
                      <a:pos x="connsiteX2252" y="connsiteY2252"/>
                    </a:cxn>
                    <a:cxn ang="0">
                      <a:pos x="connsiteX2253" y="connsiteY2253"/>
                    </a:cxn>
                    <a:cxn ang="0">
                      <a:pos x="connsiteX2254" y="connsiteY2254"/>
                    </a:cxn>
                    <a:cxn ang="0">
                      <a:pos x="connsiteX2255" y="connsiteY2255"/>
                    </a:cxn>
                    <a:cxn ang="0">
                      <a:pos x="connsiteX2256" y="connsiteY2256"/>
                    </a:cxn>
                    <a:cxn ang="0">
                      <a:pos x="connsiteX2257" y="connsiteY2257"/>
                    </a:cxn>
                    <a:cxn ang="0">
                      <a:pos x="connsiteX2258" y="connsiteY2258"/>
                    </a:cxn>
                    <a:cxn ang="0">
                      <a:pos x="connsiteX2259" y="connsiteY2259"/>
                    </a:cxn>
                    <a:cxn ang="0">
                      <a:pos x="connsiteX2260" y="connsiteY2260"/>
                    </a:cxn>
                    <a:cxn ang="0">
                      <a:pos x="connsiteX2261" y="connsiteY2261"/>
                    </a:cxn>
                    <a:cxn ang="0">
                      <a:pos x="connsiteX2262" y="connsiteY2262"/>
                    </a:cxn>
                    <a:cxn ang="0">
                      <a:pos x="connsiteX2263" y="connsiteY2263"/>
                    </a:cxn>
                    <a:cxn ang="0">
                      <a:pos x="connsiteX2264" y="connsiteY2264"/>
                    </a:cxn>
                    <a:cxn ang="0">
                      <a:pos x="connsiteX2265" y="connsiteY2265"/>
                    </a:cxn>
                    <a:cxn ang="0">
                      <a:pos x="connsiteX2266" y="connsiteY2266"/>
                    </a:cxn>
                    <a:cxn ang="0">
                      <a:pos x="connsiteX2267" y="connsiteY2267"/>
                    </a:cxn>
                    <a:cxn ang="0">
                      <a:pos x="connsiteX2268" y="connsiteY2268"/>
                    </a:cxn>
                    <a:cxn ang="0">
                      <a:pos x="connsiteX2269" y="connsiteY2269"/>
                    </a:cxn>
                    <a:cxn ang="0">
                      <a:pos x="connsiteX2270" y="connsiteY2270"/>
                    </a:cxn>
                    <a:cxn ang="0">
                      <a:pos x="connsiteX2271" y="connsiteY2271"/>
                    </a:cxn>
                    <a:cxn ang="0">
                      <a:pos x="connsiteX2272" y="connsiteY2272"/>
                    </a:cxn>
                    <a:cxn ang="0">
                      <a:pos x="connsiteX2273" y="connsiteY2273"/>
                    </a:cxn>
                    <a:cxn ang="0">
                      <a:pos x="connsiteX2274" y="connsiteY2274"/>
                    </a:cxn>
                    <a:cxn ang="0">
                      <a:pos x="connsiteX2275" y="connsiteY2275"/>
                    </a:cxn>
                    <a:cxn ang="0">
                      <a:pos x="connsiteX2276" y="connsiteY2276"/>
                    </a:cxn>
                    <a:cxn ang="0">
                      <a:pos x="connsiteX2277" y="connsiteY2277"/>
                    </a:cxn>
                    <a:cxn ang="0">
                      <a:pos x="connsiteX2278" y="connsiteY2278"/>
                    </a:cxn>
                    <a:cxn ang="0">
                      <a:pos x="connsiteX2279" y="connsiteY2279"/>
                    </a:cxn>
                    <a:cxn ang="0">
                      <a:pos x="connsiteX2280" y="connsiteY2280"/>
                    </a:cxn>
                  </a:cxnLst>
                  <a:rect l="l" t="t" r="r" b="b"/>
                  <a:pathLst>
                    <a:path w="2172185" h="1418833">
                      <a:moveTo>
                        <a:pt x="97334" y="1142023"/>
                      </a:moveTo>
                      <a:cubicBezTo>
                        <a:pt x="97575" y="1140176"/>
                        <a:pt x="97173" y="1139131"/>
                        <a:pt x="96290" y="1138649"/>
                      </a:cubicBezTo>
                      <a:cubicBezTo>
                        <a:pt x="96209" y="1138569"/>
                        <a:pt x="96049" y="1138569"/>
                        <a:pt x="95968" y="1138489"/>
                      </a:cubicBezTo>
                      <a:cubicBezTo>
                        <a:pt x="95808" y="1141862"/>
                        <a:pt x="95647" y="1145236"/>
                        <a:pt x="95486" y="1148610"/>
                      </a:cubicBezTo>
                      <a:cubicBezTo>
                        <a:pt x="96209" y="1146682"/>
                        <a:pt x="97093" y="1144112"/>
                        <a:pt x="97334" y="1142023"/>
                      </a:cubicBezTo>
                      <a:moveTo>
                        <a:pt x="301688" y="1161864"/>
                      </a:moveTo>
                      <a:cubicBezTo>
                        <a:pt x="301688" y="1161864"/>
                        <a:pt x="301688" y="1161864"/>
                        <a:pt x="301688" y="1161864"/>
                      </a:cubicBezTo>
                      <a:cubicBezTo>
                        <a:pt x="301528" y="1162185"/>
                        <a:pt x="301206" y="1162587"/>
                        <a:pt x="300965" y="1162989"/>
                      </a:cubicBezTo>
                      <a:cubicBezTo>
                        <a:pt x="301046" y="1163230"/>
                        <a:pt x="301206" y="1163471"/>
                        <a:pt x="301287" y="1163712"/>
                      </a:cubicBezTo>
                      <a:cubicBezTo>
                        <a:pt x="301287" y="1163310"/>
                        <a:pt x="301447" y="1162587"/>
                        <a:pt x="301688" y="1161864"/>
                      </a:cubicBezTo>
                      <a:moveTo>
                        <a:pt x="300323" y="1161623"/>
                      </a:moveTo>
                      <a:cubicBezTo>
                        <a:pt x="300323" y="1161623"/>
                        <a:pt x="300323" y="1161703"/>
                        <a:pt x="300403" y="1161703"/>
                      </a:cubicBezTo>
                      <a:cubicBezTo>
                        <a:pt x="300162" y="1160338"/>
                        <a:pt x="299680" y="1159213"/>
                        <a:pt x="298636" y="1158089"/>
                      </a:cubicBezTo>
                      <a:cubicBezTo>
                        <a:pt x="298636" y="1158089"/>
                        <a:pt x="298716" y="1158169"/>
                        <a:pt x="298716" y="1158169"/>
                      </a:cubicBezTo>
                      <a:cubicBezTo>
                        <a:pt x="299198" y="1159374"/>
                        <a:pt x="299760" y="1160499"/>
                        <a:pt x="300323" y="1161623"/>
                      </a:cubicBezTo>
                      <a:moveTo>
                        <a:pt x="236783" y="1129572"/>
                      </a:moveTo>
                      <a:lnTo>
                        <a:pt x="237667" y="1131179"/>
                      </a:lnTo>
                      <a:cubicBezTo>
                        <a:pt x="237667" y="1130697"/>
                        <a:pt x="237586" y="1130215"/>
                        <a:pt x="237346" y="1129653"/>
                      </a:cubicBezTo>
                      <a:cubicBezTo>
                        <a:pt x="237346" y="1129653"/>
                        <a:pt x="237346" y="1129653"/>
                        <a:pt x="237346" y="1129653"/>
                      </a:cubicBezTo>
                      <a:cubicBezTo>
                        <a:pt x="237185" y="1129572"/>
                        <a:pt x="237024" y="1129572"/>
                        <a:pt x="236783" y="1129572"/>
                      </a:cubicBezTo>
                      <a:moveTo>
                        <a:pt x="2172125" y="746809"/>
                      </a:moveTo>
                      <a:cubicBezTo>
                        <a:pt x="2172205" y="746809"/>
                        <a:pt x="2172205" y="746729"/>
                        <a:pt x="2172125" y="746809"/>
                      </a:cubicBezTo>
                      <a:cubicBezTo>
                        <a:pt x="2171402" y="746809"/>
                        <a:pt x="2170679" y="746890"/>
                        <a:pt x="2169956" y="747050"/>
                      </a:cubicBezTo>
                      <a:cubicBezTo>
                        <a:pt x="2169956" y="747050"/>
                        <a:pt x="2170037" y="747050"/>
                        <a:pt x="2170037" y="747050"/>
                      </a:cubicBezTo>
                      <a:cubicBezTo>
                        <a:pt x="2170519" y="747291"/>
                        <a:pt x="2171242" y="747532"/>
                        <a:pt x="2172125" y="746809"/>
                      </a:cubicBezTo>
                      <a:moveTo>
                        <a:pt x="2169956" y="747050"/>
                      </a:moveTo>
                      <a:cubicBezTo>
                        <a:pt x="2169956" y="747050"/>
                        <a:pt x="2169956" y="747050"/>
                        <a:pt x="2169956" y="747050"/>
                      </a:cubicBezTo>
                      <a:cubicBezTo>
                        <a:pt x="2169796" y="746970"/>
                        <a:pt x="2169555" y="746809"/>
                        <a:pt x="2169394" y="746729"/>
                      </a:cubicBezTo>
                      <a:cubicBezTo>
                        <a:pt x="2169394" y="746729"/>
                        <a:pt x="2169394" y="746729"/>
                        <a:pt x="2169394" y="746729"/>
                      </a:cubicBezTo>
                      <a:cubicBezTo>
                        <a:pt x="2169474" y="746890"/>
                        <a:pt x="2169474" y="746970"/>
                        <a:pt x="2169555" y="747131"/>
                      </a:cubicBezTo>
                      <a:cubicBezTo>
                        <a:pt x="2169715" y="747131"/>
                        <a:pt x="2169796" y="747050"/>
                        <a:pt x="2169956" y="747050"/>
                      </a:cubicBezTo>
                      <a:moveTo>
                        <a:pt x="6242" y="844488"/>
                      </a:moveTo>
                      <a:cubicBezTo>
                        <a:pt x="6242" y="844488"/>
                        <a:pt x="6242" y="844488"/>
                        <a:pt x="6242" y="844488"/>
                      </a:cubicBezTo>
                      <a:cubicBezTo>
                        <a:pt x="6403" y="843926"/>
                        <a:pt x="6483" y="843364"/>
                        <a:pt x="6644" y="842801"/>
                      </a:cubicBezTo>
                      <a:cubicBezTo>
                        <a:pt x="6644" y="842801"/>
                        <a:pt x="6644" y="842801"/>
                        <a:pt x="6644" y="842882"/>
                      </a:cubicBezTo>
                      <a:cubicBezTo>
                        <a:pt x="6483" y="843364"/>
                        <a:pt x="6403" y="843926"/>
                        <a:pt x="6242" y="844488"/>
                      </a:cubicBezTo>
                      <a:moveTo>
                        <a:pt x="1958854" y="775406"/>
                      </a:moveTo>
                      <a:cubicBezTo>
                        <a:pt x="1958854" y="775406"/>
                        <a:pt x="1958854" y="775326"/>
                        <a:pt x="1958854" y="775326"/>
                      </a:cubicBezTo>
                      <a:cubicBezTo>
                        <a:pt x="1958854" y="775326"/>
                        <a:pt x="1958854" y="775326"/>
                        <a:pt x="1958854" y="775406"/>
                      </a:cubicBezTo>
                      <a:cubicBezTo>
                        <a:pt x="1958854" y="776611"/>
                        <a:pt x="1958935" y="777575"/>
                        <a:pt x="1959095" y="778539"/>
                      </a:cubicBezTo>
                      <a:cubicBezTo>
                        <a:pt x="1959095" y="777495"/>
                        <a:pt x="1959015" y="776450"/>
                        <a:pt x="1958854" y="775406"/>
                      </a:cubicBezTo>
                      <a:moveTo>
                        <a:pt x="1954838" y="777254"/>
                      </a:moveTo>
                      <a:cubicBezTo>
                        <a:pt x="1955079" y="776531"/>
                        <a:pt x="1955561" y="775567"/>
                        <a:pt x="1955802" y="774844"/>
                      </a:cubicBezTo>
                      <a:cubicBezTo>
                        <a:pt x="1955400" y="775165"/>
                        <a:pt x="1954918" y="775567"/>
                        <a:pt x="1954517" y="775888"/>
                      </a:cubicBezTo>
                      <a:cubicBezTo>
                        <a:pt x="1942146" y="785367"/>
                        <a:pt x="1932748" y="791311"/>
                        <a:pt x="1932667" y="791311"/>
                      </a:cubicBezTo>
                      <a:cubicBezTo>
                        <a:pt x="1932025" y="791633"/>
                        <a:pt x="1930981" y="791633"/>
                        <a:pt x="1930258" y="791713"/>
                      </a:cubicBezTo>
                      <a:cubicBezTo>
                        <a:pt x="1923751" y="792837"/>
                        <a:pt x="1920779" y="794123"/>
                        <a:pt x="1917887" y="795408"/>
                      </a:cubicBezTo>
                      <a:cubicBezTo>
                        <a:pt x="1925438" y="806091"/>
                        <a:pt x="1944476" y="803119"/>
                        <a:pt x="1959095" y="798782"/>
                      </a:cubicBezTo>
                      <a:cubicBezTo>
                        <a:pt x="1959497" y="795006"/>
                        <a:pt x="1959015" y="793480"/>
                        <a:pt x="1956525" y="791713"/>
                      </a:cubicBezTo>
                      <a:cubicBezTo>
                        <a:pt x="1956686" y="791472"/>
                        <a:pt x="1956927" y="791070"/>
                        <a:pt x="1957087" y="790829"/>
                      </a:cubicBezTo>
                      <a:cubicBezTo>
                        <a:pt x="1955400" y="789223"/>
                        <a:pt x="1951866" y="785768"/>
                        <a:pt x="1954838" y="777254"/>
                      </a:cubicBezTo>
                      <a:moveTo>
                        <a:pt x="1978856" y="735965"/>
                      </a:moveTo>
                      <a:cubicBezTo>
                        <a:pt x="1978776" y="735724"/>
                        <a:pt x="1978454" y="735804"/>
                        <a:pt x="1977972" y="736045"/>
                      </a:cubicBezTo>
                      <a:cubicBezTo>
                        <a:pt x="1977892" y="736126"/>
                        <a:pt x="1977812" y="736126"/>
                        <a:pt x="1977731" y="736206"/>
                      </a:cubicBezTo>
                      <a:cubicBezTo>
                        <a:pt x="1978053" y="736206"/>
                        <a:pt x="1978454" y="736206"/>
                        <a:pt x="1978776" y="736286"/>
                      </a:cubicBezTo>
                      <a:cubicBezTo>
                        <a:pt x="1978856" y="736206"/>
                        <a:pt x="1978856" y="736126"/>
                        <a:pt x="1978856" y="735965"/>
                      </a:cubicBezTo>
                      <a:moveTo>
                        <a:pt x="17809" y="792195"/>
                      </a:moveTo>
                      <a:lnTo>
                        <a:pt x="17809" y="792195"/>
                      </a:lnTo>
                      <a:cubicBezTo>
                        <a:pt x="17889" y="792034"/>
                        <a:pt x="17889" y="791873"/>
                        <a:pt x="17970" y="791713"/>
                      </a:cubicBezTo>
                      <a:cubicBezTo>
                        <a:pt x="17889" y="791954"/>
                        <a:pt x="17809" y="792114"/>
                        <a:pt x="17809" y="792195"/>
                      </a:cubicBezTo>
                      <a:moveTo>
                        <a:pt x="1862541" y="787536"/>
                      </a:moveTo>
                      <a:cubicBezTo>
                        <a:pt x="1860613" y="782716"/>
                        <a:pt x="1857239" y="779422"/>
                        <a:pt x="1855954" y="778218"/>
                      </a:cubicBezTo>
                      <a:cubicBezTo>
                        <a:pt x="1853384" y="778378"/>
                        <a:pt x="1850653" y="778619"/>
                        <a:pt x="1846556" y="780547"/>
                      </a:cubicBezTo>
                      <a:cubicBezTo>
                        <a:pt x="1843423" y="782154"/>
                        <a:pt x="1840531" y="784082"/>
                        <a:pt x="1836033" y="788580"/>
                      </a:cubicBezTo>
                      <a:cubicBezTo>
                        <a:pt x="1836113" y="789223"/>
                        <a:pt x="1836274" y="790106"/>
                        <a:pt x="1836435" y="790749"/>
                      </a:cubicBezTo>
                      <a:cubicBezTo>
                        <a:pt x="1844146" y="796452"/>
                        <a:pt x="1846476" y="801031"/>
                        <a:pt x="1847118" y="802718"/>
                      </a:cubicBezTo>
                      <a:cubicBezTo>
                        <a:pt x="1848403" y="806091"/>
                        <a:pt x="1850572" y="811715"/>
                        <a:pt x="1853544" y="811875"/>
                      </a:cubicBezTo>
                      <a:cubicBezTo>
                        <a:pt x="1854669" y="811955"/>
                        <a:pt x="1855713" y="810992"/>
                        <a:pt x="1856195" y="810429"/>
                      </a:cubicBezTo>
                      <a:cubicBezTo>
                        <a:pt x="1856517" y="810027"/>
                        <a:pt x="1856999" y="809385"/>
                        <a:pt x="1857320" y="808983"/>
                      </a:cubicBezTo>
                      <a:cubicBezTo>
                        <a:pt x="1858043" y="807939"/>
                        <a:pt x="1858364" y="806734"/>
                        <a:pt x="1859007" y="805690"/>
                      </a:cubicBezTo>
                      <a:cubicBezTo>
                        <a:pt x="1859890" y="804324"/>
                        <a:pt x="1861256" y="803200"/>
                        <a:pt x="1862059" y="801754"/>
                      </a:cubicBezTo>
                      <a:cubicBezTo>
                        <a:pt x="1862782" y="800308"/>
                        <a:pt x="1864469" y="797014"/>
                        <a:pt x="1863826" y="792034"/>
                      </a:cubicBezTo>
                      <a:cubicBezTo>
                        <a:pt x="1863585" y="790668"/>
                        <a:pt x="1863184" y="789062"/>
                        <a:pt x="1862541" y="787536"/>
                      </a:cubicBezTo>
                      <a:moveTo>
                        <a:pt x="478088" y="993657"/>
                      </a:moveTo>
                      <a:cubicBezTo>
                        <a:pt x="478088" y="993657"/>
                        <a:pt x="478088" y="993657"/>
                        <a:pt x="478088" y="993657"/>
                      </a:cubicBezTo>
                      <a:cubicBezTo>
                        <a:pt x="477928" y="993738"/>
                        <a:pt x="477767" y="993898"/>
                        <a:pt x="477607" y="993979"/>
                      </a:cubicBezTo>
                      <a:cubicBezTo>
                        <a:pt x="477767" y="993898"/>
                        <a:pt x="477847" y="993818"/>
                        <a:pt x="478008" y="993738"/>
                      </a:cubicBezTo>
                      <a:cubicBezTo>
                        <a:pt x="478088" y="993738"/>
                        <a:pt x="478088" y="993738"/>
                        <a:pt x="478088" y="993657"/>
                      </a:cubicBezTo>
                      <a:moveTo>
                        <a:pt x="1845030" y="756529"/>
                      </a:moveTo>
                      <a:cubicBezTo>
                        <a:pt x="1843985" y="754039"/>
                        <a:pt x="1842700" y="754682"/>
                        <a:pt x="1842138" y="755003"/>
                      </a:cubicBezTo>
                      <a:cubicBezTo>
                        <a:pt x="1841174" y="755645"/>
                        <a:pt x="1840692" y="756850"/>
                        <a:pt x="1839567" y="757332"/>
                      </a:cubicBezTo>
                      <a:cubicBezTo>
                        <a:pt x="1838041" y="757975"/>
                        <a:pt x="1836756" y="758778"/>
                        <a:pt x="1836354" y="759180"/>
                      </a:cubicBezTo>
                      <a:cubicBezTo>
                        <a:pt x="1835712" y="759662"/>
                        <a:pt x="1834989" y="760385"/>
                        <a:pt x="1834667" y="760706"/>
                      </a:cubicBezTo>
                      <a:cubicBezTo>
                        <a:pt x="1832418" y="763196"/>
                        <a:pt x="1831936" y="765446"/>
                        <a:pt x="1831695" y="766490"/>
                      </a:cubicBezTo>
                      <a:cubicBezTo>
                        <a:pt x="1832338" y="766570"/>
                        <a:pt x="1833141" y="766731"/>
                        <a:pt x="1833784" y="766811"/>
                      </a:cubicBezTo>
                      <a:lnTo>
                        <a:pt x="1832659" y="768418"/>
                      </a:lnTo>
                      <a:cubicBezTo>
                        <a:pt x="1834667" y="770586"/>
                        <a:pt x="1835390" y="771069"/>
                        <a:pt x="1837158" y="771470"/>
                      </a:cubicBezTo>
                      <a:cubicBezTo>
                        <a:pt x="1838684" y="774924"/>
                        <a:pt x="1841415" y="776129"/>
                        <a:pt x="1847199" y="775968"/>
                      </a:cubicBezTo>
                      <a:cubicBezTo>
                        <a:pt x="1845994" y="758778"/>
                        <a:pt x="1845994" y="758778"/>
                        <a:pt x="1845030" y="756529"/>
                      </a:cubicBezTo>
                      <a:moveTo>
                        <a:pt x="383944" y="948995"/>
                      </a:moveTo>
                      <a:cubicBezTo>
                        <a:pt x="383944" y="948995"/>
                        <a:pt x="384024" y="948995"/>
                        <a:pt x="383944" y="948995"/>
                      </a:cubicBezTo>
                      <a:cubicBezTo>
                        <a:pt x="383783" y="948995"/>
                        <a:pt x="383623" y="948995"/>
                        <a:pt x="383382" y="949075"/>
                      </a:cubicBezTo>
                      <a:cubicBezTo>
                        <a:pt x="383382" y="949075"/>
                        <a:pt x="383382" y="949075"/>
                        <a:pt x="383382" y="949075"/>
                      </a:cubicBezTo>
                      <a:cubicBezTo>
                        <a:pt x="383382" y="949075"/>
                        <a:pt x="383462" y="949075"/>
                        <a:pt x="383462" y="949075"/>
                      </a:cubicBezTo>
                      <a:cubicBezTo>
                        <a:pt x="383703" y="949075"/>
                        <a:pt x="383783" y="948995"/>
                        <a:pt x="383944" y="948995"/>
                      </a:cubicBezTo>
                      <a:moveTo>
                        <a:pt x="548697" y="959438"/>
                      </a:moveTo>
                      <a:cubicBezTo>
                        <a:pt x="548697" y="959438"/>
                        <a:pt x="548777" y="959438"/>
                        <a:pt x="548777" y="959357"/>
                      </a:cubicBezTo>
                      <a:lnTo>
                        <a:pt x="548777" y="959357"/>
                      </a:lnTo>
                      <a:lnTo>
                        <a:pt x="548697" y="959438"/>
                      </a:lnTo>
                      <a:cubicBezTo>
                        <a:pt x="547251" y="959357"/>
                        <a:pt x="546207" y="960000"/>
                        <a:pt x="545243" y="961285"/>
                      </a:cubicBezTo>
                      <a:cubicBezTo>
                        <a:pt x="545644" y="961044"/>
                        <a:pt x="546930" y="960241"/>
                        <a:pt x="548697" y="959438"/>
                      </a:cubicBezTo>
                      <a:moveTo>
                        <a:pt x="330124" y="928190"/>
                      </a:moveTo>
                      <a:cubicBezTo>
                        <a:pt x="330124" y="928190"/>
                        <a:pt x="330205" y="928110"/>
                        <a:pt x="330205" y="928110"/>
                      </a:cubicBezTo>
                      <a:cubicBezTo>
                        <a:pt x="330205" y="928110"/>
                        <a:pt x="330205" y="928110"/>
                        <a:pt x="330124" y="928190"/>
                      </a:cubicBezTo>
                      <a:cubicBezTo>
                        <a:pt x="329562" y="928833"/>
                        <a:pt x="328919" y="929315"/>
                        <a:pt x="328036" y="929716"/>
                      </a:cubicBezTo>
                      <a:cubicBezTo>
                        <a:pt x="328357" y="929636"/>
                        <a:pt x="328759" y="929636"/>
                        <a:pt x="329080" y="929556"/>
                      </a:cubicBezTo>
                      <a:cubicBezTo>
                        <a:pt x="329482" y="929154"/>
                        <a:pt x="329803" y="928672"/>
                        <a:pt x="330124" y="928190"/>
                      </a:cubicBezTo>
                      <a:moveTo>
                        <a:pt x="330847" y="926985"/>
                      </a:moveTo>
                      <a:cubicBezTo>
                        <a:pt x="330847" y="926985"/>
                        <a:pt x="330847" y="926985"/>
                        <a:pt x="330847" y="926985"/>
                      </a:cubicBezTo>
                      <a:cubicBezTo>
                        <a:pt x="330847" y="926985"/>
                        <a:pt x="330847" y="926985"/>
                        <a:pt x="330847" y="926985"/>
                      </a:cubicBezTo>
                      <a:cubicBezTo>
                        <a:pt x="330606" y="927306"/>
                        <a:pt x="330446" y="927708"/>
                        <a:pt x="330205" y="928029"/>
                      </a:cubicBezTo>
                      <a:cubicBezTo>
                        <a:pt x="330285" y="927949"/>
                        <a:pt x="330606" y="927547"/>
                        <a:pt x="330847" y="926985"/>
                      </a:cubicBezTo>
                      <a:moveTo>
                        <a:pt x="2079909" y="539081"/>
                      </a:moveTo>
                      <a:cubicBezTo>
                        <a:pt x="2079909" y="539081"/>
                        <a:pt x="2079909" y="539001"/>
                        <a:pt x="2079828" y="539001"/>
                      </a:cubicBezTo>
                      <a:cubicBezTo>
                        <a:pt x="2079828" y="539001"/>
                        <a:pt x="2079828" y="539081"/>
                        <a:pt x="2079909" y="539081"/>
                      </a:cubicBezTo>
                      <a:cubicBezTo>
                        <a:pt x="2079828" y="541652"/>
                        <a:pt x="2079828" y="541652"/>
                        <a:pt x="2080310" y="542535"/>
                      </a:cubicBezTo>
                      <a:cubicBezTo>
                        <a:pt x="2080391" y="541973"/>
                        <a:pt x="2080712" y="540447"/>
                        <a:pt x="2079909" y="539081"/>
                      </a:cubicBezTo>
                      <a:moveTo>
                        <a:pt x="2052918" y="559002"/>
                      </a:moveTo>
                      <a:cubicBezTo>
                        <a:pt x="2052918" y="559002"/>
                        <a:pt x="2052918" y="559002"/>
                        <a:pt x="2052918" y="559002"/>
                      </a:cubicBezTo>
                      <a:cubicBezTo>
                        <a:pt x="2052436" y="559163"/>
                        <a:pt x="2051874" y="559404"/>
                        <a:pt x="2051312" y="559565"/>
                      </a:cubicBezTo>
                      <a:cubicBezTo>
                        <a:pt x="2051312" y="559565"/>
                        <a:pt x="2051312" y="559565"/>
                        <a:pt x="2051392" y="559565"/>
                      </a:cubicBezTo>
                      <a:cubicBezTo>
                        <a:pt x="2051954" y="559404"/>
                        <a:pt x="2052436" y="559243"/>
                        <a:pt x="2052918" y="559002"/>
                      </a:cubicBezTo>
                      <a:moveTo>
                        <a:pt x="584121" y="891561"/>
                      </a:moveTo>
                      <a:cubicBezTo>
                        <a:pt x="584202" y="891561"/>
                        <a:pt x="584202" y="891561"/>
                        <a:pt x="584282" y="891561"/>
                      </a:cubicBezTo>
                      <a:cubicBezTo>
                        <a:pt x="583077" y="890998"/>
                        <a:pt x="582033" y="890757"/>
                        <a:pt x="580748" y="890757"/>
                      </a:cubicBezTo>
                      <a:cubicBezTo>
                        <a:pt x="580426" y="890757"/>
                        <a:pt x="580025" y="890757"/>
                        <a:pt x="579703" y="890757"/>
                      </a:cubicBezTo>
                      <a:cubicBezTo>
                        <a:pt x="579623" y="891078"/>
                        <a:pt x="579543" y="891320"/>
                        <a:pt x="579543" y="891641"/>
                      </a:cubicBezTo>
                      <a:cubicBezTo>
                        <a:pt x="580989" y="891561"/>
                        <a:pt x="582595" y="891561"/>
                        <a:pt x="584121" y="891561"/>
                      </a:cubicBezTo>
                      <a:moveTo>
                        <a:pt x="706622" y="901602"/>
                      </a:moveTo>
                      <a:cubicBezTo>
                        <a:pt x="705577" y="902485"/>
                        <a:pt x="704292" y="903128"/>
                        <a:pt x="702766" y="903529"/>
                      </a:cubicBezTo>
                      <a:cubicBezTo>
                        <a:pt x="704372" y="900878"/>
                        <a:pt x="705577" y="900236"/>
                        <a:pt x="706702" y="901521"/>
                      </a:cubicBezTo>
                      <a:cubicBezTo>
                        <a:pt x="706702" y="901521"/>
                        <a:pt x="706622" y="901602"/>
                        <a:pt x="706622" y="901602"/>
                      </a:cubicBezTo>
                      <a:moveTo>
                        <a:pt x="699794" y="886018"/>
                      </a:moveTo>
                      <a:cubicBezTo>
                        <a:pt x="699794" y="886098"/>
                        <a:pt x="692644" y="892846"/>
                        <a:pt x="682122" y="895657"/>
                      </a:cubicBezTo>
                      <a:cubicBezTo>
                        <a:pt x="689110" y="891721"/>
                        <a:pt x="694492" y="888267"/>
                        <a:pt x="700035" y="884090"/>
                      </a:cubicBezTo>
                      <a:cubicBezTo>
                        <a:pt x="700035" y="884733"/>
                        <a:pt x="700035" y="885536"/>
                        <a:pt x="699794" y="886018"/>
                      </a:cubicBezTo>
                      <a:moveTo>
                        <a:pt x="766305" y="916060"/>
                      </a:moveTo>
                      <a:cubicBezTo>
                        <a:pt x="767189" y="915418"/>
                        <a:pt x="768394" y="914374"/>
                        <a:pt x="769277" y="913731"/>
                      </a:cubicBezTo>
                      <a:cubicBezTo>
                        <a:pt x="769277" y="910277"/>
                        <a:pt x="768554" y="907064"/>
                        <a:pt x="763333" y="912446"/>
                      </a:cubicBezTo>
                      <a:cubicBezTo>
                        <a:pt x="762771" y="913008"/>
                        <a:pt x="762128" y="913731"/>
                        <a:pt x="761646" y="914293"/>
                      </a:cubicBezTo>
                      <a:cubicBezTo>
                        <a:pt x="762128" y="908108"/>
                        <a:pt x="761646" y="903529"/>
                        <a:pt x="751846" y="904895"/>
                      </a:cubicBezTo>
                      <a:cubicBezTo>
                        <a:pt x="754176" y="904252"/>
                        <a:pt x="754738" y="903529"/>
                        <a:pt x="754015" y="902003"/>
                      </a:cubicBezTo>
                      <a:cubicBezTo>
                        <a:pt x="759477" y="898790"/>
                        <a:pt x="761084" y="897665"/>
                        <a:pt x="762048" y="896219"/>
                      </a:cubicBezTo>
                      <a:cubicBezTo>
                        <a:pt x="761887" y="896059"/>
                        <a:pt x="761727" y="895738"/>
                        <a:pt x="761566" y="895577"/>
                      </a:cubicBezTo>
                      <a:cubicBezTo>
                        <a:pt x="759397" y="895416"/>
                        <a:pt x="756505" y="895978"/>
                        <a:pt x="745661" y="899192"/>
                      </a:cubicBezTo>
                      <a:cubicBezTo>
                        <a:pt x="749517" y="897987"/>
                        <a:pt x="751204" y="896782"/>
                        <a:pt x="752810" y="894131"/>
                      </a:cubicBezTo>
                      <a:cubicBezTo>
                        <a:pt x="749276" y="892444"/>
                        <a:pt x="749276" y="892444"/>
                        <a:pt x="745661" y="892524"/>
                      </a:cubicBezTo>
                      <a:cubicBezTo>
                        <a:pt x="752489" y="887303"/>
                        <a:pt x="753694" y="886339"/>
                        <a:pt x="753292" y="884170"/>
                      </a:cubicBezTo>
                      <a:cubicBezTo>
                        <a:pt x="751927" y="883287"/>
                        <a:pt x="750561" y="882323"/>
                        <a:pt x="741002" y="883447"/>
                      </a:cubicBezTo>
                      <a:cubicBezTo>
                        <a:pt x="740600" y="882323"/>
                        <a:pt x="740440" y="881921"/>
                        <a:pt x="740761" y="880073"/>
                      </a:cubicBezTo>
                      <a:cubicBezTo>
                        <a:pt x="735861" y="882805"/>
                        <a:pt x="729917" y="883688"/>
                        <a:pt x="725900" y="888026"/>
                      </a:cubicBezTo>
                      <a:cubicBezTo>
                        <a:pt x="728149" y="885054"/>
                        <a:pt x="728712" y="883046"/>
                        <a:pt x="727828" y="880475"/>
                      </a:cubicBezTo>
                      <a:cubicBezTo>
                        <a:pt x="727427" y="882001"/>
                        <a:pt x="727427" y="882001"/>
                        <a:pt x="726945" y="882724"/>
                      </a:cubicBezTo>
                      <a:cubicBezTo>
                        <a:pt x="726382" y="882323"/>
                        <a:pt x="726382" y="882323"/>
                        <a:pt x="726061" y="881118"/>
                      </a:cubicBezTo>
                      <a:cubicBezTo>
                        <a:pt x="720599" y="881359"/>
                        <a:pt x="718992" y="881439"/>
                        <a:pt x="714413" y="881921"/>
                      </a:cubicBezTo>
                      <a:cubicBezTo>
                        <a:pt x="717064" y="880877"/>
                        <a:pt x="717868" y="879993"/>
                        <a:pt x="718189" y="878065"/>
                      </a:cubicBezTo>
                      <a:cubicBezTo>
                        <a:pt x="716984" y="877985"/>
                        <a:pt x="716743" y="877985"/>
                        <a:pt x="715618" y="878226"/>
                      </a:cubicBezTo>
                      <a:cubicBezTo>
                        <a:pt x="721804" y="874772"/>
                        <a:pt x="721964" y="874692"/>
                        <a:pt x="722848" y="873487"/>
                      </a:cubicBezTo>
                      <a:cubicBezTo>
                        <a:pt x="721804" y="872603"/>
                        <a:pt x="721402" y="872282"/>
                        <a:pt x="713931" y="873487"/>
                      </a:cubicBezTo>
                      <a:cubicBezTo>
                        <a:pt x="712405" y="869631"/>
                        <a:pt x="709031" y="873005"/>
                        <a:pt x="702846" y="879270"/>
                      </a:cubicBezTo>
                      <a:cubicBezTo>
                        <a:pt x="709754" y="868346"/>
                        <a:pt x="716823" y="857421"/>
                        <a:pt x="723571" y="846336"/>
                      </a:cubicBezTo>
                      <a:lnTo>
                        <a:pt x="723571" y="846336"/>
                      </a:lnTo>
                      <a:cubicBezTo>
                        <a:pt x="717626" y="847219"/>
                        <a:pt x="708630" y="848585"/>
                        <a:pt x="703489" y="853565"/>
                      </a:cubicBezTo>
                      <a:cubicBezTo>
                        <a:pt x="702043" y="854931"/>
                        <a:pt x="700517" y="857180"/>
                        <a:pt x="699472" y="858867"/>
                      </a:cubicBezTo>
                      <a:cubicBezTo>
                        <a:pt x="698990" y="859670"/>
                        <a:pt x="698990" y="861116"/>
                        <a:pt x="698508" y="861919"/>
                      </a:cubicBezTo>
                      <a:cubicBezTo>
                        <a:pt x="698026" y="862803"/>
                        <a:pt x="696500" y="863205"/>
                        <a:pt x="695697" y="863687"/>
                      </a:cubicBezTo>
                      <a:cubicBezTo>
                        <a:pt x="695295" y="863928"/>
                        <a:pt x="686138" y="869952"/>
                        <a:pt x="687022" y="881439"/>
                      </a:cubicBezTo>
                      <a:cubicBezTo>
                        <a:pt x="681720" y="881439"/>
                        <a:pt x="679872" y="882162"/>
                        <a:pt x="681158" y="883849"/>
                      </a:cubicBezTo>
                      <a:cubicBezTo>
                        <a:pt x="681720" y="884572"/>
                        <a:pt x="682845" y="885215"/>
                        <a:pt x="683648" y="885777"/>
                      </a:cubicBezTo>
                      <a:cubicBezTo>
                        <a:pt x="681800" y="886982"/>
                        <a:pt x="680515" y="888187"/>
                        <a:pt x="683005" y="889954"/>
                      </a:cubicBezTo>
                      <a:cubicBezTo>
                        <a:pt x="678426" y="891078"/>
                        <a:pt x="674490" y="893890"/>
                        <a:pt x="669831" y="894774"/>
                      </a:cubicBezTo>
                      <a:cubicBezTo>
                        <a:pt x="668225" y="893408"/>
                        <a:pt x="664208" y="896701"/>
                        <a:pt x="663325" y="897826"/>
                      </a:cubicBezTo>
                      <a:cubicBezTo>
                        <a:pt x="668225" y="897665"/>
                        <a:pt x="672161" y="897665"/>
                        <a:pt x="676820" y="897826"/>
                      </a:cubicBezTo>
                      <a:cubicBezTo>
                        <a:pt x="665413" y="903931"/>
                        <a:pt x="662521" y="905939"/>
                        <a:pt x="660594" y="909152"/>
                      </a:cubicBezTo>
                      <a:cubicBezTo>
                        <a:pt x="660754" y="909554"/>
                        <a:pt x="660915" y="910036"/>
                        <a:pt x="661076" y="910437"/>
                      </a:cubicBezTo>
                      <a:cubicBezTo>
                        <a:pt x="663405" y="911321"/>
                        <a:pt x="665413" y="912124"/>
                        <a:pt x="675776" y="911000"/>
                      </a:cubicBezTo>
                      <a:cubicBezTo>
                        <a:pt x="675776" y="911321"/>
                        <a:pt x="675695" y="911562"/>
                        <a:pt x="675695" y="911884"/>
                      </a:cubicBezTo>
                      <a:cubicBezTo>
                        <a:pt x="695697" y="915097"/>
                        <a:pt x="708469" y="911803"/>
                        <a:pt x="716341" y="909072"/>
                      </a:cubicBezTo>
                      <a:cubicBezTo>
                        <a:pt x="717386" y="912205"/>
                        <a:pt x="716261" y="913490"/>
                        <a:pt x="711602" y="914454"/>
                      </a:cubicBezTo>
                      <a:cubicBezTo>
                        <a:pt x="721804" y="913892"/>
                        <a:pt x="724454" y="913570"/>
                        <a:pt x="734094" y="911321"/>
                      </a:cubicBezTo>
                      <a:cubicBezTo>
                        <a:pt x="722928" y="919193"/>
                        <a:pt x="719394" y="921844"/>
                        <a:pt x="718510" y="923210"/>
                      </a:cubicBezTo>
                      <a:cubicBezTo>
                        <a:pt x="719876" y="923129"/>
                        <a:pt x="721000" y="923129"/>
                        <a:pt x="739154" y="913008"/>
                      </a:cubicBezTo>
                      <a:cubicBezTo>
                        <a:pt x="738672" y="913892"/>
                        <a:pt x="738030" y="915097"/>
                        <a:pt x="737548" y="915980"/>
                      </a:cubicBezTo>
                      <a:cubicBezTo>
                        <a:pt x="744054" y="925459"/>
                        <a:pt x="753694" y="925379"/>
                        <a:pt x="766305" y="916060"/>
                      </a:cubicBezTo>
                      <a:moveTo>
                        <a:pt x="173083" y="747934"/>
                      </a:moveTo>
                      <a:cubicBezTo>
                        <a:pt x="173645" y="746729"/>
                        <a:pt x="173806" y="745765"/>
                        <a:pt x="173886" y="745444"/>
                      </a:cubicBezTo>
                      <a:cubicBezTo>
                        <a:pt x="173886" y="745444"/>
                        <a:pt x="173886" y="745524"/>
                        <a:pt x="173806" y="745524"/>
                      </a:cubicBezTo>
                      <a:cubicBezTo>
                        <a:pt x="173163" y="746809"/>
                        <a:pt x="172762" y="747934"/>
                        <a:pt x="172521" y="748978"/>
                      </a:cubicBezTo>
                      <a:cubicBezTo>
                        <a:pt x="172762" y="748657"/>
                        <a:pt x="172922" y="748336"/>
                        <a:pt x="173083" y="747934"/>
                      </a:cubicBezTo>
                      <a:moveTo>
                        <a:pt x="2055168" y="355050"/>
                      </a:moveTo>
                      <a:cubicBezTo>
                        <a:pt x="2055168" y="355050"/>
                        <a:pt x="2055168" y="355050"/>
                        <a:pt x="2055168" y="355050"/>
                      </a:cubicBezTo>
                      <a:cubicBezTo>
                        <a:pt x="2055168" y="354969"/>
                        <a:pt x="2055168" y="354969"/>
                        <a:pt x="2055168" y="355050"/>
                      </a:cubicBezTo>
                      <a:cubicBezTo>
                        <a:pt x="2055087" y="355050"/>
                        <a:pt x="2055087" y="354969"/>
                        <a:pt x="2055087" y="355050"/>
                      </a:cubicBezTo>
                      <a:cubicBezTo>
                        <a:pt x="2055087" y="355050"/>
                        <a:pt x="2055087" y="355050"/>
                        <a:pt x="2055087" y="355050"/>
                      </a:cubicBezTo>
                      <a:cubicBezTo>
                        <a:pt x="2055087" y="355050"/>
                        <a:pt x="2055168" y="355050"/>
                        <a:pt x="2055168" y="355050"/>
                      </a:cubicBezTo>
                      <a:moveTo>
                        <a:pt x="1466605" y="686001"/>
                      </a:moveTo>
                      <a:lnTo>
                        <a:pt x="1466203" y="685519"/>
                      </a:lnTo>
                      <a:lnTo>
                        <a:pt x="1464596" y="686563"/>
                      </a:lnTo>
                      <a:cubicBezTo>
                        <a:pt x="1465319" y="686403"/>
                        <a:pt x="1465962" y="686242"/>
                        <a:pt x="1466605" y="686001"/>
                      </a:cubicBezTo>
                      <a:moveTo>
                        <a:pt x="1850331" y="522534"/>
                      </a:moveTo>
                      <a:cubicBezTo>
                        <a:pt x="1850331" y="522534"/>
                        <a:pt x="1847680" y="522534"/>
                        <a:pt x="1845271" y="523016"/>
                      </a:cubicBezTo>
                      <a:cubicBezTo>
                        <a:pt x="1845351" y="523016"/>
                        <a:pt x="1845512" y="523016"/>
                        <a:pt x="1845592" y="523016"/>
                      </a:cubicBezTo>
                      <a:cubicBezTo>
                        <a:pt x="1847520" y="523016"/>
                        <a:pt x="1850010" y="522775"/>
                        <a:pt x="1850331" y="522534"/>
                      </a:cubicBezTo>
                      <a:moveTo>
                        <a:pt x="1519219" y="662626"/>
                      </a:moveTo>
                      <a:cubicBezTo>
                        <a:pt x="1519219" y="662786"/>
                        <a:pt x="1519139" y="662786"/>
                        <a:pt x="1519059" y="662786"/>
                      </a:cubicBezTo>
                      <a:cubicBezTo>
                        <a:pt x="1518577" y="662867"/>
                        <a:pt x="1517613" y="662786"/>
                        <a:pt x="1515605" y="662304"/>
                      </a:cubicBezTo>
                      <a:cubicBezTo>
                        <a:pt x="1515605" y="661742"/>
                        <a:pt x="1515685" y="660939"/>
                        <a:pt x="1515685" y="660377"/>
                      </a:cubicBezTo>
                      <a:cubicBezTo>
                        <a:pt x="1517934" y="661501"/>
                        <a:pt x="1519139" y="662224"/>
                        <a:pt x="1519219" y="662626"/>
                      </a:cubicBezTo>
                      <a:moveTo>
                        <a:pt x="1532956" y="660377"/>
                      </a:moveTo>
                      <a:cubicBezTo>
                        <a:pt x="1531991" y="657886"/>
                        <a:pt x="1530465" y="655958"/>
                        <a:pt x="1525565" y="658850"/>
                      </a:cubicBezTo>
                      <a:cubicBezTo>
                        <a:pt x="1515444" y="653388"/>
                        <a:pt x="1508054" y="653227"/>
                        <a:pt x="1504600" y="653549"/>
                      </a:cubicBezTo>
                      <a:lnTo>
                        <a:pt x="1504600" y="653549"/>
                      </a:lnTo>
                      <a:cubicBezTo>
                        <a:pt x="1504600" y="653549"/>
                        <a:pt x="1504600" y="653549"/>
                        <a:pt x="1504600" y="653549"/>
                      </a:cubicBezTo>
                      <a:lnTo>
                        <a:pt x="1504600" y="653549"/>
                      </a:lnTo>
                      <a:lnTo>
                        <a:pt x="1504600" y="653549"/>
                      </a:lnTo>
                      <a:cubicBezTo>
                        <a:pt x="1504600" y="653549"/>
                        <a:pt x="1504600" y="653549"/>
                        <a:pt x="1504600" y="653549"/>
                      </a:cubicBezTo>
                      <a:lnTo>
                        <a:pt x="1504600" y="653549"/>
                      </a:lnTo>
                      <a:cubicBezTo>
                        <a:pt x="1504600" y="653549"/>
                        <a:pt x="1504600" y="653549"/>
                        <a:pt x="1504600" y="653549"/>
                      </a:cubicBezTo>
                      <a:lnTo>
                        <a:pt x="1504600" y="653549"/>
                      </a:lnTo>
                      <a:cubicBezTo>
                        <a:pt x="1502029" y="652986"/>
                        <a:pt x="1500182" y="652906"/>
                        <a:pt x="1497611" y="653227"/>
                      </a:cubicBezTo>
                      <a:cubicBezTo>
                        <a:pt x="1498013" y="653468"/>
                        <a:pt x="1498575" y="653790"/>
                        <a:pt x="1498977" y="654031"/>
                      </a:cubicBezTo>
                      <a:cubicBezTo>
                        <a:pt x="1496968" y="656681"/>
                        <a:pt x="1496326" y="658208"/>
                        <a:pt x="1496085" y="661421"/>
                      </a:cubicBezTo>
                      <a:cubicBezTo>
                        <a:pt x="1496005" y="660939"/>
                        <a:pt x="1495924" y="660296"/>
                        <a:pt x="1495844" y="659814"/>
                      </a:cubicBezTo>
                      <a:cubicBezTo>
                        <a:pt x="1496567" y="657324"/>
                        <a:pt x="1495603" y="656601"/>
                        <a:pt x="1492390" y="657083"/>
                      </a:cubicBezTo>
                      <a:cubicBezTo>
                        <a:pt x="1492631" y="657404"/>
                        <a:pt x="1492952" y="657806"/>
                        <a:pt x="1493193" y="658127"/>
                      </a:cubicBezTo>
                      <a:cubicBezTo>
                        <a:pt x="1485803" y="661903"/>
                        <a:pt x="1483232" y="664714"/>
                        <a:pt x="1481465" y="671542"/>
                      </a:cubicBezTo>
                      <a:cubicBezTo>
                        <a:pt x="1485401" y="672024"/>
                        <a:pt x="1488293" y="671381"/>
                        <a:pt x="1491426" y="669373"/>
                      </a:cubicBezTo>
                      <a:cubicBezTo>
                        <a:pt x="1485321" y="678129"/>
                        <a:pt x="1479698" y="681824"/>
                        <a:pt x="1466685" y="686001"/>
                      </a:cubicBezTo>
                      <a:cubicBezTo>
                        <a:pt x="1467006" y="686403"/>
                        <a:pt x="1467408" y="686885"/>
                        <a:pt x="1467729" y="687286"/>
                      </a:cubicBezTo>
                      <a:lnTo>
                        <a:pt x="1468854" y="686563"/>
                      </a:lnTo>
                      <a:cubicBezTo>
                        <a:pt x="1469496" y="688170"/>
                        <a:pt x="1469577" y="689214"/>
                        <a:pt x="1469496" y="690821"/>
                      </a:cubicBezTo>
                      <a:cubicBezTo>
                        <a:pt x="1471103" y="689776"/>
                        <a:pt x="1472469" y="689294"/>
                        <a:pt x="1474637" y="689054"/>
                      </a:cubicBezTo>
                      <a:cubicBezTo>
                        <a:pt x="1474798" y="689455"/>
                        <a:pt x="1474959" y="689937"/>
                        <a:pt x="1475119" y="690339"/>
                      </a:cubicBezTo>
                      <a:cubicBezTo>
                        <a:pt x="1471746" y="692026"/>
                        <a:pt x="1470942" y="692668"/>
                        <a:pt x="1470942" y="693632"/>
                      </a:cubicBezTo>
                      <a:cubicBezTo>
                        <a:pt x="1471746" y="694275"/>
                        <a:pt x="1472228" y="694275"/>
                        <a:pt x="1474316" y="694436"/>
                      </a:cubicBezTo>
                      <a:cubicBezTo>
                        <a:pt x="1470460" y="696444"/>
                        <a:pt x="1469898" y="696845"/>
                        <a:pt x="1469255" y="697890"/>
                      </a:cubicBezTo>
                      <a:cubicBezTo>
                        <a:pt x="1469818" y="698613"/>
                        <a:pt x="1470380" y="698693"/>
                        <a:pt x="1474477" y="698452"/>
                      </a:cubicBezTo>
                      <a:cubicBezTo>
                        <a:pt x="1474236" y="698773"/>
                        <a:pt x="1473834" y="699255"/>
                        <a:pt x="1473513" y="699657"/>
                      </a:cubicBezTo>
                      <a:cubicBezTo>
                        <a:pt x="1479377" y="699416"/>
                        <a:pt x="1482349" y="699014"/>
                        <a:pt x="1489177" y="697729"/>
                      </a:cubicBezTo>
                      <a:cubicBezTo>
                        <a:pt x="1485723" y="700139"/>
                        <a:pt x="1484437" y="701424"/>
                        <a:pt x="1482670" y="704477"/>
                      </a:cubicBezTo>
                      <a:cubicBezTo>
                        <a:pt x="1483955" y="707047"/>
                        <a:pt x="1482670" y="709457"/>
                        <a:pt x="1478011" y="712911"/>
                      </a:cubicBezTo>
                      <a:cubicBezTo>
                        <a:pt x="1484196" y="710582"/>
                        <a:pt x="1487088" y="708975"/>
                        <a:pt x="1491346" y="705601"/>
                      </a:cubicBezTo>
                      <a:cubicBezTo>
                        <a:pt x="1492551" y="706163"/>
                        <a:pt x="1493434" y="706244"/>
                        <a:pt x="1495041" y="705922"/>
                      </a:cubicBezTo>
                      <a:cubicBezTo>
                        <a:pt x="1487651" y="708734"/>
                        <a:pt x="1483795" y="711144"/>
                        <a:pt x="1479216" y="715722"/>
                      </a:cubicBezTo>
                      <a:cubicBezTo>
                        <a:pt x="1480180" y="716285"/>
                        <a:pt x="1481385" y="717088"/>
                        <a:pt x="1482349" y="717650"/>
                      </a:cubicBezTo>
                      <a:cubicBezTo>
                        <a:pt x="1475280" y="718132"/>
                        <a:pt x="1473995" y="720864"/>
                        <a:pt x="1473352" y="722390"/>
                      </a:cubicBezTo>
                      <a:cubicBezTo>
                        <a:pt x="1476003" y="721988"/>
                        <a:pt x="1478332" y="720542"/>
                        <a:pt x="1481064" y="720381"/>
                      </a:cubicBezTo>
                      <a:cubicBezTo>
                        <a:pt x="1477690" y="723113"/>
                        <a:pt x="1476485" y="725041"/>
                        <a:pt x="1476164" y="727772"/>
                      </a:cubicBezTo>
                      <a:cubicBezTo>
                        <a:pt x="1481546" y="727129"/>
                        <a:pt x="1484437" y="725282"/>
                        <a:pt x="1487410" y="723113"/>
                      </a:cubicBezTo>
                      <a:cubicBezTo>
                        <a:pt x="1484357" y="725603"/>
                        <a:pt x="1482831" y="727290"/>
                        <a:pt x="1480903" y="730021"/>
                      </a:cubicBezTo>
                      <a:cubicBezTo>
                        <a:pt x="1484116" y="728254"/>
                        <a:pt x="1486365" y="727209"/>
                        <a:pt x="1489900" y="726004"/>
                      </a:cubicBezTo>
                      <a:cubicBezTo>
                        <a:pt x="1487731" y="727611"/>
                        <a:pt x="1486927" y="728655"/>
                        <a:pt x="1486205" y="730664"/>
                      </a:cubicBezTo>
                      <a:cubicBezTo>
                        <a:pt x="1494157" y="728655"/>
                        <a:pt x="1504037" y="724719"/>
                        <a:pt x="1506206" y="717409"/>
                      </a:cubicBezTo>
                      <a:cubicBezTo>
                        <a:pt x="1514721" y="714357"/>
                        <a:pt x="1520505" y="710662"/>
                        <a:pt x="1526208" y="704637"/>
                      </a:cubicBezTo>
                      <a:cubicBezTo>
                        <a:pt x="1526770" y="704959"/>
                        <a:pt x="1527493" y="705440"/>
                        <a:pt x="1528136" y="705762"/>
                      </a:cubicBezTo>
                      <a:cubicBezTo>
                        <a:pt x="1530787" y="704236"/>
                        <a:pt x="1532715" y="703272"/>
                        <a:pt x="1536249" y="701585"/>
                      </a:cubicBezTo>
                      <a:cubicBezTo>
                        <a:pt x="1535446" y="701264"/>
                        <a:pt x="1534321" y="700862"/>
                        <a:pt x="1533518" y="700621"/>
                      </a:cubicBezTo>
                      <a:cubicBezTo>
                        <a:pt x="1534000" y="682226"/>
                        <a:pt x="1527011" y="671622"/>
                        <a:pt x="1524521" y="670096"/>
                      </a:cubicBezTo>
                      <a:cubicBezTo>
                        <a:pt x="1528939" y="668249"/>
                        <a:pt x="1531028" y="666160"/>
                        <a:pt x="1532474" y="662063"/>
                      </a:cubicBezTo>
                      <a:cubicBezTo>
                        <a:pt x="1530706" y="662224"/>
                        <a:pt x="1529742" y="661903"/>
                        <a:pt x="1529341" y="659573"/>
                      </a:cubicBezTo>
                      <a:cubicBezTo>
                        <a:pt x="1530465" y="659734"/>
                        <a:pt x="1531911" y="660135"/>
                        <a:pt x="1532956" y="660377"/>
                      </a:cubicBezTo>
                      <a:moveTo>
                        <a:pt x="1653287" y="662706"/>
                      </a:moveTo>
                      <a:cubicBezTo>
                        <a:pt x="1655857" y="651059"/>
                        <a:pt x="1639390" y="655235"/>
                        <a:pt x="1627341" y="658288"/>
                      </a:cubicBezTo>
                      <a:cubicBezTo>
                        <a:pt x="1629349" y="649211"/>
                        <a:pt x="1624851" y="646640"/>
                        <a:pt x="1610070" y="648488"/>
                      </a:cubicBezTo>
                      <a:cubicBezTo>
                        <a:pt x="1615533" y="646480"/>
                        <a:pt x="1618906" y="646319"/>
                        <a:pt x="1622360" y="646399"/>
                      </a:cubicBezTo>
                      <a:cubicBezTo>
                        <a:pt x="1616898" y="644472"/>
                        <a:pt x="1615051" y="642544"/>
                        <a:pt x="1615131" y="638929"/>
                      </a:cubicBezTo>
                      <a:cubicBezTo>
                        <a:pt x="1591756" y="624952"/>
                        <a:pt x="1572638" y="620855"/>
                        <a:pt x="1544523" y="623667"/>
                      </a:cubicBezTo>
                      <a:cubicBezTo>
                        <a:pt x="1554483" y="619730"/>
                        <a:pt x="1556492" y="618767"/>
                        <a:pt x="1557857" y="617080"/>
                      </a:cubicBezTo>
                      <a:cubicBezTo>
                        <a:pt x="1556572" y="616196"/>
                        <a:pt x="1555287" y="616276"/>
                        <a:pt x="1549182" y="616678"/>
                      </a:cubicBezTo>
                      <a:cubicBezTo>
                        <a:pt x="1556090" y="606396"/>
                        <a:pt x="1568862" y="587358"/>
                        <a:pt x="1548137" y="591294"/>
                      </a:cubicBezTo>
                      <a:cubicBezTo>
                        <a:pt x="1541069" y="592660"/>
                        <a:pt x="1530144" y="597399"/>
                        <a:pt x="1526529" y="599006"/>
                      </a:cubicBezTo>
                      <a:cubicBezTo>
                        <a:pt x="1526610" y="596998"/>
                        <a:pt x="1526690" y="595953"/>
                        <a:pt x="1528296" y="593383"/>
                      </a:cubicBezTo>
                      <a:cubicBezTo>
                        <a:pt x="1527413" y="593463"/>
                        <a:pt x="1526288" y="593544"/>
                        <a:pt x="1525485" y="593624"/>
                      </a:cubicBezTo>
                      <a:cubicBezTo>
                        <a:pt x="1529501" y="587519"/>
                        <a:pt x="1537052" y="576193"/>
                        <a:pt x="1529019" y="576996"/>
                      </a:cubicBezTo>
                      <a:cubicBezTo>
                        <a:pt x="1527654" y="577157"/>
                        <a:pt x="1525967" y="577719"/>
                        <a:pt x="1524682" y="578201"/>
                      </a:cubicBezTo>
                      <a:cubicBezTo>
                        <a:pt x="1504519" y="586153"/>
                        <a:pt x="1504519" y="586153"/>
                        <a:pt x="1507893" y="590572"/>
                      </a:cubicBezTo>
                      <a:cubicBezTo>
                        <a:pt x="1501949" y="593624"/>
                        <a:pt x="1502270" y="595552"/>
                        <a:pt x="1509098" y="598283"/>
                      </a:cubicBezTo>
                      <a:cubicBezTo>
                        <a:pt x="1498575" y="601496"/>
                        <a:pt x="1503555" y="604790"/>
                        <a:pt x="1506046" y="606316"/>
                      </a:cubicBezTo>
                      <a:cubicBezTo>
                        <a:pt x="1504278" y="607521"/>
                        <a:pt x="1504278" y="607521"/>
                        <a:pt x="1503636" y="608966"/>
                      </a:cubicBezTo>
                      <a:cubicBezTo>
                        <a:pt x="1504680" y="610091"/>
                        <a:pt x="1504680" y="610091"/>
                        <a:pt x="1506849" y="610493"/>
                      </a:cubicBezTo>
                      <a:cubicBezTo>
                        <a:pt x="1507974" y="613626"/>
                        <a:pt x="1507974" y="613626"/>
                        <a:pt x="1508134" y="624470"/>
                      </a:cubicBezTo>
                      <a:cubicBezTo>
                        <a:pt x="1509178" y="624872"/>
                        <a:pt x="1510223" y="625353"/>
                        <a:pt x="1518496" y="618767"/>
                      </a:cubicBezTo>
                      <a:cubicBezTo>
                        <a:pt x="1517452" y="623586"/>
                        <a:pt x="1517452" y="623586"/>
                        <a:pt x="1521710" y="645275"/>
                      </a:cubicBezTo>
                      <a:cubicBezTo>
                        <a:pt x="1522513" y="643990"/>
                        <a:pt x="1522834" y="643508"/>
                        <a:pt x="1524521" y="633627"/>
                      </a:cubicBezTo>
                      <a:cubicBezTo>
                        <a:pt x="1524682" y="633868"/>
                        <a:pt x="1524842" y="634109"/>
                        <a:pt x="1525003" y="634350"/>
                      </a:cubicBezTo>
                      <a:cubicBezTo>
                        <a:pt x="1527413" y="632101"/>
                        <a:pt x="1528698" y="628727"/>
                        <a:pt x="1529100" y="627603"/>
                      </a:cubicBezTo>
                      <a:cubicBezTo>
                        <a:pt x="1529019" y="629852"/>
                        <a:pt x="1530465" y="630655"/>
                        <a:pt x="1534160" y="630414"/>
                      </a:cubicBezTo>
                      <a:cubicBezTo>
                        <a:pt x="1533759" y="634993"/>
                        <a:pt x="1534000" y="640295"/>
                        <a:pt x="1534883" y="649211"/>
                      </a:cubicBezTo>
                      <a:cubicBezTo>
                        <a:pt x="1534401" y="649612"/>
                        <a:pt x="1534080" y="650496"/>
                        <a:pt x="1534080" y="651139"/>
                      </a:cubicBezTo>
                      <a:cubicBezTo>
                        <a:pt x="1535767" y="652585"/>
                        <a:pt x="1535928" y="652745"/>
                        <a:pt x="1539382" y="653629"/>
                      </a:cubicBezTo>
                      <a:cubicBezTo>
                        <a:pt x="1546290" y="649291"/>
                        <a:pt x="1553439" y="645516"/>
                        <a:pt x="1564926" y="639973"/>
                      </a:cubicBezTo>
                      <a:cubicBezTo>
                        <a:pt x="1564605" y="650255"/>
                        <a:pt x="1567014" y="654432"/>
                        <a:pt x="1576574" y="660135"/>
                      </a:cubicBezTo>
                      <a:cubicBezTo>
                        <a:pt x="1575128" y="664554"/>
                        <a:pt x="1576654" y="666160"/>
                        <a:pt x="1582437" y="666321"/>
                      </a:cubicBezTo>
                      <a:cubicBezTo>
                        <a:pt x="1579626" y="668168"/>
                        <a:pt x="1578260" y="667044"/>
                        <a:pt x="1576895" y="665919"/>
                      </a:cubicBezTo>
                      <a:cubicBezTo>
                        <a:pt x="1576413" y="666240"/>
                        <a:pt x="1575931" y="666722"/>
                        <a:pt x="1575529" y="667204"/>
                      </a:cubicBezTo>
                      <a:cubicBezTo>
                        <a:pt x="1575931" y="667927"/>
                        <a:pt x="1576895" y="668650"/>
                        <a:pt x="1577698" y="668972"/>
                      </a:cubicBezTo>
                      <a:cubicBezTo>
                        <a:pt x="1561633" y="671221"/>
                        <a:pt x="1558500" y="680780"/>
                        <a:pt x="1557295" y="684314"/>
                      </a:cubicBezTo>
                      <a:cubicBezTo>
                        <a:pt x="1559865" y="682226"/>
                        <a:pt x="1561793" y="681101"/>
                        <a:pt x="1565247" y="679655"/>
                      </a:cubicBezTo>
                      <a:cubicBezTo>
                        <a:pt x="1566211" y="682306"/>
                        <a:pt x="1567496" y="683913"/>
                        <a:pt x="1569826" y="685278"/>
                      </a:cubicBezTo>
                      <a:cubicBezTo>
                        <a:pt x="1567014" y="692347"/>
                        <a:pt x="1563319" y="696685"/>
                        <a:pt x="1555126" y="702468"/>
                      </a:cubicBezTo>
                      <a:cubicBezTo>
                        <a:pt x="1560669" y="703834"/>
                        <a:pt x="1565167" y="703834"/>
                        <a:pt x="1574646" y="700219"/>
                      </a:cubicBezTo>
                      <a:cubicBezTo>
                        <a:pt x="1574164" y="700862"/>
                        <a:pt x="1573601" y="701826"/>
                        <a:pt x="1573119" y="702468"/>
                      </a:cubicBezTo>
                      <a:cubicBezTo>
                        <a:pt x="1580831" y="702227"/>
                        <a:pt x="1586052" y="700942"/>
                        <a:pt x="1591274" y="697809"/>
                      </a:cubicBezTo>
                      <a:cubicBezTo>
                        <a:pt x="1577859" y="710903"/>
                        <a:pt x="1571834" y="718293"/>
                        <a:pt x="1561954" y="733957"/>
                      </a:cubicBezTo>
                      <a:cubicBezTo>
                        <a:pt x="1582839" y="720623"/>
                        <a:pt x="1592237" y="715642"/>
                        <a:pt x="1614729" y="706003"/>
                      </a:cubicBezTo>
                      <a:cubicBezTo>
                        <a:pt x="1614167" y="705681"/>
                        <a:pt x="1613444" y="705200"/>
                        <a:pt x="1612962" y="704878"/>
                      </a:cubicBezTo>
                      <a:cubicBezTo>
                        <a:pt x="1617300" y="703834"/>
                        <a:pt x="1620031" y="702388"/>
                        <a:pt x="1622762" y="699576"/>
                      </a:cubicBezTo>
                      <a:cubicBezTo>
                        <a:pt x="1622200" y="699335"/>
                        <a:pt x="1621557" y="699095"/>
                        <a:pt x="1620995" y="698854"/>
                      </a:cubicBezTo>
                      <a:cubicBezTo>
                        <a:pt x="1649351" y="690500"/>
                        <a:pt x="1653769" y="687608"/>
                        <a:pt x="1656902" y="684475"/>
                      </a:cubicBezTo>
                      <a:cubicBezTo>
                        <a:pt x="1656902" y="683993"/>
                        <a:pt x="1656902" y="683431"/>
                        <a:pt x="1656902" y="682949"/>
                      </a:cubicBezTo>
                      <a:cubicBezTo>
                        <a:pt x="1653929" y="681021"/>
                        <a:pt x="1652002" y="680780"/>
                        <a:pt x="1644129" y="679896"/>
                      </a:cubicBezTo>
                      <a:cubicBezTo>
                        <a:pt x="1648066" y="677808"/>
                        <a:pt x="1649029" y="677165"/>
                        <a:pt x="1649672" y="675719"/>
                      </a:cubicBezTo>
                      <a:cubicBezTo>
                        <a:pt x="1649029" y="674996"/>
                        <a:pt x="1647905" y="674193"/>
                        <a:pt x="1646941" y="673952"/>
                      </a:cubicBezTo>
                      <a:cubicBezTo>
                        <a:pt x="1649351" y="670498"/>
                        <a:pt x="1652483" y="666321"/>
                        <a:pt x="1653287" y="662706"/>
                      </a:cubicBezTo>
                      <a:moveTo>
                        <a:pt x="1629188" y="387342"/>
                      </a:moveTo>
                      <a:cubicBezTo>
                        <a:pt x="1628867" y="386699"/>
                        <a:pt x="1626618" y="386297"/>
                        <a:pt x="1625493" y="386137"/>
                      </a:cubicBezTo>
                      <a:cubicBezTo>
                        <a:pt x="1625413" y="386217"/>
                        <a:pt x="1625333" y="386297"/>
                        <a:pt x="1625333" y="386297"/>
                      </a:cubicBezTo>
                      <a:cubicBezTo>
                        <a:pt x="1624369" y="387342"/>
                        <a:pt x="1624047" y="388305"/>
                        <a:pt x="1624288" y="389591"/>
                      </a:cubicBezTo>
                      <a:cubicBezTo>
                        <a:pt x="1625654" y="389350"/>
                        <a:pt x="1629670" y="388305"/>
                        <a:pt x="1629188" y="387342"/>
                      </a:cubicBezTo>
                      <a:moveTo>
                        <a:pt x="1748475" y="317215"/>
                      </a:moveTo>
                      <a:lnTo>
                        <a:pt x="1748636" y="315609"/>
                      </a:lnTo>
                      <a:cubicBezTo>
                        <a:pt x="1747511" y="316251"/>
                        <a:pt x="1746869" y="316653"/>
                        <a:pt x="1746307" y="316974"/>
                      </a:cubicBezTo>
                      <a:cubicBezTo>
                        <a:pt x="1746066" y="317135"/>
                        <a:pt x="1745503" y="317537"/>
                        <a:pt x="1745905" y="317617"/>
                      </a:cubicBezTo>
                      <a:cubicBezTo>
                        <a:pt x="1746387" y="317697"/>
                        <a:pt x="1747833" y="317376"/>
                        <a:pt x="1748475" y="317215"/>
                      </a:cubicBezTo>
                      <a:moveTo>
                        <a:pt x="1814103" y="260745"/>
                      </a:moveTo>
                      <a:cubicBezTo>
                        <a:pt x="1812898" y="259701"/>
                        <a:pt x="1811372" y="258897"/>
                        <a:pt x="1810971" y="259460"/>
                      </a:cubicBezTo>
                      <a:cubicBezTo>
                        <a:pt x="1810890" y="259781"/>
                        <a:pt x="1810890" y="260022"/>
                        <a:pt x="1811131" y="260664"/>
                      </a:cubicBezTo>
                      <a:cubicBezTo>
                        <a:pt x="1811051" y="260664"/>
                        <a:pt x="1810890" y="260584"/>
                        <a:pt x="1810810" y="260584"/>
                      </a:cubicBezTo>
                      <a:cubicBezTo>
                        <a:pt x="1811935" y="261709"/>
                        <a:pt x="1813621" y="262432"/>
                        <a:pt x="1815790" y="262833"/>
                      </a:cubicBezTo>
                      <a:cubicBezTo>
                        <a:pt x="1815630" y="262432"/>
                        <a:pt x="1815228" y="261709"/>
                        <a:pt x="1814103" y="260745"/>
                      </a:cubicBezTo>
                      <a:moveTo>
                        <a:pt x="1623887" y="369027"/>
                      </a:moveTo>
                      <a:cubicBezTo>
                        <a:pt x="1623164" y="368866"/>
                        <a:pt x="1622360" y="368786"/>
                        <a:pt x="1621638" y="368705"/>
                      </a:cubicBezTo>
                      <a:cubicBezTo>
                        <a:pt x="1621638" y="368705"/>
                        <a:pt x="1621718" y="368705"/>
                        <a:pt x="1621798" y="368705"/>
                      </a:cubicBezTo>
                      <a:cubicBezTo>
                        <a:pt x="1622441" y="368866"/>
                        <a:pt x="1623164" y="369027"/>
                        <a:pt x="1623887" y="369027"/>
                      </a:cubicBezTo>
                      <a:moveTo>
                        <a:pt x="451259" y="578763"/>
                      </a:moveTo>
                      <a:cubicBezTo>
                        <a:pt x="452705" y="578763"/>
                        <a:pt x="454713" y="578683"/>
                        <a:pt x="456159" y="578683"/>
                      </a:cubicBezTo>
                      <a:cubicBezTo>
                        <a:pt x="456480" y="577799"/>
                        <a:pt x="456641" y="577478"/>
                        <a:pt x="456079" y="576434"/>
                      </a:cubicBezTo>
                      <a:cubicBezTo>
                        <a:pt x="455597" y="575470"/>
                        <a:pt x="454311" y="575630"/>
                        <a:pt x="453749" y="574747"/>
                      </a:cubicBezTo>
                      <a:cubicBezTo>
                        <a:pt x="452062" y="572016"/>
                        <a:pt x="450938" y="568963"/>
                        <a:pt x="449492" y="566071"/>
                      </a:cubicBezTo>
                      <a:cubicBezTo>
                        <a:pt x="439290" y="545668"/>
                        <a:pt x="433185" y="531852"/>
                        <a:pt x="430052" y="517312"/>
                      </a:cubicBezTo>
                      <a:cubicBezTo>
                        <a:pt x="428446" y="518999"/>
                        <a:pt x="426277" y="521248"/>
                        <a:pt x="424590" y="522935"/>
                      </a:cubicBezTo>
                      <a:cubicBezTo>
                        <a:pt x="403705" y="544945"/>
                        <a:pt x="395592" y="554424"/>
                        <a:pt x="386274" y="566312"/>
                      </a:cubicBezTo>
                      <a:cubicBezTo>
                        <a:pt x="408042" y="570249"/>
                        <a:pt x="428847" y="578843"/>
                        <a:pt x="451259" y="578763"/>
                      </a:cubicBezTo>
                      <a:moveTo>
                        <a:pt x="1621798" y="355692"/>
                      </a:moveTo>
                      <a:cubicBezTo>
                        <a:pt x="1621075" y="354809"/>
                        <a:pt x="1620031" y="354889"/>
                        <a:pt x="1619549" y="354889"/>
                      </a:cubicBezTo>
                      <a:cubicBezTo>
                        <a:pt x="1619549" y="354969"/>
                        <a:pt x="1619549" y="355050"/>
                        <a:pt x="1619549" y="355130"/>
                      </a:cubicBezTo>
                      <a:cubicBezTo>
                        <a:pt x="1619629" y="356576"/>
                        <a:pt x="1619951" y="357781"/>
                        <a:pt x="1620593" y="359227"/>
                      </a:cubicBezTo>
                      <a:cubicBezTo>
                        <a:pt x="1623485" y="357861"/>
                        <a:pt x="1622039" y="355933"/>
                        <a:pt x="1621798" y="355692"/>
                      </a:cubicBezTo>
                      <a:moveTo>
                        <a:pt x="1323299" y="483414"/>
                      </a:moveTo>
                      <a:cubicBezTo>
                        <a:pt x="1321934" y="479478"/>
                        <a:pt x="1316150" y="475381"/>
                        <a:pt x="1310849" y="480763"/>
                      </a:cubicBezTo>
                      <a:cubicBezTo>
                        <a:pt x="1303057" y="475783"/>
                        <a:pt x="1300968" y="471766"/>
                        <a:pt x="1301611" y="463091"/>
                      </a:cubicBezTo>
                      <a:cubicBezTo>
                        <a:pt x="1280324" y="465742"/>
                        <a:pt x="1275263" y="470401"/>
                        <a:pt x="1267231" y="482048"/>
                      </a:cubicBezTo>
                      <a:cubicBezTo>
                        <a:pt x="1244899" y="479799"/>
                        <a:pt x="1233814" y="493535"/>
                        <a:pt x="1225139" y="508717"/>
                      </a:cubicBezTo>
                      <a:cubicBezTo>
                        <a:pt x="1221203" y="506227"/>
                        <a:pt x="1220239" y="505102"/>
                        <a:pt x="1219435" y="502050"/>
                      </a:cubicBezTo>
                      <a:cubicBezTo>
                        <a:pt x="1217909" y="501729"/>
                        <a:pt x="1216624" y="501086"/>
                        <a:pt x="1214857" y="499801"/>
                      </a:cubicBezTo>
                      <a:cubicBezTo>
                        <a:pt x="1222649" y="497150"/>
                        <a:pt x="1218873" y="495302"/>
                        <a:pt x="1204735" y="488555"/>
                      </a:cubicBezTo>
                      <a:cubicBezTo>
                        <a:pt x="1198470" y="485583"/>
                        <a:pt x="1197426" y="485904"/>
                        <a:pt x="1196863" y="486065"/>
                      </a:cubicBezTo>
                      <a:cubicBezTo>
                        <a:pt x="1196863" y="486065"/>
                        <a:pt x="1195176" y="489197"/>
                        <a:pt x="1200237" y="489519"/>
                      </a:cubicBezTo>
                      <a:cubicBezTo>
                        <a:pt x="1196944" y="491768"/>
                        <a:pt x="1196542" y="493053"/>
                        <a:pt x="1198470" y="495945"/>
                      </a:cubicBezTo>
                      <a:cubicBezTo>
                        <a:pt x="1195739" y="499721"/>
                        <a:pt x="1191963" y="494981"/>
                        <a:pt x="1188670" y="494499"/>
                      </a:cubicBezTo>
                      <a:cubicBezTo>
                        <a:pt x="1188188" y="495624"/>
                        <a:pt x="1188188" y="495624"/>
                        <a:pt x="1189393" y="497793"/>
                      </a:cubicBezTo>
                      <a:cubicBezTo>
                        <a:pt x="1186903" y="497712"/>
                        <a:pt x="1186903" y="497712"/>
                        <a:pt x="1185135" y="498114"/>
                      </a:cubicBezTo>
                      <a:cubicBezTo>
                        <a:pt x="1185135" y="498435"/>
                        <a:pt x="1185216" y="498837"/>
                        <a:pt x="1185216" y="499158"/>
                      </a:cubicBezTo>
                      <a:cubicBezTo>
                        <a:pt x="1186260" y="499962"/>
                        <a:pt x="1186581" y="500122"/>
                        <a:pt x="1188911" y="501247"/>
                      </a:cubicBezTo>
                      <a:cubicBezTo>
                        <a:pt x="1186421" y="502371"/>
                        <a:pt x="1186421" y="502371"/>
                        <a:pt x="1185778" y="503255"/>
                      </a:cubicBezTo>
                      <a:cubicBezTo>
                        <a:pt x="1186903" y="503737"/>
                        <a:pt x="1186903" y="503737"/>
                        <a:pt x="1188830" y="503737"/>
                      </a:cubicBezTo>
                      <a:cubicBezTo>
                        <a:pt x="1185216" y="504058"/>
                        <a:pt x="1184332" y="504540"/>
                        <a:pt x="1183368" y="505343"/>
                      </a:cubicBezTo>
                      <a:cubicBezTo>
                        <a:pt x="1183288" y="506548"/>
                        <a:pt x="1183689" y="509360"/>
                        <a:pt x="1189393" y="510565"/>
                      </a:cubicBezTo>
                      <a:cubicBezTo>
                        <a:pt x="1198470" y="512412"/>
                        <a:pt x="1207788" y="510726"/>
                        <a:pt x="1216945" y="512171"/>
                      </a:cubicBezTo>
                      <a:cubicBezTo>
                        <a:pt x="1209796" y="518116"/>
                        <a:pt x="1198871" y="518116"/>
                        <a:pt x="1193570" y="527032"/>
                      </a:cubicBezTo>
                      <a:cubicBezTo>
                        <a:pt x="1197265" y="528879"/>
                        <a:pt x="1200719" y="528317"/>
                        <a:pt x="1223211" y="524221"/>
                      </a:cubicBezTo>
                      <a:cubicBezTo>
                        <a:pt x="1218632" y="527032"/>
                        <a:pt x="1217909" y="528639"/>
                        <a:pt x="1220480" y="530326"/>
                      </a:cubicBezTo>
                      <a:cubicBezTo>
                        <a:pt x="1219998" y="530968"/>
                        <a:pt x="1219355" y="531852"/>
                        <a:pt x="1218873" y="532494"/>
                      </a:cubicBezTo>
                      <a:cubicBezTo>
                        <a:pt x="1221122" y="530567"/>
                        <a:pt x="1223291" y="529683"/>
                        <a:pt x="1226103" y="529361"/>
                      </a:cubicBezTo>
                      <a:cubicBezTo>
                        <a:pt x="1226022" y="529763"/>
                        <a:pt x="1223452" y="539001"/>
                        <a:pt x="1211483" y="539483"/>
                      </a:cubicBezTo>
                      <a:cubicBezTo>
                        <a:pt x="1211242" y="541732"/>
                        <a:pt x="1211804" y="543098"/>
                        <a:pt x="1213652" y="544945"/>
                      </a:cubicBezTo>
                      <a:cubicBezTo>
                        <a:pt x="1225540" y="542857"/>
                        <a:pt x="1232208" y="539322"/>
                        <a:pt x="1234698" y="538037"/>
                      </a:cubicBezTo>
                      <a:cubicBezTo>
                        <a:pt x="1237509" y="540929"/>
                        <a:pt x="1240883" y="541170"/>
                        <a:pt x="1244980" y="538840"/>
                      </a:cubicBezTo>
                      <a:cubicBezTo>
                        <a:pt x="1255342" y="548239"/>
                        <a:pt x="1277593" y="539081"/>
                        <a:pt x="1277754" y="539001"/>
                      </a:cubicBezTo>
                      <a:cubicBezTo>
                        <a:pt x="1278798" y="538519"/>
                        <a:pt x="1279762" y="537153"/>
                        <a:pt x="1280565" y="536350"/>
                      </a:cubicBezTo>
                      <a:cubicBezTo>
                        <a:pt x="1283939" y="533217"/>
                        <a:pt x="1297595" y="522373"/>
                        <a:pt x="1309885" y="514019"/>
                      </a:cubicBezTo>
                      <a:cubicBezTo>
                        <a:pt x="1317596" y="508797"/>
                        <a:pt x="1320809" y="506629"/>
                        <a:pt x="1320488" y="501809"/>
                      </a:cubicBezTo>
                      <a:cubicBezTo>
                        <a:pt x="1320408" y="500845"/>
                        <a:pt x="1319926" y="499640"/>
                        <a:pt x="1319604" y="498756"/>
                      </a:cubicBezTo>
                      <a:cubicBezTo>
                        <a:pt x="1326995" y="494339"/>
                        <a:pt x="1326995" y="494339"/>
                        <a:pt x="1323299" y="483414"/>
                      </a:cubicBezTo>
                      <a:moveTo>
                        <a:pt x="1805107" y="201864"/>
                      </a:moveTo>
                      <a:cubicBezTo>
                        <a:pt x="1805107" y="201864"/>
                        <a:pt x="1805187" y="201864"/>
                        <a:pt x="1805267" y="201864"/>
                      </a:cubicBezTo>
                      <a:cubicBezTo>
                        <a:pt x="1804303" y="201623"/>
                        <a:pt x="1803420" y="201382"/>
                        <a:pt x="1802456" y="201141"/>
                      </a:cubicBezTo>
                      <a:lnTo>
                        <a:pt x="1802456" y="201141"/>
                      </a:lnTo>
                      <a:cubicBezTo>
                        <a:pt x="1803339" y="201463"/>
                        <a:pt x="1804223" y="201623"/>
                        <a:pt x="1805107" y="201864"/>
                      </a:cubicBezTo>
                      <a:moveTo>
                        <a:pt x="800204" y="504781"/>
                      </a:moveTo>
                      <a:cubicBezTo>
                        <a:pt x="800284" y="504781"/>
                        <a:pt x="800364" y="504701"/>
                        <a:pt x="800364" y="504701"/>
                      </a:cubicBezTo>
                      <a:cubicBezTo>
                        <a:pt x="800364" y="504701"/>
                        <a:pt x="800284" y="504701"/>
                        <a:pt x="800204" y="504781"/>
                      </a:cubicBezTo>
                      <a:cubicBezTo>
                        <a:pt x="798276" y="505584"/>
                        <a:pt x="796589" y="506468"/>
                        <a:pt x="794741" y="507512"/>
                      </a:cubicBezTo>
                      <a:cubicBezTo>
                        <a:pt x="796589" y="506629"/>
                        <a:pt x="798356" y="505665"/>
                        <a:pt x="800204" y="504781"/>
                      </a:cubicBezTo>
                      <a:moveTo>
                        <a:pt x="1591354" y="316733"/>
                      </a:moveTo>
                      <a:cubicBezTo>
                        <a:pt x="1590711" y="316010"/>
                        <a:pt x="1589908" y="315528"/>
                        <a:pt x="1589506" y="315287"/>
                      </a:cubicBezTo>
                      <a:cubicBezTo>
                        <a:pt x="1589506" y="315368"/>
                        <a:pt x="1589506" y="315448"/>
                        <a:pt x="1589506" y="315528"/>
                      </a:cubicBezTo>
                      <a:cubicBezTo>
                        <a:pt x="1589506" y="315850"/>
                        <a:pt x="1589506" y="316814"/>
                        <a:pt x="1589988" y="317778"/>
                      </a:cubicBezTo>
                      <a:cubicBezTo>
                        <a:pt x="1590551" y="319063"/>
                        <a:pt x="1591515" y="320188"/>
                        <a:pt x="1592237" y="321392"/>
                      </a:cubicBezTo>
                      <a:cubicBezTo>
                        <a:pt x="1592398" y="320750"/>
                        <a:pt x="1593121" y="318741"/>
                        <a:pt x="1591354" y="316733"/>
                      </a:cubicBezTo>
                      <a:moveTo>
                        <a:pt x="1595611" y="308459"/>
                      </a:moveTo>
                      <a:cubicBezTo>
                        <a:pt x="1595129" y="307897"/>
                        <a:pt x="1594165" y="307817"/>
                        <a:pt x="1593683" y="307737"/>
                      </a:cubicBezTo>
                      <a:cubicBezTo>
                        <a:pt x="1592961" y="307656"/>
                        <a:pt x="1592961" y="307656"/>
                        <a:pt x="1592237" y="308138"/>
                      </a:cubicBezTo>
                      <a:cubicBezTo>
                        <a:pt x="1589265" y="310548"/>
                        <a:pt x="1589346" y="312878"/>
                        <a:pt x="1592398" y="316091"/>
                      </a:cubicBezTo>
                      <a:cubicBezTo>
                        <a:pt x="1593603" y="315287"/>
                        <a:pt x="1593603" y="314645"/>
                        <a:pt x="1592559" y="313440"/>
                      </a:cubicBezTo>
                      <a:cubicBezTo>
                        <a:pt x="1592961" y="313520"/>
                        <a:pt x="1593442" y="313681"/>
                        <a:pt x="1593764" y="313842"/>
                      </a:cubicBezTo>
                      <a:cubicBezTo>
                        <a:pt x="1594888" y="312155"/>
                        <a:pt x="1596575" y="309665"/>
                        <a:pt x="1595611" y="308459"/>
                      </a:cubicBezTo>
                      <a:moveTo>
                        <a:pt x="553838" y="477309"/>
                      </a:moveTo>
                      <a:cubicBezTo>
                        <a:pt x="554079" y="476907"/>
                        <a:pt x="554480" y="476425"/>
                        <a:pt x="554721" y="476024"/>
                      </a:cubicBezTo>
                      <a:cubicBezTo>
                        <a:pt x="554400" y="476425"/>
                        <a:pt x="553998" y="477068"/>
                        <a:pt x="553677" y="477470"/>
                      </a:cubicBezTo>
                      <a:cubicBezTo>
                        <a:pt x="546849" y="487270"/>
                        <a:pt x="539941" y="497311"/>
                        <a:pt x="539057" y="498596"/>
                      </a:cubicBezTo>
                      <a:cubicBezTo>
                        <a:pt x="544038" y="491607"/>
                        <a:pt x="548857" y="484378"/>
                        <a:pt x="553838" y="477309"/>
                      </a:cubicBezTo>
                      <a:moveTo>
                        <a:pt x="342013" y="398909"/>
                      </a:moveTo>
                      <a:cubicBezTo>
                        <a:pt x="342254" y="398748"/>
                        <a:pt x="342093" y="398668"/>
                        <a:pt x="342013" y="398587"/>
                      </a:cubicBezTo>
                      <a:cubicBezTo>
                        <a:pt x="341611" y="398427"/>
                        <a:pt x="338077" y="397865"/>
                        <a:pt x="336631" y="398186"/>
                      </a:cubicBezTo>
                      <a:cubicBezTo>
                        <a:pt x="334623" y="398668"/>
                        <a:pt x="334301" y="399712"/>
                        <a:pt x="334141" y="400435"/>
                      </a:cubicBezTo>
                      <a:cubicBezTo>
                        <a:pt x="335828" y="400194"/>
                        <a:pt x="341210" y="399471"/>
                        <a:pt x="342013" y="398909"/>
                      </a:cubicBezTo>
                      <a:moveTo>
                        <a:pt x="1605652" y="286610"/>
                      </a:moveTo>
                      <a:cubicBezTo>
                        <a:pt x="1605572" y="286610"/>
                        <a:pt x="1605572" y="286610"/>
                        <a:pt x="1605492" y="286691"/>
                      </a:cubicBezTo>
                      <a:cubicBezTo>
                        <a:pt x="1605090" y="287574"/>
                        <a:pt x="1604688" y="289020"/>
                        <a:pt x="1603403" y="293358"/>
                      </a:cubicBezTo>
                      <a:cubicBezTo>
                        <a:pt x="1596495" y="284441"/>
                        <a:pt x="1591916" y="279301"/>
                        <a:pt x="1590310" y="281228"/>
                      </a:cubicBezTo>
                      <a:cubicBezTo>
                        <a:pt x="1589988" y="283076"/>
                        <a:pt x="1590229" y="284923"/>
                        <a:pt x="1592639" y="292474"/>
                      </a:cubicBezTo>
                      <a:cubicBezTo>
                        <a:pt x="1591916" y="291751"/>
                        <a:pt x="1590551" y="290546"/>
                        <a:pt x="1589828" y="289904"/>
                      </a:cubicBezTo>
                      <a:cubicBezTo>
                        <a:pt x="1589265" y="289984"/>
                        <a:pt x="1588542" y="290065"/>
                        <a:pt x="1587980" y="290145"/>
                      </a:cubicBezTo>
                      <a:cubicBezTo>
                        <a:pt x="1588623" y="291109"/>
                        <a:pt x="1589346" y="291992"/>
                        <a:pt x="1589988" y="292956"/>
                      </a:cubicBezTo>
                      <a:cubicBezTo>
                        <a:pt x="1589747" y="293037"/>
                        <a:pt x="1589346" y="293037"/>
                        <a:pt x="1589105" y="293117"/>
                      </a:cubicBezTo>
                      <a:cubicBezTo>
                        <a:pt x="1591434" y="294161"/>
                        <a:pt x="1592478" y="294563"/>
                        <a:pt x="1593442" y="294723"/>
                      </a:cubicBezTo>
                      <a:cubicBezTo>
                        <a:pt x="1594888" y="298981"/>
                        <a:pt x="1596415" y="303238"/>
                        <a:pt x="1597861" y="307576"/>
                      </a:cubicBezTo>
                      <a:cubicBezTo>
                        <a:pt x="1600511" y="305648"/>
                        <a:pt x="1601877" y="304363"/>
                        <a:pt x="1603002" y="301391"/>
                      </a:cubicBezTo>
                      <a:cubicBezTo>
                        <a:pt x="1603242" y="300668"/>
                        <a:pt x="1605893" y="287253"/>
                        <a:pt x="1605652" y="286610"/>
                      </a:cubicBezTo>
                      <a:moveTo>
                        <a:pt x="1760605" y="131577"/>
                      </a:moveTo>
                      <a:cubicBezTo>
                        <a:pt x="1756508" y="129087"/>
                        <a:pt x="1750725" y="126838"/>
                        <a:pt x="1746789" y="130372"/>
                      </a:cubicBezTo>
                      <a:cubicBezTo>
                        <a:pt x="1747351" y="130854"/>
                        <a:pt x="1748154" y="131417"/>
                        <a:pt x="1748716" y="131899"/>
                      </a:cubicBezTo>
                      <a:cubicBezTo>
                        <a:pt x="1754821" y="136718"/>
                        <a:pt x="1765023" y="144751"/>
                        <a:pt x="1764380" y="140333"/>
                      </a:cubicBezTo>
                      <a:cubicBezTo>
                        <a:pt x="1764059" y="137923"/>
                        <a:pt x="1760605" y="133023"/>
                        <a:pt x="1759400" y="131417"/>
                      </a:cubicBezTo>
                      <a:cubicBezTo>
                        <a:pt x="1760364" y="131658"/>
                        <a:pt x="1760926" y="131899"/>
                        <a:pt x="1761890" y="132381"/>
                      </a:cubicBezTo>
                      <a:cubicBezTo>
                        <a:pt x="1761489" y="132140"/>
                        <a:pt x="1761007" y="131818"/>
                        <a:pt x="1760605" y="131577"/>
                      </a:cubicBezTo>
                      <a:moveTo>
                        <a:pt x="1603323" y="266528"/>
                      </a:moveTo>
                      <a:cubicBezTo>
                        <a:pt x="1601716" y="264922"/>
                        <a:pt x="1599226" y="263476"/>
                        <a:pt x="1596656" y="265404"/>
                      </a:cubicBezTo>
                      <a:cubicBezTo>
                        <a:pt x="1596013" y="265243"/>
                        <a:pt x="1595129" y="265002"/>
                        <a:pt x="1594487" y="264761"/>
                      </a:cubicBezTo>
                      <a:lnTo>
                        <a:pt x="1594487" y="265564"/>
                      </a:lnTo>
                      <a:cubicBezTo>
                        <a:pt x="1594728" y="267573"/>
                        <a:pt x="1595451" y="268376"/>
                        <a:pt x="1598342" y="269742"/>
                      </a:cubicBezTo>
                      <a:cubicBezTo>
                        <a:pt x="1596334" y="271910"/>
                        <a:pt x="1597057" y="274320"/>
                        <a:pt x="1600913" y="278417"/>
                      </a:cubicBezTo>
                      <a:cubicBezTo>
                        <a:pt x="1602519" y="277051"/>
                        <a:pt x="1603805" y="278015"/>
                        <a:pt x="1604367" y="278417"/>
                      </a:cubicBezTo>
                      <a:cubicBezTo>
                        <a:pt x="1604206" y="276328"/>
                        <a:pt x="1603965" y="274882"/>
                        <a:pt x="1603483" y="272874"/>
                      </a:cubicBezTo>
                      <a:cubicBezTo>
                        <a:pt x="1607339" y="272392"/>
                        <a:pt x="1607339" y="270384"/>
                        <a:pt x="1603323" y="266528"/>
                      </a:cubicBezTo>
                      <a:moveTo>
                        <a:pt x="400331" y="420999"/>
                      </a:moveTo>
                      <a:cubicBezTo>
                        <a:pt x="400652" y="420999"/>
                        <a:pt x="401134" y="420999"/>
                        <a:pt x="401456" y="420919"/>
                      </a:cubicBezTo>
                      <a:cubicBezTo>
                        <a:pt x="402018" y="417063"/>
                        <a:pt x="403223" y="413529"/>
                        <a:pt x="405070" y="410316"/>
                      </a:cubicBezTo>
                      <a:cubicBezTo>
                        <a:pt x="407159" y="406781"/>
                        <a:pt x="410693" y="392081"/>
                        <a:pt x="407480" y="391438"/>
                      </a:cubicBezTo>
                      <a:cubicBezTo>
                        <a:pt x="405633" y="391840"/>
                        <a:pt x="403705" y="393527"/>
                        <a:pt x="399447" y="398587"/>
                      </a:cubicBezTo>
                      <a:cubicBezTo>
                        <a:pt x="399769" y="395615"/>
                        <a:pt x="399688" y="394973"/>
                        <a:pt x="399367" y="394571"/>
                      </a:cubicBezTo>
                      <a:cubicBezTo>
                        <a:pt x="399206" y="394571"/>
                        <a:pt x="399046" y="394651"/>
                        <a:pt x="398965" y="394732"/>
                      </a:cubicBezTo>
                      <a:cubicBezTo>
                        <a:pt x="398403" y="395374"/>
                        <a:pt x="398242" y="396178"/>
                        <a:pt x="397680" y="396820"/>
                      </a:cubicBezTo>
                      <a:cubicBezTo>
                        <a:pt x="396957" y="397624"/>
                        <a:pt x="395752" y="398427"/>
                        <a:pt x="394949" y="399150"/>
                      </a:cubicBezTo>
                      <a:cubicBezTo>
                        <a:pt x="393342" y="400515"/>
                        <a:pt x="387800" y="405496"/>
                        <a:pt x="385149" y="410235"/>
                      </a:cubicBezTo>
                      <a:cubicBezTo>
                        <a:pt x="383783" y="412725"/>
                        <a:pt x="382739" y="416260"/>
                        <a:pt x="386033" y="418509"/>
                      </a:cubicBezTo>
                      <a:cubicBezTo>
                        <a:pt x="387720" y="419794"/>
                        <a:pt x="391656" y="421240"/>
                        <a:pt x="400331" y="420999"/>
                      </a:cubicBezTo>
                      <a:moveTo>
                        <a:pt x="817876" y="449435"/>
                      </a:moveTo>
                      <a:cubicBezTo>
                        <a:pt x="820607" y="444134"/>
                        <a:pt x="801168" y="444294"/>
                        <a:pt x="800927" y="444375"/>
                      </a:cubicBezTo>
                      <a:cubicBezTo>
                        <a:pt x="800364" y="444615"/>
                        <a:pt x="799882" y="445258"/>
                        <a:pt x="799159" y="445178"/>
                      </a:cubicBezTo>
                      <a:cubicBezTo>
                        <a:pt x="798276" y="445017"/>
                        <a:pt x="797633" y="444294"/>
                        <a:pt x="797151" y="443812"/>
                      </a:cubicBezTo>
                      <a:cubicBezTo>
                        <a:pt x="796830" y="444294"/>
                        <a:pt x="796428" y="444937"/>
                        <a:pt x="796107" y="445419"/>
                      </a:cubicBezTo>
                      <a:cubicBezTo>
                        <a:pt x="794902" y="447507"/>
                        <a:pt x="793215" y="450720"/>
                        <a:pt x="795304" y="453371"/>
                      </a:cubicBezTo>
                      <a:cubicBezTo>
                        <a:pt x="797954" y="456584"/>
                        <a:pt x="805505" y="457147"/>
                        <a:pt x="805586" y="457147"/>
                      </a:cubicBezTo>
                      <a:cubicBezTo>
                        <a:pt x="805666" y="457147"/>
                        <a:pt x="816028" y="452889"/>
                        <a:pt x="817876" y="449435"/>
                      </a:cubicBezTo>
                      <a:moveTo>
                        <a:pt x="346511" y="271027"/>
                      </a:moveTo>
                      <a:cubicBezTo>
                        <a:pt x="346511" y="270946"/>
                        <a:pt x="346511" y="270946"/>
                        <a:pt x="346511" y="271027"/>
                      </a:cubicBezTo>
                      <a:cubicBezTo>
                        <a:pt x="346592" y="270946"/>
                        <a:pt x="346511" y="270946"/>
                        <a:pt x="346511" y="270866"/>
                      </a:cubicBezTo>
                      <a:cubicBezTo>
                        <a:pt x="346190" y="270946"/>
                        <a:pt x="345869" y="271107"/>
                        <a:pt x="345547" y="271187"/>
                      </a:cubicBezTo>
                      <a:cubicBezTo>
                        <a:pt x="346029" y="271187"/>
                        <a:pt x="346431" y="271107"/>
                        <a:pt x="346511" y="271027"/>
                      </a:cubicBezTo>
                      <a:moveTo>
                        <a:pt x="1602841" y="238735"/>
                      </a:moveTo>
                      <a:cubicBezTo>
                        <a:pt x="1602761" y="238655"/>
                        <a:pt x="1602680" y="238574"/>
                        <a:pt x="1602600" y="238494"/>
                      </a:cubicBezTo>
                      <a:cubicBezTo>
                        <a:pt x="1602680" y="238574"/>
                        <a:pt x="1602761" y="238655"/>
                        <a:pt x="1602841" y="238735"/>
                      </a:cubicBezTo>
                      <a:cubicBezTo>
                        <a:pt x="1603805" y="239699"/>
                        <a:pt x="1604769" y="240743"/>
                        <a:pt x="1605813" y="241787"/>
                      </a:cubicBezTo>
                      <a:cubicBezTo>
                        <a:pt x="1604849" y="240743"/>
                        <a:pt x="1603885" y="239699"/>
                        <a:pt x="1602841" y="238735"/>
                      </a:cubicBezTo>
                      <a:moveTo>
                        <a:pt x="1599708" y="248615"/>
                      </a:moveTo>
                      <a:cubicBezTo>
                        <a:pt x="1596977" y="246205"/>
                        <a:pt x="1593523" y="244920"/>
                        <a:pt x="1591836" y="244277"/>
                      </a:cubicBezTo>
                      <a:cubicBezTo>
                        <a:pt x="1591916" y="244438"/>
                        <a:pt x="1591916" y="244679"/>
                        <a:pt x="1591996" y="244920"/>
                      </a:cubicBezTo>
                      <a:cubicBezTo>
                        <a:pt x="1592639" y="246366"/>
                        <a:pt x="1593442" y="247491"/>
                        <a:pt x="1595852" y="249258"/>
                      </a:cubicBezTo>
                      <a:cubicBezTo>
                        <a:pt x="1595290" y="251587"/>
                        <a:pt x="1596174" y="253435"/>
                        <a:pt x="1599146" y="256005"/>
                      </a:cubicBezTo>
                      <a:cubicBezTo>
                        <a:pt x="1598824" y="255925"/>
                        <a:pt x="1598342" y="255764"/>
                        <a:pt x="1598021" y="255604"/>
                      </a:cubicBezTo>
                      <a:cubicBezTo>
                        <a:pt x="1596254" y="260182"/>
                        <a:pt x="1599387" y="261869"/>
                        <a:pt x="1601957" y="262673"/>
                      </a:cubicBezTo>
                      <a:cubicBezTo>
                        <a:pt x="1602841" y="260504"/>
                        <a:pt x="1605893" y="254077"/>
                        <a:pt x="1599708" y="248615"/>
                      </a:cubicBezTo>
                      <a:moveTo>
                        <a:pt x="346511" y="277292"/>
                      </a:moveTo>
                      <a:cubicBezTo>
                        <a:pt x="346511" y="277292"/>
                        <a:pt x="346511" y="277292"/>
                        <a:pt x="346511" y="277292"/>
                      </a:cubicBezTo>
                      <a:cubicBezTo>
                        <a:pt x="346592" y="277051"/>
                        <a:pt x="346672" y="276891"/>
                        <a:pt x="346752" y="276650"/>
                      </a:cubicBezTo>
                      <a:cubicBezTo>
                        <a:pt x="346752" y="276650"/>
                        <a:pt x="346672" y="276730"/>
                        <a:pt x="346672" y="276730"/>
                      </a:cubicBezTo>
                      <a:cubicBezTo>
                        <a:pt x="346431" y="276971"/>
                        <a:pt x="346270" y="277212"/>
                        <a:pt x="346029" y="277453"/>
                      </a:cubicBezTo>
                      <a:cubicBezTo>
                        <a:pt x="346190" y="277453"/>
                        <a:pt x="346351" y="277373"/>
                        <a:pt x="346511" y="277292"/>
                      </a:cubicBezTo>
                      <a:moveTo>
                        <a:pt x="1601074" y="243555"/>
                      </a:moveTo>
                      <a:cubicBezTo>
                        <a:pt x="1600833" y="243233"/>
                        <a:pt x="1597619" y="242751"/>
                        <a:pt x="1594246" y="242269"/>
                      </a:cubicBezTo>
                      <a:cubicBezTo>
                        <a:pt x="1594326" y="242350"/>
                        <a:pt x="1594487" y="242510"/>
                        <a:pt x="1594567" y="242591"/>
                      </a:cubicBezTo>
                      <a:cubicBezTo>
                        <a:pt x="1595531" y="243314"/>
                        <a:pt x="1596495" y="243715"/>
                        <a:pt x="1597539" y="243876"/>
                      </a:cubicBezTo>
                      <a:cubicBezTo>
                        <a:pt x="1597539" y="243876"/>
                        <a:pt x="1600752" y="243876"/>
                        <a:pt x="1601074" y="243555"/>
                      </a:cubicBezTo>
                      <a:cubicBezTo>
                        <a:pt x="1601074" y="243635"/>
                        <a:pt x="1601074" y="243555"/>
                        <a:pt x="1601074" y="243555"/>
                      </a:cubicBezTo>
                      <a:moveTo>
                        <a:pt x="1745664" y="84103"/>
                      </a:moveTo>
                      <a:cubicBezTo>
                        <a:pt x="1745985" y="84264"/>
                        <a:pt x="1746467" y="84425"/>
                        <a:pt x="1746789" y="84505"/>
                      </a:cubicBezTo>
                      <a:cubicBezTo>
                        <a:pt x="1739157" y="81694"/>
                        <a:pt x="1732892" y="79445"/>
                        <a:pt x="1729839" y="78400"/>
                      </a:cubicBezTo>
                      <a:cubicBezTo>
                        <a:pt x="1737229" y="80971"/>
                        <a:pt x="1743415" y="83300"/>
                        <a:pt x="1745664" y="84103"/>
                      </a:cubicBezTo>
                      <a:moveTo>
                        <a:pt x="1729839" y="78400"/>
                      </a:moveTo>
                      <a:lnTo>
                        <a:pt x="1729839" y="78400"/>
                      </a:lnTo>
                      <a:cubicBezTo>
                        <a:pt x="1729839" y="78400"/>
                        <a:pt x="1729839" y="78400"/>
                        <a:pt x="1729839" y="78400"/>
                      </a:cubicBezTo>
                      <a:cubicBezTo>
                        <a:pt x="1729839" y="78400"/>
                        <a:pt x="1729839" y="78400"/>
                        <a:pt x="1729839" y="78400"/>
                      </a:cubicBezTo>
                      <a:moveTo>
                        <a:pt x="346833" y="276569"/>
                      </a:moveTo>
                      <a:cubicBezTo>
                        <a:pt x="346833" y="276569"/>
                        <a:pt x="346833" y="276650"/>
                        <a:pt x="346833" y="276650"/>
                      </a:cubicBezTo>
                      <a:cubicBezTo>
                        <a:pt x="347636" y="275766"/>
                        <a:pt x="348519" y="274802"/>
                        <a:pt x="349323" y="273919"/>
                      </a:cubicBezTo>
                      <a:cubicBezTo>
                        <a:pt x="349323" y="273919"/>
                        <a:pt x="349242" y="273999"/>
                        <a:pt x="349242" y="273999"/>
                      </a:cubicBezTo>
                      <a:cubicBezTo>
                        <a:pt x="347957" y="274802"/>
                        <a:pt x="347234" y="275686"/>
                        <a:pt x="346833" y="276569"/>
                      </a:cubicBezTo>
                      <a:moveTo>
                        <a:pt x="1617139" y="221625"/>
                      </a:moveTo>
                      <a:cubicBezTo>
                        <a:pt x="1616416" y="220500"/>
                        <a:pt x="1613203" y="219055"/>
                        <a:pt x="1612239" y="218653"/>
                      </a:cubicBezTo>
                      <a:cubicBezTo>
                        <a:pt x="1612239" y="218733"/>
                        <a:pt x="1612159" y="218814"/>
                        <a:pt x="1612159" y="218894"/>
                      </a:cubicBezTo>
                      <a:cubicBezTo>
                        <a:pt x="1611115" y="221786"/>
                        <a:pt x="1612319" y="224195"/>
                        <a:pt x="1615613" y="226043"/>
                      </a:cubicBezTo>
                      <a:cubicBezTo>
                        <a:pt x="1615613" y="225802"/>
                        <a:pt x="1615533" y="225481"/>
                        <a:pt x="1615533" y="225240"/>
                      </a:cubicBezTo>
                      <a:cubicBezTo>
                        <a:pt x="1616898" y="225882"/>
                        <a:pt x="1619629" y="227168"/>
                        <a:pt x="1618746" y="224597"/>
                      </a:cubicBezTo>
                      <a:cubicBezTo>
                        <a:pt x="1618424" y="223874"/>
                        <a:pt x="1617943" y="222910"/>
                        <a:pt x="1617139" y="221625"/>
                      </a:cubicBezTo>
                      <a:moveTo>
                        <a:pt x="808959" y="424935"/>
                      </a:moveTo>
                      <a:cubicBezTo>
                        <a:pt x="809040" y="424935"/>
                        <a:pt x="809040" y="424935"/>
                        <a:pt x="809120" y="424935"/>
                      </a:cubicBezTo>
                      <a:cubicBezTo>
                        <a:pt x="807192" y="424453"/>
                        <a:pt x="805264" y="423971"/>
                        <a:pt x="803417" y="423489"/>
                      </a:cubicBezTo>
                      <a:cubicBezTo>
                        <a:pt x="803497" y="423489"/>
                        <a:pt x="803577" y="423489"/>
                        <a:pt x="803577" y="423570"/>
                      </a:cubicBezTo>
                      <a:cubicBezTo>
                        <a:pt x="804782" y="423971"/>
                        <a:pt x="806630" y="424453"/>
                        <a:pt x="808959" y="424935"/>
                      </a:cubicBezTo>
                      <a:moveTo>
                        <a:pt x="1613765" y="216966"/>
                      </a:moveTo>
                      <a:cubicBezTo>
                        <a:pt x="1613043" y="216484"/>
                        <a:pt x="1612480" y="215841"/>
                        <a:pt x="1611677" y="215440"/>
                      </a:cubicBezTo>
                      <a:cubicBezTo>
                        <a:pt x="1611275" y="215199"/>
                        <a:pt x="1610633" y="215199"/>
                        <a:pt x="1610231" y="215118"/>
                      </a:cubicBezTo>
                      <a:lnTo>
                        <a:pt x="1610552" y="215359"/>
                      </a:lnTo>
                      <a:cubicBezTo>
                        <a:pt x="1614006" y="217609"/>
                        <a:pt x="1615372" y="218412"/>
                        <a:pt x="1615533" y="218412"/>
                      </a:cubicBezTo>
                      <a:cubicBezTo>
                        <a:pt x="1615452" y="218331"/>
                        <a:pt x="1615372" y="218171"/>
                        <a:pt x="1613765" y="216966"/>
                      </a:cubicBezTo>
                      <a:moveTo>
                        <a:pt x="1606938" y="216163"/>
                      </a:moveTo>
                      <a:cubicBezTo>
                        <a:pt x="1606456" y="215761"/>
                        <a:pt x="1605813" y="215199"/>
                        <a:pt x="1605251" y="214877"/>
                      </a:cubicBezTo>
                      <a:cubicBezTo>
                        <a:pt x="1605251" y="214958"/>
                        <a:pt x="1605251" y="215118"/>
                        <a:pt x="1605331" y="215279"/>
                      </a:cubicBezTo>
                      <a:cubicBezTo>
                        <a:pt x="1605652" y="219135"/>
                        <a:pt x="1604367" y="221946"/>
                        <a:pt x="1600993" y="224436"/>
                      </a:cubicBezTo>
                      <a:cubicBezTo>
                        <a:pt x="1602519" y="224838"/>
                        <a:pt x="1606536" y="226043"/>
                        <a:pt x="1608303" y="224677"/>
                      </a:cubicBezTo>
                      <a:cubicBezTo>
                        <a:pt x="1609990" y="223392"/>
                        <a:pt x="1610151" y="221063"/>
                        <a:pt x="1608785" y="218573"/>
                      </a:cubicBezTo>
                      <a:cubicBezTo>
                        <a:pt x="1608464" y="218010"/>
                        <a:pt x="1607821" y="217046"/>
                        <a:pt x="1606938" y="216163"/>
                      </a:cubicBezTo>
                      <a:moveTo>
                        <a:pt x="1131878" y="385815"/>
                      </a:moveTo>
                      <a:cubicBezTo>
                        <a:pt x="1132039" y="385494"/>
                        <a:pt x="1132280" y="385012"/>
                        <a:pt x="1132440" y="384691"/>
                      </a:cubicBezTo>
                      <a:cubicBezTo>
                        <a:pt x="1129066" y="382763"/>
                        <a:pt x="1125291" y="381076"/>
                        <a:pt x="1119266" y="382442"/>
                      </a:cubicBezTo>
                      <a:cubicBezTo>
                        <a:pt x="1113563" y="384129"/>
                        <a:pt x="1109225" y="387824"/>
                        <a:pt x="1105209" y="394250"/>
                      </a:cubicBezTo>
                      <a:cubicBezTo>
                        <a:pt x="1117499" y="398828"/>
                        <a:pt x="1127701" y="393045"/>
                        <a:pt x="1131878" y="385815"/>
                      </a:cubicBezTo>
                      <a:moveTo>
                        <a:pt x="1616497" y="199856"/>
                      </a:moveTo>
                      <a:cubicBezTo>
                        <a:pt x="1616577" y="199776"/>
                        <a:pt x="1616657" y="199696"/>
                        <a:pt x="1616657" y="199535"/>
                      </a:cubicBezTo>
                      <a:cubicBezTo>
                        <a:pt x="1615613" y="199535"/>
                        <a:pt x="1614247" y="199535"/>
                        <a:pt x="1613203" y="199535"/>
                      </a:cubicBezTo>
                      <a:lnTo>
                        <a:pt x="1613123" y="200097"/>
                      </a:lnTo>
                      <a:cubicBezTo>
                        <a:pt x="1613043" y="201463"/>
                        <a:pt x="1612882" y="204033"/>
                        <a:pt x="1614408" y="202668"/>
                      </a:cubicBezTo>
                      <a:cubicBezTo>
                        <a:pt x="1614890" y="202266"/>
                        <a:pt x="1615613" y="201302"/>
                        <a:pt x="1616497" y="199856"/>
                      </a:cubicBezTo>
                      <a:moveTo>
                        <a:pt x="219754" y="1343165"/>
                      </a:moveTo>
                      <a:cubicBezTo>
                        <a:pt x="219593" y="1343727"/>
                        <a:pt x="218308" y="1344209"/>
                        <a:pt x="217665" y="1344369"/>
                      </a:cubicBezTo>
                      <a:cubicBezTo>
                        <a:pt x="217264" y="1343727"/>
                        <a:pt x="216460" y="1342763"/>
                        <a:pt x="214050" y="1340755"/>
                      </a:cubicBezTo>
                      <a:cubicBezTo>
                        <a:pt x="216621" y="1341237"/>
                        <a:pt x="220075" y="1342120"/>
                        <a:pt x="219754" y="1343165"/>
                      </a:cubicBezTo>
                      <a:moveTo>
                        <a:pt x="184088" y="1292799"/>
                      </a:moveTo>
                      <a:cubicBezTo>
                        <a:pt x="182080" y="1295530"/>
                        <a:pt x="180554" y="1295128"/>
                        <a:pt x="179911" y="1294968"/>
                      </a:cubicBezTo>
                      <a:cubicBezTo>
                        <a:pt x="179108" y="1294646"/>
                        <a:pt x="178626" y="1294325"/>
                        <a:pt x="177903" y="1293441"/>
                      </a:cubicBezTo>
                      <a:cubicBezTo>
                        <a:pt x="180313" y="1293441"/>
                        <a:pt x="182321" y="1293120"/>
                        <a:pt x="184329" y="1292397"/>
                      </a:cubicBezTo>
                      <a:cubicBezTo>
                        <a:pt x="184249" y="1292558"/>
                        <a:pt x="184168" y="1292718"/>
                        <a:pt x="184088" y="1292799"/>
                      </a:cubicBezTo>
                      <a:moveTo>
                        <a:pt x="122155" y="1264604"/>
                      </a:moveTo>
                      <a:cubicBezTo>
                        <a:pt x="121673" y="1264041"/>
                        <a:pt x="121352" y="1263479"/>
                        <a:pt x="121111" y="1263078"/>
                      </a:cubicBezTo>
                      <a:cubicBezTo>
                        <a:pt x="121432" y="1263559"/>
                        <a:pt x="121834" y="1264122"/>
                        <a:pt x="122155" y="1264604"/>
                      </a:cubicBezTo>
                      <a:cubicBezTo>
                        <a:pt x="122155" y="1264604"/>
                        <a:pt x="122155" y="1264604"/>
                        <a:pt x="122155" y="1264604"/>
                      </a:cubicBezTo>
                      <a:moveTo>
                        <a:pt x="48575" y="1176725"/>
                      </a:moveTo>
                      <a:cubicBezTo>
                        <a:pt x="48173" y="1176564"/>
                        <a:pt x="47852" y="1176404"/>
                        <a:pt x="47450" y="1176082"/>
                      </a:cubicBezTo>
                      <a:cubicBezTo>
                        <a:pt x="46085" y="1175118"/>
                        <a:pt x="44960" y="1173913"/>
                        <a:pt x="43835" y="1172226"/>
                      </a:cubicBezTo>
                      <a:cubicBezTo>
                        <a:pt x="45924" y="1172387"/>
                        <a:pt x="47370" y="1173753"/>
                        <a:pt x="48735" y="1176564"/>
                      </a:cubicBezTo>
                      <a:cubicBezTo>
                        <a:pt x="48575" y="1176645"/>
                        <a:pt x="48575" y="1176725"/>
                        <a:pt x="48575" y="1176725"/>
                      </a:cubicBezTo>
                      <a:moveTo>
                        <a:pt x="83999" y="1114471"/>
                      </a:moveTo>
                      <a:cubicBezTo>
                        <a:pt x="83999" y="1114471"/>
                        <a:pt x="83758" y="1115033"/>
                        <a:pt x="83357" y="1114872"/>
                      </a:cubicBezTo>
                      <a:cubicBezTo>
                        <a:pt x="82875" y="1114551"/>
                        <a:pt x="81991" y="1111900"/>
                        <a:pt x="82232" y="1111338"/>
                      </a:cubicBezTo>
                      <a:cubicBezTo>
                        <a:pt x="82393" y="1110936"/>
                        <a:pt x="82634" y="1109892"/>
                        <a:pt x="81991" y="1107884"/>
                      </a:cubicBezTo>
                      <a:cubicBezTo>
                        <a:pt x="84642" y="1111820"/>
                        <a:pt x="83999" y="1114471"/>
                        <a:pt x="83999" y="1114471"/>
                      </a:cubicBezTo>
                      <a:moveTo>
                        <a:pt x="288916" y="1149172"/>
                      </a:moveTo>
                      <a:cubicBezTo>
                        <a:pt x="288836" y="1149815"/>
                        <a:pt x="288434" y="1150056"/>
                        <a:pt x="288193" y="1150217"/>
                      </a:cubicBezTo>
                      <a:cubicBezTo>
                        <a:pt x="287149" y="1148610"/>
                        <a:pt x="286908" y="1147244"/>
                        <a:pt x="287390" y="1145879"/>
                      </a:cubicBezTo>
                      <a:cubicBezTo>
                        <a:pt x="288113" y="1146763"/>
                        <a:pt x="289077" y="1148128"/>
                        <a:pt x="288916" y="1149172"/>
                      </a:cubicBezTo>
                      <a:moveTo>
                        <a:pt x="74280" y="1069808"/>
                      </a:moveTo>
                      <a:cubicBezTo>
                        <a:pt x="73798" y="1069728"/>
                        <a:pt x="73476" y="1069648"/>
                        <a:pt x="72994" y="1069326"/>
                      </a:cubicBezTo>
                      <a:cubicBezTo>
                        <a:pt x="72031" y="1068684"/>
                        <a:pt x="71468" y="1067800"/>
                        <a:pt x="71468" y="1067800"/>
                      </a:cubicBezTo>
                      <a:cubicBezTo>
                        <a:pt x="71468" y="1067800"/>
                        <a:pt x="71468" y="1066595"/>
                        <a:pt x="71870" y="1066595"/>
                      </a:cubicBezTo>
                      <a:cubicBezTo>
                        <a:pt x="72272" y="1066595"/>
                        <a:pt x="72994" y="1067559"/>
                        <a:pt x="73717" y="1068764"/>
                      </a:cubicBezTo>
                      <a:lnTo>
                        <a:pt x="73798" y="1069005"/>
                      </a:lnTo>
                      <a:lnTo>
                        <a:pt x="74199" y="1068202"/>
                      </a:lnTo>
                      <a:lnTo>
                        <a:pt x="74280" y="1069808"/>
                      </a:lnTo>
                      <a:cubicBezTo>
                        <a:pt x="74280" y="1069728"/>
                        <a:pt x="74280" y="1069728"/>
                        <a:pt x="74280" y="1069808"/>
                      </a:cubicBezTo>
                      <a:moveTo>
                        <a:pt x="175814" y="1106438"/>
                      </a:moveTo>
                      <a:cubicBezTo>
                        <a:pt x="175654" y="1105956"/>
                        <a:pt x="175413" y="1105474"/>
                        <a:pt x="175252" y="1104992"/>
                      </a:cubicBezTo>
                      <a:cubicBezTo>
                        <a:pt x="175493" y="1105474"/>
                        <a:pt x="175654" y="1105956"/>
                        <a:pt x="175814" y="1106438"/>
                      </a:cubicBezTo>
                      <a:cubicBezTo>
                        <a:pt x="175814" y="1106518"/>
                        <a:pt x="175814" y="1106438"/>
                        <a:pt x="175814" y="1106438"/>
                      </a:cubicBezTo>
                      <a:moveTo>
                        <a:pt x="285462" y="1088525"/>
                      </a:moveTo>
                      <a:cubicBezTo>
                        <a:pt x="283534" y="1088123"/>
                        <a:pt x="281928" y="1087962"/>
                        <a:pt x="280723" y="1087802"/>
                      </a:cubicBezTo>
                      <a:cubicBezTo>
                        <a:pt x="282169" y="1087721"/>
                        <a:pt x="283614" y="1087721"/>
                        <a:pt x="285060" y="1087561"/>
                      </a:cubicBezTo>
                      <a:cubicBezTo>
                        <a:pt x="284257" y="1085633"/>
                        <a:pt x="282811" y="1084589"/>
                        <a:pt x="281124" y="1084749"/>
                      </a:cubicBezTo>
                      <a:cubicBezTo>
                        <a:pt x="281205" y="1084107"/>
                        <a:pt x="281205" y="1083223"/>
                        <a:pt x="281285" y="1082581"/>
                      </a:cubicBezTo>
                      <a:cubicBezTo>
                        <a:pt x="283855" y="1084026"/>
                        <a:pt x="285462" y="1086195"/>
                        <a:pt x="285864" y="1088605"/>
                      </a:cubicBezTo>
                      <a:cubicBezTo>
                        <a:pt x="285623" y="1088605"/>
                        <a:pt x="285542" y="1088605"/>
                        <a:pt x="285462" y="1088525"/>
                      </a:cubicBezTo>
                      <a:moveTo>
                        <a:pt x="11704" y="938151"/>
                      </a:moveTo>
                      <a:cubicBezTo>
                        <a:pt x="11544" y="936223"/>
                        <a:pt x="11544" y="934215"/>
                        <a:pt x="11785" y="932769"/>
                      </a:cubicBezTo>
                      <a:cubicBezTo>
                        <a:pt x="12106" y="935018"/>
                        <a:pt x="12026" y="936785"/>
                        <a:pt x="11704" y="938151"/>
                      </a:cubicBezTo>
                      <a:moveTo>
                        <a:pt x="225377" y="1060892"/>
                      </a:moveTo>
                      <a:cubicBezTo>
                        <a:pt x="223770" y="1058562"/>
                        <a:pt x="221360" y="1055912"/>
                        <a:pt x="216782" y="1055430"/>
                      </a:cubicBezTo>
                      <a:cubicBezTo>
                        <a:pt x="220637" y="1054787"/>
                        <a:pt x="223690" y="1056554"/>
                        <a:pt x="226180" y="1060892"/>
                      </a:cubicBezTo>
                      <a:cubicBezTo>
                        <a:pt x="225939" y="1060892"/>
                        <a:pt x="225618" y="1060892"/>
                        <a:pt x="225377" y="1060892"/>
                      </a:cubicBezTo>
                      <a:moveTo>
                        <a:pt x="17729" y="915257"/>
                      </a:moveTo>
                      <a:cubicBezTo>
                        <a:pt x="17006" y="911803"/>
                        <a:pt x="16122" y="910357"/>
                        <a:pt x="15399" y="909393"/>
                      </a:cubicBezTo>
                      <a:cubicBezTo>
                        <a:pt x="16524" y="910678"/>
                        <a:pt x="17408" y="909875"/>
                        <a:pt x="18291" y="906823"/>
                      </a:cubicBezTo>
                      <a:cubicBezTo>
                        <a:pt x="17568" y="911241"/>
                        <a:pt x="17488" y="912526"/>
                        <a:pt x="17809" y="915659"/>
                      </a:cubicBezTo>
                      <a:cubicBezTo>
                        <a:pt x="17809" y="915498"/>
                        <a:pt x="17809" y="915338"/>
                        <a:pt x="17729" y="915257"/>
                      </a:cubicBezTo>
                      <a:moveTo>
                        <a:pt x="216782" y="1037757"/>
                      </a:moveTo>
                      <a:cubicBezTo>
                        <a:pt x="216460" y="1038480"/>
                        <a:pt x="215818" y="1038239"/>
                        <a:pt x="215416" y="1037998"/>
                      </a:cubicBezTo>
                      <a:cubicBezTo>
                        <a:pt x="216782" y="1036231"/>
                        <a:pt x="216942" y="1034785"/>
                        <a:pt x="215978" y="1032777"/>
                      </a:cubicBezTo>
                      <a:lnTo>
                        <a:pt x="215496" y="1033500"/>
                      </a:lnTo>
                      <a:cubicBezTo>
                        <a:pt x="216380" y="1029805"/>
                        <a:pt x="216300" y="1026511"/>
                        <a:pt x="215095" y="1022094"/>
                      </a:cubicBezTo>
                      <a:cubicBezTo>
                        <a:pt x="218388" y="1030769"/>
                        <a:pt x="216862" y="1037677"/>
                        <a:pt x="216782" y="1037757"/>
                      </a:cubicBezTo>
                      <a:moveTo>
                        <a:pt x="7126" y="869470"/>
                      </a:moveTo>
                      <a:lnTo>
                        <a:pt x="6885" y="869310"/>
                      </a:lnTo>
                      <a:lnTo>
                        <a:pt x="7206" y="869069"/>
                      </a:lnTo>
                      <a:cubicBezTo>
                        <a:pt x="7206" y="869229"/>
                        <a:pt x="7206" y="869390"/>
                        <a:pt x="7126" y="869470"/>
                      </a:cubicBezTo>
                      <a:moveTo>
                        <a:pt x="37811" y="911402"/>
                      </a:moveTo>
                      <a:cubicBezTo>
                        <a:pt x="34598" y="914775"/>
                        <a:pt x="34919" y="916864"/>
                        <a:pt x="34999" y="917828"/>
                      </a:cubicBezTo>
                      <a:cubicBezTo>
                        <a:pt x="33473" y="917185"/>
                        <a:pt x="32027" y="917024"/>
                        <a:pt x="30501" y="917426"/>
                      </a:cubicBezTo>
                      <a:cubicBezTo>
                        <a:pt x="30501" y="916864"/>
                        <a:pt x="30581" y="916060"/>
                        <a:pt x="30581" y="915418"/>
                      </a:cubicBezTo>
                      <a:cubicBezTo>
                        <a:pt x="31224" y="916141"/>
                        <a:pt x="31545" y="916060"/>
                        <a:pt x="32188" y="915418"/>
                      </a:cubicBezTo>
                      <a:cubicBezTo>
                        <a:pt x="32349" y="915498"/>
                        <a:pt x="32509" y="915579"/>
                        <a:pt x="32670" y="915659"/>
                      </a:cubicBezTo>
                      <a:cubicBezTo>
                        <a:pt x="34276" y="914695"/>
                        <a:pt x="38212" y="911000"/>
                        <a:pt x="38212" y="911000"/>
                      </a:cubicBezTo>
                      <a:cubicBezTo>
                        <a:pt x="38132" y="911160"/>
                        <a:pt x="37971" y="911321"/>
                        <a:pt x="37811" y="911402"/>
                      </a:cubicBezTo>
                      <a:moveTo>
                        <a:pt x="14194" y="840793"/>
                      </a:moveTo>
                      <a:lnTo>
                        <a:pt x="14194" y="840793"/>
                      </a:lnTo>
                      <a:cubicBezTo>
                        <a:pt x="14194" y="840311"/>
                        <a:pt x="14355" y="839829"/>
                        <a:pt x="14435" y="839347"/>
                      </a:cubicBezTo>
                      <a:cubicBezTo>
                        <a:pt x="14355" y="839829"/>
                        <a:pt x="14435" y="840311"/>
                        <a:pt x="14194" y="840793"/>
                      </a:cubicBezTo>
                      <a:moveTo>
                        <a:pt x="14516" y="838785"/>
                      </a:moveTo>
                      <a:cubicBezTo>
                        <a:pt x="14596" y="838383"/>
                        <a:pt x="14596" y="837982"/>
                        <a:pt x="14676" y="837580"/>
                      </a:cubicBezTo>
                      <a:cubicBezTo>
                        <a:pt x="14596" y="837982"/>
                        <a:pt x="14596" y="838383"/>
                        <a:pt x="14516" y="838785"/>
                      </a:cubicBezTo>
                      <a:cubicBezTo>
                        <a:pt x="14516" y="838785"/>
                        <a:pt x="14516" y="838785"/>
                        <a:pt x="14516" y="838785"/>
                      </a:cubicBezTo>
                      <a:moveTo>
                        <a:pt x="42068" y="870996"/>
                      </a:moveTo>
                      <a:cubicBezTo>
                        <a:pt x="41506" y="870916"/>
                        <a:pt x="41104" y="871318"/>
                        <a:pt x="40703" y="871880"/>
                      </a:cubicBezTo>
                      <a:cubicBezTo>
                        <a:pt x="41104" y="870434"/>
                        <a:pt x="41586" y="868988"/>
                        <a:pt x="42068" y="867542"/>
                      </a:cubicBezTo>
                      <a:cubicBezTo>
                        <a:pt x="42390" y="868426"/>
                        <a:pt x="42390" y="869551"/>
                        <a:pt x="42068" y="870996"/>
                      </a:cubicBezTo>
                      <a:cubicBezTo>
                        <a:pt x="42068" y="870996"/>
                        <a:pt x="42068" y="870996"/>
                        <a:pt x="42068" y="870996"/>
                      </a:cubicBezTo>
                      <a:moveTo>
                        <a:pt x="19094" y="804244"/>
                      </a:moveTo>
                      <a:cubicBezTo>
                        <a:pt x="18452" y="803923"/>
                        <a:pt x="18773" y="802637"/>
                        <a:pt x="19175" y="801593"/>
                      </a:cubicBezTo>
                      <a:lnTo>
                        <a:pt x="19014" y="802477"/>
                      </a:lnTo>
                      <a:cubicBezTo>
                        <a:pt x="19175" y="802316"/>
                        <a:pt x="19335" y="802155"/>
                        <a:pt x="19496" y="801995"/>
                      </a:cubicBezTo>
                      <a:cubicBezTo>
                        <a:pt x="19335" y="802396"/>
                        <a:pt x="19094" y="803280"/>
                        <a:pt x="19094" y="804244"/>
                      </a:cubicBezTo>
                      <a:cubicBezTo>
                        <a:pt x="19094" y="804244"/>
                        <a:pt x="19094" y="804244"/>
                        <a:pt x="19094" y="804244"/>
                      </a:cubicBezTo>
                      <a:moveTo>
                        <a:pt x="43755" y="859590"/>
                      </a:moveTo>
                      <a:cubicBezTo>
                        <a:pt x="42309" y="860955"/>
                        <a:pt x="41667" y="860795"/>
                        <a:pt x="41747" y="859028"/>
                      </a:cubicBezTo>
                      <a:cubicBezTo>
                        <a:pt x="41747" y="858144"/>
                        <a:pt x="41988" y="857260"/>
                        <a:pt x="42149" y="856296"/>
                      </a:cubicBezTo>
                      <a:lnTo>
                        <a:pt x="41426" y="857501"/>
                      </a:lnTo>
                      <a:cubicBezTo>
                        <a:pt x="42791" y="850272"/>
                        <a:pt x="43594" y="846978"/>
                        <a:pt x="44157" y="846898"/>
                      </a:cubicBezTo>
                      <a:cubicBezTo>
                        <a:pt x="44398" y="847139"/>
                        <a:pt x="44558" y="848103"/>
                        <a:pt x="44398" y="852441"/>
                      </a:cubicBezTo>
                      <a:cubicBezTo>
                        <a:pt x="44157" y="859188"/>
                        <a:pt x="44157" y="859188"/>
                        <a:pt x="43755" y="859590"/>
                      </a:cubicBezTo>
                      <a:moveTo>
                        <a:pt x="26003" y="797818"/>
                      </a:move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51949" y="846255"/>
                      </a:moveTo>
                      <a:cubicBezTo>
                        <a:pt x="51627" y="847300"/>
                        <a:pt x="51145" y="848264"/>
                        <a:pt x="50744" y="849308"/>
                      </a:cubicBezTo>
                      <a:cubicBezTo>
                        <a:pt x="50824" y="848665"/>
                        <a:pt x="50824" y="847862"/>
                        <a:pt x="51065" y="847300"/>
                      </a:cubicBezTo>
                      <a:cubicBezTo>
                        <a:pt x="51065" y="847300"/>
                        <a:pt x="51868" y="845854"/>
                        <a:pt x="52109" y="845854"/>
                      </a:cubicBezTo>
                      <a:cubicBezTo>
                        <a:pt x="52109" y="845854"/>
                        <a:pt x="52109" y="845854"/>
                        <a:pt x="51949" y="846255"/>
                      </a:cubicBezTo>
                      <a:moveTo>
                        <a:pt x="26244" y="785126"/>
                      </a:moveTo>
                      <a:cubicBezTo>
                        <a:pt x="26645" y="781752"/>
                        <a:pt x="27288" y="780386"/>
                        <a:pt x="27770" y="779663"/>
                      </a:cubicBezTo>
                      <a:cubicBezTo>
                        <a:pt x="27208" y="781511"/>
                        <a:pt x="26726" y="783439"/>
                        <a:pt x="26163" y="785287"/>
                      </a:cubicBezTo>
                      <a:cubicBezTo>
                        <a:pt x="26244" y="785287"/>
                        <a:pt x="26244" y="785206"/>
                        <a:pt x="26244" y="785126"/>
                      </a:cubicBezTo>
                      <a:moveTo>
                        <a:pt x="376393" y="974218"/>
                      </a:moveTo>
                      <a:lnTo>
                        <a:pt x="375028" y="975503"/>
                      </a:lnTo>
                      <a:cubicBezTo>
                        <a:pt x="375510" y="974138"/>
                        <a:pt x="376233" y="973254"/>
                        <a:pt x="377277" y="972370"/>
                      </a:cubicBezTo>
                      <a:lnTo>
                        <a:pt x="377518" y="972531"/>
                      </a:lnTo>
                      <a:lnTo>
                        <a:pt x="376393" y="974218"/>
                      </a:lnTo>
                      <a:moveTo>
                        <a:pt x="379687" y="975262"/>
                      </a:moveTo>
                      <a:cubicBezTo>
                        <a:pt x="379606" y="975664"/>
                        <a:pt x="379526" y="975985"/>
                        <a:pt x="379446" y="976387"/>
                      </a:cubicBezTo>
                      <a:cubicBezTo>
                        <a:pt x="379124" y="973656"/>
                        <a:pt x="379124" y="971406"/>
                        <a:pt x="379365" y="969157"/>
                      </a:cubicBezTo>
                      <a:cubicBezTo>
                        <a:pt x="379606" y="969880"/>
                        <a:pt x="380249" y="972130"/>
                        <a:pt x="379687" y="975262"/>
                      </a:cubicBezTo>
                      <a:moveTo>
                        <a:pt x="373421" y="971165"/>
                      </a:moveTo>
                      <a:lnTo>
                        <a:pt x="375108" y="968274"/>
                      </a:lnTo>
                      <a:lnTo>
                        <a:pt x="375028" y="969479"/>
                      </a:lnTo>
                      <a:lnTo>
                        <a:pt x="373421" y="971165"/>
                      </a:lnTo>
                      <a:moveTo>
                        <a:pt x="386033" y="971889"/>
                      </a:moveTo>
                      <a:lnTo>
                        <a:pt x="385551" y="969318"/>
                      </a:lnTo>
                      <a:lnTo>
                        <a:pt x="386193" y="971889"/>
                      </a:lnTo>
                      <a:cubicBezTo>
                        <a:pt x="386113" y="971889"/>
                        <a:pt x="386113" y="971889"/>
                        <a:pt x="386033" y="971889"/>
                      </a:cubicBezTo>
                      <a:moveTo>
                        <a:pt x="384346" y="975744"/>
                      </a:moveTo>
                      <a:cubicBezTo>
                        <a:pt x="382097" y="973495"/>
                        <a:pt x="381534" y="971085"/>
                        <a:pt x="382819" y="968595"/>
                      </a:cubicBezTo>
                      <a:cubicBezTo>
                        <a:pt x="382659" y="971326"/>
                        <a:pt x="383221" y="973736"/>
                        <a:pt x="384587" y="975985"/>
                      </a:cubicBezTo>
                      <a:cubicBezTo>
                        <a:pt x="384506" y="975905"/>
                        <a:pt x="384426" y="975825"/>
                        <a:pt x="384346" y="975744"/>
                      </a:cubicBezTo>
                      <a:moveTo>
                        <a:pt x="387880" y="970844"/>
                      </a:moveTo>
                      <a:lnTo>
                        <a:pt x="387318" y="968997"/>
                      </a:lnTo>
                      <a:lnTo>
                        <a:pt x="389005" y="972049"/>
                      </a:lnTo>
                      <a:lnTo>
                        <a:pt x="387880" y="970844"/>
                      </a:lnTo>
                      <a:moveTo>
                        <a:pt x="352697" y="965141"/>
                      </a:moveTo>
                      <a:cubicBezTo>
                        <a:pt x="352215" y="966828"/>
                        <a:pt x="324662" y="981206"/>
                        <a:pt x="292611" y="975102"/>
                      </a:cubicBezTo>
                      <a:cubicBezTo>
                        <a:pt x="294137" y="974780"/>
                        <a:pt x="295182" y="974780"/>
                        <a:pt x="297029" y="975021"/>
                      </a:cubicBezTo>
                      <a:cubicBezTo>
                        <a:pt x="295905" y="964820"/>
                        <a:pt x="295824" y="961124"/>
                        <a:pt x="296788" y="960642"/>
                      </a:cubicBezTo>
                      <a:cubicBezTo>
                        <a:pt x="297672" y="961205"/>
                        <a:pt x="298555" y="963213"/>
                        <a:pt x="300805" y="969479"/>
                      </a:cubicBezTo>
                      <a:cubicBezTo>
                        <a:pt x="303214" y="966667"/>
                        <a:pt x="305865" y="965623"/>
                        <a:pt x="310364" y="965462"/>
                      </a:cubicBezTo>
                      <a:cubicBezTo>
                        <a:pt x="310283" y="965703"/>
                        <a:pt x="310123" y="966105"/>
                        <a:pt x="310042" y="966346"/>
                      </a:cubicBezTo>
                      <a:cubicBezTo>
                        <a:pt x="315505" y="962811"/>
                        <a:pt x="322734" y="960080"/>
                        <a:pt x="335426" y="966667"/>
                      </a:cubicBezTo>
                      <a:cubicBezTo>
                        <a:pt x="336631" y="964900"/>
                        <a:pt x="351251" y="957831"/>
                        <a:pt x="352777" y="962892"/>
                      </a:cubicBezTo>
                      <a:cubicBezTo>
                        <a:pt x="352937" y="963374"/>
                        <a:pt x="352937" y="964177"/>
                        <a:pt x="352697" y="965141"/>
                      </a:cubicBezTo>
                      <a:moveTo>
                        <a:pt x="396797" y="966908"/>
                      </a:moveTo>
                      <a:cubicBezTo>
                        <a:pt x="394387" y="966025"/>
                        <a:pt x="393342" y="965543"/>
                        <a:pt x="393101" y="965382"/>
                      </a:cubicBezTo>
                      <a:cubicBezTo>
                        <a:pt x="393101" y="965382"/>
                        <a:pt x="393101" y="965382"/>
                        <a:pt x="393101" y="965382"/>
                      </a:cubicBezTo>
                      <a:cubicBezTo>
                        <a:pt x="393423" y="965382"/>
                        <a:pt x="394708" y="965784"/>
                        <a:pt x="397680" y="966747"/>
                      </a:cubicBezTo>
                      <a:lnTo>
                        <a:pt x="396797" y="966908"/>
                      </a:lnTo>
                      <a:moveTo>
                        <a:pt x="34598" y="788018"/>
                      </a:moveTo>
                      <a:cubicBezTo>
                        <a:pt x="34598" y="787536"/>
                        <a:pt x="34598" y="786973"/>
                        <a:pt x="34678" y="786491"/>
                      </a:cubicBezTo>
                      <a:cubicBezTo>
                        <a:pt x="34678" y="787054"/>
                        <a:pt x="34598" y="787616"/>
                        <a:pt x="34598" y="788178"/>
                      </a:cubicBezTo>
                      <a:cubicBezTo>
                        <a:pt x="34598" y="788098"/>
                        <a:pt x="34598" y="788098"/>
                        <a:pt x="34598" y="788018"/>
                      </a:cubicBezTo>
                      <a:moveTo>
                        <a:pt x="464834" y="968916"/>
                      </a:moveTo>
                      <a:cubicBezTo>
                        <a:pt x="464834" y="968997"/>
                        <a:pt x="464754" y="968916"/>
                        <a:pt x="464754" y="968916"/>
                      </a:cubicBezTo>
                      <a:cubicBezTo>
                        <a:pt x="464433" y="968836"/>
                        <a:pt x="463629" y="968354"/>
                        <a:pt x="462184" y="967229"/>
                      </a:cubicBezTo>
                      <a:cubicBezTo>
                        <a:pt x="462425" y="966908"/>
                        <a:pt x="462665" y="966587"/>
                        <a:pt x="462906" y="966265"/>
                      </a:cubicBezTo>
                      <a:cubicBezTo>
                        <a:pt x="463790" y="967390"/>
                        <a:pt x="464915" y="968675"/>
                        <a:pt x="464834" y="968916"/>
                      </a:cubicBezTo>
                      <a:moveTo>
                        <a:pt x="133401" y="893408"/>
                      </a:moveTo>
                      <a:cubicBezTo>
                        <a:pt x="129786" y="887624"/>
                        <a:pt x="129304" y="881921"/>
                        <a:pt x="131955" y="876378"/>
                      </a:cubicBezTo>
                      <a:cubicBezTo>
                        <a:pt x="130027" y="882323"/>
                        <a:pt x="130831" y="888187"/>
                        <a:pt x="134124" y="893810"/>
                      </a:cubicBezTo>
                      <a:cubicBezTo>
                        <a:pt x="133963" y="893649"/>
                        <a:pt x="133642" y="893569"/>
                        <a:pt x="133401" y="893408"/>
                      </a:cubicBezTo>
                      <a:moveTo>
                        <a:pt x="562995" y="966265"/>
                      </a:moveTo>
                      <a:cubicBezTo>
                        <a:pt x="562112" y="966346"/>
                        <a:pt x="561549" y="966426"/>
                        <a:pt x="560987" y="966346"/>
                      </a:cubicBezTo>
                      <a:cubicBezTo>
                        <a:pt x="560585" y="966346"/>
                        <a:pt x="559461" y="966265"/>
                        <a:pt x="560425" y="965382"/>
                      </a:cubicBezTo>
                      <a:cubicBezTo>
                        <a:pt x="560746" y="965141"/>
                        <a:pt x="561067" y="964900"/>
                        <a:pt x="561389" y="964739"/>
                      </a:cubicBezTo>
                      <a:lnTo>
                        <a:pt x="563477" y="965221"/>
                      </a:lnTo>
                      <a:cubicBezTo>
                        <a:pt x="563397" y="965543"/>
                        <a:pt x="563156" y="965944"/>
                        <a:pt x="562995" y="966265"/>
                      </a:cubicBezTo>
                      <a:moveTo>
                        <a:pt x="398724" y="946665"/>
                      </a:moveTo>
                      <a:cubicBezTo>
                        <a:pt x="398082" y="947790"/>
                        <a:pt x="393905" y="950119"/>
                        <a:pt x="391495" y="951485"/>
                      </a:cubicBezTo>
                      <a:cubicBezTo>
                        <a:pt x="391656" y="951807"/>
                        <a:pt x="391816" y="952288"/>
                        <a:pt x="391977" y="952610"/>
                      </a:cubicBezTo>
                      <a:cubicBezTo>
                        <a:pt x="393342" y="952208"/>
                        <a:pt x="393583" y="952288"/>
                        <a:pt x="393905" y="952449"/>
                      </a:cubicBezTo>
                      <a:cubicBezTo>
                        <a:pt x="393905" y="952931"/>
                        <a:pt x="393905" y="952931"/>
                        <a:pt x="393503" y="953493"/>
                      </a:cubicBezTo>
                      <a:cubicBezTo>
                        <a:pt x="394065" y="953574"/>
                        <a:pt x="394708" y="953734"/>
                        <a:pt x="395270" y="953815"/>
                      </a:cubicBezTo>
                      <a:cubicBezTo>
                        <a:pt x="393824" y="955100"/>
                        <a:pt x="393342" y="955421"/>
                        <a:pt x="392700" y="955100"/>
                      </a:cubicBezTo>
                      <a:cubicBezTo>
                        <a:pt x="366111" y="964980"/>
                        <a:pt x="353098" y="963213"/>
                        <a:pt x="352937" y="949557"/>
                      </a:cubicBezTo>
                      <a:cubicBezTo>
                        <a:pt x="361292" y="949477"/>
                        <a:pt x="367316" y="949718"/>
                        <a:pt x="374546" y="950360"/>
                      </a:cubicBezTo>
                      <a:cubicBezTo>
                        <a:pt x="374465" y="950360"/>
                        <a:pt x="374305" y="950360"/>
                        <a:pt x="374144" y="950360"/>
                      </a:cubicBezTo>
                      <a:cubicBezTo>
                        <a:pt x="374947" y="951164"/>
                        <a:pt x="375911" y="951887"/>
                        <a:pt x="378241" y="951726"/>
                      </a:cubicBezTo>
                      <a:cubicBezTo>
                        <a:pt x="378080" y="951807"/>
                        <a:pt x="377839" y="951887"/>
                        <a:pt x="377679" y="951967"/>
                      </a:cubicBezTo>
                      <a:cubicBezTo>
                        <a:pt x="377759" y="952048"/>
                        <a:pt x="377839" y="952128"/>
                        <a:pt x="377839" y="952208"/>
                      </a:cubicBezTo>
                      <a:cubicBezTo>
                        <a:pt x="378241" y="952208"/>
                        <a:pt x="378723" y="952208"/>
                        <a:pt x="379124" y="952208"/>
                      </a:cubicBezTo>
                      <a:cubicBezTo>
                        <a:pt x="379124" y="953895"/>
                        <a:pt x="380410" y="953975"/>
                        <a:pt x="383703" y="952610"/>
                      </a:cubicBezTo>
                      <a:lnTo>
                        <a:pt x="381213" y="952610"/>
                      </a:lnTo>
                      <a:cubicBezTo>
                        <a:pt x="382097" y="951967"/>
                        <a:pt x="383301" y="951164"/>
                        <a:pt x="384185" y="950521"/>
                      </a:cubicBezTo>
                      <a:cubicBezTo>
                        <a:pt x="383703" y="950441"/>
                        <a:pt x="383301" y="950360"/>
                        <a:pt x="382819" y="950280"/>
                      </a:cubicBezTo>
                      <a:cubicBezTo>
                        <a:pt x="382498" y="950200"/>
                        <a:pt x="382177" y="950200"/>
                        <a:pt x="381775" y="950119"/>
                      </a:cubicBezTo>
                      <a:cubicBezTo>
                        <a:pt x="381534" y="950039"/>
                        <a:pt x="381213" y="950039"/>
                        <a:pt x="380972" y="949959"/>
                      </a:cubicBezTo>
                      <a:cubicBezTo>
                        <a:pt x="380731" y="949959"/>
                        <a:pt x="380570" y="949879"/>
                        <a:pt x="380329" y="949879"/>
                      </a:cubicBezTo>
                      <a:cubicBezTo>
                        <a:pt x="380169" y="949879"/>
                        <a:pt x="379928" y="949798"/>
                        <a:pt x="379767" y="949798"/>
                      </a:cubicBezTo>
                      <a:cubicBezTo>
                        <a:pt x="379526" y="949798"/>
                        <a:pt x="379365" y="949718"/>
                        <a:pt x="379124" y="949718"/>
                      </a:cubicBezTo>
                      <a:cubicBezTo>
                        <a:pt x="378883" y="949718"/>
                        <a:pt x="378642" y="949638"/>
                        <a:pt x="378401" y="949638"/>
                      </a:cubicBezTo>
                      <a:cubicBezTo>
                        <a:pt x="378080" y="949557"/>
                        <a:pt x="377759" y="949557"/>
                        <a:pt x="377518" y="949477"/>
                      </a:cubicBezTo>
                      <a:lnTo>
                        <a:pt x="377919" y="948915"/>
                      </a:lnTo>
                      <a:cubicBezTo>
                        <a:pt x="376715" y="948995"/>
                        <a:pt x="375188" y="949156"/>
                        <a:pt x="373983" y="949236"/>
                      </a:cubicBezTo>
                      <a:cubicBezTo>
                        <a:pt x="375510" y="948754"/>
                        <a:pt x="378000" y="947951"/>
                        <a:pt x="382177" y="948674"/>
                      </a:cubicBezTo>
                      <a:lnTo>
                        <a:pt x="381936" y="949236"/>
                      </a:lnTo>
                      <a:lnTo>
                        <a:pt x="383301" y="949075"/>
                      </a:lnTo>
                      <a:cubicBezTo>
                        <a:pt x="384747" y="948433"/>
                        <a:pt x="397600" y="944577"/>
                        <a:pt x="398724" y="946264"/>
                      </a:cubicBezTo>
                      <a:cubicBezTo>
                        <a:pt x="398805" y="946344"/>
                        <a:pt x="398805" y="946505"/>
                        <a:pt x="398724" y="946665"/>
                      </a:cubicBezTo>
                      <a:moveTo>
                        <a:pt x="67050" y="817659"/>
                      </a:moveTo>
                      <a:cubicBezTo>
                        <a:pt x="67050" y="817337"/>
                        <a:pt x="67291" y="817016"/>
                        <a:pt x="67131" y="816695"/>
                      </a:cubicBezTo>
                      <a:cubicBezTo>
                        <a:pt x="67050" y="816454"/>
                        <a:pt x="66809" y="816534"/>
                        <a:pt x="66568" y="816614"/>
                      </a:cubicBezTo>
                      <a:cubicBezTo>
                        <a:pt x="67211" y="815972"/>
                        <a:pt x="68094" y="815169"/>
                        <a:pt x="68094" y="816454"/>
                      </a:cubicBezTo>
                      <a:cubicBezTo>
                        <a:pt x="68094" y="817337"/>
                        <a:pt x="67613" y="818864"/>
                        <a:pt x="67452" y="819506"/>
                      </a:cubicBezTo>
                      <a:cubicBezTo>
                        <a:pt x="67291" y="818944"/>
                        <a:pt x="67050" y="818221"/>
                        <a:pt x="67050" y="817659"/>
                      </a:cubicBezTo>
                      <a:moveTo>
                        <a:pt x="353018" y="938954"/>
                      </a:moveTo>
                      <a:cubicBezTo>
                        <a:pt x="352536" y="940641"/>
                        <a:pt x="350929" y="941766"/>
                        <a:pt x="348118" y="942408"/>
                      </a:cubicBezTo>
                      <a:cubicBezTo>
                        <a:pt x="347796" y="939677"/>
                        <a:pt x="348600" y="937829"/>
                        <a:pt x="351331" y="935339"/>
                      </a:cubicBezTo>
                      <a:cubicBezTo>
                        <a:pt x="351893" y="936223"/>
                        <a:pt x="352697" y="937428"/>
                        <a:pt x="353098" y="938311"/>
                      </a:cubicBezTo>
                      <a:cubicBezTo>
                        <a:pt x="353178" y="938552"/>
                        <a:pt x="353098" y="938713"/>
                        <a:pt x="353018" y="938954"/>
                      </a:cubicBezTo>
                      <a:moveTo>
                        <a:pt x="439692" y="946023"/>
                      </a:moveTo>
                      <a:cubicBezTo>
                        <a:pt x="439210" y="948031"/>
                        <a:pt x="437924" y="950762"/>
                        <a:pt x="437282" y="952208"/>
                      </a:cubicBezTo>
                      <a:cubicBezTo>
                        <a:pt x="437282" y="952208"/>
                        <a:pt x="437202" y="952128"/>
                        <a:pt x="437202" y="952128"/>
                      </a:cubicBezTo>
                      <a:cubicBezTo>
                        <a:pt x="434631" y="955743"/>
                        <a:pt x="433667" y="958715"/>
                        <a:pt x="433747" y="962651"/>
                      </a:cubicBezTo>
                      <a:cubicBezTo>
                        <a:pt x="433185" y="959919"/>
                        <a:pt x="432462" y="956224"/>
                        <a:pt x="437683" y="942729"/>
                      </a:cubicBezTo>
                      <a:cubicBezTo>
                        <a:pt x="439611" y="942408"/>
                        <a:pt x="440254" y="943533"/>
                        <a:pt x="439692" y="946023"/>
                      </a:cubicBezTo>
                      <a:moveTo>
                        <a:pt x="433024" y="931403"/>
                      </a:moveTo>
                      <a:cubicBezTo>
                        <a:pt x="431177" y="932447"/>
                        <a:pt x="429329" y="933492"/>
                        <a:pt x="427482" y="934536"/>
                      </a:cubicBezTo>
                      <a:cubicBezTo>
                        <a:pt x="426598" y="933893"/>
                        <a:pt x="425956" y="933492"/>
                        <a:pt x="424670" y="933010"/>
                      </a:cubicBezTo>
                      <a:cubicBezTo>
                        <a:pt x="427562" y="932447"/>
                        <a:pt x="430695" y="931805"/>
                        <a:pt x="433426" y="931242"/>
                      </a:cubicBezTo>
                      <a:cubicBezTo>
                        <a:pt x="433346" y="931242"/>
                        <a:pt x="433185" y="931323"/>
                        <a:pt x="433024" y="931403"/>
                      </a:cubicBezTo>
                      <a:moveTo>
                        <a:pt x="527089" y="941525"/>
                      </a:moveTo>
                      <a:cubicBezTo>
                        <a:pt x="526687" y="941525"/>
                        <a:pt x="526285" y="941525"/>
                        <a:pt x="525964" y="941525"/>
                      </a:cubicBezTo>
                      <a:cubicBezTo>
                        <a:pt x="523795" y="941364"/>
                        <a:pt x="522349" y="940560"/>
                        <a:pt x="521225" y="938954"/>
                      </a:cubicBezTo>
                      <a:cubicBezTo>
                        <a:pt x="521546" y="938874"/>
                        <a:pt x="522028" y="938713"/>
                        <a:pt x="522349" y="938633"/>
                      </a:cubicBezTo>
                      <a:cubicBezTo>
                        <a:pt x="523875" y="941203"/>
                        <a:pt x="525723" y="940801"/>
                        <a:pt x="527008" y="940239"/>
                      </a:cubicBezTo>
                      <a:cubicBezTo>
                        <a:pt x="527089" y="940641"/>
                        <a:pt x="527169" y="941123"/>
                        <a:pt x="527249" y="941444"/>
                      </a:cubicBezTo>
                      <a:cubicBezTo>
                        <a:pt x="527169" y="941525"/>
                        <a:pt x="527089" y="941525"/>
                        <a:pt x="527089" y="941525"/>
                      </a:cubicBezTo>
                      <a:moveTo>
                        <a:pt x="192362" y="867060"/>
                      </a:moveTo>
                      <a:cubicBezTo>
                        <a:pt x="192201" y="866096"/>
                        <a:pt x="192041" y="865133"/>
                        <a:pt x="191880" y="864249"/>
                      </a:cubicBezTo>
                      <a:cubicBezTo>
                        <a:pt x="192041" y="865213"/>
                        <a:pt x="192201" y="866257"/>
                        <a:pt x="192362" y="867221"/>
                      </a:cubicBezTo>
                      <a:cubicBezTo>
                        <a:pt x="192362" y="867141"/>
                        <a:pt x="192362" y="867060"/>
                        <a:pt x="192362" y="867060"/>
                      </a:cubicBezTo>
                      <a:moveTo>
                        <a:pt x="354303" y="909715"/>
                      </a:moveTo>
                      <a:cubicBezTo>
                        <a:pt x="353660" y="910196"/>
                        <a:pt x="349805" y="910437"/>
                        <a:pt x="347957" y="910598"/>
                      </a:cubicBezTo>
                      <a:cubicBezTo>
                        <a:pt x="347074" y="909072"/>
                        <a:pt x="345628" y="908269"/>
                        <a:pt x="342495" y="907626"/>
                      </a:cubicBezTo>
                      <a:cubicBezTo>
                        <a:pt x="343459" y="907626"/>
                        <a:pt x="354303" y="908670"/>
                        <a:pt x="354383" y="909634"/>
                      </a:cubicBezTo>
                      <a:cubicBezTo>
                        <a:pt x="354383" y="909634"/>
                        <a:pt x="354303" y="909634"/>
                        <a:pt x="354303" y="909715"/>
                      </a:cubicBezTo>
                      <a:moveTo>
                        <a:pt x="129867" y="856698"/>
                      </a:moveTo>
                      <a:cubicBezTo>
                        <a:pt x="128180" y="858867"/>
                        <a:pt x="126734" y="859028"/>
                        <a:pt x="126172" y="859108"/>
                      </a:cubicBezTo>
                      <a:cubicBezTo>
                        <a:pt x="126413" y="861277"/>
                        <a:pt x="126814" y="864490"/>
                        <a:pt x="125770" y="863847"/>
                      </a:cubicBezTo>
                      <a:cubicBezTo>
                        <a:pt x="124806" y="863285"/>
                        <a:pt x="123119" y="859831"/>
                        <a:pt x="121914" y="857260"/>
                      </a:cubicBezTo>
                      <a:cubicBezTo>
                        <a:pt x="123280" y="857341"/>
                        <a:pt x="124404" y="857180"/>
                        <a:pt x="125690" y="856698"/>
                      </a:cubicBezTo>
                      <a:lnTo>
                        <a:pt x="126895" y="858787"/>
                      </a:lnTo>
                      <a:cubicBezTo>
                        <a:pt x="131313" y="855493"/>
                        <a:pt x="130590" y="852601"/>
                        <a:pt x="129304" y="850272"/>
                      </a:cubicBezTo>
                      <a:cubicBezTo>
                        <a:pt x="130108" y="850352"/>
                        <a:pt x="130590" y="850513"/>
                        <a:pt x="131393" y="850834"/>
                      </a:cubicBezTo>
                      <a:cubicBezTo>
                        <a:pt x="131393" y="848906"/>
                        <a:pt x="131152" y="847380"/>
                        <a:pt x="130670" y="845452"/>
                      </a:cubicBezTo>
                      <a:cubicBezTo>
                        <a:pt x="132598" y="843042"/>
                        <a:pt x="134445" y="836777"/>
                        <a:pt x="135088" y="829868"/>
                      </a:cubicBezTo>
                      <a:cubicBezTo>
                        <a:pt x="133803" y="844890"/>
                        <a:pt x="130509" y="855814"/>
                        <a:pt x="129867" y="856698"/>
                      </a:cubicBezTo>
                      <a:moveTo>
                        <a:pt x="408765" y="909795"/>
                      </a:moveTo>
                      <a:cubicBezTo>
                        <a:pt x="407882" y="911000"/>
                        <a:pt x="406838" y="910919"/>
                        <a:pt x="406356" y="910839"/>
                      </a:cubicBezTo>
                      <a:cubicBezTo>
                        <a:pt x="405633" y="910759"/>
                        <a:pt x="404990" y="910437"/>
                        <a:pt x="404026" y="909875"/>
                      </a:cubicBezTo>
                      <a:cubicBezTo>
                        <a:pt x="405633" y="908429"/>
                        <a:pt x="406677" y="907706"/>
                        <a:pt x="408926" y="906582"/>
                      </a:cubicBezTo>
                      <a:cubicBezTo>
                        <a:pt x="409006" y="907546"/>
                        <a:pt x="409328" y="908992"/>
                        <a:pt x="408765" y="909795"/>
                      </a:cubicBezTo>
                      <a:moveTo>
                        <a:pt x="190595" y="848665"/>
                      </a:moveTo>
                      <a:cubicBezTo>
                        <a:pt x="188827" y="848826"/>
                        <a:pt x="188265" y="848906"/>
                        <a:pt x="187301" y="848906"/>
                      </a:cubicBezTo>
                      <a:cubicBezTo>
                        <a:pt x="187462" y="848183"/>
                        <a:pt x="187623" y="847219"/>
                        <a:pt x="187703" y="846496"/>
                      </a:cubicBezTo>
                      <a:cubicBezTo>
                        <a:pt x="188908" y="846898"/>
                        <a:pt x="189872" y="846898"/>
                        <a:pt x="190996" y="846496"/>
                      </a:cubicBezTo>
                      <a:lnTo>
                        <a:pt x="190273" y="848103"/>
                      </a:lnTo>
                      <a:lnTo>
                        <a:pt x="190916" y="848183"/>
                      </a:lnTo>
                      <a:cubicBezTo>
                        <a:pt x="190836" y="848264"/>
                        <a:pt x="190675" y="848505"/>
                        <a:pt x="190595" y="848665"/>
                      </a:cubicBezTo>
                      <a:moveTo>
                        <a:pt x="52832" y="708573"/>
                      </a:moveTo>
                      <a:cubicBezTo>
                        <a:pt x="52511" y="708654"/>
                        <a:pt x="52270" y="708413"/>
                        <a:pt x="52190" y="708332"/>
                      </a:cubicBezTo>
                      <a:cubicBezTo>
                        <a:pt x="52993" y="706886"/>
                        <a:pt x="53234" y="706565"/>
                        <a:pt x="53314" y="706565"/>
                      </a:cubicBezTo>
                      <a:cubicBezTo>
                        <a:pt x="53475" y="706565"/>
                        <a:pt x="53394" y="706967"/>
                        <a:pt x="52832" y="708573"/>
                      </a:cubicBezTo>
                      <a:cubicBezTo>
                        <a:pt x="52912" y="708573"/>
                        <a:pt x="52832" y="708573"/>
                        <a:pt x="52832" y="708573"/>
                      </a:cubicBezTo>
                      <a:moveTo>
                        <a:pt x="393262" y="896701"/>
                      </a:moveTo>
                      <a:cubicBezTo>
                        <a:pt x="391093" y="895175"/>
                        <a:pt x="390692" y="896380"/>
                        <a:pt x="390451" y="896942"/>
                      </a:cubicBezTo>
                      <a:lnTo>
                        <a:pt x="389165" y="897746"/>
                      </a:lnTo>
                      <a:cubicBezTo>
                        <a:pt x="388844" y="895336"/>
                        <a:pt x="389487" y="893810"/>
                        <a:pt x="389728" y="893328"/>
                      </a:cubicBezTo>
                      <a:cubicBezTo>
                        <a:pt x="390852" y="894051"/>
                        <a:pt x="392780" y="895497"/>
                        <a:pt x="393503" y="896862"/>
                      </a:cubicBezTo>
                      <a:cubicBezTo>
                        <a:pt x="393423" y="896862"/>
                        <a:pt x="393342" y="896782"/>
                        <a:pt x="393262" y="896701"/>
                      </a:cubicBezTo>
                      <a:moveTo>
                        <a:pt x="372377" y="889793"/>
                      </a:moveTo>
                      <a:cubicBezTo>
                        <a:pt x="371493" y="889873"/>
                        <a:pt x="370529" y="889954"/>
                        <a:pt x="369646" y="889954"/>
                      </a:cubicBezTo>
                      <a:cubicBezTo>
                        <a:pt x="370610" y="889873"/>
                        <a:pt x="371574" y="889793"/>
                        <a:pt x="372537" y="889793"/>
                      </a:cubicBezTo>
                      <a:cubicBezTo>
                        <a:pt x="372457" y="889793"/>
                        <a:pt x="372377" y="889793"/>
                        <a:pt x="372377" y="889793"/>
                      </a:cubicBezTo>
                      <a:moveTo>
                        <a:pt x="400090" y="902967"/>
                      </a:moveTo>
                      <a:cubicBezTo>
                        <a:pt x="399688" y="903851"/>
                        <a:pt x="397921" y="902003"/>
                        <a:pt x="397038" y="901119"/>
                      </a:cubicBezTo>
                      <a:lnTo>
                        <a:pt x="397198" y="901762"/>
                      </a:lnTo>
                      <a:cubicBezTo>
                        <a:pt x="394628" y="897987"/>
                        <a:pt x="395672" y="895497"/>
                        <a:pt x="400572" y="893729"/>
                      </a:cubicBezTo>
                      <a:lnTo>
                        <a:pt x="397279" y="896059"/>
                      </a:lnTo>
                      <a:lnTo>
                        <a:pt x="399046" y="895497"/>
                      </a:lnTo>
                      <a:cubicBezTo>
                        <a:pt x="398805" y="895818"/>
                        <a:pt x="398564" y="896219"/>
                        <a:pt x="398323" y="896541"/>
                      </a:cubicBezTo>
                      <a:cubicBezTo>
                        <a:pt x="398885" y="898147"/>
                        <a:pt x="400492" y="902003"/>
                        <a:pt x="400090" y="902967"/>
                      </a:cubicBezTo>
                      <a:moveTo>
                        <a:pt x="104965" y="790347"/>
                      </a:moveTo>
                      <a:cubicBezTo>
                        <a:pt x="105527" y="788660"/>
                        <a:pt x="106973" y="784724"/>
                        <a:pt x="105447" y="785287"/>
                      </a:cubicBezTo>
                      <a:cubicBezTo>
                        <a:pt x="105126" y="785367"/>
                        <a:pt x="104885" y="785608"/>
                        <a:pt x="104563" y="785929"/>
                      </a:cubicBezTo>
                      <a:cubicBezTo>
                        <a:pt x="103439" y="784483"/>
                        <a:pt x="102636" y="785688"/>
                        <a:pt x="102234" y="786250"/>
                      </a:cubicBezTo>
                      <a:cubicBezTo>
                        <a:pt x="99985" y="781190"/>
                        <a:pt x="96611" y="783841"/>
                        <a:pt x="95326" y="784885"/>
                      </a:cubicBezTo>
                      <a:cubicBezTo>
                        <a:pt x="95888" y="783680"/>
                        <a:pt x="96049" y="783037"/>
                        <a:pt x="95968" y="782073"/>
                      </a:cubicBezTo>
                      <a:cubicBezTo>
                        <a:pt x="96049" y="782154"/>
                        <a:pt x="96129" y="782234"/>
                        <a:pt x="96209" y="782314"/>
                      </a:cubicBezTo>
                      <a:cubicBezTo>
                        <a:pt x="96852" y="782796"/>
                        <a:pt x="97334" y="782555"/>
                        <a:pt x="98057" y="781270"/>
                      </a:cubicBezTo>
                      <a:cubicBezTo>
                        <a:pt x="99503" y="782395"/>
                        <a:pt x="100868" y="783439"/>
                        <a:pt x="102314" y="784483"/>
                      </a:cubicBezTo>
                      <a:cubicBezTo>
                        <a:pt x="103840" y="783359"/>
                        <a:pt x="106973" y="780949"/>
                        <a:pt x="106572" y="785206"/>
                      </a:cubicBezTo>
                      <a:cubicBezTo>
                        <a:pt x="106411" y="786652"/>
                        <a:pt x="105929" y="788339"/>
                        <a:pt x="105367" y="790106"/>
                      </a:cubicBezTo>
                      <a:cubicBezTo>
                        <a:pt x="105367" y="790186"/>
                        <a:pt x="105126" y="790267"/>
                        <a:pt x="104965" y="790347"/>
                      </a:cubicBezTo>
                      <a:moveTo>
                        <a:pt x="135088" y="813401"/>
                      </a:moveTo>
                      <a:cubicBezTo>
                        <a:pt x="135088" y="813401"/>
                        <a:pt x="134445" y="813080"/>
                        <a:pt x="133321" y="812357"/>
                      </a:cubicBezTo>
                      <a:cubicBezTo>
                        <a:pt x="131232" y="810911"/>
                        <a:pt x="130188" y="810027"/>
                        <a:pt x="128421" y="808019"/>
                      </a:cubicBezTo>
                      <a:cubicBezTo>
                        <a:pt x="129706" y="804003"/>
                        <a:pt x="129706" y="801674"/>
                        <a:pt x="128340" y="798621"/>
                      </a:cubicBezTo>
                      <a:cubicBezTo>
                        <a:pt x="130590" y="800951"/>
                        <a:pt x="131554" y="801834"/>
                        <a:pt x="131955" y="802155"/>
                      </a:cubicBezTo>
                      <a:cubicBezTo>
                        <a:pt x="131152" y="806011"/>
                        <a:pt x="129867" y="811715"/>
                        <a:pt x="137498" y="813080"/>
                      </a:cubicBezTo>
                      <a:cubicBezTo>
                        <a:pt x="136695" y="813160"/>
                        <a:pt x="135731" y="813562"/>
                        <a:pt x="135088" y="813401"/>
                      </a:cubicBezTo>
                      <a:moveTo>
                        <a:pt x="73396" y="746970"/>
                      </a:moveTo>
                      <a:cubicBezTo>
                        <a:pt x="72754" y="748416"/>
                        <a:pt x="72191" y="748416"/>
                        <a:pt x="72031" y="748416"/>
                      </a:cubicBezTo>
                      <a:cubicBezTo>
                        <a:pt x="72513" y="746327"/>
                        <a:pt x="72754" y="745604"/>
                        <a:pt x="73878" y="743436"/>
                      </a:cubicBezTo>
                      <a:cubicBezTo>
                        <a:pt x="74039" y="743195"/>
                        <a:pt x="74280" y="742954"/>
                        <a:pt x="74440" y="742713"/>
                      </a:cubicBezTo>
                      <a:cubicBezTo>
                        <a:pt x="74360" y="743436"/>
                        <a:pt x="74039" y="745444"/>
                        <a:pt x="73396" y="746970"/>
                      </a:cubicBezTo>
                      <a:moveTo>
                        <a:pt x="124083" y="794364"/>
                      </a:moveTo>
                      <a:cubicBezTo>
                        <a:pt x="124083" y="794364"/>
                        <a:pt x="124003" y="794364"/>
                        <a:pt x="124003" y="794283"/>
                      </a:cubicBezTo>
                      <a:cubicBezTo>
                        <a:pt x="123922" y="794203"/>
                        <a:pt x="123842" y="794123"/>
                        <a:pt x="123762" y="794042"/>
                      </a:cubicBezTo>
                      <a:cubicBezTo>
                        <a:pt x="123922" y="794123"/>
                        <a:pt x="124003" y="794283"/>
                        <a:pt x="124083" y="794364"/>
                      </a:cubicBezTo>
                      <a:cubicBezTo>
                        <a:pt x="124163" y="794364"/>
                        <a:pt x="124083" y="794364"/>
                        <a:pt x="124083" y="794364"/>
                      </a:cubicBezTo>
                      <a:moveTo>
                        <a:pt x="59821" y="712831"/>
                      </a:moveTo>
                      <a:cubicBezTo>
                        <a:pt x="59821" y="712831"/>
                        <a:pt x="60303" y="709778"/>
                        <a:pt x="61588" y="704798"/>
                      </a:cubicBezTo>
                      <a:cubicBezTo>
                        <a:pt x="60865" y="708091"/>
                        <a:pt x="60222" y="711385"/>
                        <a:pt x="59580" y="714759"/>
                      </a:cubicBezTo>
                      <a:cubicBezTo>
                        <a:pt x="59660" y="714116"/>
                        <a:pt x="59740" y="713393"/>
                        <a:pt x="59821" y="712831"/>
                      </a:cubicBezTo>
                      <a:moveTo>
                        <a:pt x="68657" y="730503"/>
                      </a:moveTo>
                      <a:cubicBezTo>
                        <a:pt x="67853" y="731226"/>
                        <a:pt x="67452" y="731547"/>
                        <a:pt x="66970" y="731708"/>
                      </a:cubicBezTo>
                      <a:cubicBezTo>
                        <a:pt x="67693" y="730905"/>
                        <a:pt x="69621" y="728896"/>
                        <a:pt x="68737" y="727370"/>
                      </a:cubicBezTo>
                      <a:cubicBezTo>
                        <a:pt x="69540" y="726968"/>
                        <a:pt x="69701" y="728013"/>
                        <a:pt x="69058" y="730664"/>
                      </a:cubicBezTo>
                      <a:cubicBezTo>
                        <a:pt x="68898" y="730583"/>
                        <a:pt x="68737" y="730583"/>
                        <a:pt x="68657" y="730503"/>
                      </a:cubicBezTo>
                      <a:moveTo>
                        <a:pt x="313336" y="863526"/>
                      </a:moveTo>
                      <a:cubicBezTo>
                        <a:pt x="312051" y="864651"/>
                        <a:pt x="309801" y="865855"/>
                        <a:pt x="306508" y="865133"/>
                      </a:cubicBezTo>
                      <a:cubicBezTo>
                        <a:pt x="306508" y="865133"/>
                        <a:pt x="311408" y="863847"/>
                        <a:pt x="313496" y="863365"/>
                      </a:cubicBezTo>
                      <a:cubicBezTo>
                        <a:pt x="313416" y="863365"/>
                        <a:pt x="313416" y="863446"/>
                        <a:pt x="313336" y="863526"/>
                      </a:cubicBezTo>
                      <a:moveTo>
                        <a:pt x="345146" y="933652"/>
                      </a:moveTo>
                      <a:cubicBezTo>
                        <a:pt x="340326" y="933974"/>
                        <a:pt x="339603" y="933893"/>
                        <a:pt x="330526" y="932688"/>
                      </a:cubicBezTo>
                      <a:cubicBezTo>
                        <a:pt x="331410" y="930680"/>
                        <a:pt x="331410" y="929797"/>
                        <a:pt x="329321" y="929556"/>
                      </a:cubicBezTo>
                      <a:cubicBezTo>
                        <a:pt x="326751" y="932367"/>
                        <a:pt x="322493" y="937026"/>
                        <a:pt x="315424" y="938552"/>
                      </a:cubicBezTo>
                      <a:cubicBezTo>
                        <a:pt x="312854" y="939115"/>
                        <a:pt x="309400" y="939195"/>
                        <a:pt x="306749" y="939195"/>
                      </a:cubicBezTo>
                      <a:cubicBezTo>
                        <a:pt x="302893" y="939115"/>
                        <a:pt x="299600" y="936865"/>
                        <a:pt x="295824" y="936624"/>
                      </a:cubicBezTo>
                      <a:cubicBezTo>
                        <a:pt x="293736" y="936464"/>
                        <a:pt x="292049" y="938151"/>
                        <a:pt x="289960" y="938070"/>
                      </a:cubicBezTo>
                      <a:cubicBezTo>
                        <a:pt x="289880" y="937829"/>
                        <a:pt x="289719" y="937508"/>
                        <a:pt x="289639" y="937267"/>
                      </a:cubicBezTo>
                      <a:cubicBezTo>
                        <a:pt x="290121" y="936544"/>
                        <a:pt x="290764" y="935420"/>
                        <a:pt x="294619" y="932206"/>
                      </a:cubicBezTo>
                      <a:cubicBezTo>
                        <a:pt x="297993" y="929395"/>
                        <a:pt x="301126" y="919836"/>
                        <a:pt x="301126" y="919836"/>
                      </a:cubicBezTo>
                      <a:cubicBezTo>
                        <a:pt x="301126" y="919756"/>
                        <a:pt x="298957" y="909474"/>
                        <a:pt x="282972" y="902887"/>
                      </a:cubicBezTo>
                      <a:cubicBezTo>
                        <a:pt x="280642" y="904895"/>
                        <a:pt x="280401" y="906341"/>
                        <a:pt x="282249" y="908670"/>
                      </a:cubicBezTo>
                      <a:cubicBezTo>
                        <a:pt x="277670" y="908992"/>
                        <a:pt x="277670" y="908992"/>
                        <a:pt x="272529" y="914534"/>
                      </a:cubicBezTo>
                      <a:lnTo>
                        <a:pt x="272690" y="914695"/>
                      </a:lnTo>
                      <a:cubicBezTo>
                        <a:pt x="272288" y="915097"/>
                        <a:pt x="271806" y="915659"/>
                        <a:pt x="271485" y="916060"/>
                      </a:cubicBezTo>
                      <a:cubicBezTo>
                        <a:pt x="271646" y="915900"/>
                        <a:pt x="271806" y="915739"/>
                        <a:pt x="271967" y="915579"/>
                      </a:cubicBezTo>
                      <a:cubicBezTo>
                        <a:pt x="261605" y="930198"/>
                        <a:pt x="249395" y="943452"/>
                        <a:pt x="238952" y="958072"/>
                      </a:cubicBezTo>
                      <a:cubicBezTo>
                        <a:pt x="238550" y="930600"/>
                        <a:pt x="238550" y="930600"/>
                        <a:pt x="259918" y="894211"/>
                      </a:cubicBezTo>
                      <a:cubicBezTo>
                        <a:pt x="258873" y="898067"/>
                        <a:pt x="260641" y="897826"/>
                        <a:pt x="264657" y="896059"/>
                      </a:cubicBezTo>
                      <a:cubicBezTo>
                        <a:pt x="263131" y="897906"/>
                        <a:pt x="262970" y="898308"/>
                        <a:pt x="262970" y="899995"/>
                      </a:cubicBezTo>
                      <a:cubicBezTo>
                        <a:pt x="281205" y="902887"/>
                        <a:pt x="298475" y="904654"/>
                        <a:pt x="291567" y="892605"/>
                      </a:cubicBezTo>
                      <a:cubicBezTo>
                        <a:pt x="290523" y="890757"/>
                        <a:pt x="288514" y="888669"/>
                        <a:pt x="287229" y="886982"/>
                      </a:cubicBezTo>
                      <a:cubicBezTo>
                        <a:pt x="255018" y="886901"/>
                        <a:pt x="246985" y="874290"/>
                        <a:pt x="246985" y="874129"/>
                      </a:cubicBezTo>
                      <a:cubicBezTo>
                        <a:pt x="243772" y="865615"/>
                        <a:pt x="227706" y="868346"/>
                        <a:pt x="222485" y="869229"/>
                      </a:cubicBezTo>
                      <a:cubicBezTo>
                        <a:pt x="222806" y="865534"/>
                        <a:pt x="219432" y="863767"/>
                        <a:pt x="209391" y="862562"/>
                      </a:cubicBezTo>
                      <a:cubicBezTo>
                        <a:pt x="226180" y="857180"/>
                        <a:pt x="237024" y="852842"/>
                        <a:pt x="252528" y="845452"/>
                      </a:cubicBezTo>
                      <a:cubicBezTo>
                        <a:pt x="251162" y="847380"/>
                        <a:pt x="250760" y="847782"/>
                        <a:pt x="249555" y="848906"/>
                      </a:cubicBezTo>
                      <a:cubicBezTo>
                        <a:pt x="259516" y="850272"/>
                        <a:pt x="263532" y="852200"/>
                        <a:pt x="267870" y="855574"/>
                      </a:cubicBezTo>
                      <a:cubicBezTo>
                        <a:pt x="270280" y="857501"/>
                        <a:pt x="272850" y="861598"/>
                        <a:pt x="277028" y="868506"/>
                      </a:cubicBezTo>
                      <a:cubicBezTo>
                        <a:pt x="284819" y="881279"/>
                        <a:pt x="293414" y="889311"/>
                        <a:pt x="293495" y="889392"/>
                      </a:cubicBezTo>
                      <a:cubicBezTo>
                        <a:pt x="302492" y="897665"/>
                        <a:pt x="315183" y="899754"/>
                        <a:pt x="324501" y="907706"/>
                      </a:cubicBezTo>
                      <a:cubicBezTo>
                        <a:pt x="325224" y="907546"/>
                        <a:pt x="326028" y="907385"/>
                        <a:pt x="326751" y="907305"/>
                      </a:cubicBezTo>
                      <a:cubicBezTo>
                        <a:pt x="326590" y="907626"/>
                        <a:pt x="326349" y="908108"/>
                        <a:pt x="326028" y="908349"/>
                      </a:cubicBezTo>
                      <a:cubicBezTo>
                        <a:pt x="326028" y="908670"/>
                        <a:pt x="326028" y="909072"/>
                        <a:pt x="326028" y="909393"/>
                      </a:cubicBezTo>
                      <a:cubicBezTo>
                        <a:pt x="333980" y="910518"/>
                        <a:pt x="337113" y="913731"/>
                        <a:pt x="338639" y="915338"/>
                      </a:cubicBezTo>
                      <a:cubicBezTo>
                        <a:pt x="343137" y="919996"/>
                        <a:pt x="343780" y="926824"/>
                        <a:pt x="347636" y="931805"/>
                      </a:cubicBezTo>
                      <a:cubicBezTo>
                        <a:pt x="347636" y="932287"/>
                        <a:pt x="347556" y="933010"/>
                        <a:pt x="347556" y="933572"/>
                      </a:cubicBezTo>
                      <a:cubicBezTo>
                        <a:pt x="346752" y="933492"/>
                        <a:pt x="345788" y="933572"/>
                        <a:pt x="345146" y="933652"/>
                      </a:cubicBezTo>
                      <a:moveTo>
                        <a:pt x="435836" y="887142"/>
                      </a:moveTo>
                      <a:cubicBezTo>
                        <a:pt x="433024" y="884652"/>
                        <a:pt x="430856" y="884411"/>
                        <a:pt x="428285" y="886259"/>
                      </a:cubicBezTo>
                      <a:cubicBezTo>
                        <a:pt x="426759" y="881921"/>
                        <a:pt x="425072" y="882001"/>
                        <a:pt x="421698" y="886500"/>
                      </a:cubicBezTo>
                      <a:cubicBezTo>
                        <a:pt x="422502" y="884572"/>
                        <a:pt x="423144" y="883447"/>
                        <a:pt x="424590" y="881439"/>
                      </a:cubicBezTo>
                      <a:cubicBezTo>
                        <a:pt x="422502" y="882001"/>
                        <a:pt x="421779" y="882724"/>
                        <a:pt x="421698" y="884411"/>
                      </a:cubicBezTo>
                      <a:cubicBezTo>
                        <a:pt x="420734" y="884170"/>
                        <a:pt x="419449" y="883849"/>
                        <a:pt x="418405" y="883528"/>
                      </a:cubicBezTo>
                      <a:cubicBezTo>
                        <a:pt x="426839" y="877503"/>
                        <a:pt x="432302" y="878547"/>
                        <a:pt x="436639" y="887062"/>
                      </a:cubicBezTo>
                      <a:cubicBezTo>
                        <a:pt x="436398" y="887062"/>
                        <a:pt x="436077" y="887142"/>
                        <a:pt x="435836" y="887142"/>
                      </a:cubicBezTo>
                      <a:moveTo>
                        <a:pt x="467566" y="888508"/>
                      </a:moveTo>
                      <a:cubicBezTo>
                        <a:pt x="467485" y="888428"/>
                        <a:pt x="466441" y="886018"/>
                        <a:pt x="465477" y="883769"/>
                      </a:cubicBezTo>
                      <a:cubicBezTo>
                        <a:pt x="466039" y="884974"/>
                        <a:pt x="466521" y="886098"/>
                        <a:pt x="467084" y="887303"/>
                      </a:cubicBezTo>
                      <a:cubicBezTo>
                        <a:pt x="467244" y="887705"/>
                        <a:pt x="467485" y="888106"/>
                        <a:pt x="467566" y="888508"/>
                      </a:cubicBezTo>
                      <a:cubicBezTo>
                        <a:pt x="467566" y="888508"/>
                        <a:pt x="467566" y="888508"/>
                        <a:pt x="467566" y="888508"/>
                      </a:cubicBezTo>
                      <a:moveTo>
                        <a:pt x="367075" y="873406"/>
                      </a:moveTo>
                      <a:cubicBezTo>
                        <a:pt x="366834" y="874129"/>
                        <a:pt x="366272" y="874531"/>
                        <a:pt x="365790" y="875013"/>
                      </a:cubicBezTo>
                      <a:cubicBezTo>
                        <a:pt x="364264" y="872041"/>
                        <a:pt x="361452" y="869631"/>
                        <a:pt x="355990" y="866900"/>
                      </a:cubicBezTo>
                      <a:cubicBezTo>
                        <a:pt x="356472" y="866578"/>
                        <a:pt x="356713" y="866337"/>
                        <a:pt x="359846" y="866980"/>
                      </a:cubicBezTo>
                      <a:cubicBezTo>
                        <a:pt x="361452" y="867301"/>
                        <a:pt x="363862" y="868506"/>
                        <a:pt x="363862" y="868506"/>
                      </a:cubicBezTo>
                      <a:cubicBezTo>
                        <a:pt x="364746" y="868988"/>
                        <a:pt x="367638" y="870755"/>
                        <a:pt x="367236" y="872924"/>
                      </a:cubicBezTo>
                      <a:cubicBezTo>
                        <a:pt x="367156" y="873085"/>
                        <a:pt x="367156" y="873246"/>
                        <a:pt x="367075" y="873406"/>
                      </a:cubicBezTo>
                      <a:moveTo>
                        <a:pt x="213167" y="833564"/>
                      </a:moveTo>
                      <a:cubicBezTo>
                        <a:pt x="213167" y="833564"/>
                        <a:pt x="213247" y="833564"/>
                        <a:pt x="213327" y="833483"/>
                      </a:cubicBezTo>
                      <a:cubicBezTo>
                        <a:pt x="213247" y="833644"/>
                        <a:pt x="210516" y="834769"/>
                        <a:pt x="210275" y="834447"/>
                      </a:cubicBezTo>
                      <a:cubicBezTo>
                        <a:pt x="210355" y="834126"/>
                        <a:pt x="210998" y="833644"/>
                        <a:pt x="212444" y="832680"/>
                      </a:cubicBezTo>
                      <a:lnTo>
                        <a:pt x="210436" y="830591"/>
                      </a:lnTo>
                      <a:cubicBezTo>
                        <a:pt x="209713" y="830350"/>
                        <a:pt x="208909" y="830190"/>
                        <a:pt x="208186" y="829868"/>
                      </a:cubicBezTo>
                      <a:cubicBezTo>
                        <a:pt x="206419" y="828985"/>
                        <a:pt x="206901" y="827780"/>
                        <a:pt x="207062" y="827459"/>
                      </a:cubicBezTo>
                      <a:cubicBezTo>
                        <a:pt x="207624" y="826334"/>
                        <a:pt x="206982" y="824888"/>
                        <a:pt x="205616" y="824085"/>
                      </a:cubicBezTo>
                      <a:lnTo>
                        <a:pt x="205857" y="824085"/>
                      </a:lnTo>
                      <a:lnTo>
                        <a:pt x="207303" y="824567"/>
                      </a:lnTo>
                      <a:lnTo>
                        <a:pt x="207383" y="823523"/>
                      </a:lnTo>
                      <a:cubicBezTo>
                        <a:pt x="207865" y="823523"/>
                        <a:pt x="208427" y="823523"/>
                        <a:pt x="208909" y="823603"/>
                      </a:cubicBezTo>
                      <a:cubicBezTo>
                        <a:pt x="208267" y="826575"/>
                        <a:pt x="207785" y="828503"/>
                        <a:pt x="209632" y="827700"/>
                      </a:cubicBezTo>
                      <a:cubicBezTo>
                        <a:pt x="209472" y="827941"/>
                        <a:pt x="209231" y="828262"/>
                        <a:pt x="209070" y="828423"/>
                      </a:cubicBezTo>
                      <a:cubicBezTo>
                        <a:pt x="210275" y="828664"/>
                        <a:pt x="211641" y="829226"/>
                        <a:pt x="212524" y="829788"/>
                      </a:cubicBezTo>
                      <a:cubicBezTo>
                        <a:pt x="211721" y="830752"/>
                        <a:pt x="211962" y="831074"/>
                        <a:pt x="213649" y="833323"/>
                      </a:cubicBezTo>
                      <a:cubicBezTo>
                        <a:pt x="213408" y="833403"/>
                        <a:pt x="213327" y="833483"/>
                        <a:pt x="213167" y="833564"/>
                      </a:cubicBezTo>
                      <a:moveTo>
                        <a:pt x="72994" y="703272"/>
                      </a:moveTo>
                      <a:cubicBezTo>
                        <a:pt x="73476" y="700139"/>
                        <a:pt x="74521" y="697488"/>
                        <a:pt x="75967" y="695399"/>
                      </a:cubicBezTo>
                      <a:cubicBezTo>
                        <a:pt x="74521" y="697970"/>
                        <a:pt x="73637" y="700541"/>
                        <a:pt x="73155" y="703513"/>
                      </a:cubicBezTo>
                      <a:lnTo>
                        <a:pt x="72994" y="703272"/>
                      </a:lnTo>
                      <a:moveTo>
                        <a:pt x="202162" y="816936"/>
                      </a:moveTo>
                      <a:cubicBezTo>
                        <a:pt x="196057" y="815891"/>
                        <a:pt x="194531" y="813964"/>
                        <a:pt x="194129" y="813160"/>
                      </a:cubicBezTo>
                      <a:cubicBezTo>
                        <a:pt x="193647" y="812196"/>
                        <a:pt x="193567" y="811474"/>
                        <a:pt x="193968" y="810108"/>
                      </a:cubicBezTo>
                      <a:cubicBezTo>
                        <a:pt x="194049" y="809786"/>
                        <a:pt x="194290" y="809385"/>
                        <a:pt x="194450" y="809144"/>
                      </a:cubicBezTo>
                      <a:cubicBezTo>
                        <a:pt x="194691" y="808662"/>
                        <a:pt x="195173" y="808341"/>
                        <a:pt x="195414" y="807939"/>
                      </a:cubicBezTo>
                      <a:cubicBezTo>
                        <a:pt x="195896" y="807216"/>
                        <a:pt x="195736" y="806091"/>
                        <a:pt x="196700" y="805610"/>
                      </a:cubicBezTo>
                      <a:cubicBezTo>
                        <a:pt x="197342" y="805288"/>
                        <a:pt x="197744" y="806493"/>
                        <a:pt x="197904" y="807055"/>
                      </a:cubicBezTo>
                      <a:cubicBezTo>
                        <a:pt x="201037" y="804164"/>
                        <a:pt x="204250" y="801914"/>
                        <a:pt x="204170" y="807537"/>
                      </a:cubicBezTo>
                      <a:cubicBezTo>
                        <a:pt x="204170" y="809545"/>
                        <a:pt x="203688" y="812036"/>
                        <a:pt x="203206" y="814285"/>
                      </a:cubicBezTo>
                      <a:cubicBezTo>
                        <a:pt x="203126" y="812919"/>
                        <a:pt x="202564" y="812357"/>
                        <a:pt x="202564" y="812357"/>
                      </a:cubicBezTo>
                      <a:cubicBezTo>
                        <a:pt x="202564" y="812357"/>
                        <a:pt x="199431" y="810750"/>
                        <a:pt x="198949" y="811313"/>
                      </a:cubicBezTo>
                      <a:cubicBezTo>
                        <a:pt x="198306" y="812116"/>
                        <a:pt x="201600" y="815650"/>
                        <a:pt x="202965" y="817257"/>
                      </a:cubicBezTo>
                      <a:cubicBezTo>
                        <a:pt x="202885" y="817016"/>
                        <a:pt x="202483" y="816936"/>
                        <a:pt x="202162" y="816936"/>
                      </a:cubicBezTo>
                      <a:moveTo>
                        <a:pt x="501143" y="877342"/>
                      </a:moveTo>
                      <a:cubicBezTo>
                        <a:pt x="500982" y="874772"/>
                        <a:pt x="500339" y="873406"/>
                        <a:pt x="497688" y="875174"/>
                      </a:cubicBezTo>
                      <a:cubicBezTo>
                        <a:pt x="496002" y="871238"/>
                        <a:pt x="494154" y="871238"/>
                        <a:pt x="491262" y="875093"/>
                      </a:cubicBezTo>
                      <a:cubicBezTo>
                        <a:pt x="490780" y="873808"/>
                        <a:pt x="489977" y="873647"/>
                        <a:pt x="488772" y="874531"/>
                      </a:cubicBezTo>
                      <a:cubicBezTo>
                        <a:pt x="487808" y="872121"/>
                        <a:pt x="486684" y="872121"/>
                        <a:pt x="484836" y="874531"/>
                      </a:cubicBezTo>
                      <a:cubicBezTo>
                        <a:pt x="485639" y="873085"/>
                        <a:pt x="486282" y="872201"/>
                        <a:pt x="487487" y="870996"/>
                      </a:cubicBezTo>
                      <a:cubicBezTo>
                        <a:pt x="488611" y="871479"/>
                        <a:pt x="489334" y="871639"/>
                        <a:pt x="490298" y="871720"/>
                      </a:cubicBezTo>
                      <a:cubicBezTo>
                        <a:pt x="493270" y="871720"/>
                        <a:pt x="494475" y="870595"/>
                        <a:pt x="494877" y="867141"/>
                      </a:cubicBezTo>
                      <a:cubicBezTo>
                        <a:pt x="495680" y="869791"/>
                        <a:pt x="496966" y="870273"/>
                        <a:pt x="497207" y="870354"/>
                      </a:cubicBezTo>
                      <a:cubicBezTo>
                        <a:pt x="497207" y="870354"/>
                        <a:pt x="500420" y="871880"/>
                        <a:pt x="501785" y="877262"/>
                      </a:cubicBezTo>
                      <a:cubicBezTo>
                        <a:pt x="501625" y="877342"/>
                        <a:pt x="501384" y="877342"/>
                        <a:pt x="501143" y="877342"/>
                      </a:cubicBezTo>
                      <a:moveTo>
                        <a:pt x="265139" y="828503"/>
                      </a:moveTo>
                      <a:cubicBezTo>
                        <a:pt x="264496" y="829868"/>
                        <a:pt x="263532" y="830350"/>
                        <a:pt x="263131" y="830431"/>
                      </a:cubicBezTo>
                      <a:cubicBezTo>
                        <a:pt x="261765" y="830832"/>
                        <a:pt x="260480" y="830350"/>
                        <a:pt x="259918" y="830190"/>
                      </a:cubicBezTo>
                      <a:cubicBezTo>
                        <a:pt x="259436" y="830029"/>
                        <a:pt x="259034" y="830350"/>
                        <a:pt x="258552" y="830350"/>
                      </a:cubicBezTo>
                      <a:cubicBezTo>
                        <a:pt x="258231" y="830350"/>
                        <a:pt x="258150" y="830190"/>
                        <a:pt x="257749" y="829949"/>
                      </a:cubicBezTo>
                      <a:cubicBezTo>
                        <a:pt x="256865" y="829226"/>
                        <a:pt x="256464" y="828985"/>
                        <a:pt x="255178" y="828262"/>
                      </a:cubicBezTo>
                      <a:cubicBezTo>
                        <a:pt x="256464" y="828824"/>
                        <a:pt x="256705" y="827298"/>
                        <a:pt x="256785" y="825531"/>
                      </a:cubicBezTo>
                      <a:cubicBezTo>
                        <a:pt x="254937" y="825932"/>
                        <a:pt x="255178" y="825049"/>
                        <a:pt x="255741" y="823924"/>
                      </a:cubicBezTo>
                      <a:cubicBezTo>
                        <a:pt x="256062" y="824326"/>
                        <a:pt x="256223" y="824487"/>
                        <a:pt x="256464" y="824567"/>
                      </a:cubicBezTo>
                      <a:cubicBezTo>
                        <a:pt x="256865" y="824647"/>
                        <a:pt x="257106" y="824326"/>
                        <a:pt x="257347" y="823362"/>
                      </a:cubicBezTo>
                      <a:cubicBezTo>
                        <a:pt x="264577" y="818703"/>
                        <a:pt x="264577" y="818703"/>
                        <a:pt x="265139" y="818141"/>
                      </a:cubicBezTo>
                      <a:cubicBezTo>
                        <a:pt x="266505" y="819185"/>
                        <a:pt x="266987" y="820229"/>
                        <a:pt x="266826" y="821916"/>
                      </a:cubicBezTo>
                      <a:cubicBezTo>
                        <a:pt x="266344" y="822639"/>
                        <a:pt x="265460" y="823683"/>
                        <a:pt x="265541" y="824567"/>
                      </a:cubicBezTo>
                      <a:cubicBezTo>
                        <a:pt x="265621" y="824647"/>
                        <a:pt x="265862" y="826816"/>
                        <a:pt x="265139" y="828503"/>
                      </a:cubicBezTo>
                      <a:moveTo>
                        <a:pt x="447564" y="854529"/>
                      </a:moveTo>
                      <a:cubicBezTo>
                        <a:pt x="447082" y="856296"/>
                        <a:pt x="445475" y="858465"/>
                        <a:pt x="440977" y="858385"/>
                      </a:cubicBezTo>
                      <a:cubicBezTo>
                        <a:pt x="444511" y="857421"/>
                        <a:pt x="446600" y="855895"/>
                        <a:pt x="447724" y="853405"/>
                      </a:cubicBezTo>
                      <a:cubicBezTo>
                        <a:pt x="447724" y="853726"/>
                        <a:pt x="447644" y="854128"/>
                        <a:pt x="447564" y="854529"/>
                      </a:cubicBezTo>
                      <a:moveTo>
                        <a:pt x="247788" y="796773"/>
                      </a:moveTo>
                      <a:cubicBezTo>
                        <a:pt x="247547" y="796854"/>
                        <a:pt x="245137" y="797095"/>
                        <a:pt x="238952" y="797416"/>
                      </a:cubicBezTo>
                      <a:cubicBezTo>
                        <a:pt x="239113" y="797255"/>
                        <a:pt x="239273" y="797014"/>
                        <a:pt x="239354" y="796773"/>
                      </a:cubicBezTo>
                      <a:cubicBezTo>
                        <a:pt x="245378" y="796693"/>
                        <a:pt x="247387" y="796693"/>
                        <a:pt x="247788" y="796773"/>
                      </a:cubicBezTo>
                      <a:cubicBezTo>
                        <a:pt x="247788" y="796773"/>
                        <a:pt x="247788" y="796773"/>
                        <a:pt x="247788" y="796773"/>
                      </a:cubicBezTo>
                      <a:moveTo>
                        <a:pt x="386916" y="832921"/>
                      </a:moveTo>
                      <a:cubicBezTo>
                        <a:pt x="386756" y="832921"/>
                        <a:pt x="386675" y="832921"/>
                        <a:pt x="386515" y="832841"/>
                      </a:cubicBezTo>
                      <a:cubicBezTo>
                        <a:pt x="384346" y="832439"/>
                        <a:pt x="383542" y="831636"/>
                        <a:pt x="383944" y="830270"/>
                      </a:cubicBezTo>
                      <a:lnTo>
                        <a:pt x="384265" y="830431"/>
                      </a:lnTo>
                      <a:cubicBezTo>
                        <a:pt x="385069" y="831234"/>
                        <a:pt x="386193" y="832198"/>
                        <a:pt x="386916" y="832921"/>
                      </a:cubicBezTo>
                      <a:cubicBezTo>
                        <a:pt x="386997" y="832921"/>
                        <a:pt x="386916" y="832921"/>
                        <a:pt x="386916" y="832921"/>
                      </a:cubicBezTo>
                      <a:moveTo>
                        <a:pt x="239514" y="794926"/>
                      </a:moveTo>
                      <a:cubicBezTo>
                        <a:pt x="239434" y="794926"/>
                        <a:pt x="239354" y="794846"/>
                        <a:pt x="239273" y="794846"/>
                      </a:cubicBezTo>
                      <a:cubicBezTo>
                        <a:pt x="238309" y="794444"/>
                        <a:pt x="237828" y="793801"/>
                        <a:pt x="237586" y="792596"/>
                      </a:cubicBezTo>
                      <a:cubicBezTo>
                        <a:pt x="238550" y="792516"/>
                        <a:pt x="240157" y="792677"/>
                        <a:pt x="239514" y="794926"/>
                      </a:cubicBezTo>
                      <a:cubicBezTo>
                        <a:pt x="239514" y="794926"/>
                        <a:pt x="239514" y="794926"/>
                        <a:pt x="239514" y="794926"/>
                      </a:cubicBezTo>
                      <a:moveTo>
                        <a:pt x="466039" y="840793"/>
                      </a:moveTo>
                      <a:cubicBezTo>
                        <a:pt x="461461" y="842882"/>
                        <a:pt x="457203" y="845292"/>
                        <a:pt x="454311" y="846898"/>
                      </a:cubicBezTo>
                      <a:cubicBezTo>
                        <a:pt x="455677" y="845211"/>
                        <a:pt x="457203" y="843524"/>
                        <a:pt x="458488" y="841677"/>
                      </a:cubicBezTo>
                      <a:cubicBezTo>
                        <a:pt x="454552" y="845131"/>
                        <a:pt x="451580" y="849469"/>
                        <a:pt x="448206" y="853405"/>
                      </a:cubicBezTo>
                      <a:cubicBezTo>
                        <a:pt x="448126" y="853324"/>
                        <a:pt x="447965" y="853164"/>
                        <a:pt x="447885" y="853083"/>
                      </a:cubicBezTo>
                      <a:cubicBezTo>
                        <a:pt x="448367" y="851718"/>
                        <a:pt x="448528" y="850754"/>
                        <a:pt x="448528" y="849067"/>
                      </a:cubicBezTo>
                      <a:cubicBezTo>
                        <a:pt x="447403" y="850031"/>
                        <a:pt x="447002" y="850673"/>
                        <a:pt x="446439" y="852039"/>
                      </a:cubicBezTo>
                      <a:lnTo>
                        <a:pt x="443547" y="852601"/>
                      </a:lnTo>
                      <a:cubicBezTo>
                        <a:pt x="449813" y="843846"/>
                        <a:pt x="449813" y="843846"/>
                        <a:pt x="450616" y="843203"/>
                      </a:cubicBezTo>
                      <a:cubicBezTo>
                        <a:pt x="452464" y="841757"/>
                        <a:pt x="457123" y="838946"/>
                        <a:pt x="463308" y="837259"/>
                      </a:cubicBezTo>
                      <a:cubicBezTo>
                        <a:pt x="462906" y="837660"/>
                        <a:pt x="462344" y="838142"/>
                        <a:pt x="461862" y="838464"/>
                      </a:cubicBezTo>
                      <a:cubicBezTo>
                        <a:pt x="462103" y="840070"/>
                        <a:pt x="462103" y="840391"/>
                        <a:pt x="466923" y="840472"/>
                      </a:cubicBezTo>
                      <a:cubicBezTo>
                        <a:pt x="466602" y="840552"/>
                        <a:pt x="466280" y="840632"/>
                        <a:pt x="466039" y="840793"/>
                      </a:cubicBezTo>
                      <a:moveTo>
                        <a:pt x="414549" y="831556"/>
                      </a:moveTo>
                      <a:cubicBezTo>
                        <a:pt x="412862" y="832439"/>
                        <a:pt x="411577" y="832278"/>
                        <a:pt x="411015" y="832198"/>
                      </a:cubicBezTo>
                      <a:cubicBezTo>
                        <a:pt x="409970" y="832037"/>
                        <a:pt x="409328" y="831716"/>
                        <a:pt x="408283" y="831074"/>
                      </a:cubicBezTo>
                      <a:cubicBezTo>
                        <a:pt x="410613" y="830029"/>
                        <a:pt x="412380" y="830109"/>
                        <a:pt x="414710" y="831475"/>
                      </a:cubicBezTo>
                      <a:cubicBezTo>
                        <a:pt x="414710" y="831475"/>
                        <a:pt x="414549" y="831475"/>
                        <a:pt x="414549" y="831556"/>
                      </a:cubicBezTo>
                      <a:moveTo>
                        <a:pt x="177341" y="781993"/>
                      </a:moveTo>
                      <a:cubicBezTo>
                        <a:pt x="169790" y="781832"/>
                        <a:pt x="173565" y="769301"/>
                        <a:pt x="175011" y="764642"/>
                      </a:cubicBezTo>
                      <a:cubicBezTo>
                        <a:pt x="175011" y="765446"/>
                        <a:pt x="175091" y="766409"/>
                        <a:pt x="175091" y="767213"/>
                      </a:cubicBezTo>
                      <a:cubicBezTo>
                        <a:pt x="177582" y="758457"/>
                        <a:pt x="175011" y="756368"/>
                        <a:pt x="173726" y="755806"/>
                      </a:cubicBezTo>
                      <a:cubicBezTo>
                        <a:pt x="175091" y="754039"/>
                        <a:pt x="176537" y="752432"/>
                        <a:pt x="177903" y="753316"/>
                      </a:cubicBezTo>
                      <a:cubicBezTo>
                        <a:pt x="177903" y="754682"/>
                        <a:pt x="177903" y="756288"/>
                        <a:pt x="177180" y="760787"/>
                      </a:cubicBezTo>
                      <a:cubicBezTo>
                        <a:pt x="177983" y="759019"/>
                        <a:pt x="178224" y="758939"/>
                        <a:pt x="178545" y="758939"/>
                      </a:cubicBezTo>
                      <a:cubicBezTo>
                        <a:pt x="179188" y="759822"/>
                        <a:pt x="179027" y="762313"/>
                        <a:pt x="178304" y="771791"/>
                      </a:cubicBezTo>
                      <a:cubicBezTo>
                        <a:pt x="177822" y="778459"/>
                        <a:pt x="177742" y="779904"/>
                        <a:pt x="177662" y="781993"/>
                      </a:cubicBezTo>
                      <a:cubicBezTo>
                        <a:pt x="177582" y="781993"/>
                        <a:pt x="177421" y="781993"/>
                        <a:pt x="177341" y="781993"/>
                      </a:cubicBezTo>
                      <a:moveTo>
                        <a:pt x="532230" y="838624"/>
                      </a:moveTo>
                      <a:cubicBezTo>
                        <a:pt x="530302" y="846175"/>
                        <a:pt x="525884" y="850834"/>
                        <a:pt x="521305" y="854851"/>
                      </a:cubicBezTo>
                      <a:cubicBezTo>
                        <a:pt x="519457" y="848505"/>
                        <a:pt x="518493" y="843685"/>
                        <a:pt x="517530" y="837018"/>
                      </a:cubicBezTo>
                      <a:cubicBezTo>
                        <a:pt x="518815" y="837901"/>
                        <a:pt x="519618" y="837741"/>
                        <a:pt x="520180" y="836375"/>
                      </a:cubicBezTo>
                      <a:cubicBezTo>
                        <a:pt x="520020" y="838624"/>
                        <a:pt x="520903" y="838785"/>
                        <a:pt x="523152" y="837018"/>
                      </a:cubicBezTo>
                      <a:cubicBezTo>
                        <a:pt x="523715" y="837500"/>
                        <a:pt x="524116" y="837741"/>
                        <a:pt x="524679" y="837821"/>
                      </a:cubicBezTo>
                      <a:cubicBezTo>
                        <a:pt x="525241" y="837821"/>
                        <a:pt x="525482" y="837741"/>
                        <a:pt x="526125" y="837419"/>
                      </a:cubicBezTo>
                      <a:cubicBezTo>
                        <a:pt x="526205" y="837339"/>
                        <a:pt x="526366" y="837259"/>
                        <a:pt x="526446" y="837259"/>
                      </a:cubicBezTo>
                      <a:cubicBezTo>
                        <a:pt x="527330" y="836696"/>
                        <a:pt x="528374" y="836375"/>
                        <a:pt x="529016" y="835492"/>
                      </a:cubicBezTo>
                      <a:cubicBezTo>
                        <a:pt x="528213" y="837660"/>
                        <a:pt x="528133" y="839428"/>
                        <a:pt x="532390" y="838062"/>
                      </a:cubicBezTo>
                      <a:cubicBezTo>
                        <a:pt x="532310" y="838142"/>
                        <a:pt x="532230" y="838383"/>
                        <a:pt x="532230" y="838624"/>
                      </a:cubicBezTo>
                      <a:moveTo>
                        <a:pt x="239273" y="777977"/>
                      </a:moveTo>
                      <a:lnTo>
                        <a:pt x="239595" y="777655"/>
                      </a:lnTo>
                      <a:lnTo>
                        <a:pt x="239996" y="777414"/>
                      </a:lnTo>
                      <a:lnTo>
                        <a:pt x="239514" y="778941"/>
                      </a:lnTo>
                      <a:lnTo>
                        <a:pt x="239273" y="777977"/>
                      </a:lnTo>
                      <a:moveTo>
                        <a:pt x="647741" y="831636"/>
                      </a:moveTo>
                      <a:cubicBezTo>
                        <a:pt x="646617" y="830752"/>
                        <a:pt x="643484" y="828503"/>
                        <a:pt x="638021" y="826575"/>
                      </a:cubicBezTo>
                      <a:cubicBezTo>
                        <a:pt x="640913" y="826254"/>
                        <a:pt x="640913" y="826254"/>
                        <a:pt x="642922" y="827378"/>
                      </a:cubicBezTo>
                      <a:cubicBezTo>
                        <a:pt x="645331" y="828664"/>
                        <a:pt x="646697" y="829868"/>
                        <a:pt x="647982" y="831877"/>
                      </a:cubicBezTo>
                      <a:cubicBezTo>
                        <a:pt x="647902" y="831716"/>
                        <a:pt x="647741" y="831636"/>
                        <a:pt x="647741" y="831636"/>
                      </a:cubicBezTo>
                      <a:moveTo>
                        <a:pt x="93317" y="657967"/>
                      </a:moveTo>
                      <a:cubicBezTo>
                        <a:pt x="93317" y="657967"/>
                        <a:pt x="93317" y="657886"/>
                        <a:pt x="93237" y="657886"/>
                      </a:cubicBezTo>
                      <a:cubicBezTo>
                        <a:pt x="92514" y="655396"/>
                        <a:pt x="94683" y="648649"/>
                        <a:pt x="96691" y="643427"/>
                      </a:cubicBezTo>
                      <a:cubicBezTo>
                        <a:pt x="94924" y="648890"/>
                        <a:pt x="93880" y="654111"/>
                        <a:pt x="93719" y="657404"/>
                      </a:cubicBezTo>
                      <a:cubicBezTo>
                        <a:pt x="93639" y="657485"/>
                        <a:pt x="93478" y="657726"/>
                        <a:pt x="93317" y="657967"/>
                      </a:cubicBezTo>
                      <a:moveTo>
                        <a:pt x="89140" y="608163"/>
                      </a:moveTo>
                      <a:cubicBezTo>
                        <a:pt x="89542" y="607039"/>
                        <a:pt x="90104" y="605994"/>
                        <a:pt x="90345" y="604790"/>
                      </a:cubicBezTo>
                      <a:cubicBezTo>
                        <a:pt x="90345" y="604790"/>
                        <a:pt x="90345" y="604067"/>
                        <a:pt x="89863" y="604308"/>
                      </a:cubicBezTo>
                      <a:cubicBezTo>
                        <a:pt x="89622" y="604388"/>
                        <a:pt x="89462" y="604629"/>
                        <a:pt x="89301" y="604870"/>
                      </a:cubicBezTo>
                      <a:cubicBezTo>
                        <a:pt x="91068" y="602460"/>
                        <a:pt x="92514" y="600613"/>
                        <a:pt x="93960" y="599086"/>
                      </a:cubicBezTo>
                      <a:cubicBezTo>
                        <a:pt x="92193" y="601657"/>
                        <a:pt x="90747" y="604388"/>
                        <a:pt x="88980" y="608806"/>
                      </a:cubicBezTo>
                      <a:cubicBezTo>
                        <a:pt x="88980" y="608485"/>
                        <a:pt x="89060" y="608244"/>
                        <a:pt x="89140" y="608163"/>
                      </a:cubicBezTo>
                      <a:moveTo>
                        <a:pt x="275582" y="770265"/>
                      </a:moveTo>
                      <a:cubicBezTo>
                        <a:pt x="273814" y="771952"/>
                        <a:pt x="272208" y="771551"/>
                        <a:pt x="271646" y="771390"/>
                      </a:cubicBezTo>
                      <a:cubicBezTo>
                        <a:pt x="270762" y="771069"/>
                        <a:pt x="270280" y="770747"/>
                        <a:pt x="269396" y="769944"/>
                      </a:cubicBezTo>
                      <a:cubicBezTo>
                        <a:pt x="269637" y="769944"/>
                        <a:pt x="269959" y="769863"/>
                        <a:pt x="270200" y="769703"/>
                      </a:cubicBezTo>
                      <a:cubicBezTo>
                        <a:pt x="271003" y="769221"/>
                        <a:pt x="271887" y="768900"/>
                        <a:pt x="272850" y="768900"/>
                      </a:cubicBezTo>
                      <a:cubicBezTo>
                        <a:pt x="274136" y="768900"/>
                        <a:pt x="275421" y="769703"/>
                        <a:pt x="275823" y="769944"/>
                      </a:cubicBezTo>
                      <a:cubicBezTo>
                        <a:pt x="275742" y="770024"/>
                        <a:pt x="275662" y="770185"/>
                        <a:pt x="275582" y="770265"/>
                      </a:cubicBezTo>
                      <a:moveTo>
                        <a:pt x="173163" y="753557"/>
                      </a:moveTo>
                      <a:cubicBezTo>
                        <a:pt x="171878" y="752191"/>
                        <a:pt x="172360" y="750022"/>
                        <a:pt x="172521" y="748978"/>
                      </a:cubicBezTo>
                      <a:cubicBezTo>
                        <a:pt x="172119" y="749701"/>
                        <a:pt x="171878" y="750103"/>
                        <a:pt x="171477" y="750585"/>
                      </a:cubicBezTo>
                      <a:cubicBezTo>
                        <a:pt x="174208" y="737652"/>
                        <a:pt x="176778" y="727049"/>
                        <a:pt x="177421" y="725924"/>
                      </a:cubicBezTo>
                      <a:cubicBezTo>
                        <a:pt x="177582" y="726406"/>
                        <a:pt x="177582" y="726406"/>
                        <a:pt x="173565" y="751388"/>
                      </a:cubicBezTo>
                      <a:cubicBezTo>
                        <a:pt x="173967" y="750987"/>
                        <a:pt x="174529" y="750424"/>
                        <a:pt x="174931" y="750022"/>
                      </a:cubicBezTo>
                      <a:cubicBezTo>
                        <a:pt x="174529" y="751388"/>
                        <a:pt x="174047" y="752673"/>
                        <a:pt x="173565" y="753959"/>
                      </a:cubicBezTo>
                      <a:cubicBezTo>
                        <a:pt x="173485" y="753878"/>
                        <a:pt x="173324" y="753718"/>
                        <a:pt x="173163" y="753557"/>
                      </a:cubicBezTo>
                      <a:moveTo>
                        <a:pt x="505320" y="813241"/>
                      </a:moveTo>
                      <a:cubicBezTo>
                        <a:pt x="503954" y="814928"/>
                        <a:pt x="503793" y="816614"/>
                        <a:pt x="503713" y="817418"/>
                      </a:cubicBezTo>
                      <a:cubicBezTo>
                        <a:pt x="503392" y="815891"/>
                        <a:pt x="502749" y="815731"/>
                        <a:pt x="501303" y="816855"/>
                      </a:cubicBezTo>
                      <a:cubicBezTo>
                        <a:pt x="499857" y="815731"/>
                        <a:pt x="499456" y="814928"/>
                        <a:pt x="499616" y="813482"/>
                      </a:cubicBezTo>
                      <a:cubicBezTo>
                        <a:pt x="498010" y="814044"/>
                        <a:pt x="497448" y="814205"/>
                        <a:pt x="497126" y="814205"/>
                      </a:cubicBezTo>
                      <a:cubicBezTo>
                        <a:pt x="497126" y="814205"/>
                        <a:pt x="497046" y="814205"/>
                        <a:pt x="497046" y="814205"/>
                      </a:cubicBezTo>
                      <a:cubicBezTo>
                        <a:pt x="497046" y="814124"/>
                        <a:pt x="497046" y="814124"/>
                        <a:pt x="500821" y="811955"/>
                      </a:cubicBezTo>
                      <a:cubicBezTo>
                        <a:pt x="500580" y="811554"/>
                        <a:pt x="500339" y="811072"/>
                        <a:pt x="500098" y="810670"/>
                      </a:cubicBezTo>
                      <a:cubicBezTo>
                        <a:pt x="502107" y="811955"/>
                        <a:pt x="503311" y="812437"/>
                        <a:pt x="505721" y="812759"/>
                      </a:cubicBezTo>
                      <a:cubicBezTo>
                        <a:pt x="505641" y="812839"/>
                        <a:pt x="505400" y="813080"/>
                        <a:pt x="505320" y="813241"/>
                      </a:cubicBezTo>
                      <a:moveTo>
                        <a:pt x="424429" y="793882"/>
                      </a:moveTo>
                      <a:cubicBezTo>
                        <a:pt x="422903" y="796693"/>
                        <a:pt x="421618" y="798782"/>
                        <a:pt x="419047" y="802236"/>
                      </a:cubicBezTo>
                      <a:cubicBezTo>
                        <a:pt x="417682" y="801272"/>
                        <a:pt x="417762" y="799986"/>
                        <a:pt x="418164" y="799103"/>
                      </a:cubicBezTo>
                      <a:cubicBezTo>
                        <a:pt x="418244" y="799023"/>
                        <a:pt x="418244" y="798862"/>
                        <a:pt x="418324" y="798782"/>
                      </a:cubicBezTo>
                      <a:cubicBezTo>
                        <a:pt x="418565" y="798300"/>
                        <a:pt x="418967" y="797898"/>
                        <a:pt x="419208" y="797336"/>
                      </a:cubicBezTo>
                      <a:cubicBezTo>
                        <a:pt x="419288" y="797255"/>
                        <a:pt x="419208" y="797095"/>
                        <a:pt x="419208" y="797014"/>
                      </a:cubicBezTo>
                      <a:cubicBezTo>
                        <a:pt x="419288" y="796532"/>
                        <a:pt x="419529" y="795809"/>
                        <a:pt x="419851" y="795328"/>
                      </a:cubicBezTo>
                      <a:cubicBezTo>
                        <a:pt x="420493" y="794444"/>
                        <a:pt x="421377" y="794042"/>
                        <a:pt x="422421" y="793641"/>
                      </a:cubicBezTo>
                      <a:lnTo>
                        <a:pt x="422421" y="794524"/>
                      </a:lnTo>
                      <a:cubicBezTo>
                        <a:pt x="423064" y="794283"/>
                        <a:pt x="423867" y="793882"/>
                        <a:pt x="424510" y="793641"/>
                      </a:cubicBezTo>
                      <a:cubicBezTo>
                        <a:pt x="424510" y="793641"/>
                        <a:pt x="424429" y="793801"/>
                        <a:pt x="424429" y="793882"/>
                      </a:cubicBezTo>
                      <a:moveTo>
                        <a:pt x="500821" y="803441"/>
                      </a:moveTo>
                      <a:cubicBezTo>
                        <a:pt x="500500" y="803200"/>
                        <a:pt x="500259" y="802878"/>
                        <a:pt x="500018" y="802637"/>
                      </a:cubicBezTo>
                      <a:cubicBezTo>
                        <a:pt x="499375" y="801995"/>
                        <a:pt x="498813" y="801272"/>
                        <a:pt x="498170" y="800629"/>
                      </a:cubicBezTo>
                      <a:cubicBezTo>
                        <a:pt x="499054" y="801513"/>
                        <a:pt x="500018" y="802396"/>
                        <a:pt x="500821" y="803441"/>
                      </a:cubicBezTo>
                      <a:lnTo>
                        <a:pt x="500821" y="803441"/>
                      </a:lnTo>
                      <a:moveTo>
                        <a:pt x="273814" y="754119"/>
                      </a:moveTo>
                      <a:cubicBezTo>
                        <a:pt x="272047" y="754601"/>
                        <a:pt x="270923" y="754280"/>
                        <a:pt x="270280" y="754119"/>
                      </a:cubicBezTo>
                      <a:cubicBezTo>
                        <a:pt x="268995" y="753637"/>
                        <a:pt x="268031" y="752914"/>
                        <a:pt x="266987" y="751549"/>
                      </a:cubicBezTo>
                      <a:cubicBezTo>
                        <a:pt x="267870" y="750504"/>
                        <a:pt x="269477" y="750344"/>
                        <a:pt x="270682" y="750746"/>
                      </a:cubicBezTo>
                      <a:cubicBezTo>
                        <a:pt x="272529" y="751308"/>
                        <a:pt x="273895" y="753236"/>
                        <a:pt x="274377" y="753878"/>
                      </a:cubicBezTo>
                      <a:cubicBezTo>
                        <a:pt x="274216" y="753959"/>
                        <a:pt x="274055" y="754039"/>
                        <a:pt x="273814" y="754119"/>
                      </a:cubicBezTo>
                      <a:moveTo>
                        <a:pt x="532631" y="801593"/>
                      </a:moveTo>
                      <a:cubicBezTo>
                        <a:pt x="532230" y="802798"/>
                        <a:pt x="531266" y="803039"/>
                        <a:pt x="530703" y="803200"/>
                      </a:cubicBezTo>
                      <a:cubicBezTo>
                        <a:pt x="530623" y="802477"/>
                        <a:pt x="530141" y="801352"/>
                        <a:pt x="529257" y="799103"/>
                      </a:cubicBezTo>
                      <a:cubicBezTo>
                        <a:pt x="528374" y="797014"/>
                        <a:pt x="527972" y="795890"/>
                        <a:pt x="527571" y="794685"/>
                      </a:cubicBezTo>
                      <a:cubicBezTo>
                        <a:pt x="528213" y="794765"/>
                        <a:pt x="528936" y="794765"/>
                        <a:pt x="529579" y="794846"/>
                      </a:cubicBezTo>
                      <a:cubicBezTo>
                        <a:pt x="532230" y="798139"/>
                        <a:pt x="533354" y="799585"/>
                        <a:pt x="532631" y="801593"/>
                      </a:cubicBezTo>
                      <a:moveTo>
                        <a:pt x="451982" y="794203"/>
                      </a:moveTo>
                      <a:cubicBezTo>
                        <a:pt x="451259" y="794605"/>
                        <a:pt x="447323" y="794685"/>
                        <a:pt x="445234" y="794765"/>
                      </a:cubicBezTo>
                      <a:cubicBezTo>
                        <a:pt x="444913" y="794444"/>
                        <a:pt x="444190" y="793560"/>
                        <a:pt x="440656" y="793078"/>
                      </a:cubicBezTo>
                      <a:cubicBezTo>
                        <a:pt x="436559" y="792516"/>
                        <a:pt x="432382" y="792998"/>
                        <a:pt x="428285" y="792436"/>
                      </a:cubicBezTo>
                      <a:cubicBezTo>
                        <a:pt x="422742" y="791552"/>
                        <a:pt x="418967" y="790668"/>
                        <a:pt x="413665" y="789142"/>
                      </a:cubicBezTo>
                      <a:lnTo>
                        <a:pt x="411175" y="787777"/>
                      </a:lnTo>
                      <a:cubicBezTo>
                        <a:pt x="411256" y="787696"/>
                        <a:pt x="419449" y="783359"/>
                        <a:pt x="432864" y="782073"/>
                      </a:cubicBezTo>
                      <a:cubicBezTo>
                        <a:pt x="433185" y="782314"/>
                        <a:pt x="433506" y="782636"/>
                        <a:pt x="433828" y="782877"/>
                      </a:cubicBezTo>
                      <a:cubicBezTo>
                        <a:pt x="429972" y="785367"/>
                        <a:pt x="427321" y="786893"/>
                        <a:pt x="423465" y="788821"/>
                      </a:cubicBezTo>
                      <a:cubicBezTo>
                        <a:pt x="433747" y="788821"/>
                        <a:pt x="439852" y="788982"/>
                        <a:pt x="450616" y="789383"/>
                      </a:cubicBezTo>
                      <a:cubicBezTo>
                        <a:pt x="448528" y="790990"/>
                        <a:pt x="446118" y="791713"/>
                        <a:pt x="442664" y="791793"/>
                      </a:cubicBezTo>
                      <a:cubicBezTo>
                        <a:pt x="450134" y="792998"/>
                        <a:pt x="451902" y="793400"/>
                        <a:pt x="452223" y="793962"/>
                      </a:cubicBezTo>
                      <a:cubicBezTo>
                        <a:pt x="452143" y="794042"/>
                        <a:pt x="452062" y="794123"/>
                        <a:pt x="451982" y="794203"/>
                      </a:cubicBezTo>
                      <a:moveTo>
                        <a:pt x="186578" y="729378"/>
                      </a:moveTo>
                      <a:cubicBezTo>
                        <a:pt x="185132" y="730824"/>
                        <a:pt x="184811" y="729860"/>
                        <a:pt x="184811" y="728816"/>
                      </a:cubicBezTo>
                      <a:cubicBezTo>
                        <a:pt x="184811" y="728334"/>
                        <a:pt x="184891" y="727852"/>
                        <a:pt x="184972" y="727290"/>
                      </a:cubicBezTo>
                      <a:cubicBezTo>
                        <a:pt x="184731" y="727129"/>
                        <a:pt x="184490" y="727049"/>
                        <a:pt x="184249" y="726888"/>
                      </a:cubicBezTo>
                      <a:cubicBezTo>
                        <a:pt x="176618" y="722229"/>
                        <a:pt x="179831" y="718534"/>
                        <a:pt x="180875" y="717329"/>
                      </a:cubicBezTo>
                      <a:cubicBezTo>
                        <a:pt x="180875" y="717168"/>
                        <a:pt x="180955" y="716847"/>
                        <a:pt x="180955" y="716686"/>
                      </a:cubicBezTo>
                      <a:cubicBezTo>
                        <a:pt x="182241" y="716927"/>
                        <a:pt x="184490" y="717409"/>
                        <a:pt x="185534" y="711626"/>
                      </a:cubicBezTo>
                      <a:cubicBezTo>
                        <a:pt x="185695" y="710662"/>
                        <a:pt x="186819" y="706003"/>
                        <a:pt x="191077" y="708975"/>
                      </a:cubicBezTo>
                      <a:cubicBezTo>
                        <a:pt x="189791" y="709457"/>
                        <a:pt x="188506" y="710019"/>
                        <a:pt x="187221" y="710582"/>
                      </a:cubicBezTo>
                      <a:cubicBezTo>
                        <a:pt x="186819" y="712188"/>
                        <a:pt x="185855" y="715963"/>
                        <a:pt x="190916" y="713072"/>
                      </a:cubicBezTo>
                      <a:cubicBezTo>
                        <a:pt x="191157" y="712911"/>
                        <a:pt x="191478" y="712750"/>
                        <a:pt x="191639" y="712590"/>
                      </a:cubicBezTo>
                      <a:cubicBezTo>
                        <a:pt x="183847" y="717570"/>
                        <a:pt x="182321" y="723032"/>
                        <a:pt x="186819" y="729137"/>
                      </a:cubicBezTo>
                      <a:cubicBezTo>
                        <a:pt x="186739" y="729218"/>
                        <a:pt x="186659" y="729298"/>
                        <a:pt x="186578" y="729378"/>
                      </a:cubicBezTo>
                      <a:moveTo>
                        <a:pt x="192764" y="784162"/>
                      </a:moveTo>
                      <a:cubicBezTo>
                        <a:pt x="191880" y="783680"/>
                        <a:pt x="191398" y="783118"/>
                        <a:pt x="191398" y="781511"/>
                      </a:cubicBezTo>
                      <a:cubicBezTo>
                        <a:pt x="190996" y="776209"/>
                        <a:pt x="189550" y="768819"/>
                        <a:pt x="191398" y="763919"/>
                      </a:cubicBezTo>
                      <a:cubicBezTo>
                        <a:pt x="192201" y="761831"/>
                        <a:pt x="194450" y="755083"/>
                        <a:pt x="190836" y="753396"/>
                      </a:cubicBezTo>
                      <a:cubicBezTo>
                        <a:pt x="190113" y="752673"/>
                        <a:pt x="187783" y="750424"/>
                        <a:pt x="188345" y="746086"/>
                      </a:cubicBezTo>
                      <a:cubicBezTo>
                        <a:pt x="188506" y="744400"/>
                        <a:pt x="188988" y="742150"/>
                        <a:pt x="189470" y="740463"/>
                      </a:cubicBezTo>
                      <a:cubicBezTo>
                        <a:pt x="190032" y="738536"/>
                        <a:pt x="191880" y="736447"/>
                        <a:pt x="192442" y="734519"/>
                      </a:cubicBezTo>
                      <a:cubicBezTo>
                        <a:pt x="193406" y="731387"/>
                        <a:pt x="193085" y="728013"/>
                        <a:pt x="194209" y="724880"/>
                      </a:cubicBezTo>
                      <a:cubicBezTo>
                        <a:pt x="196780" y="717972"/>
                        <a:pt x="203206" y="715160"/>
                        <a:pt x="205616" y="714036"/>
                      </a:cubicBezTo>
                      <a:cubicBezTo>
                        <a:pt x="204652" y="716365"/>
                        <a:pt x="203126" y="718293"/>
                        <a:pt x="202082" y="720542"/>
                      </a:cubicBezTo>
                      <a:cubicBezTo>
                        <a:pt x="203367" y="719337"/>
                        <a:pt x="204250" y="719016"/>
                        <a:pt x="205696" y="719257"/>
                      </a:cubicBezTo>
                      <a:cubicBezTo>
                        <a:pt x="199832" y="730824"/>
                        <a:pt x="196539" y="765686"/>
                        <a:pt x="196539" y="765927"/>
                      </a:cubicBezTo>
                      <a:cubicBezTo>
                        <a:pt x="196860" y="774282"/>
                        <a:pt x="193968" y="781190"/>
                        <a:pt x="192764" y="784162"/>
                      </a:cubicBezTo>
                      <a:moveTo>
                        <a:pt x="525321" y="794524"/>
                      </a:moveTo>
                      <a:cubicBezTo>
                        <a:pt x="524920" y="794605"/>
                        <a:pt x="521225" y="795087"/>
                        <a:pt x="517048" y="795488"/>
                      </a:cubicBezTo>
                      <a:cubicBezTo>
                        <a:pt x="518092" y="794846"/>
                        <a:pt x="520582" y="793239"/>
                        <a:pt x="517770" y="792596"/>
                      </a:cubicBezTo>
                      <a:cubicBezTo>
                        <a:pt x="516566" y="792355"/>
                        <a:pt x="514879" y="792275"/>
                        <a:pt x="514075" y="792275"/>
                      </a:cubicBezTo>
                      <a:cubicBezTo>
                        <a:pt x="515843" y="791472"/>
                        <a:pt x="519859" y="789544"/>
                        <a:pt x="516325" y="788178"/>
                      </a:cubicBezTo>
                      <a:cubicBezTo>
                        <a:pt x="516164" y="788098"/>
                        <a:pt x="515843" y="788018"/>
                        <a:pt x="515682" y="787937"/>
                      </a:cubicBezTo>
                      <a:cubicBezTo>
                        <a:pt x="518815" y="787214"/>
                        <a:pt x="520020" y="788500"/>
                        <a:pt x="520903" y="789865"/>
                      </a:cubicBezTo>
                      <a:cubicBezTo>
                        <a:pt x="520823" y="790427"/>
                        <a:pt x="520582" y="790990"/>
                        <a:pt x="520582" y="791633"/>
                      </a:cubicBezTo>
                      <a:cubicBezTo>
                        <a:pt x="520582" y="792034"/>
                        <a:pt x="520662" y="792275"/>
                        <a:pt x="520984" y="792596"/>
                      </a:cubicBezTo>
                      <a:cubicBezTo>
                        <a:pt x="521466" y="793078"/>
                        <a:pt x="522510" y="793159"/>
                        <a:pt x="524116" y="792918"/>
                      </a:cubicBezTo>
                      <a:cubicBezTo>
                        <a:pt x="524598" y="793400"/>
                        <a:pt x="525241" y="793962"/>
                        <a:pt x="525723" y="794444"/>
                      </a:cubicBezTo>
                      <a:cubicBezTo>
                        <a:pt x="525723" y="794444"/>
                        <a:pt x="525482" y="794524"/>
                        <a:pt x="525321" y="794524"/>
                      </a:cubicBezTo>
                      <a:moveTo>
                        <a:pt x="157660" y="681744"/>
                      </a:moveTo>
                      <a:cubicBezTo>
                        <a:pt x="157339" y="682306"/>
                        <a:pt x="157178" y="682386"/>
                        <a:pt x="157018" y="682627"/>
                      </a:cubicBezTo>
                      <a:cubicBezTo>
                        <a:pt x="155973" y="683591"/>
                        <a:pt x="154929" y="684877"/>
                        <a:pt x="153885" y="686403"/>
                      </a:cubicBezTo>
                      <a:cubicBezTo>
                        <a:pt x="154608" y="683752"/>
                        <a:pt x="156214" y="680860"/>
                        <a:pt x="158142" y="678772"/>
                      </a:cubicBezTo>
                      <a:cubicBezTo>
                        <a:pt x="158222" y="679253"/>
                        <a:pt x="158463" y="680378"/>
                        <a:pt x="157660" y="681744"/>
                      </a:cubicBezTo>
                      <a:moveTo>
                        <a:pt x="588861" y="796291"/>
                      </a:moveTo>
                      <a:cubicBezTo>
                        <a:pt x="587495" y="793882"/>
                        <a:pt x="585808" y="791873"/>
                        <a:pt x="583880" y="790427"/>
                      </a:cubicBezTo>
                      <a:cubicBezTo>
                        <a:pt x="585246" y="788098"/>
                        <a:pt x="586772" y="786170"/>
                        <a:pt x="587897" y="790026"/>
                      </a:cubicBezTo>
                      <a:cubicBezTo>
                        <a:pt x="588138" y="790910"/>
                        <a:pt x="588138" y="790910"/>
                        <a:pt x="589021" y="796532"/>
                      </a:cubicBezTo>
                      <a:cubicBezTo>
                        <a:pt x="588941" y="796452"/>
                        <a:pt x="588861" y="796372"/>
                        <a:pt x="588861" y="796291"/>
                      </a:cubicBezTo>
                      <a:moveTo>
                        <a:pt x="179911" y="691624"/>
                      </a:moveTo>
                      <a:cubicBezTo>
                        <a:pt x="179831" y="691704"/>
                        <a:pt x="177983" y="692508"/>
                        <a:pt x="177180" y="692909"/>
                      </a:cubicBezTo>
                      <a:cubicBezTo>
                        <a:pt x="178063" y="692427"/>
                        <a:pt x="178947" y="692026"/>
                        <a:pt x="179911" y="691624"/>
                      </a:cubicBezTo>
                      <a:lnTo>
                        <a:pt x="179911" y="691624"/>
                      </a:lnTo>
                      <a:moveTo>
                        <a:pt x="520020" y="786090"/>
                      </a:moveTo>
                      <a:cubicBezTo>
                        <a:pt x="516084" y="785849"/>
                        <a:pt x="513433" y="786491"/>
                        <a:pt x="511184" y="787295"/>
                      </a:cubicBezTo>
                      <a:lnTo>
                        <a:pt x="510139" y="785688"/>
                      </a:lnTo>
                      <a:lnTo>
                        <a:pt x="510943" y="785849"/>
                      </a:lnTo>
                      <a:cubicBezTo>
                        <a:pt x="520421" y="786491"/>
                        <a:pt x="518574" y="782957"/>
                        <a:pt x="517931" y="781832"/>
                      </a:cubicBezTo>
                      <a:cubicBezTo>
                        <a:pt x="520341" y="780788"/>
                        <a:pt x="520502" y="782796"/>
                        <a:pt x="520582" y="786090"/>
                      </a:cubicBezTo>
                      <a:cubicBezTo>
                        <a:pt x="520421" y="786170"/>
                        <a:pt x="520180" y="786090"/>
                        <a:pt x="520020" y="786090"/>
                      </a:cubicBezTo>
                      <a:moveTo>
                        <a:pt x="613521" y="798782"/>
                      </a:moveTo>
                      <a:cubicBezTo>
                        <a:pt x="613280" y="799183"/>
                        <a:pt x="611353" y="802396"/>
                        <a:pt x="606453" y="800870"/>
                      </a:cubicBezTo>
                      <a:cubicBezTo>
                        <a:pt x="585005" y="794364"/>
                        <a:pt x="585326" y="805128"/>
                        <a:pt x="585407" y="809144"/>
                      </a:cubicBezTo>
                      <a:cubicBezTo>
                        <a:pt x="584282" y="809305"/>
                        <a:pt x="580346" y="809786"/>
                        <a:pt x="576651" y="807136"/>
                      </a:cubicBezTo>
                      <a:cubicBezTo>
                        <a:pt x="580426" y="803119"/>
                        <a:pt x="580426" y="800147"/>
                        <a:pt x="576731" y="795006"/>
                      </a:cubicBezTo>
                      <a:cubicBezTo>
                        <a:pt x="578338" y="796050"/>
                        <a:pt x="579141" y="797898"/>
                        <a:pt x="580908" y="798701"/>
                      </a:cubicBezTo>
                      <a:cubicBezTo>
                        <a:pt x="580989" y="798701"/>
                        <a:pt x="581069" y="798701"/>
                        <a:pt x="581149" y="798621"/>
                      </a:cubicBezTo>
                      <a:cubicBezTo>
                        <a:pt x="582595" y="798380"/>
                        <a:pt x="584523" y="798701"/>
                        <a:pt x="585166" y="798782"/>
                      </a:cubicBezTo>
                      <a:cubicBezTo>
                        <a:pt x="584925" y="798380"/>
                        <a:pt x="584603" y="797898"/>
                        <a:pt x="584362" y="797577"/>
                      </a:cubicBezTo>
                      <a:cubicBezTo>
                        <a:pt x="586290" y="797898"/>
                        <a:pt x="587977" y="797898"/>
                        <a:pt x="589584" y="797737"/>
                      </a:cubicBezTo>
                      <a:cubicBezTo>
                        <a:pt x="589343" y="797336"/>
                        <a:pt x="589182" y="796854"/>
                        <a:pt x="588941" y="796452"/>
                      </a:cubicBezTo>
                      <a:cubicBezTo>
                        <a:pt x="590066" y="796291"/>
                        <a:pt x="593359" y="795890"/>
                        <a:pt x="598661" y="796291"/>
                      </a:cubicBezTo>
                      <a:cubicBezTo>
                        <a:pt x="595287" y="793721"/>
                        <a:pt x="595046" y="791311"/>
                        <a:pt x="597697" y="785688"/>
                      </a:cubicBezTo>
                      <a:cubicBezTo>
                        <a:pt x="598741" y="795970"/>
                        <a:pt x="607095" y="797898"/>
                        <a:pt x="613923" y="797737"/>
                      </a:cubicBezTo>
                      <a:cubicBezTo>
                        <a:pt x="613843" y="798139"/>
                        <a:pt x="613682" y="798541"/>
                        <a:pt x="613521" y="798782"/>
                      </a:cubicBezTo>
                      <a:moveTo>
                        <a:pt x="243932" y="721908"/>
                      </a:moveTo>
                      <a:cubicBezTo>
                        <a:pt x="238309" y="722309"/>
                        <a:pt x="233490" y="724077"/>
                        <a:pt x="231883" y="724639"/>
                      </a:cubicBezTo>
                      <a:cubicBezTo>
                        <a:pt x="232044" y="724237"/>
                        <a:pt x="232205" y="723916"/>
                        <a:pt x="232365" y="723514"/>
                      </a:cubicBezTo>
                      <a:cubicBezTo>
                        <a:pt x="234695" y="722470"/>
                        <a:pt x="235980" y="721265"/>
                        <a:pt x="237265" y="718695"/>
                      </a:cubicBezTo>
                      <a:cubicBezTo>
                        <a:pt x="240157" y="718614"/>
                        <a:pt x="242246" y="719578"/>
                        <a:pt x="244254" y="721827"/>
                      </a:cubicBezTo>
                      <a:cubicBezTo>
                        <a:pt x="244254" y="721827"/>
                        <a:pt x="244093" y="721908"/>
                        <a:pt x="243932" y="721908"/>
                      </a:cubicBezTo>
                      <a:moveTo>
                        <a:pt x="572956" y="791311"/>
                      </a:moveTo>
                      <a:cubicBezTo>
                        <a:pt x="570867" y="789544"/>
                        <a:pt x="568698" y="788178"/>
                        <a:pt x="567895" y="787616"/>
                      </a:cubicBezTo>
                      <a:cubicBezTo>
                        <a:pt x="567895" y="790186"/>
                        <a:pt x="567975" y="792757"/>
                        <a:pt x="568056" y="795408"/>
                      </a:cubicBezTo>
                      <a:cubicBezTo>
                        <a:pt x="565646" y="792837"/>
                        <a:pt x="564843" y="789865"/>
                        <a:pt x="565566" y="786331"/>
                      </a:cubicBezTo>
                      <a:cubicBezTo>
                        <a:pt x="565887" y="786331"/>
                        <a:pt x="566369" y="786331"/>
                        <a:pt x="566771" y="786331"/>
                      </a:cubicBezTo>
                      <a:cubicBezTo>
                        <a:pt x="567092" y="782716"/>
                        <a:pt x="567574" y="780065"/>
                        <a:pt x="568297" y="777414"/>
                      </a:cubicBezTo>
                      <a:cubicBezTo>
                        <a:pt x="569341" y="782154"/>
                        <a:pt x="570787" y="786090"/>
                        <a:pt x="573197" y="791552"/>
                      </a:cubicBezTo>
                      <a:cubicBezTo>
                        <a:pt x="573116" y="791472"/>
                        <a:pt x="573036" y="791392"/>
                        <a:pt x="572956" y="791311"/>
                      </a:cubicBezTo>
                      <a:moveTo>
                        <a:pt x="489897" y="768337"/>
                      </a:moveTo>
                      <a:cubicBezTo>
                        <a:pt x="485077" y="771711"/>
                        <a:pt x="479293" y="773157"/>
                        <a:pt x="472787" y="772514"/>
                      </a:cubicBezTo>
                      <a:cubicBezTo>
                        <a:pt x="472064" y="772434"/>
                        <a:pt x="471421" y="772354"/>
                        <a:pt x="470698" y="772193"/>
                      </a:cubicBezTo>
                      <a:cubicBezTo>
                        <a:pt x="472546" y="772193"/>
                        <a:pt x="473188" y="771952"/>
                        <a:pt x="473349" y="770988"/>
                      </a:cubicBezTo>
                      <a:cubicBezTo>
                        <a:pt x="475679" y="769944"/>
                        <a:pt x="483631" y="768096"/>
                        <a:pt x="490861" y="767614"/>
                      </a:cubicBezTo>
                      <a:cubicBezTo>
                        <a:pt x="490620" y="767855"/>
                        <a:pt x="490218" y="768096"/>
                        <a:pt x="489897" y="768337"/>
                      </a:cubicBezTo>
                      <a:moveTo>
                        <a:pt x="230759" y="705039"/>
                      </a:moveTo>
                      <a:cubicBezTo>
                        <a:pt x="229473" y="705440"/>
                        <a:pt x="228268" y="705440"/>
                        <a:pt x="227224" y="705039"/>
                      </a:cubicBezTo>
                      <a:cubicBezTo>
                        <a:pt x="226742" y="704798"/>
                        <a:pt x="226501" y="704557"/>
                        <a:pt x="226180" y="704155"/>
                      </a:cubicBezTo>
                      <a:cubicBezTo>
                        <a:pt x="229795" y="702870"/>
                        <a:pt x="232044" y="702227"/>
                        <a:pt x="231000" y="704959"/>
                      </a:cubicBezTo>
                      <a:cubicBezTo>
                        <a:pt x="230919" y="705039"/>
                        <a:pt x="230839" y="705039"/>
                        <a:pt x="230759" y="705039"/>
                      </a:cubicBezTo>
                      <a:moveTo>
                        <a:pt x="119986" y="543098"/>
                      </a:moveTo>
                      <a:cubicBezTo>
                        <a:pt x="119344" y="543740"/>
                        <a:pt x="118781" y="544383"/>
                        <a:pt x="118139" y="545106"/>
                      </a:cubicBezTo>
                      <a:cubicBezTo>
                        <a:pt x="119103" y="543740"/>
                        <a:pt x="120067" y="542214"/>
                        <a:pt x="121272" y="540206"/>
                      </a:cubicBezTo>
                      <a:cubicBezTo>
                        <a:pt x="120227" y="541973"/>
                        <a:pt x="119826" y="542937"/>
                        <a:pt x="119986" y="543098"/>
                      </a:cubicBezTo>
                      <a:cubicBezTo>
                        <a:pt x="119986" y="543098"/>
                        <a:pt x="119986" y="543098"/>
                        <a:pt x="119986" y="543098"/>
                      </a:cubicBezTo>
                      <a:moveTo>
                        <a:pt x="233972" y="700460"/>
                      </a:moveTo>
                      <a:cubicBezTo>
                        <a:pt x="232847" y="701826"/>
                        <a:pt x="232847" y="701826"/>
                        <a:pt x="232365" y="702067"/>
                      </a:cubicBezTo>
                      <a:cubicBezTo>
                        <a:pt x="231562" y="702468"/>
                        <a:pt x="230919" y="702388"/>
                        <a:pt x="230437" y="702308"/>
                      </a:cubicBezTo>
                      <a:cubicBezTo>
                        <a:pt x="231562" y="700541"/>
                        <a:pt x="232927" y="699737"/>
                        <a:pt x="234534" y="699898"/>
                      </a:cubicBezTo>
                      <a:cubicBezTo>
                        <a:pt x="234454" y="700058"/>
                        <a:pt x="234213" y="700219"/>
                        <a:pt x="233972" y="700460"/>
                      </a:cubicBezTo>
                      <a:moveTo>
                        <a:pt x="164890" y="655717"/>
                      </a:moveTo>
                      <a:cubicBezTo>
                        <a:pt x="164568" y="655557"/>
                        <a:pt x="164327" y="655476"/>
                        <a:pt x="164167" y="655316"/>
                      </a:cubicBezTo>
                      <a:cubicBezTo>
                        <a:pt x="163604" y="654834"/>
                        <a:pt x="164167" y="654352"/>
                        <a:pt x="165773" y="653950"/>
                      </a:cubicBezTo>
                      <a:cubicBezTo>
                        <a:pt x="165532" y="654513"/>
                        <a:pt x="165211" y="655155"/>
                        <a:pt x="164890" y="655717"/>
                      </a:cubicBezTo>
                      <a:moveTo>
                        <a:pt x="158222" y="649693"/>
                      </a:moveTo>
                      <a:cubicBezTo>
                        <a:pt x="156134" y="653549"/>
                        <a:pt x="154367" y="656280"/>
                        <a:pt x="153804" y="657163"/>
                      </a:cubicBezTo>
                      <a:cubicBezTo>
                        <a:pt x="154768" y="651942"/>
                        <a:pt x="155813" y="649853"/>
                        <a:pt x="157259" y="649693"/>
                      </a:cubicBezTo>
                      <a:cubicBezTo>
                        <a:pt x="157419" y="649371"/>
                        <a:pt x="157660" y="648890"/>
                        <a:pt x="157981" y="648649"/>
                      </a:cubicBezTo>
                      <a:cubicBezTo>
                        <a:pt x="158062" y="648568"/>
                        <a:pt x="159106" y="647604"/>
                        <a:pt x="160632" y="644873"/>
                      </a:cubicBezTo>
                      <a:cubicBezTo>
                        <a:pt x="160150" y="645837"/>
                        <a:pt x="159427" y="647444"/>
                        <a:pt x="158222" y="649693"/>
                      </a:cubicBezTo>
                      <a:moveTo>
                        <a:pt x="164247" y="648327"/>
                      </a:moveTo>
                      <a:cubicBezTo>
                        <a:pt x="163926" y="648970"/>
                        <a:pt x="163524" y="649532"/>
                        <a:pt x="163203" y="650175"/>
                      </a:cubicBezTo>
                      <a:cubicBezTo>
                        <a:pt x="163524" y="649532"/>
                        <a:pt x="163926" y="648970"/>
                        <a:pt x="164247" y="648327"/>
                      </a:cubicBezTo>
                      <a:lnTo>
                        <a:pt x="164247" y="648327"/>
                      </a:lnTo>
                      <a:moveTo>
                        <a:pt x="157901" y="642945"/>
                      </a:moveTo>
                      <a:cubicBezTo>
                        <a:pt x="155250" y="644150"/>
                        <a:pt x="153644" y="646640"/>
                        <a:pt x="153162" y="647444"/>
                      </a:cubicBezTo>
                      <a:cubicBezTo>
                        <a:pt x="154608" y="641259"/>
                        <a:pt x="155572" y="637162"/>
                        <a:pt x="156214" y="636358"/>
                      </a:cubicBezTo>
                      <a:cubicBezTo>
                        <a:pt x="156214" y="636358"/>
                        <a:pt x="156295" y="636358"/>
                        <a:pt x="156295" y="636358"/>
                      </a:cubicBezTo>
                      <a:cubicBezTo>
                        <a:pt x="156455" y="636680"/>
                        <a:pt x="156455" y="638286"/>
                        <a:pt x="156054" y="642383"/>
                      </a:cubicBezTo>
                      <a:cubicBezTo>
                        <a:pt x="158222" y="640455"/>
                        <a:pt x="159990" y="638206"/>
                        <a:pt x="161034" y="636599"/>
                      </a:cubicBezTo>
                      <a:cubicBezTo>
                        <a:pt x="158222" y="642785"/>
                        <a:pt x="158222" y="642785"/>
                        <a:pt x="157901" y="642945"/>
                      </a:cubicBezTo>
                      <a:moveTo>
                        <a:pt x="470056" y="749380"/>
                      </a:moveTo>
                      <a:cubicBezTo>
                        <a:pt x="469654" y="750585"/>
                        <a:pt x="468449" y="751549"/>
                        <a:pt x="467887" y="752111"/>
                      </a:cubicBezTo>
                      <a:lnTo>
                        <a:pt x="467244" y="751709"/>
                      </a:lnTo>
                      <a:cubicBezTo>
                        <a:pt x="467485" y="751549"/>
                        <a:pt x="467806" y="751308"/>
                        <a:pt x="468047" y="751147"/>
                      </a:cubicBezTo>
                      <a:cubicBezTo>
                        <a:pt x="463308" y="749862"/>
                        <a:pt x="461541" y="748014"/>
                        <a:pt x="462023" y="744641"/>
                      </a:cubicBezTo>
                      <a:cubicBezTo>
                        <a:pt x="469734" y="745524"/>
                        <a:pt x="470698" y="747693"/>
                        <a:pt x="470056" y="749380"/>
                      </a:cubicBezTo>
                      <a:moveTo>
                        <a:pt x="238068" y="686804"/>
                      </a:moveTo>
                      <a:cubicBezTo>
                        <a:pt x="237024" y="687286"/>
                        <a:pt x="236060" y="687286"/>
                        <a:pt x="235659" y="687206"/>
                      </a:cubicBezTo>
                      <a:cubicBezTo>
                        <a:pt x="235418" y="687929"/>
                        <a:pt x="235096" y="688813"/>
                        <a:pt x="234855" y="689535"/>
                      </a:cubicBezTo>
                      <a:cubicBezTo>
                        <a:pt x="233168" y="688250"/>
                        <a:pt x="231642" y="688170"/>
                        <a:pt x="230919" y="688090"/>
                      </a:cubicBezTo>
                      <a:cubicBezTo>
                        <a:pt x="231241" y="687688"/>
                        <a:pt x="231723" y="687126"/>
                        <a:pt x="232044" y="686724"/>
                      </a:cubicBezTo>
                      <a:cubicBezTo>
                        <a:pt x="234052" y="686563"/>
                        <a:pt x="235739" y="686563"/>
                        <a:pt x="238390" y="686563"/>
                      </a:cubicBezTo>
                      <a:cubicBezTo>
                        <a:pt x="238309" y="686644"/>
                        <a:pt x="238149" y="686724"/>
                        <a:pt x="238068" y="686804"/>
                      </a:cubicBezTo>
                      <a:moveTo>
                        <a:pt x="123119" y="569204"/>
                      </a:moveTo>
                      <a:cubicBezTo>
                        <a:pt x="122958" y="567758"/>
                        <a:pt x="122717" y="566393"/>
                        <a:pt x="121432" y="567758"/>
                      </a:cubicBezTo>
                      <a:cubicBezTo>
                        <a:pt x="120468" y="568803"/>
                        <a:pt x="119183" y="571293"/>
                        <a:pt x="118621" y="572498"/>
                      </a:cubicBezTo>
                      <a:cubicBezTo>
                        <a:pt x="120709" y="567357"/>
                        <a:pt x="122075" y="563501"/>
                        <a:pt x="123199" y="559565"/>
                      </a:cubicBezTo>
                      <a:cubicBezTo>
                        <a:pt x="123199" y="559806"/>
                        <a:pt x="123119" y="560047"/>
                        <a:pt x="123119" y="560288"/>
                      </a:cubicBezTo>
                      <a:cubicBezTo>
                        <a:pt x="123119" y="560368"/>
                        <a:pt x="123199" y="560529"/>
                        <a:pt x="123199" y="560609"/>
                      </a:cubicBezTo>
                      <a:cubicBezTo>
                        <a:pt x="123280" y="560609"/>
                        <a:pt x="123280" y="560609"/>
                        <a:pt x="123360" y="560609"/>
                      </a:cubicBezTo>
                      <a:cubicBezTo>
                        <a:pt x="123762" y="560208"/>
                        <a:pt x="124083" y="559806"/>
                        <a:pt x="125770" y="556111"/>
                      </a:cubicBezTo>
                      <a:cubicBezTo>
                        <a:pt x="125127" y="558039"/>
                        <a:pt x="123601" y="562055"/>
                        <a:pt x="123119" y="569204"/>
                      </a:cubicBezTo>
                      <a:cubicBezTo>
                        <a:pt x="123119" y="569204"/>
                        <a:pt x="123119" y="569204"/>
                        <a:pt x="123119" y="569204"/>
                      </a:cubicBezTo>
                      <a:moveTo>
                        <a:pt x="446439" y="744400"/>
                      </a:moveTo>
                      <a:cubicBezTo>
                        <a:pt x="446038" y="745123"/>
                        <a:pt x="444592" y="744962"/>
                        <a:pt x="443949" y="744882"/>
                      </a:cubicBezTo>
                      <a:cubicBezTo>
                        <a:pt x="442664" y="744721"/>
                        <a:pt x="441379" y="744319"/>
                        <a:pt x="439370" y="743677"/>
                      </a:cubicBezTo>
                      <a:cubicBezTo>
                        <a:pt x="439370" y="743677"/>
                        <a:pt x="442262" y="741428"/>
                        <a:pt x="444029" y="736608"/>
                      </a:cubicBezTo>
                      <a:cubicBezTo>
                        <a:pt x="444592" y="737973"/>
                        <a:pt x="444672" y="739018"/>
                        <a:pt x="444110" y="740062"/>
                      </a:cubicBezTo>
                      <a:cubicBezTo>
                        <a:pt x="445475" y="741588"/>
                        <a:pt x="446921" y="743516"/>
                        <a:pt x="446439" y="744400"/>
                      </a:cubicBezTo>
                      <a:moveTo>
                        <a:pt x="540744" y="756850"/>
                      </a:moveTo>
                      <a:cubicBezTo>
                        <a:pt x="538415" y="754842"/>
                        <a:pt x="535925" y="751388"/>
                        <a:pt x="537692" y="746809"/>
                      </a:cubicBezTo>
                      <a:cubicBezTo>
                        <a:pt x="538174" y="746327"/>
                        <a:pt x="538816" y="745765"/>
                        <a:pt x="539298" y="745283"/>
                      </a:cubicBezTo>
                      <a:cubicBezTo>
                        <a:pt x="537049" y="749701"/>
                        <a:pt x="537612" y="753477"/>
                        <a:pt x="541066" y="757091"/>
                      </a:cubicBezTo>
                      <a:cubicBezTo>
                        <a:pt x="540905" y="757011"/>
                        <a:pt x="540825" y="756931"/>
                        <a:pt x="540744" y="756850"/>
                      </a:cubicBezTo>
                      <a:moveTo>
                        <a:pt x="161355" y="635394"/>
                      </a:moveTo>
                      <a:cubicBezTo>
                        <a:pt x="160954" y="634109"/>
                        <a:pt x="161596" y="632663"/>
                        <a:pt x="161837" y="632101"/>
                      </a:cubicBezTo>
                      <a:cubicBezTo>
                        <a:pt x="162239" y="631137"/>
                        <a:pt x="164568" y="627281"/>
                        <a:pt x="164970" y="627121"/>
                      </a:cubicBezTo>
                      <a:cubicBezTo>
                        <a:pt x="164970" y="627121"/>
                        <a:pt x="164970" y="627121"/>
                        <a:pt x="165050" y="627121"/>
                      </a:cubicBezTo>
                      <a:cubicBezTo>
                        <a:pt x="165050" y="627603"/>
                        <a:pt x="163765" y="630655"/>
                        <a:pt x="161516" y="635635"/>
                      </a:cubicBezTo>
                      <a:cubicBezTo>
                        <a:pt x="161355" y="635555"/>
                        <a:pt x="161355" y="635475"/>
                        <a:pt x="161355" y="635394"/>
                      </a:cubicBezTo>
                      <a:moveTo>
                        <a:pt x="231482" y="658690"/>
                      </a:moveTo>
                      <a:cubicBezTo>
                        <a:pt x="227224" y="661742"/>
                        <a:pt x="220798" y="665517"/>
                        <a:pt x="214131" y="665999"/>
                      </a:cubicBezTo>
                      <a:cubicBezTo>
                        <a:pt x="215657" y="663108"/>
                        <a:pt x="217505" y="661019"/>
                        <a:pt x="221280" y="660457"/>
                      </a:cubicBezTo>
                      <a:cubicBezTo>
                        <a:pt x="221521" y="660296"/>
                        <a:pt x="221762" y="660135"/>
                        <a:pt x="222003" y="659975"/>
                      </a:cubicBezTo>
                      <a:cubicBezTo>
                        <a:pt x="223449" y="664152"/>
                        <a:pt x="227385" y="657083"/>
                        <a:pt x="230196" y="651942"/>
                      </a:cubicBezTo>
                      <a:lnTo>
                        <a:pt x="229714" y="653308"/>
                      </a:lnTo>
                      <a:cubicBezTo>
                        <a:pt x="230839" y="652986"/>
                        <a:pt x="231883" y="652665"/>
                        <a:pt x="233008" y="652424"/>
                      </a:cubicBezTo>
                      <a:cubicBezTo>
                        <a:pt x="230518" y="655075"/>
                        <a:pt x="230277" y="656521"/>
                        <a:pt x="231964" y="658288"/>
                      </a:cubicBezTo>
                      <a:cubicBezTo>
                        <a:pt x="231883" y="658368"/>
                        <a:pt x="231642" y="658529"/>
                        <a:pt x="231482" y="658690"/>
                      </a:cubicBezTo>
                      <a:moveTo>
                        <a:pt x="183124" y="624470"/>
                      </a:moveTo>
                      <a:cubicBezTo>
                        <a:pt x="179831" y="625353"/>
                        <a:pt x="178786" y="625112"/>
                        <a:pt x="178144" y="624631"/>
                      </a:cubicBezTo>
                      <a:cubicBezTo>
                        <a:pt x="176859" y="623104"/>
                        <a:pt x="178947" y="619891"/>
                        <a:pt x="178947" y="619891"/>
                      </a:cubicBezTo>
                      <a:cubicBezTo>
                        <a:pt x="178947" y="619891"/>
                        <a:pt x="181759" y="618445"/>
                        <a:pt x="183365" y="618606"/>
                      </a:cubicBezTo>
                      <a:cubicBezTo>
                        <a:pt x="185855" y="618847"/>
                        <a:pt x="184329" y="622462"/>
                        <a:pt x="183526" y="624390"/>
                      </a:cubicBezTo>
                      <a:cubicBezTo>
                        <a:pt x="183445" y="624309"/>
                        <a:pt x="183204" y="624390"/>
                        <a:pt x="183124" y="624470"/>
                      </a:cubicBezTo>
                      <a:moveTo>
                        <a:pt x="212605" y="635716"/>
                      </a:moveTo>
                      <a:cubicBezTo>
                        <a:pt x="206018" y="644231"/>
                        <a:pt x="194370" y="657806"/>
                        <a:pt x="190514" y="652826"/>
                      </a:cubicBezTo>
                      <a:cubicBezTo>
                        <a:pt x="191719" y="651139"/>
                        <a:pt x="192442" y="650014"/>
                        <a:pt x="193727" y="647926"/>
                      </a:cubicBezTo>
                      <a:cubicBezTo>
                        <a:pt x="194450" y="649050"/>
                        <a:pt x="193808" y="650577"/>
                        <a:pt x="194852" y="651540"/>
                      </a:cubicBezTo>
                      <a:cubicBezTo>
                        <a:pt x="195655" y="651781"/>
                        <a:pt x="196619" y="650255"/>
                        <a:pt x="198788" y="641660"/>
                      </a:cubicBezTo>
                      <a:cubicBezTo>
                        <a:pt x="198949" y="641018"/>
                        <a:pt x="199431" y="639170"/>
                        <a:pt x="200796" y="637885"/>
                      </a:cubicBezTo>
                      <a:cubicBezTo>
                        <a:pt x="200957" y="637724"/>
                        <a:pt x="201118" y="637563"/>
                        <a:pt x="201278" y="637403"/>
                      </a:cubicBezTo>
                      <a:cubicBezTo>
                        <a:pt x="201760" y="637001"/>
                        <a:pt x="202483" y="636840"/>
                        <a:pt x="203045" y="636439"/>
                      </a:cubicBezTo>
                      <a:cubicBezTo>
                        <a:pt x="204813" y="635073"/>
                        <a:pt x="206259" y="633386"/>
                        <a:pt x="208026" y="632021"/>
                      </a:cubicBezTo>
                      <a:cubicBezTo>
                        <a:pt x="208186" y="631860"/>
                        <a:pt x="208427" y="631699"/>
                        <a:pt x="208668" y="631539"/>
                      </a:cubicBezTo>
                      <a:cubicBezTo>
                        <a:pt x="210436" y="630173"/>
                        <a:pt x="211641" y="629370"/>
                        <a:pt x="212364" y="628808"/>
                      </a:cubicBezTo>
                      <a:cubicBezTo>
                        <a:pt x="212123" y="629932"/>
                        <a:pt x="211882" y="630655"/>
                        <a:pt x="211400" y="631860"/>
                      </a:cubicBezTo>
                      <a:cubicBezTo>
                        <a:pt x="211962" y="631458"/>
                        <a:pt x="212765" y="630977"/>
                        <a:pt x="213327" y="630575"/>
                      </a:cubicBezTo>
                      <a:cubicBezTo>
                        <a:pt x="212364" y="631940"/>
                        <a:pt x="211801" y="633065"/>
                        <a:pt x="211159" y="634672"/>
                      </a:cubicBezTo>
                      <a:cubicBezTo>
                        <a:pt x="211801" y="634190"/>
                        <a:pt x="212524" y="633547"/>
                        <a:pt x="213568" y="634270"/>
                      </a:cubicBezTo>
                      <a:cubicBezTo>
                        <a:pt x="213247" y="634832"/>
                        <a:pt x="212926" y="635394"/>
                        <a:pt x="212605" y="635716"/>
                      </a:cubicBezTo>
                      <a:moveTo>
                        <a:pt x="210596" y="618847"/>
                      </a:moveTo>
                      <a:cubicBezTo>
                        <a:pt x="207303" y="624711"/>
                        <a:pt x="203447" y="628647"/>
                        <a:pt x="200395" y="631458"/>
                      </a:cubicBezTo>
                      <a:cubicBezTo>
                        <a:pt x="199350" y="629450"/>
                        <a:pt x="199270" y="627281"/>
                        <a:pt x="202082" y="622783"/>
                      </a:cubicBezTo>
                      <a:cubicBezTo>
                        <a:pt x="202082" y="622703"/>
                        <a:pt x="205375" y="617803"/>
                        <a:pt x="207223" y="616357"/>
                      </a:cubicBezTo>
                      <a:cubicBezTo>
                        <a:pt x="207223" y="616357"/>
                        <a:pt x="208588" y="616276"/>
                        <a:pt x="209793" y="616678"/>
                      </a:cubicBezTo>
                      <a:cubicBezTo>
                        <a:pt x="210355" y="616839"/>
                        <a:pt x="210837" y="617080"/>
                        <a:pt x="211319" y="617321"/>
                      </a:cubicBezTo>
                      <a:cubicBezTo>
                        <a:pt x="211159" y="617883"/>
                        <a:pt x="210918" y="618365"/>
                        <a:pt x="210596" y="618847"/>
                      </a:cubicBezTo>
                      <a:moveTo>
                        <a:pt x="207544" y="614268"/>
                      </a:moveTo>
                      <a:cubicBezTo>
                        <a:pt x="207383" y="611296"/>
                        <a:pt x="208106" y="611296"/>
                        <a:pt x="208749" y="611858"/>
                      </a:cubicBezTo>
                      <a:cubicBezTo>
                        <a:pt x="208909" y="612019"/>
                        <a:pt x="209070" y="612180"/>
                        <a:pt x="209231" y="612340"/>
                      </a:cubicBezTo>
                      <a:lnTo>
                        <a:pt x="207544" y="614268"/>
                      </a:lnTo>
                      <a:moveTo>
                        <a:pt x="171155" y="579245"/>
                      </a:moveTo>
                      <a:cubicBezTo>
                        <a:pt x="169870" y="581253"/>
                        <a:pt x="168504" y="581655"/>
                        <a:pt x="168022" y="581816"/>
                      </a:cubicBezTo>
                      <a:cubicBezTo>
                        <a:pt x="169227" y="575952"/>
                        <a:pt x="170754" y="573462"/>
                        <a:pt x="173404" y="573301"/>
                      </a:cubicBezTo>
                      <a:cubicBezTo>
                        <a:pt x="173244" y="573622"/>
                        <a:pt x="173083" y="573944"/>
                        <a:pt x="173003" y="574265"/>
                      </a:cubicBezTo>
                      <a:cubicBezTo>
                        <a:pt x="172922" y="574908"/>
                        <a:pt x="172441" y="577237"/>
                        <a:pt x="171155" y="579245"/>
                      </a:cubicBezTo>
                      <a:moveTo>
                        <a:pt x="204732" y="598203"/>
                      </a:moveTo>
                      <a:cubicBezTo>
                        <a:pt x="204572" y="597881"/>
                        <a:pt x="204009" y="594749"/>
                        <a:pt x="204009" y="594427"/>
                      </a:cubicBezTo>
                      <a:cubicBezTo>
                        <a:pt x="204170" y="594749"/>
                        <a:pt x="204732" y="598122"/>
                        <a:pt x="204732" y="598203"/>
                      </a:cubicBezTo>
                      <a:moveTo>
                        <a:pt x="199913" y="586475"/>
                      </a:moveTo>
                      <a:cubicBezTo>
                        <a:pt x="199511" y="586475"/>
                        <a:pt x="199029" y="586314"/>
                        <a:pt x="198708" y="586234"/>
                      </a:cubicBezTo>
                      <a:cubicBezTo>
                        <a:pt x="186337" y="583342"/>
                        <a:pt x="180554" y="583342"/>
                        <a:pt x="174288" y="584306"/>
                      </a:cubicBezTo>
                      <a:cubicBezTo>
                        <a:pt x="175011" y="582860"/>
                        <a:pt x="175252" y="582378"/>
                        <a:pt x="175252" y="581976"/>
                      </a:cubicBezTo>
                      <a:cubicBezTo>
                        <a:pt x="175252" y="581976"/>
                        <a:pt x="175172" y="581896"/>
                        <a:pt x="175091" y="581816"/>
                      </a:cubicBezTo>
                      <a:cubicBezTo>
                        <a:pt x="174770" y="581896"/>
                        <a:pt x="174449" y="582137"/>
                        <a:pt x="173244" y="583422"/>
                      </a:cubicBezTo>
                      <a:cubicBezTo>
                        <a:pt x="174770" y="578763"/>
                        <a:pt x="174850" y="578603"/>
                        <a:pt x="175252" y="577960"/>
                      </a:cubicBezTo>
                      <a:cubicBezTo>
                        <a:pt x="175332" y="577960"/>
                        <a:pt x="175332" y="577960"/>
                        <a:pt x="175413" y="577960"/>
                      </a:cubicBezTo>
                      <a:cubicBezTo>
                        <a:pt x="175493" y="578121"/>
                        <a:pt x="175493" y="578201"/>
                        <a:pt x="175573" y="578763"/>
                      </a:cubicBezTo>
                      <a:cubicBezTo>
                        <a:pt x="178144" y="577398"/>
                        <a:pt x="190755" y="570891"/>
                        <a:pt x="190836" y="570891"/>
                      </a:cubicBezTo>
                      <a:cubicBezTo>
                        <a:pt x="193165" y="570409"/>
                        <a:pt x="193326" y="573542"/>
                        <a:pt x="193406" y="574908"/>
                      </a:cubicBezTo>
                      <a:cubicBezTo>
                        <a:pt x="192924" y="575470"/>
                        <a:pt x="192282" y="576273"/>
                        <a:pt x="191800" y="576835"/>
                      </a:cubicBezTo>
                      <a:cubicBezTo>
                        <a:pt x="195575" y="578201"/>
                        <a:pt x="198065" y="581173"/>
                        <a:pt x="200073" y="586635"/>
                      </a:cubicBezTo>
                      <a:cubicBezTo>
                        <a:pt x="199993" y="586475"/>
                        <a:pt x="199913" y="586475"/>
                        <a:pt x="199913" y="586475"/>
                      </a:cubicBezTo>
                      <a:moveTo>
                        <a:pt x="215095" y="574667"/>
                      </a:moveTo>
                      <a:cubicBezTo>
                        <a:pt x="213247" y="574667"/>
                        <a:pt x="212364" y="575550"/>
                        <a:pt x="212042" y="575952"/>
                      </a:cubicBezTo>
                      <a:cubicBezTo>
                        <a:pt x="213327" y="576032"/>
                        <a:pt x="212444" y="577398"/>
                        <a:pt x="212364" y="577398"/>
                      </a:cubicBezTo>
                      <a:cubicBezTo>
                        <a:pt x="212364" y="577398"/>
                        <a:pt x="210596" y="579004"/>
                        <a:pt x="209713" y="579406"/>
                      </a:cubicBezTo>
                      <a:cubicBezTo>
                        <a:pt x="209311" y="579566"/>
                        <a:pt x="209070" y="579325"/>
                        <a:pt x="208990" y="578763"/>
                      </a:cubicBezTo>
                      <a:cubicBezTo>
                        <a:pt x="207624" y="579004"/>
                        <a:pt x="208508" y="577558"/>
                        <a:pt x="210998" y="573783"/>
                      </a:cubicBezTo>
                      <a:cubicBezTo>
                        <a:pt x="211560" y="574024"/>
                        <a:pt x="211400" y="574908"/>
                        <a:pt x="211078" y="575871"/>
                      </a:cubicBezTo>
                      <a:cubicBezTo>
                        <a:pt x="213247" y="572980"/>
                        <a:pt x="214693" y="572578"/>
                        <a:pt x="215416" y="574667"/>
                      </a:cubicBezTo>
                      <a:cubicBezTo>
                        <a:pt x="215175" y="574667"/>
                        <a:pt x="215095" y="574667"/>
                        <a:pt x="215095" y="574667"/>
                      </a:cubicBezTo>
                      <a:moveTo>
                        <a:pt x="180875" y="533298"/>
                      </a:moveTo>
                      <a:cubicBezTo>
                        <a:pt x="180232" y="533378"/>
                        <a:pt x="179670" y="534181"/>
                        <a:pt x="179429" y="534503"/>
                      </a:cubicBezTo>
                      <a:cubicBezTo>
                        <a:pt x="179991" y="530968"/>
                        <a:pt x="180393" y="529281"/>
                        <a:pt x="180714" y="529602"/>
                      </a:cubicBezTo>
                      <a:cubicBezTo>
                        <a:pt x="180955" y="529844"/>
                        <a:pt x="181036" y="532012"/>
                        <a:pt x="181036" y="533298"/>
                      </a:cubicBezTo>
                      <a:cubicBezTo>
                        <a:pt x="180955" y="533298"/>
                        <a:pt x="180875" y="533298"/>
                        <a:pt x="180875" y="533298"/>
                      </a:cubicBezTo>
                      <a:moveTo>
                        <a:pt x="171075" y="456906"/>
                      </a:moveTo>
                      <a:cubicBezTo>
                        <a:pt x="171075" y="456906"/>
                        <a:pt x="174931" y="450399"/>
                        <a:pt x="181437" y="440037"/>
                      </a:cubicBezTo>
                      <a:cubicBezTo>
                        <a:pt x="181116" y="440679"/>
                        <a:pt x="171155" y="456825"/>
                        <a:pt x="171075" y="456906"/>
                      </a:cubicBezTo>
                      <a:moveTo>
                        <a:pt x="233168" y="592901"/>
                      </a:moveTo>
                      <a:lnTo>
                        <a:pt x="231964" y="594267"/>
                      </a:lnTo>
                      <a:cubicBezTo>
                        <a:pt x="232767" y="588644"/>
                        <a:pt x="233490" y="585350"/>
                        <a:pt x="233731" y="584949"/>
                      </a:cubicBezTo>
                      <a:cubicBezTo>
                        <a:pt x="233811" y="584868"/>
                        <a:pt x="233972" y="584868"/>
                        <a:pt x="234052" y="584868"/>
                      </a:cubicBezTo>
                      <a:cubicBezTo>
                        <a:pt x="234855" y="584547"/>
                        <a:pt x="235739" y="583824"/>
                        <a:pt x="235980" y="583503"/>
                      </a:cubicBezTo>
                      <a:cubicBezTo>
                        <a:pt x="236623" y="582780"/>
                        <a:pt x="237185" y="581896"/>
                        <a:pt x="237908" y="581173"/>
                      </a:cubicBezTo>
                      <a:cubicBezTo>
                        <a:pt x="238470" y="580611"/>
                        <a:pt x="238631" y="580611"/>
                        <a:pt x="238711" y="580611"/>
                      </a:cubicBezTo>
                      <a:cubicBezTo>
                        <a:pt x="239113" y="581093"/>
                        <a:pt x="238791" y="581816"/>
                        <a:pt x="233409" y="593865"/>
                      </a:cubicBezTo>
                      <a:lnTo>
                        <a:pt x="233168" y="592901"/>
                      </a:lnTo>
                      <a:moveTo>
                        <a:pt x="175814" y="498355"/>
                      </a:moveTo>
                      <a:cubicBezTo>
                        <a:pt x="174449" y="500122"/>
                        <a:pt x="173404" y="500685"/>
                        <a:pt x="173244" y="500042"/>
                      </a:cubicBezTo>
                      <a:cubicBezTo>
                        <a:pt x="173244" y="499721"/>
                        <a:pt x="173244" y="499479"/>
                        <a:pt x="173404" y="498837"/>
                      </a:cubicBezTo>
                      <a:cubicBezTo>
                        <a:pt x="174770" y="498275"/>
                        <a:pt x="176216" y="496748"/>
                        <a:pt x="177903" y="493937"/>
                      </a:cubicBezTo>
                      <a:cubicBezTo>
                        <a:pt x="177742" y="494660"/>
                        <a:pt x="177260" y="496427"/>
                        <a:pt x="175814" y="498355"/>
                      </a:cubicBezTo>
                      <a:moveTo>
                        <a:pt x="233891" y="568321"/>
                      </a:moveTo>
                      <a:cubicBezTo>
                        <a:pt x="232606" y="569927"/>
                        <a:pt x="231562" y="571775"/>
                        <a:pt x="230116" y="573221"/>
                      </a:cubicBezTo>
                      <a:cubicBezTo>
                        <a:pt x="228509" y="574908"/>
                        <a:pt x="226501" y="576193"/>
                        <a:pt x="224814" y="577719"/>
                      </a:cubicBezTo>
                      <a:cubicBezTo>
                        <a:pt x="226823" y="572498"/>
                        <a:pt x="228108" y="569766"/>
                        <a:pt x="230518" y="565911"/>
                      </a:cubicBezTo>
                      <a:cubicBezTo>
                        <a:pt x="229554" y="566794"/>
                        <a:pt x="229152" y="566955"/>
                        <a:pt x="228831" y="566794"/>
                      </a:cubicBezTo>
                      <a:cubicBezTo>
                        <a:pt x="228670" y="566634"/>
                        <a:pt x="228590" y="566393"/>
                        <a:pt x="228670" y="565750"/>
                      </a:cubicBezTo>
                      <a:cubicBezTo>
                        <a:pt x="228831" y="565830"/>
                        <a:pt x="229072" y="565991"/>
                        <a:pt x="229232" y="566071"/>
                      </a:cubicBezTo>
                      <a:cubicBezTo>
                        <a:pt x="230919" y="564385"/>
                        <a:pt x="231562" y="563903"/>
                        <a:pt x="231883" y="563983"/>
                      </a:cubicBezTo>
                      <a:cubicBezTo>
                        <a:pt x="232124" y="564385"/>
                        <a:pt x="231723" y="565429"/>
                        <a:pt x="230196" y="568240"/>
                      </a:cubicBezTo>
                      <a:lnTo>
                        <a:pt x="230759" y="568321"/>
                      </a:lnTo>
                      <a:cubicBezTo>
                        <a:pt x="230277" y="568722"/>
                        <a:pt x="229714" y="569284"/>
                        <a:pt x="229313" y="569686"/>
                      </a:cubicBezTo>
                      <a:cubicBezTo>
                        <a:pt x="231160" y="570008"/>
                        <a:pt x="232686" y="569365"/>
                        <a:pt x="234534" y="567437"/>
                      </a:cubicBezTo>
                      <a:cubicBezTo>
                        <a:pt x="234373" y="567758"/>
                        <a:pt x="234132" y="568080"/>
                        <a:pt x="233891" y="568321"/>
                      </a:cubicBezTo>
                      <a:moveTo>
                        <a:pt x="201519" y="406701"/>
                      </a:moveTo>
                      <a:cubicBezTo>
                        <a:pt x="203768" y="403568"/>
                        <a:pt x="206018" y="400515"/>
                        <a:pt x="208267" y="397383"/>
                      </a:cubicBezTo>
                      <a:cubicBezTo>
                        <a:pt x="208186" y="397704"/>
                        <a:pt x="203126" y="404612"/>
                        <a:pt x="201359" y="407022"/>
                      </a:cubicBezTo>
                      <a:cubicBezTo>
                        <a:pt x="201359" y="406861"/>
                        <a:pt x="201439" y="406781"/>
                        <a:pt x="201519" y="406701"/>
                      </a:cubicBezTo>
                      <a:moveTo>
                        <a:pt x="245941" y="555548"/>
                      </a:moveTo>
                      <a:cubicBezTo>
                        <a:pt x="245057" y="556914"/>
                        <a:pt x="243209" y="558922"/>
                        <a:pt x="241121" y="560368"/>
                      </a:cubicBezTo>
                      <a:cubicBezTo>
                        <a:pt x="241683" y="558681"/>
                        <a:pt x="242727" y="557396"/>
                        <a:pt x="243129" y="557235"/>
                      </a:cubicBezTo>
                      <a:cubicBezTo>
                        <a:pt x="243772" y="556994"/>
                        <a:pt x="244816" y="556512"/>
                        <a:pt x="246262" y="554986"/>
                      </a:cubicBezTo>
                      <a:cubicBezTo>
                        <a:pt x="246182" y="555227"/>
                        <a:pt x="246101" y="555388"/>
                        <a:pt x="245941" y="555548"/>
                      </a:cubicBezTo>
                      <a:moveTo>
                        <a:pt x="261444" y="539161"/>
                      </a:moveTo>
                      <a:cubicBezTo>
                        <a:pt x="260159" y="541009"/>
                        <a:pt x="258873" y="541571"/>
                        <a:pt x="258311" y="541812"/>
                      </a:cubicBezTo>
                      <a:cubicBezTo>
                        <a:pt x="259918" y="539242"/>
                        <a:pt x="261364" y="537153"/>
                        <a:pt x="263211" y="534824"/>
                      </a:cubicBezTo>
                      <a:cubicBezTo>
                        <a:pt x="263050" y="535547"/>
                        <a:pt x="262649" y="537394"/>
                        <a:pt x="261444" y="539161"/>
                      </a:cubicBezTo>
                      <a:moveTo>
                        <a:pt x="228991" y="509681"/>
                      </a:moveTo>
                      <a:cubicBezTo>
                        <a:pt x="226100" y="509842"/>
                        <a:pt x="224895" y="508235"/>
                        <a:pt x="224493" y="507593"/>
                      </a:cubicBezTo>
                      <a:cubicBezTo>
                        <a:pt x="222244" y="509520"/>
                        <a:pt x="219111" y="511529"/>
                        <a:pt x="215014" y="513376"/>
                      </a:cubicBezTo>
                      <a:cubicBezTo>
                        <a:pt x="215175" y="513537"/>
                        <a:pt x="215336" y="513698"/>
                        <a:pt x="215496" y="513858"/>
                      </a:cubicBezTo>
                      <a:cubicBezTo>
                        <a:pt x="210677" y="517232"/>
                        <a:pt x="201760" y="523417"/>
                        <a:pt x="195013" y="521811"/>
                      </a:cubicBezTo>
                      <a:cubicBezTo>
                        <a:pt x="188988" y="520365"/>
                        <a:pt x="187301" y="510244"/>
                        <a:pt x="187863" y="507111"/>
                      </a:cubicBezTo>
                      <a:cubicBezTo>
                        <a:pt x="188265" y="505022"/>
                        <a:pt x="189068" y="503094"/>
                        <a:pt x="189791" y="501166"/>
                      </a:cubicBezTo>
                      <a:cubicBezTo>
                        <a:pt x="189791" y="502371"/>
                        <a:pt x="189550" y="503496"/>
                        <a:pt x="189068" y="505504"/>
                      </a:cubicBezTo>
                      <a:cubicBezTo>
                        <a:pt x="191639" y="504540"/>
                        <a:pt x="192282" y="505986"/>
                        <a:pt x="191559" y="511368"/>
                      </a:cubicBezTo>
                      <a:cubicBezTo>
                        <a:pt x="191719" y="511288"/>
                        <a:pt x="191880" y="511127"/>
                        <a:pt x="191960" y="510966"/>
                      </a:cubicBezTo>
                      <a:cubicBezTo>
                        <a:pt x="193245" y="509762"/>
                        <a:pt x="193727" y="508155"/>
                        <a:pt x="193808" y="507834"/>
                      </a:cubicBezTo>
                      <a:cubicBezTo>
                        <a:pt x="194290" y="506147"/>
                        <a:pt x="196860" y="503657"/>
                        <a:pt x="196941" y="503657"/>
                      </a:cubicBezTo>
                      <a:cubicBezTo>
                        <a:pt x="199993" y="500845"/>
                        <a:pt x="204491" y="500203"/>
                        <a:pt x="206982" y="496668"/>
                      </a:cubicBezTo>
                      <a:cubicBezTo>
                        <a:pt x="209070" y="493696"/>
                        <a:pt x="210837" y="487109"/>
                        <a:pt x="212042" y="482289"/>
                      </a:cubicBezTo>
                      <a:cubicBezTo>
                        <a:pt x="211560" y="490965"/>
                        <a:pt x="211962" y="499721"/>
                        <a:pt x="210837" y="508396"/>
                      </a:cubicBezTo>
                      <a:cubicBezTo>
                        <a:pt x="219111" y="504219"/>
                        <a:pt x="223368" y="502934"/>
                        <a:pt x="227787" y="503094"/>
                      </a:cubicBezTo>
                      <a:cubicBezTo>
                        <a:pt x="228590" y="506066"/>
                        <a:pt x="229232" y="507834"/>
                        <a:pt x="229714" y="509520"/>
                      </a:cubicBezTo>
                      <a:cubicBezTo>
                        <a:pt x="229554" y="509601"/>
                        <a:pt x="229232" y="509601"/>
                        <a:pt x="228991" y="509681"/>
                      </a:cubicBezTo>
                      <a:moveTo>
                        <a:pt x="230598" y="512011"/>
                      </a:moveTo>
                      <a:cubicBezTo>
                        <a:pt x="229152" y="507593"/>
                        <a:pt x="228188" y="504299"/>
                        <a:pt x="227787" y="503094"/>
                      </a:cubicBezTo>
                      <a:cubicBezTo>
                        <a:pt x="231562" y="503737"/>
                        <a:pt x="232446" y="506548"/>
                        <a:pt x="230678" y="512332"/>
                      </a:cubicBezTo>
                      <a:cubicBezTo>
                        <a:pt x="230678" y="512252"/>
                        <a:pt x="230678" y="512091"/>
                        <a:pt x="230598" y="512011"/>
                      </a:cubicBezTo>
                      <a:moveTo>
                        <a:pt x="291808" y="559243"/>
                      </a:moveTo>
                      <a:cubicBezTo>
                        <a:pt x="291728" y="559243"/>
                        <a:pt x="289478" y="559565"/>
                        <a:pt x="288032" y="556352"/>
                      </a:cubicBezTo>
                      <a:cubicBezTo>
                        <a:pt x="288273" y="556271"/>
                        <a:pt x="288595" y="556271"/>
                        <a:pt x="288836" y="556191"/>
                      </a:cubicBezTo>
                      <a:cubicBezTo>
                        <a:pt x="289157" y="554585"/>
                        <a:pt x="289157" y="553701"/>
                        <a:pt x="289077" y="552416"/>
                      </a:cubicBezTo>
                      <a:cubicBezTo>
                        <a:pt x="288514" y="552737"/>
                        <a:pt x="287791" y="553139"/>
                        <a:pt x="287229" y="553460"/>
                      </a:cubicBezTo>
                      <a:cubicBezTo>
                        <a:pt x="288354" y="551612"/>
                        <a:pt x="288836" y="550488"/>
                        <a:pt x="289318" y="548640"/>
                      </a:cubicBezTo>
                      <a:cubicBezTo>
                        <a:pt x="289559" y="549122"/>
                        <a:pt x="289800" y="549363"/>
                        <a:pt x="290282" y="549684"/>
                      </a:cubicBezTo>
                      <a:cubicBezTo>
                        <a:pt x="290442" y="549765"/>
                        <a:pt x="290523" y="549845"/>
                        <a:pt x="290683" y="549845"/>
                      </a:cubicBezTo>
                      <a:cubicBezTo>
                        <a:pt x="290764" y="549765"/>
                        <a:pt x="290924" y="549604"/>
                        <a:pt x="291005" y="549443"/>
                      </a:cubicBezTo>
                      <a:cubicBezTo>
                        <a:pt x="292531" y="550167"/>
                        <a:pt x="294459" y="549765"/>
                        <a:pt x="296708" y="548239"/>
                      </a:cubicBezTo>
                      <a:cubicBezTo>
                        <a:pt x="293816" y="551934"/>
                        <a:pt x="292370" y="555388"/>
                        <a:pt x="292129" y="559243"/>
                      </a:cubicBezTo>
                      <a:cubicBezTo>
                        <a:pt x="291969" y="559163"/>
                        <a:pt x="291888" y="559243"/>
                        <a:pt x="291808" y="559243"/>
                      </a:cubicBezTo>
                      <a:moveTo>
                        <a:pt x="288354" y="538519"/>
                      </a:moveTo>
                      <a:cubicBezTo>
                        <a:pt x="285301" y="543339"/>
                        <a:pt x="283775" y="545186"/>
                        <a:pt x="283213" y="545025"/>
                      </a:cubicBezTo>
                      <a:cubicBezTo>
                        <a:pt x="282731" y="544624"/>
                        <a:pt x="283534" y="541973"/>
                        <a:pt x="283534" y="541893"/>
                      </a:cubicBezTo>
                      <a:cubicBezTo>
                        <a:pt x="283534" y="541893"/>
                        <a:pt x="285462" y="539885"/>
                        <a:pt x="288514" y="538117"/>
                      </a:cubicBezTo>
                      <a:cubicBezTo>
                        <a:pt x="288514" y="538198"/>
                        <a:pt x="288434" y="538358"/>
                        <a:pt x="288354" y="538519"/>
                      </a:cubicBezTo>
                      <a:moveTo>
                        <a:pt x="279357" y="532093"/>
                      </a:moveTo>
                      <a:cubicBezTo>
                        <a:pt x="275501" y="537876"/>
                        <a:pt x="273493" y="539081"/>
                        <a:pt x="272690" y="536189"/>
                      </a:cubicBezTo>
                      <a:cubicBezTo>
                        <a:pt x="271003" y="537957"/>
                        <a:pt x="269798" y="539322"/>
                        <a:pt x="268352" y="541170"/>
                      </a:cubicBezTo>
                      <a:cubicBezTo>
                        <a:pt x="268593" y="534021"/>
                        <a:pt x="271485" y="528478"/>
                        <a:pt x="271565" y="528478"/>
                      </a:cubicBezTo>
                      <a:cubicBezTo>
                        <a:pt x="271565" y="528478"/>
                        <a:pt x="277349" y="526068"/>
                        <a:pt x="281044" y="524783"/>
                      </a:cubicBezTo>
                      <a:cubicBezTo>
                        <a:pt x="280964" y="525747"/>
                        <a:pt x="281044" y="526068"/>
                        <a:pt x="281365" y="526389"/>
                      </a:cubicBezTo>
                      <a:cubicBezTo>
                        <a:pt x="281928" y="526630"/>
                        <a:pt x="282490" y="526309"/>
                        <a:pt x="283775" y="525265"/>
                      </a:cubicBezTo>
                      <a:cubicBezTo>
                        <a:pt x="282329" y="527514"/>
                        <a:pt x="280883" y="529844"/>
                        <a:pt x="279357" y="532093"/>
                      </a:cubicBezTo>
                      <a:moveTo>
                        <a:pt x="332052" y="534342"/>
                      </a:moveTo>
                      <a:cubicBezTo>
                        <a:pt x="331169" y="533298"/>
                        <a:pt x="328116" y="529361"/>
                        <a:pt x="324260" y="523980"/>
                      </a:cubicBezTo>
                      <a:cubicBezTo>
                        <a:pt x="327393" y="528398"/>
                        <a:pt x="329000" y="530406"/>
                        <a:pt x="332052" y="534342"/>
                      </a:cubicBezTo>
                      <a:cubicBezTo>
                        <a:pt x="332052" y="534342"/>
                        <a:pt x="332052" y="534342"/>
                        <a:pt x="332052" y="534342"/>
                      </a:cubicBezTo>
                      <a:moveTo>
                        <a:pt x="258472" y="492973"/>
                      </a:moveTo>
                      <a:cubicBezTo>
                        <a:pt x="258150" y="493053"/>
                        <a:pt x="256624" y="491688"/>
                        <a:pt x="255982" y="489921"/>
                      </a:cubicBezTo>
                      <a:cubicBezTo>
                        <a:pt x="255339" y="488153"/>
                        <a:pt x="253813" y="484779"/>
                        <a:pt x="250600" y="481325"/>
                      </a:cubicBezTo>
                      <a:cubicBezTo>
                        <a:pt x="253572" y="483173"/>
                        <a:pt x="255178" y="484217"/>
                        <a:pt x="260560" y="478433"/>
                      </a:cubicBezTo>
                      <a:cubicBezTo>
                        <a:pt x="259918" y="479558"/>
                        <a:pt x="259355" y="480442"/>
                        <a:pt x="258472" y="481647"/>
                      </a:cubicBezTo>
                      <a:cubicBezTo>
                        <a:pt x="258873" y="481566"/>
                        <a:pt x="259436" y="481406"/>
                        <a:pt x="259918" y="481245"/>
                      </a:cubicBezTo>
                      <a:cubicBezTo>
                        <a:pt x="256865" y="483414"/>
                        <a:pt x="257187" y="484779"/>
                        <a:pt x="257508" y="485904"/>
                      </a:cubicBezTo>
                      <a:cubicBezTo>
                        <a:pt x="258472" y="490162"/>
                        <a:pt x="259034" y="492732"/>
                        <a:pt x="258472" y="492973"/>
                      </a:cubicBezTo>
                      <a:moveTo>
                        <a:pt x="265782" y="473855"/>
                      </a:moveTo>
                      <a:cubicBezTo>
                        <a:pt x="265219" y="474417"/>
                        <a:pt x="263773" y="475783"/>
                        <a:pt x="262569" y="474979"/>
                      </a:cubicBezTo>
                      <a:cubicBezTo>
                        <a:pt x="263050" y="474578"/>
                        <a:pt x="264496" y="473534"/>
                        <a:pt x="265942" y="473694"/>
                      </a:cubicBezTo>
                      <a:cubicBezTo>
                        <a:pt x="265942" y="473775"/>
                        <a:pt x="265862" y="473855"/>
                        <a:pt x="265782" y="473855"/>
                      </a:cubicBezTo>
                      <a:moveTo>
                        <a:pt x="261364" y="474016"/>
                      </a:moveTo>
                      <a:cubicBezTo>
                        <a:pt x="262087" y="472168"/>
                        <a:pt x="261444" y="472168"/>
                        <a:pt x="260882" y="472329"/>
                      </a:cubicBezTo>
                      <a:lnTo>
                        <a:pt x="261926" y="470883"/>
                      </a:lnTo>
                      <a:cubicBezTo>
                        <a:pt x="262328" y="470481"/>
                        <a:pt x="262809" y="469999"/>
                        <a:pt x="263131" y="469598"/>
                      </a:cubicBezTo>
                      <a:cubicBezTo>
                        <a:pt x="263291" y="470802"/>
                        <a:pt x="262649" y="472329"/>
                        <a:pt x="261283" y="474257"/>
                      </a:cubicBezTo>
                      <a:cubicBezTo>
                        <a:pt x="261364" y="474096"/>
                        <a:pt x="261364" y="474096"/>
                        <a:pt x="261364" y="474016"/>
                      </a:cubicBezTo>
                      <a:moveTo>
                        <a:pt x="260962" y="471043"/>
                      </a:moveTo>
                      <a:cubicBezTo>
                        <a:pt x="260239" y="471927"/>
                        <a:pt x="259677" y="472489"/>
                        <a:pt x="259436" y="472730"/>
                      </a:cubicBezTo>
                      <a:cubicBezTo>
                        <a:pt x="260400" y="471525"/>
                        <a:pt x="261283" y="470080"/>
                        <a:pt x="262328" y="468232"/>
                      </a:cubicBezTo>
                      <a:cubicBezTo>
                        <a:pt x="262408" y="469035"/>
                        <a:pt x="261444" y="470481"/>
                        <a:pt x="260962" y="471043"/>
                      </a:cubicBezTo>
                      <a:moveTo>
                        <a:pt x="267308" y="473694"/>
                      </a:moveTo>
                      <a:cubicBezTo>
                        <a:pt x="267147" y="473935"/>
                        <a:pt x="266665" y="474016"/>
                        <a:pt x="266505" y="474096"/>
                      </a:cubicBezTo>
                      <a:cubicBezTo>
                        <a:pt x="266665" y="473775"/>
                        <a:pt x="266906" y="473453"/>
                        <a:pt x="267067" y="473132"/>
                      </a:cubicBezTo>
                      <a:cubicBezTo>
                        <a:pt x="267228" y="473132"/>
                        <a:pt x="267549" y="473373"/>
                        <a:pt x="267308" y="473694"/>
                      </a:cubicBezTo>
                      <a:moveTo>
                        <a:pt x="252126" y="459878"/>
                      </a:moveTo>
                      <a:cubicBezTo>
                        <a:pt x="253411" y="457227"/>
                        <a:pt x="254455" y="454978"/>
                        <a:pt x="255259" y="452889"/>
                      </a:cubicBezTo>
                      <a:cubicBezTo>
                        <a:pt x="255419" y="454496"/>
                        <a:pt x="254777" y="456424"/>
                        <a:pt x="253331" y="458914"/>
                      </a:cubicBezTo>
                      <a:lnTo>
                        <a:pt x="252126" y="459878"/>
                      </a:lnTo>
                      <a:moveTo>
                        <a:pt x="340165" y="511770"/>
                      </a:moveTo>
                      <a:cubicBezTo>
                        <a:pt x="336390" y="515465"/>
                        <a:pt x="335185" y="515063"/>
                        <a:pt x="334703" y="514902"/>
                      </a:cubicBezTo>
                      <a:cubicBezTo>
                        <a:pt x="334462" y="514822"/>
                        <a:pt x="334221" y="514661"/>
                        <a:pt x="334060" y="514099"/>
                      </a:cubicBezTo>
                      <a:cubicBezTo>
                        <a:pt x="334060" y="514099"/>
                        <a:pt x="333578" y="512573"/>
                        <a:pt x="333659" y="512171"/>
                      </a:cubicBezTo>
                      <a:cubicBezTo>
                        <a:pt x="333659" y="511770"/>
                        <a:pt x="334221" y="510324"/>
                        <a:pt x="335185" y="510083"/>
                      </a:cubicBezTo>
                      <a:cubicBezTo>
                        <a:pt x="336711" y="509681"/>
                        <a:pt x="338880" y="509601"/>
                        <a:pt x="340808" y="511207"/>
                      </a:cubicBezTo>
                      <a:cubicBezTo>
                        <a:pt x="340567" y="511368"/>
                        <a:pt x="340326" y="511609"/>
                        <a:pt x="340165" y="511770"/>
                      </a:cubicBezTo>
                      <a:moveTo>
                        <a:pt x="244414" y="425578"/>
                      </a:moveTo>
                      <a:cubicBezTo>
                        <a:pt x="243370" y="426702"/>
                        <a:pt x="242968" y="427265"/>
                        <a:pt x="242647" y="427666"/>
                      </a:cubicBezTo>
                      <a:cubicBezTo>
                        <a:pt x="245218" y="422124"/>
                        <a:pt x="246101" y="420758"/>
                        <a:pt x="246262" y="420597"/>
                      </a:cubicBezTo>
                      <a:cubicBezTo>
                        <a:pt x="246262" y="420597"/>
                        <a:pt x="246262" y="420597"/>
                        <a:pt x="246342" y="420597"/>
                      </a:cubicBezTo>
                      <a:cubicBezTo>
                        <a:pt x="246342" y="420597"/>
                        <a:pt x="245218" y="424694"/>
                        <a:pt x="244414" y="425578"/>
                      </a:cubicBezTo>
                      <a:moveTo>
                        <a:pt x="260480" y="447025"/>
                      </a:moveTo>
                      <a:cubicBezTo>
                        <a:pt x="258954" y="448150"/>
                        <a:pt x="258391" y="447507"/>
                        <a:pt x="258070" y="447186"/>
                      </a:cubicBezTo>
                      <a:cubicBezTo>
                        <a:pt x="257026" y="445258"/>
                        <a:pt x="257428" y="440679"/>
                        <a:pt x="259436" y="432406"/>
                      </a:cubicBezTo>
                      <a:lnTo>
                        <a:pt x="260962" y="430799"/>
                      </a:lnTo>
                      <a:cubicBezTo>
                        <a:pt x="261444" y="430237"/>
                        <a:pt x="262167" y="429434"/>
                        <a:pt x="262649" y="428791"/>
                      </a:cubicBezTo>
                      <a:cubicBezTo>
                        <a:pt x="263452" y="429755"/>
                        <a:pt x="262970" y="430076"/>
                        <a:pt x="261846" y="430398"/>
                      </a:cubicBezTo>
                      <a:cubicBezTo>
                        <a:pt x="259918" y="434093"/>
                        <a:pt x="258150" y="438189"/>
                        <a:pt x="261203" y="439716"/>
                      </a:cubicBezTo>
                      <a:cubicBezTo>
                        <a:pt x="259436" y="441483"/>
                        <a:pt x="257909" y="443411"/>
                        <a:pt x="260962" y="446624"/>
                      </a:cubicBezTo>
                      <a:cubicBezTo>
                        <a:pt x="260801" y="446704"/>
                        <a:pt x="260641" y="446865"/>
                        <a:pt x="260480" y="447025"/>
                      </a:cubicBezTo>
                      <a:moveTo>
                        <a:pt x="412541" y="492571"/>
                      </a:moveTo>
                      <a:cubicBezTo>
                        <a:pt x="411015" y="493455"/>
                        <a:pt x="409569" y="494339"/>
                        <a:pt x="408042" y="495222"/>
                      </a:cubicBezTo>
                      <a:cubicBezTo>
                        <a:pt x="409328" y="493375"/>
                        <a:pt x="409328" y="493375"/>
                        <a:pt x="409890" y="493053"/>
                      </a:cubicBezTo>
                      <a:cubicBezTo>
                        <a:pt x="411095" y="492330"/>
                        <a:pt x="411979" y="492330"/>
                        <a:pt x="412621" y="492411"/>
                      </a:cubicBezTo>
                      <a:cubicBezTo>
                        <a:pt x="412621" y="492491"/>
                        <a:pt x="412541" y="492491"/>
                        <a:pt x="412541" y="492571"/>
                      </a:cubicBezTo>
                      <a:moveTo>
                        <a:pt x="416557" y="495061"/>
                      </a:moveTo>
                      <a:cubicBezTo>
                        <a:pt x="416798" y="492491"/>
                        <a:pt x="415593" y="492170"/>
                        <a:pt x="412701" y="493937"/>
                      </a:cubicBezTo>
                      <a:cubicBezTo>
                        <a:pt x="412862" y="493535"/>
                        <a:pt x="412942" y="492893"/>
                        <a:pt x="413264" y="492571"/>
                      </a:cubicBezTo>
                      <a:cubicBezTo>
                        <a:pt x="413264" y="492571"/>
                        <a:pt x="414147" y="491768"/>
                        <a:pt x="415513" y="491366"/>
                      </a:cubicBezTo>
                      <a:cubicBezTo>
                        <a:pt x="415834" y="491286"/>
                        <a:pt x="416959" y="491045"/>
                        <a:pt x="417521" y="492491"/>
                      </a:cubicBezTo>
                      <a:cubicBezTo>
                        <a:pt x="417842" y="493294"/>
                        <a:pt x="417923" y="494258"/>
                        <a:pt x="417923" y="494820"/>
                      </a:cubicBezTo>
                      <a:cubicBezTo>
                        <a:pt x="417521" y="494981"/>
                        <a:pt x="416959" y="495061"/>
                        <a:pt x="416557" y="495061"/>
                      </a:cubicBezTo>
                      <a:moveTo>
                        <a:pt x="268995" y="400194"/>
                      </a:moveTo>
                      <a:cubicBezTo>
                        <a:pt x="262328" y="405335"/>
                        <a:pt x="260319" y="408468"/>
                        <a:pt x="259837" y="409271"/>
                      </a:cubicBezTo>
                      <a:cubicBezTo>
                        <a:pt x="258231" y="412324"/>
                        <a:pt x="255982" y="413689"/>
                        <a:pt x="255259" y="412243"/>
                      </a:cubicBezTo>
                      <a:cubicBezTo>
                        <a:pt x="252688" y="412565"/>
                        <a:pt x="252608" y="412645"/>
                        <a:pt x="250760" y="411761"/>
                      </a:cubicBezTo>
                      <a:cubicBezTo>
                        <a:pt x="249957" y="411360"/>
                        <a:pt x="248752" y="410958"/>
                        <a:pt x="247869" y="411119"/>
                      </a:cubicBezTo>
                      <a:cubicBezTo>
                        <a:pt x="244334" y="411922"/>
                        <a:pt x="244334" y="411922"/>
                        <a:pt x="237667" y="416099"/>
                      </a:cubicBezTo>
                      <a:cubicBezTo>
                        <a:pt x="241362" y="412966"/>
                        <a:pt x="248029" y="407424"/>
                        <a:pt x="251242" y="404933"/>
                      </a:cubicBezTo>
                      <a:cubicBezTo>
                        <a:pt x="242888" y="407906"/>
                        <a:pt x="240237" y="408468"/>
                        <a:pt x="241282" y="406058"/>
                      </a:cubicBezTo>
                      <a:cubicBezTo>
                        <a:pt x="241683" y="405014"/>
                        <a:pt x="241683" y="405014"/>
                        <a:pt x="256865" y="387824"/>
                      </a:cubicBezTo>
                      <a:cubicBezTo>
                        <a:pt x="257267" y="389109"/>
                        <a:pt x="258231" y="392161"/>
                        <a:pt x="259355" y="390474"/>
                      </a:cubicBezTo>
                      <a:cubicBezTo>
                        <a:pt x="260159" y="389270"/>
                        <a:pt x="260721" y="385735"/>
                        <a:pt x="261524" y="380353"/>
                      </a:cubicBezTo>
                      <a:cubicBezTo>
                        <a:pt x="260078" y="382040"/>
                        <a:pt x="259195" y="382843"/>
                        <a:pt x="257909" y="383968"/>
                      </a:cubicBezTo>
                      <a:cubicBezTo>
                        <a:pt x="259677" y="378907"/>
                        <a:pt x="259436" y="376417"/>
                        <a:pt x="257347" y="377140"/>
                      </a:cubicBezTo>
                      <a:lnTo>
                        <a:pt x="255580" y="378746"/>
                      </a:lnTo>
                      <a:cubicBezTo>
                        <a:pt x="257267" y="375935"/>
                        <a:pt x="258632" y="374088"/>
                        <a:pt x="261123" y="371597"/>
                      </a:cubicBezTo>
                      <a:cubicBezTo>
                        <a:pt x="263372" y="374650"/>
                        <a:pt x="266023" y="375774"/>
                        <a:pt x="269798" y="375132"/>
                      </a:cubicBezTo>
                      <a:cubicBezTo>
                        <a:pt x="271565" y="374891"/>
                        <a:pt x="277188" y="374650"/>
                        <a:pt x="277028" y="383245"/>
                      </a:cubicBezTo>
                      <a:cubicBezTo>
                        <a:pt x="255339" y="395053"/>
                        <a:pt x="269155" y="398427"/>
                        <a:pt x="269718" y="398587"/>
                      </a:cubicBezTo>
                      <a:cubicBezTo>
                        <a:pt x="270200" y="398668"/>
                        <a:pt x="270762" y="398587"/>
                        <a:pt x="271244" y="398587"/>
                      </a:cubicBezTo>
                      <a:cubicBezTo>
                        <a:pt x="270521" y="399069"/>
                        <a:pt x="269637" y="399712"/>
                        <a:pt x="268995" y="400194"/>
                      </a:cubicBezTo>
                      <a:moveTo>
                        <a:pt x="370851" y="460280"/>
                      </a:moveTo>
                      <a:cubicBezTo>
                        <a:pt x="365388" y="466465"/>
                        <a:pt x="362416" y="471686"/>
                        <a:pt x="361372" y="473453"/>
                      </a:cubicBezTo>
                      <a:cubicBezTo>
                        <a:pt x="362496" y="471204"/>
                        <a:pt x="364746" y="466545"/>
                        <a:pt x="366754" y="463734"/>
                      </a:cubicBezTo>
                      <a:cubicBezTo>
                        <a:pt x="367959" y="462047"/>
                        <a:pt x="369083" y="461083"/>
                        <a:pt x="370610" y="460360"/>
                      </a:cubicBezTo>
                      <a:cubicBezTo>
                        <a:pt x="370851" y="460280"/>
                        <a:pt x="371011" y="460119"/>
                        <a:pt x="371172" y="459958"/>
                      </a:cubicBezTo>
                      <a:cubicBezTo>
                        <a:pt x="371092" y="459958"/>
                        <a:pt x="370931" y="460119"/>
                        <a:pt x="370851" y="460280"/>
                      </a:cubicBezTo>
                      <a:moveTo>
                        <a:pt x="281124" y="347178"/>
                      </a:moveTo>
                      <a:cubicBezTo>
                        <a:pt x="278634" y="349025"/>
                        <a:pt x="277510" y="349829"/>
                        <a:pt x="277269" y="349829"/>
                      </a:cubicBezTo>
                      <a:cubicBezTo>
                        <a:pt x="277269" y="349829"/>
                        <a:pt x="277269" y="349829"/>
                        <a:pt x="277269" y="349829"/>
                      </a:cubicBezTo>
                      <a:cubicBezTo>
                        <a:pt x="277429" y="349507"/>
                        <a:pt x="280241" y="347017"/>
                        <a:pt x="280241" y="347017"/>
                      </a:cubicBezTo>
                      <a:cubicBezTo>
                        <a:pt x="280241" y="347017"/>
                        <a:pt x="280642" y="346856"/>
                        <a:pt x="281285" y="347017"/>
                      </a:cubicBezTo>
                      <a:cubicBezTo>
                        <a:pt x="281285" y="347017"/>
                        <a:pt x="281205" y="347097"/>
                        <a:pt x="281124" y="347178"/>
                      </a:cubicBezTo>
                      <a:moveTo>
                        <a:pt x="357677" y="449998"/>
                      </a:moveTo>
                      <a:cubicBezTo>
                        <a:pt x="356793" y="451042"/>
                        <a:pt x="355428" y="451765"/>
                        <a:pt x="354865" y="452006"/>
                      </a:cubicBezTo>
                      <a:cubicBezTo>
                        <a:pt x="354785" y="450640"/>
                        <a:pt x="355428" y="449435"/>
                        <a:pt x="357034" y="447989"/>
                      </a:cubicBezTo>
                      <a:cubicBezTo>
                        <a:pt x="357436" y="447507"/>
                        <a:pt x="358078" y="446865"/>
                        <a:pt x="358480" y="446383"/>
                      </a:cubicBezTo>
                      <a:cubicBezTo>
                        <a:pt x="358641" y="447025"/>
                        <a:pt x="358962" y="448471"/>
                        <a:pt x="357677" y="449998"/>
                      </a:cubicBezTo>
                      <a:moveTo>
                        <a:pt x="282088" y="344205"/>
                      </a:moveTo>
                      <a:cubicBezTo>
                        <a:pt x="282169" y="344045"/>
                        <a:pt x="283855" y="341555"/>
                        <a:pt x="286667" y="337619"/>
                      </a:cubicBezTo>
                      <a:cubicBezTo>
                        <a:pt x="286747" y="337619"/>
                        <a:pt x="286828" y="337538"/>
                        <a:pt x="286828" y="337538"/>
                      </a:cubicBezTo>
                      <a:cubicBezTo>
                        <a:pt x="285944" y="338823"/>
                        <a:pt x="284980" y="340109"/>
                        <a:pt x="284096" y="341394"/>
                      </a:cubicBezTo>
                      <a:cubicBezTo>
                        <a:pt x="283454" y="342278"/>
                        <a:pt x="282891" y="343322"/>
                        <a:pt x="282088" y="344205"/>
                      </a:cubicBezTo>
                      <a:moveTo>
                        <a:pt x="305223" y="350391"/>
                      </a:moveTo>
                      <a:cubicBezTo>
                        <a:pt x="304339" y="351274"/>
                        <a:pt x="304259" y="351274"/>
                        <a:pt x="304259" y="351274"/>
                      </a:cubicBezTo>
                      <a:cubicBezTo>
                        <a:pt x="304580" y="350471"/>
                        <a:pt x="309882" y="344366"/>
                        <a:pt x="309882" y="344366"/>
                      </a:cubicBezTo>
                      <a:cubicBezTo>
                        <a:pt x="309882" y="344366"/>
                        <a:pt x="311649" y="342599"/>
                        <a:pt x="313657" y="341394"/>
                      </a:cubicBezTo>
                      <a:cubicBezTo>
                        <a:pt x="310846" y="344366"/>
                        <a:pt x="308114" y="347419"/>
                        <a:pt x="305223" y="350391"/>
                      </a:cubicBezTo>
                      <a:moveTo>
                        <a:pt x="424992" y="413448"/>
                      </a:moveTo>
                      <a:cubicBezTo>
                        <a:pt x="423546" y="414492"/>
                        <a:pt x="421939" y="415376"/>
                        <a:pt x="420413" y="416099"/>
                      </a:cubicBezTo>
                      <a:cubicBezTo>
                        <a:pt x="420574" y="415537"/>
                        <a:pt x="421056" y="413850"/>
                        <a:pt x="424108" y="412002"/>
                      </a:cubicBezTo>
                      <a:cubicBezTo>
                        <a:pt x="424510" y="412404"/>
                        <a:pt x="424911" y="412806"/>
                        <a:pt x="425313" y="413207"/>
                      </a:cubicBezTo>
                      <a:cubicBezTo>
                        <a:pt x="425152" y="413288"/>
                        <a:pt x="425072" y="413368"/>
                        <a:pt x="424992" y="413448"/>
                      </a:cubicBezTo>
                      <a:moveTo>
                        <a:pt x="430052" y="167404"/>
                      </a:moveTo>
                      <a:cubicBezTo>
                        <a:pt x="430374" y="167163"/>
                        <a:pt x="430695" y="166922"/>
                        <a:pt x="431016" y="166681"/>
                      </a:cubicBezTo>
                      <a:lnTo>
                        <a:pt x="438487" y="160817"/>
                      </a:lnTo>
                      <a:cubicBezTo>
                        <a:pt x="437041" y="161861"/>
                        <a:pt x="434149" y="164110"/>
                        <a:pt x="429972" y="167404"/>
                      </a:cubicBezTo>
                      <a:cubicBezTo>
                        <a:pt x="429972" y="167484"/>
                        <a:pt x="429972" y="167404"/>
                        <a:pt x="430052" y="167404"/>
                      </a:cubicBezTo>
                      <a:moveTo>
                        <a:pt x="723571" y="829547"/>
                      </a:moveTo>
                      <a:cubicBezTo>
                        <a:pt x="721643" y="829065"/>
                        <a:pt x="719072" y="828423"/>
                        <a:pt x="717145" y="827941"/>
                      </a:cubicBezTo>
                      <a:cubicBezTo>
                        <a:pt x="719153" y="823603"/>
                        <a:pt x="721081" y="817337"/>
                        <a:pt x="721723" y="812598"/>
                      </a:cubicBezTo>
                      <a:cubicBezTo>
                        <a:pt x="714333" y="810590"/>
                        <a:pt x="706622" y="810670"/>
                        <a:pt x="699231" y="808903"/>
                      </a:cubicBezTo>
                      <a:cubicBezTo>
                        <a:pt x="698508" y="806975"/>
                        <a:pt x="697544" y="804405"/>
                        <a:pt x="696822" y="802557"/>
                      </a:cubicBezTo>
                      <a:cubicBezTo>
                        <a:pt x="695536" y="802316"/>
                        <a:pt x="695536" y="802316"/>
                        <a:pt x="655694" y="813321"/>
                      </a:cubicBezTo>
                      <a:lnTo>
                        <a:pt x="654890" y="813000"/>
                      </a:lnTo>
                      <a:lnTo>
                        <a:pt x="658344" y="810670"/>
                      </a:lnTo>
                      <a:cubicBezTo>
                        <a:pt x="669189" y="802396"/>
                        <a:pt x="683487" y="799665"/>
                        <a:pt x="693207" y="789624"/>
                      </a:cubicBezTo>
                      <a:cubicBezTo>
                        <a:pt x="686138" y="787696"/>
                        <a:pt x="676338" y="786331"/>
                        <a:pt x="669028" y="786090"/>
                      </a:cubicBezTo>
                      <a:cubicBezTo>
                        <a:pt x="669751" y="784242"/>
                        <a:pt x="670715" y="781832"/>
                        <a:pt x="671518" y="780065"/>
                      </a:cubicBezTo>
                      <a:cubicBezTo>
                        <a:pt x="667663" y="778619"/>
                        <a:pt x="661718" y="778459"/>
                        <a:pt x="657782" y="779583"/>
                      </a:cubicBezTo>
                      <a:cubicBezTo>
                        <a:pt x="658746" y="777575"/>
                        <a:pt x="660031" y="774844"/>
                        <a:pt x="660995" y="772836"/>
                      </a:cubicBezTo>
                      <a:cubicBezTo>
                        <a:pt x="660353" y="771149"/>
                        <a:pt x="659549" y="768819"/>
                        <a:pt x="658907" y="767132"/>
                      </a:cubicBezTo>
                      <a:lnTo>
                        <a:pt x="657381" y="768659"/>
                      </a:lnTo>
                      <a:cubicBezTo>
                        <a:pt x="643484" y="760224"/>
                        <a:pt x="643484" y="760224"/>
                        <a:pt x="635772" y="746649"/>
                      </a:cubicBezTo>
                      <a:cubicBezTo>
                        <a:pt x="639467" y="747452"/>
                        <a:pt x="644769" y="747211"/>
                        <a:pt x="648303" y="746006"/>
                      </a:cubicBezTo>
                      <a:cubicBezTo>
                        <a:pt x="645894" y="742954"/>
                        <a:pt x="643243" y="738375"/>
                        <a:pt x="641797" y="734760"/>
                      </a:cubicBezTo>
                      <a:cubicBezTo>
                        <a:pt x="639869" y="734439"/>
                        <a:pt x="637379" y="733957"/>
                        <a:pt x="635531" y="733636"/>
                      </a:cubicBezTo>
                      <a:cubicBezTo>
                        <a:pt x="637379" y="732190"/>
                        <a:pt x="639789" y="730262"/>
                        <a:pt x="641636" y="728896"/>
                      </a:cubicBezTo>
                      <a:cubicBezTo>
                        <a:pt x="640190" y="727129"/>
                        <a:pt x="638182" y="724800"/>
                        <a:pt x="636736" y="723032"/>
                      </a:cubicBezTo>
                      <a:cubicBezTo>
                        <a:pt x="634648" y="722952"/>
                        <a:pt x="631917" y="722791"/>
                        <a:pt x="629828" y="722711"/>
                      </a:cubicBezTo>
                      <a:cubicBezTo>
                        <a:pt x="631515" y="721105"/>
                        <a:pt x="633684" y="719016"/>
                        <a:pt x="635371" y="717409"/>
                      </a:cubicBezTo>
                      <a:cubicBezTo>
                        <a:pt x="633684" y="716526"/>
                        <a:pt x="631435" y="715401"/>
                        <a:pt x="629667" y="714518"/>
                      </a:cubicBezTo>
                      <a:cubicBezTo>
                        <a:pt x="630792" y="712670"/>
                        <a:pt x="632238" y="710260"/>
                        <a:pt x="633282" y="708493"/>
                      </a:cubicBezTo>
                      <a:cubicBezTo>
                        <a:pt x="632559" y="706726"/>
                        <a:pt x="631595" y="704316"/>
                        <a:pt x="630792" y="702468"/>
                      </a:cubicBezTo>
                      <a:cubicBezTo>
                        <a:pt x="628543" y="702147"/>
                        <a:pt x="625571" y="701745"/>
                        <a:pt x="623321" y="701424"/>
                      </a:cubicBezTo>
                      <a:cubicBezTo>
                        <a:pt x="624044" y="697408"/>
                        <a:pt x="624607" y="691865"/>
                        <a:pt x="624687" y="687768"/>
                      </a:cubicBezTo>
                      <a:cubicBezTo>
                        <a:pt x="623482" y="687527"/>
                        <a:pt x="621876" y="687206"/>
                        <a:pt x="620671" y="686965"/>
                      </a:cubicBezTo>
                      <a:cubicBezTo>
                        <a:pt x="620510" y="683270"/>
                        <a:pt x="618582" y="678290"/>
                        <a:pt x="616172" y="675398"/>
                      </a:cubicBezTo>
                      <a:cubicBezTo>
                        <a:pt x="614084" y="678531"/>
                        <a:pt x="611433" y="682868"/>
                        <a:pt x="609585" y="686162"/>
                      </a:cubicBezTo>
                      <a:cubicBezTo>
                        <a:pt x="606613" y="687929"/>
                        <a:pt x="602998" y="691223"/>
                        <a:pt x="601312" y="694195"/>
                      </a:cubicBezTo>
                      <a:lnTo>
                        <a:pt x="599303" y="701103"/>
                      </a:lnTo>
                      <a:cubicBezTo>
                        <a:pt x="595930" y="703352"/>
                        <a:pt x="592235" y="707690"/>
                        <a:pt x="590387" y="711305"/>
                      </a:cubicBezTo>
                      <a:cubicBezTo>
                        <a:pt x="588780" y="710260"/>
                        <a:pt x="586692" y="708814"/>
                        <a:pt x="585085" y="707770"/>
                      </a:cubicBezTo>
                      <a:cubicBezTo>
                        <a:pt x="575607" y="710180"/>
                        <a:pt x="575607" y="710180"/>
                        <a:pt x="565485" y="720140"/>
                      </a:cubicBezTo>
                      <a:cubicBezTo>
                        <a:pt x="565726" y="718293"/>
                        <a:pt x="566128" y="715722"/>
                        <a:pt x="566449" y="713875"/>
                      </a:cubicBezTo>
                      <a:cubicBezTo>
                        <a:pt x="559461" y="712349"/>
                        <a:pt x="559461" y="712349"/>
                        <a:pt x="546689" y="720623"/>
                      </a:cubicBezTo>
                      <a:cubicBezTo>
                        <a:pt x="550384" y="717570"/>
                        <a:pt x="554721" y="712991"/>
                        <a:pt x="557774" y="709376"/>
                      </a:cubicBezTo>
                      <a:cubicBezTo>
                        <a:pt x="557212" y="707529"/>
                        <a:pt x="556408" y="705039"/>
                        <a:pt x="555766" y="703111"/>
                      </a:cubicBezTo>
                      <a:cubicBezTo>
                        <a:pt x="551508" y="702147"/>
                        <a:pt x="545725" y="701344"/>
                        <a:pt x="541387" y="701264"/>
                      </a:cubicBezTo>
                      <a:cubicBezTo>
                        <a:pt x="544038" y="698211"/>
                        <a:pt x="547090" y="693713"/>
                        <a:pt x="548857" y="690098"/>
                      </a:cubicBezTo>
                      <a:cubicBezTo>
                        <a:pt x="546849" y="684957"/>
                        <a:pt x="541789" y="679093"/>
                        <a:pt x="537692" y="675398"/>
                      </a:cubicBezTo>
                      <a:cubicBezTo>
                        <a:pt x="551749" y="668490"/>
                        <a:pt x="551749" y="668490"/>
                        <a:pt x="555203" y="658770"/>
                      </a:cubicBezTo>
                      <a:cubicBezTo>
                        <a:pt x="543636" y="646158"/>
                        <a:pt x="530864" y="634832"/>
                        <a:pt x="519698" y="621899"/>
                      </a:cubicBezTo>
                      <a:cubicBezTo>
                        <a:pt x="514879" y="622060"/>
                        <a:pt x="508533" y="623506"/>
                        <a:pt x="504034" y="625273"/>
                      </a:cubicBezTo>
                      <a:cubicBezTo>
                        <a:pt x="502508" y="623908"/>
                        <a:pt x="500500" y="622060"/>
                        <a:pt x="498974" y="620614"/>
                      </a:cubicBezTo>
                      <a:cubicBezTo>
                        <a:pt x="496564" y="620936"/>
                        <a:pt x="493351" y="621337"/>
                        <a:pt x="490941" y="621739"/>
                      </a:cubicBezTo>
                      <a:lnTo>
                        <a:pt x="492949" y="620695"/>
                      </a:lnTo>
                      <a:cubicBezTo>
                        <a:pt x="483470" y="615473"/>
                        <a:pt x="483470" y="615473"/>
                        <a:pt x="456079" y="643508"/>
                      </a:cubicBezTo>
                      <a:cubicBezTo>
                        <a:pt x="456882" y="644954"/>
                        <a:pt x="458006" y="646962"/>
                        <a:pt x="458890" y="648408"/>
                      </a:cubicBezTo>
                      <a:cubicBezTo>
                        <a:pt x="424510" y="743757"/>
                        <a:pt x="424510" y="743757"/>
                        <a:pt x="393664" y="776852"/>
                      </a:cubicBezTo>
                      <a:cubicBezTo>
                        <a:pt x="394387" y="782636"/>
                        <a:pt x="394387" y="782636"/>
                        <a:pt x="383060" y="829306"/>
                      </a:cubicBezTo>
                      <a:cubicBezTo>
                        <a:pt x="381775" y="827700"/>
                        <a:pt x="380088" y="825531"/>
                        <a:pt x="378803" y="823924"/>
                      </a:cubicBezTo>
                      <a:cubicBezTo>
                        <a:pt x="377598" y="825852"/>
                        <a:pt x="375992" y="828503"/>
                        <a:pt x="374867" y="830431"/>
                      </a:cubicBezTo>
                      <a:cubicBezTo>
                        <a:pt x="371654" y="827860"/>
                        <a:pt x="366352" y="825451"/>
                        <a:pt x="362336" y="824728"/>
                      </a:cubicBezTo>
                      <a:cubicBezTo>
                        <a:pt x="363139" y="815329"/>
                        <a:pt x="362336" y="811072"/>
                        <a:pt x="351411" y="804244"/>
                      </a:cubicBezTo>
                      <a:cubicBezTo>
                        <a:pt x="364103" y="771872"/>
                        <a:pt x="364665" y="750344"/>
                        <a:pt x="328598" y="743195"/>
                      </a:cubicBezTo>
                      <a:cubicBezTo>
                        <a:pt x="316147" y="713232"/>
                        <a:pt x="316147" y="713232"/>
                        <a:pt x="274296" y="684796"/>
                      </a:cubicBezTo>
                      <a:cubicBezTo>
                        <a:pt x="275019" y="674996"/>
                        <a:pt x="279196" y="666080"/>
                        <a:pt x="281205" y="656601"/>
                      </a:cubicBezTo>
                      <a:cubicBezTo>
                        <a:pt x="279598" y="655235"/>
                        <a:pt x="277510" y="653468"/>
                        <a:pt x="275983" y="652103"/>
                      </a:cubicBezTo>
                      <a:cubicBezTo>
                        <a:pt x="273734" y="652665"/>
                        <a:pt x="270682" y="653468"/>
                        <a:pt x="268432" y="654031"/>
                      </a:cubicBezTo>
                      <a:cubicBezTo>
                        <a:pt x="287872" y="612019"/>
                        <a:pt x="341531" y="590572"/>
                        <a:pt x="339442" y="535627"/>
                      </a:cubicBezTo>
                      <a:cubicBezTo>
                        <a:pt x="353419" y="574104"/>
                        <a:pt x="399608" y="534663"/>
                        <a:pt x="399929" y="533860"/>
                      </a:cubicBezTo>
                      <a:cubicBezTo>
                        <a:pt x="404106" y="522373"/>
                        <a:pt x="394788" y="514902"/>
                        <a:pt x="382900" y="505343"/>
                      </a:cubicBezTo>
                      <a:cubicBezTo>
                        <a:pt x="385872" y="504781"/>
                        <a:pt x="390290" y="504621"/>
                        <a:pt x="392941" y="505906"/>
                      </a:cubicBezTo>
                      <a:cubicBezTo>
                        <a:pt x="400893" y="510645"/>
                        <a:pt x="405954" y="519160"/>
                        <a:pt x="414951" y="522453"/>
                      </a:cubicBezTo>
                      <a:cubicBezTo>
                        <a:pt x="421216" y="515143"/>
                        <a:pt x="421216" y="515143"/>
                        <a:pt x="426679" y="502211"/>
                      </a:cubicBezTo>
                      <a:cubicBezTo>
                        <a:pt x="430615" y="503817"/>
                        <a:pt x="435515" y="506789"/>
                        <a:pt x="438728" y="509601"/>
                      </a:cubicBezTo>
                      <a:cubicBezTo>
                        <a:pt x="443226" y="513617"/>
                        <a:pt x="443226" y="513617"/>
                        <a:pt x="443226" y="513617"/>
                      </a:cubicBez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cubicBezTo>
                        <a:pt x="449010" y="504540"/>
                        <a:pt x="449090" y="504380"/>
                        <a:pt x="454552" y="496106"/>
                      </a:cubicBezTo>
                      <a:cubicBezTo>
                        <a:pt x="491825" y="500363"/>
                        <a:pt x="512148" y="441242"/>
                        <a:pt x="512228" y="440679"/>
                      </a:cubicBezTo>
                      <a:cubicBezTo>
                        <a:pt x="510862" y="438832"/>
                        <a:pt x="509015" y="436342"/>
                        <a:pt x="507649" y="434414"/>
                      </a:cubicBezTo>
                      <a:cubicBezTo>
                        <a:pt x="465397" y="446624"/>
                        <a:pt x="465397" y="446624"/>
                        <a:pt x="432543" y="483012"/>
                      </a:cubicBezTo>
                      <a:cubicBezTo>
                        <a:pt x="446520" y="454014"/>
                        <a:pt x="444511" y="451122"/>
                        <a:pt x="439772" y="444294"/>
                      </a:cubicBezTo>
                      <a:cubicBezTo>
                        <a:pt x="437764" y="444455"/>
                        <a:pt x="435033" y="444696"/>
                        <a:pt x="432944" y="444856"/>
                      </a:cubicBezTo>
                      <a:cubicBezTo>
                        <a:pt x="432864" y="440599"/>
                        <a:pt x="433506" y="426301"/>
                        <a:pt x="444511" y="419714"/>
                      </a:cubicBezTo>
                      <a:cubicBezTo>
                        <a:pt x="442423" y="416581"/>
                        <a:pt x="439692" y="412243"/>
                        <a:pt x="437844" y="408950"/>
                      </a:cubicBezTo>
                      <a:cubicBezTo>
                        <a:pt x="451500" y="391358"/>
                        <a:pt x="456641" y="384771"/>
                        <a:pt x="473751" y="341876"/>
                      </a:cubicBezTo>
                      <a:cubicBezTo>
                        <a:pt x="471341" y="343001"/>
                        <a:pt x="468047" y="344446"/>
                        <a:pt x="465638" y="345491"/>
                      </a:cubicBezTo>
                      <a:cubicBezTo>
                        <a:pt x="465075" y="345812"/>
                        <a:pt x="409167" y="384289"/>
                        <a:pt x="423465" y="411520"/>
                      </a:cubicBezTo>
                      <a:cubicBezTo>
                        <a:pt x="421939" y="412163"/>
                        <a:pt x="408765" y="417866"/>
                        <a:pt x="410934" y="431924"/>
                      </a:cubicBezTo>
                      <a:cubicBezTo>
                        <a:pt x="391254" y="441483"/>
                        <a:pt x="386997" y="444375"/>
                        <a:pt x="372859" y="457709"/>
                      </a:cubicBezTo>
                      <a:cubicBezTo>
                        <a:pt x="374144" y="446061"/>
                        <a:pt x="390129" y="439153"/>
                        <a:pt x="383542" y="424855"/>
                      </a:cubicBezTo>
                      <a:cubicBezTo>
                        <a:pt x="378964" y="425096"/>
                        <a:pt x="375670" y="429032"/>
                        <a:pt x="371092" y="429353"/>
                      </a:cubicBezTo>
                      <a:cubicBezTo>
                        <a:pt x="370770" y="429273"/>
                        <a:pt x="342575" y="422766"/>
                        <a:pt x="333900" y="400355"/>
                      </a:cubicBezTo>
                      <a:cubicBezTo>
                        <a:pt x="327554" y="401158"/>
                        <a:pt x="321610" y="401961"/>
                        <a:pt x="306829" y="429755"/>
                      </a:cubicBezTo>
                      <a:cubicBezTo>
                        <a:pt x="306910" y="429032"/>
                        <a:pt x="306990" y="428068"/>
                        <a:pt x="307070" y="427345"/>
                      </a:cubicBezTo>
                      <a:cubicBezTo>
                        <a:pt x="303455" y="430398"/>
                        <a:pt x="299760" y="435779"/>
                        <a:pt x="297752" y="440117"/>
                      </a:cubicBezTo>
                      <a:cubicBezTo>
                        <a:pt x="303777" y="423891"/>
                        <a:pt x="303777" y="423891"/>
                        <a:pt x="311970" y="413689"/>
                      </a:cubicBezTo>
                      <a:cubicBezTo>
                        <a:pt x="308034" y="402042"/>
                        <a:pt x="307311" y="389591"/>
                        <a:pt x="303214" y="377943"/>
                      </a:cubicBezTo>
                      <a:cubicBezTo>
                        <a:pt x="328277" y="355692"/>
                        <a:pt x="323055" y="320509"/>
                        <a:pt x="339041" y="294322"/>
                      </a:cubicBezTo>
                      <a:cubicBezTo>
                        <a:pt x="337193" y="294723"/>
                        <a:pt x="334703" y="295286"/>
                        <a:pt x="332855" y="295768"/>
                      </a:cubicBezTo>
                      <a:cubicBezTo>
                        <a:pt x="336229" y="288779"/>
                        <a:pt x="336229" y="288779"/>
                        <a:pt x="343780" y="279702"/>
                      </a:cubicBezTo>
                      <a:cubicBezTo>
                        <a:pt x="336872" y="280024"/>
                        <a:pt x="330446" y="283478"/>
                        <a:pt x="323377" y="282996"/>
                      </a:cubicBezTo>
                      <a:cubicBezTo>
                        <a:pt x="343378" y="270946"/>
                        <a:pt x="343378" y="270946"/>
                        <a:pt x="345547" y="269179"/>
                      </a:cubicBezTo>
                      <a:cubicBezTo>
                        <a:pt x="341129" y="269661"/>
                        <a:pt x="335265" y="270705"/>
                        <a:pt x="331008" y="271669"/>
                      </a:cubicBezTo>
                      <a:cubicBezTo>
                        <a:pt x="332534" y="270304"/>
                        <a:pt x="334542" y="268536"/>
                        <a:pt x="336069" y="267171"/>
                      </a:cubicBezTo>
                      <a:cubicBezTo>
                        <a:pt x="335908" y="266207"/>
                        <a:pt x="335667" y="265002"/>
                        <a:pt x="335426" y="264118"/>
                      </a:cubicBezTo>
                      <a:cubicBezTo>
                        <a:pt x="333900" y="265404"/>
                        <a:pt x="331892" y="267091"/>
                        <a:pt x="330446" y="268376"/>
                      </a:cubicBezTo>
                      <a:cubicBezTo>
                        <a:pt x="370208" y="213351"/>
                        <a:pt x="423626" y="171982"/>
                        <a:pt x="441138" y="158407"/>
                      </a:cubicBezTo>
                      <a:cubicBezTo>
                        <a:pt x="425313" y="171259"/>
                        <a:pt x="403946" y="188208"/>
                        <a:pt x="388442" y="201463"/>
                      </a:cubicBezTo>
                      <a:cubicBezTo>
                        <a:pt x="316549" y="267974"/>
                        <a:pt x="301608" y="281791"/>
                        <a:pt x="237828" y="356978"/>
                      </a:cubicBezTo>
                      <a:lnTo>
                        <a:pt x="195093" y="412886"/>
                      </a:lnTo>
                      <a:lnTo>
                        <a:pt x="194370" y="413930"/>
                      </a:lnTo>
                      <a:cubicBezTo>
                        <a:pt x="189791" y="420517"/>
                        <a:pt x="185132" y="427024"/>
                        <a:pt x="180634" y="433611"/>
                      </a:cubicBezTo>
                      <a:cubicBezTo>
                        <a:pt x="174770" y="442366"/>
                        <a:pt x="173163" y="444696"/>
                        <a:pt x="167460" y="453532"/>
                      </a:cubicBezTo>
                      <a:cubicBezTo>
                        <a:pt x="168665" y="451765"/>
                        <a:pt x="170352" y="449435"/>
                        <a:pt x="171557" y="447748"/>
                      </a:cubicBezTo>
                      <a:cubicBezTo>
                        <a:pt x="170834" y="449114"/>
                        <a:pt x="169790" y="451042"/>
                        <a:pt x="169067" y="452407"/>
                      </a:cubicBezTo>
                      <a:cubicBezTo>
                        <a:pt x="167782" y="454416"/>
                        <a:pt x="166014" y="457147"/>
                        <a:pt x="164649" y="459155"/>
                      </a:cubicBezTo>
                      <a:cubicBezTo>
                        <a:pt x="166737" y="456263"/>
                        <a:pt x="169468" y="452407"/>
                        <a:pt x="171477" y="449516"/>
                      </a:cubicBezTo>
                      <a:lnTo>
                        <a:pt x="172842" y="447427"/>
                      </a:lnTo>
                      <a:cubicBezTo>
                        <a:pt x="151716" y="479639"/>
                        <a:pt x="146414" y="489519"/>
                        <a:pt x="116854" y="544383"/>
                      </a:cubicBezTo>
                      <a:cubicBezTo>
                        <a:pt x="118540" y="542053"/>
                        <a:pt x="120709" y="539001"/>
                        <a:pt x="122396" y="536671"/>
                      </a:cubicBezTo>
                      <a:cubicBezTo>
                        <a:pt x="109142" y="559565"/>
                        <a:pt x="98940" y="583985"/>
                        <a:pt x="86731" y="607360"/>
                      </a:cubicBezTo>
                      <a:cubicBezTo>
                        <a:pt x="87293" y="607601"/>
                        <a:pt x="87213" y="607842"/>
                        <a:pt x="87213" y="608083"/>
                      </a:cubicBezTo>
                      <a:cubicBezTo>
                        <a:pt x="71067" y="639491"/>
                        <a:pt x="69942" y="675960"/>
                        <a:pt x="53876" y="707449"/>
                      </a:cubicBezTo>
                      <a:cubicBezTo>
                        <a:pt x="53716" y="707449"/>
                        <a:pt x="53394" y="707368"/>
                        <a:pt x="53234" y="707368"/>
                      </a:cubicBezTo>
                      <a:cubicBezTo>
                        <a:pt x="54117" y="705521"/>
                        <a:pt x="55322" y="703031"/>
                        <a:pt x="56206" y="701183"/>
                      </a:cubicBezTo>
                      <a:cubicBezTo>
                        <a:pt x="55483" y="702227"/>
                        <a:pt x="54519" y="703593"/>
                        <a:pt x="53796" y="704637"/>
                      </a:cubicBezTo>
                      <a:lnTo>
                        <a:pt x="55885" y="700541"/>
                      </a:lnTo>
                      <a:cubicBezTo>
                        <a:pt x="56527" y="699095"/>
                        <a:pt x="56527" y="699095"/>
                        <a:pt x="59580" y="680057"/>
                      </a:cubicBezTo>
                      <a:cubicBezTo>
                        <a:pt x="55403" y="690901"/>
                        <a:pt x="54358" y="693552"/>
                        <a:pt x="50503" y="704396"/>
                      </a:cubicBezTo>
                      <a:cubicBezTo>
                        <a:pt x="50663" y="704075"/>
                        <a:pt x="50824" y="703673"/>
                        <a:pt x="50985" y="703352"/>
                      </a:cubicBezTo>
                      <a:cubicBezTo>
                        <a:pt x="44398" y="720542"/>
                        <a:pt x="25601" y="732832"/>
                        <a:pt x="30581" y="754682"/>
                      </a:cubicBezTo>
                      <a:cubicBezTo>
                        <a:pt x="20701" y="780386"/>
                        <a:pt x="17889" y="791392"/>
                        <a:pt x="17889" y="791472"/>
                      </a:cubicBezTo>
                      <a:lnTo>
                        <a:pt x="17568" y="792355"/>
                      </a:lnTo>
                      <a:lnTo>
                        <a:pt x="17568" y="792114"/>
                      </a:lnTo>
                      <a:cubicBezTo>
                        <a:pt x="12106" y="811152"/>
                        <a:pt x="10901" y="816855"/>
                        <a:pt x="7367" y="835090"/>
                      </a:cubicBezTo>
                      <a:cubicBezTo>
                        <a:pt x="7447" y="834528"/>
                        <a:pt x="7608" y="833724"/>
                        <a:pt x="7688" y="833162"/>
                      </a:cubicBezTo>
                      <a:lnTo>
                        <a:pt x="7045" y="835652"/>
                      </a:lnTo>
                      <a:cubicBezTo>
                        <a:pt x="21745" y="925379"/>
                        <a:pt x="-12876" y="1014944"/>
                        <a:pt x="6081" y="1104751"/>
                      </a:cubicBezTo>
                      <a:cubicBezTo>
                        <a:pt x="6804" y="1104510"/>
                        <a:pt x="7848" y="1104108"/>
                        <a:pt x="8571" y="1103867"/>
                      </a:cubicBezTo>
                      <a:cubicBezTo>
                        <a:pt x="2547" y="1059767"/>
                        <a:pt x="-3397" y="999682"/>
                        <a:pt x="2306" y="963695"/>
                      </a:cubicBezTo>
                      <a:cubicBezTo>
                        <a:pt x="11383" y="1002253"/>
                        <a:pt x="619" y="1043059"/>
                        <a:pt x="15399" y="1080893"/>
                      </a:cubicBezTo>
                      <a:cubicBezTo>
                        <a:pt x="30581" y="1119772"/>
                        <a:pt x="26886" y="1163792"/>
                        <a:pt x="48173" y="1200984"/>
                      </a:cubicBezTo>
                      <a:cubicBezTo>
                        <a:pt x="64319" y="1229179"/>
                        <a:pt x="94763" y="1255286"/>
                        <a:pt x="118942" y="1261712"/>
                      </a:cubicBezTo>
                      <a:lnTo>
                        <a:pt x="117898" y="1262274"/>
                      </a:lnTo>
                      <a:cubicBezTo>
                        <a:pt x="143121" y="1281071"/>
                        <a:pt x="160793" y="1308543"/>
                        <a:pt x="188988" y="1323966"/>
                      </a:cubicBezTo>
                      <a:cubicBezTo>
                        <a:pt x="188185" y="1323404"/>
                        <a:pt x="187141" y="1322681"/>
                        <a:pt x="186418" y="1322118"/>
                      </a:cubicBezTo>
                      <a:cubicBezTo>
                        <a:pt x="204893" y="1328705"/>
                        <a:pt x="204893" y="1328705"/>
                        <a:pt x="231482" y="1375296"/>
                      </a:cubicBezTo>
                      <a:cubicBezTo>
                        <a:pt x="262890" y="1378669"/>
                        <a:pt x="279518" y="1407266"/>
                        <a:pt x="306106" y="1418833"/>
                      </a:cubicBezTo>
                      <a:cubicBezTo>
                        <a:pt x="309159" y="1416022"/>
                        <a:pt x="312533" y="1411363"/>
                        <a:pt x="314300" y="1407587"/>
                      </a:cubicBezTo>
                      <a:cubicBezTo>
                        <a:pt x="300885" y="1403009"/>
                        <a:pt x="297190" y="1401563"/>
                        <a:pt x="281767" y="1394655"/>
                      </a:cubicBezTo>
                      <a:cubicBezTo>
                        <a:pt x="282329" y="1395378"/>
                        <a:pt x="283052" y="1396422"/>
                        <a:pt x="283614" y="1397145"/>
                      </a:cubicBezTo>
                      <a:cubicBezTo>
                        <a:pt x="259677" y="1381079"/>
                        <a:pt x="256062" y="1367504"/>
                        <a:pt x="252608" y="1354410"/>
                      </a:cubicBezTo>
                      <a:cubicBezTo>
                        <a:pt x="253009" y="1354651"/>
                        <a:pt x="253491" y="1354892"/>
                        <a:pt x="253893" y="1355133"/>
                      </a:cubicBezTo>
                      <a:cubicBezTo>
                        <a:pt x="253411" y="1336417"/>
                        <a:pt x="257588" y="1327260"/>
                        <a:pt x="260078" y="1321717"/>
                      </a:cubicBezTo>
                      <a:cubicBezTo>
                        <a:pt x="258472" y="1320271"/>
                        <a:pt x="256383" y="1318263"/>
                        <a:pt x="254777" y="1316817"/>
                      </a:cubicBezTo>
                      <a:cubicBezTo>
                        <a:pt x="254937" y="1317138"/>
                        <a:pt x="255098" y="1317540"/>
                        <a:pt x="255178" y="1317861"/>
                      </a:cubicBezTo>
                      <a:cubicBezTo>
                        <a:pt x="249957" y="1315371"/>
                        <a:pt x="247065" y="1310069"/>
                        <a:pt x="242005" y="1307418"/>
                      </a:cubicBezTo>
                      <a:cubicBezTo>
                        <a:pt x="227064" y="1301635"/>
                        <a:pt x="227064" y="1301635"/>
                        <a:pt x="221441" y="1300751"/>
                      </a:cubicBezTo>
                      <a:cubicBezTo>
                        <a:pt x="207544" y="1299225"/>
                        <a:pt x="200877" y="1297377"/>
                        <a:pt x="189068" y="1291835"/>
                      </a:cubicBezTo>
                      <a:cubicBezTo>
                        <a:pt x="188104" y="1286614"/>
                        <a:pt x="186177" y="1275769"/>
                        <a:pt x="192523" y="1259463"/>
                      </a:cubicBezTo>
                      <a:cubicBezTo>
                        <a:pt x="194049" y="1260668"/>
                        <a:pt x="196057" y="1262194"/>
                        <a:pt x="197503" y="1263399"/>
                      </a:cubicBezTo>
                      <a:cubicBezTo>
                        <a:pt x="208829" y="1243237"/>
                        <a:pt x="206098" y="1235204"/>
                        <a:pt x="203527" y="1227492"/>
                      </a:cubicBezTo>
                      <a:cubicBezTo>
                        <a:pt x="183606" y="1222351"/>
                        <a:pt x="169067" y="1223476"/>
                        <a:pt x="153322" y="1244602"/>
                      </a:cubicBezTo>
                      <a:cubicBezTo>
                        <a:pt x="153724" y="1244522"/>
                        <a:pt x="154367" y="1244361"/>
                        <a:pt x="154768" y="1244281"/>
                      </a:cubicBezTo>
                      <a:cubicBezTo>
                        <a:pt x="139024" y="1250787"/>
                        <a:pt x="113239" y="1231026"/>
                        <a:pt x="108178" y="1227010"/>
                      </a:cubicBezTo>
                      <a:cubicBezTo>
                        <a:pt x="108580" y="1227492"/>
                        <a:pt x="109142" y="1228135"/>
                        <a:pt x="109544" y="1228536"/>
                      </a:cubicBezTo>
                      <a:lnTo>
                        <a:pt x="107536" y="1226287"/>
                      </a:lnTo>
                      <a:cubicBezTo>
                        <a:pt x="92996" y="1196405"/>
                        <a:pt x="92996" y="1196405"/>
                        <a:pt x="95165" y="1148208"/>
                      </a:cubicBezTo>
                      <a:cubicBezTo>
                        <a:pt x="94362" y="1150136"/>
                        <a:pt x="93317" y="1152787"/>
                        <a:pt x="92514" y="1154715"/>
                      </a:cubicBezTo>
                      <a:cubicBezTo>
                        <a:pt x="92675" y="1151823"/>
                        <a:pt x="92996" y="1147967"/>
                        <a:pt x="93960" y="1145236"/>
                      </a:cubicBezTo>
                      <a:cubicBezTo>
                        <a:pt x="94281" y="1133508"/>
                        <a:pt x="96450" y="1122021"/>
                        <a:pt x="97013" y="1110374"/>
                      </a:cubicBezTo>
                      <a:cubicBezTo>
                        <a:pt x="99262" y="1109249"/>
                        <a:pt x="102636" y="1107723"/>
                        <a:pt x="103680" y="1105554"/>
                      </a:cubicBezTo>
                      <a:lnTo>
                        <a:pt x="106009" y="1105474"/>
                      </a:lnTo>
                      <a:cubicBezTo>
                        <a:pt x="106973" y="1103707"/>
                        <a:pt x="108339" y="1101377"/>
                        <a:pt x="109303" y="1099610"/>
                      </a:cubicBezTo>
                      <a:cubicBezTo>
                        <a:pt x="110026" y="1100172"/>
                        <a:pt x="110909" y="1100815"/>
                        <a:pt x="111632" y="1101377"/>
                      </a:cubicBezTo>
                      <a:lnTo>
                        <a:pt x="112677" y="1104189"/>
                      </a:lnTo>
                      <a:cubicBezTo>
                        <a:pt x="116693" y="1103707"/>
                        <a:pt x="122155" y="1101618"/>
                        <a:pt x="125047" y="1098807"/>
                      </a:cubicBezTo>
                      <a:cubicBezTo>
                        <a:pt x="129304" y="1097280"/>
                        <a:pt x="130188" y="1097602"/>
                        <a:pt x="131072" y="1098003"/>
                      </a:cubicBezTo>
                      <a:cubicBezTo>
                        <a:pt x="136695" y="1097200"/>
                        <a:pt x="142478" y="1096397"/>
                        <a:pt x="164006" y="1109731"/>
                      </a:cubicBezTo>
                      <a:cubicBezTo>
                        <a:pt x="164167" y="1111177"/>
                        <a:pt x="164488" y="1113185"/>
                        <a:pt x="164649" y="1114712"/>
                      </a:cubicBezTo>
                      <a:cubicBezTo>
                        <a:pt x="171155" y="1119130"/>
                        <a:pt x="171155" y="1119130"/>
                        <a:pt x="183124" y="1120495"/>
                      </a:cubicBezTo>
                      <a:cubicBezTo>
                        <a:pt x="184008" y="1122182"/>
                        <a:pt x="185213" y="1124512"/>
                        <a:pt x="186096" y="1126199"/>
                      </a:cubicBezTo>
                      <a:cubicBezTo>
                        <a:pt x="186659" y="1125958"/>
                        <a:pt x="187382" y="1125636"/>
                        <a:pt x="187944" y="1125395"/>
                      </a:cubicBezTo>
                      <a:lnTo>
                        <a:pt x="188827" y="1126520"/>
                      </a:lnTo>
                      <a:lnTo>
                        <a:pt x="185052" y="1116077"/>
                      </a:lnTo>
                      <a:lnTo>
                        <a:pt x="184811" y="1115676"/>
                      </a:lnTo>
                      <a:lnTo>
                        <a:pt x="187462" y="1112222"/>
                      </a:lnTo>
                      <a:cubicBezTo>
                        <a:pt x="185534" y="1111498"/>
                        <a:pt x="182963" y="1110454"/>
                        <a:pt x="181036" y="1109731"/>
                      </a:cubicBezTo>
                      <a:cubicBezTo>
                        <a:pt x="188988" y="1109249"/>
                        <a:pt x="197021" y="1109490"/>
                        <a:pt x="205054" y="1108767"/>
                      </a:cubicBezTo>
                      <a:cubicBezTo>
                        <a:pt x="205696" y="1110615"/>
                        <a:pt x="206500" y="1113105"/>
                        <a:pt x="207142" y="1114953"/>
                      </a:cubicBezTo>
                      <a:cubicBezTo>
                        <a:pt x="206339" y="1114953"/>
                        <a:pt x="205214" y="1114953"/>
                        <a:pt x="204411" y="1114953"/>
                      </a:cubicBezTo>
                      <a:cubicBezTo>
                        <a:pt x="206339" y="1115033"/>
                        <a:pt x="208829" y="1115033"/>
                        <a:pt x="210757" y="1115113"/>
                      </a:cubicBezTo>
                      <a:cubicBezTo>
                        <a:pt x="210677" y="1115274"/>
                        <a:pt x="210677" y="1115595"/>
                        <a:pt x="210596" y="1115756"/>
                      </a:cubicBezTo>
                      <a:lnTo>
                        <a:pt x="216219" y="1114792"/>
                      </a:lnTo>
                      <a:lnTo>
                        <a:pt x="217344" y="1114069"/>
                      </a:lnTo>
                      <a:cubicBezTo>
                        <a:pt x="269878" y="1143389"/>
                        <a:pt x="269959" y="1145959"/>
                        <a:pt x="270200" y="1165720"/>
                      </a:cubicBezTo>
                      <a:cubicBezTo>
                        <a:pt x="271485" y="1165238"/>
                        <a:pt x="273252" y="1164595"/>
                        <a:pt x="274537" y="1164113"/>
                      </a:cubicBezTo>
                      <a:cubicBezTo>
                        <a:pt x="273413" y="1165881"/>
                        <a:pt x="271967" y="1168130"/>
                        <a:pt x="270842" y="1169897"/>
                      </a:cubicBezTo>
                      <a:cubicBezTo>
                        <a:pt x="271003" y="1170218"/>
                        <a:pt x="291567" y="1200582"/>
                        <a:pt x="297351" y="1203073"/>
                      </a:cubicBezTo>
                      <a:cubicBezTo>
                        <a:pt x="299921" y="1201305"/>
                        <a:pt x="303295" y="1198895"/>
                        <a:pt x="306106" y="1197530"/>
                      </a:cubicBezTo>
                      <a:cubicBezTo>
                        <a:pt x="306910" y="1186686"/>
                        <a:pt x="307472" y="1178813"/>
                        <a:pt x="300564" y="1162668"/>
                      </a:cubicBezTo>
                      <a:cubicBezTo>
                        <a:pt x="300001" y="1161302"/>
                        <a:pt x="287470" y="1130054"/>
                        <a:pt x="295503" y="1119853"/>
                      </a:cubicBezTo>
                      <a:cubicBezTo>
                        <a:pt x="298395" y="1117121"/>
                        <a:pt x="301608" y="1112623"/>
                        <a:pt x="303214" y="1108928"/>
                      </a:cubicBezTo>
                      <a:cubicBezTo>
                        <a:pt x="303616" y="1109410"/>
                        <a:pt x="304098" y="1110133"/>
                        <a:pt x="304419" y="1110615"/>
                      </a:cubicBezTo>
                      <a:lnTo>
                        <a:pt x="305383" y="1110053"/>
                      </a:lnTo>
                      <a:cubicBezTo>
                        <a:pt x="313095" y="1108687"/>
                        <a:pt x="319842" y="1104269"/>
                        <a:pt x="327393" y="1102341"/>
                      </a:cubicBezTo>
                      <a:cubicBezTo>
                        <a:pt x="336229" y="1096477"/>
                        <a:pt x="346511" y="1093987"/>
                        <a:pt x="355910" y="1089248"/>
                      </a:cubicBezTo>
                      <a:cubicBezTo>
                        <a:pt x="355829" y="1088364"/>
                        <a:pt x="355749" y="1087159"/>
                        <a:pt x="355669" y="1086356"/>
                      </a:cubicBezTo>
                      <a:cubicBezTo>
                        <a:pt x="359926" y="1087320"/>
                        <a:pt x="365951" y="1087480"/>
                        <a:pt x="370208" y="1086517"/>
                      </a:cubicBezTo>
                      <a:cubicBezTo>
                        <a:pt x="368200" y="1085633"/>
                        <a:pt x="365549" y="1084508"/>
                        <a:pt x="363621" y="1083705"/>
                      </a:cubicBezTo>
                      <a:cubicBezTo>
                        <a:pt x="363300" y="1081456"/>
                        <a:pt x="362818" y="1078403"/>
                        <a:pt x="362496" y="1076154"/>
                      </a:cubicBezTo>
                      <a:cubicBezTo>
                        <a:pt x="366593" y="1076877"/>
                        <a:pt x="371975" y="1077680"/>
                        <a:pt x="376072" y="1078243"/>
                      </a:cubicBezTo>
                      <a:cubicBezTo>
                        <a:pt x="375670" y="1076235"/>
                        <a:pt x="375108" y="1073584"/>
                        <a:pt x="374706" y="1071575"/>
                      </a:cubicBezTo>
                      <a:cubicBezTo>
                        <a:pt x="372618" y="1071334"/>
                        <a:pt x="369806" y="1071093"/>
                        <a:pt x="367798" y="1070933"/>
                      </a:cubicBezTo>
                      <a:cubicBezTo>
                        <a:pt x="369806" y="1070692"/>
                        <a:pt x="372457" y="1070290"/>
                        <a:pt x="374385" y="1070049"/>
                      </a:cubicBezTo>
                      <a:cubicBezTo>
                        <a:pt x="374546" y="1069648"/>
                        <a:pt x="374706" y="1069085"/>
                        <a:pt x="374867" y="1068684"/>
                      </a:cubicBezTo>
                      <a:lnTo>
                        <a:pt x="376634" y="1069567"/>
                      </a:lnTo>
                      <a:cubicBezTo>
                        <a:pt x="376715" y="1068925"/>
                        <a:pt x="376795" y="1068282"/>
                        <a:pt x="376875" y="1067639"/>
                      </a:cubicBezTo>
                      <a:cubicBezTo>
                        <a:pt x="378642" y="1068603"/>
                        <a:pt x="381052" y="1069808"/>
                        <a:pt x="382819" y="1070772"/>
                      </a:cubicBezTo>
                      <a:cubicBezTo>
                        <a:pt x="381936" y="1066354"/>
                        <a:pt x="378803" y="1060892"/>
                        <a:pt x="375831" y="1057438"/>
                      </a:cubicBezTo>
                      <a:cubicBezTo>
                        <a:pt x="376152" y="1055831"/>
                        <a:pt x="376634" y="1053662"/>
                        <a:pt x="376956" y="1052056"/>
                      </a:cubicBezTo>
                      <a:lnTo>
                        <a:pt x="376715" y="1048923"/>
                      </a:lnTo>
                      <a:cubicBezTo>
                        <a:pt x="373260" y="1046112"/>
                        <a:pt x="368923" y="1041935"/>
                        <a:pt x="366111" y="1038561"/>
                      </a:cubicBezTo>
                      <a:cubicBezTo>
                        <a:pt x="367718" y="1040167"/>
                        <a:pt x="369887" y="1042256"/>
                        <a:pt x="371493" y="1043862"/>
                      </a:cubicBezTo>
                      <a:cubicBezTo>
                        <a:pt x="373019" y="1042738"/>
                        <a:pt x="375028" y="1041211"/>
                        <a:pt x="376554" y="1040087"/>
                      </a:cubicBezTo>
                      <a:cubicBezTo>
                        <a:pt x="376313" y="1036071"/>
                        <a:pt x="376072" y="1030769"/>
                        <a:pt x="375911" y="1026752"/>
                      </a:cubicBezTo>
                      <a:cubicBezTo>
                        <a:pt x="376554" y="1026110"/>
                        <a:pt x="377518" y="1025307"/>
                        <a:pt x="378160" y="1024744"/>
                      </a:cubicBezTo>
                      <a:lnTo>
                        <a:pt x="379847" y="1022335"/>
                      </a:lnTo>
                      <a:lnTo>
                        <a:pt x="380570" y="1023700"/>
                      </a:lnTo>
                      <a:lnTo>
                        <a:pt x="381213" y="1022013"/>
                      </a:lnTo>
                      <a:lnTo>
                        <a:pt x="381454" y="1022977"/>
                      </a:lnTo>
                      <a:lnTo>
                        <a:pt x="385390" y="1021692"/>
                      </a:lnTo>
                      <a:lnTo>
                        <a:pt x="386836" y="1021772"/>
                      </a:lnTo>
                      <a:lnTo>
                        <a:pt x="384667" y="1022897"/>
                      </a:lnTo>
                      <a:lnTo>
                        <a:pt x="386434" y="1023700"/>
                      </a:lnTo>
                      <a:cubicBezTo>
                        <a:pt x="384747" y="1024905"/>
                        <a:pt x="382498" y="1026431"/>
                        <a:pt x="380811" y="1027636"/>
                      </a:cubicBezTo>
                      <a:cubicBezTo>
                        <a:pt x="381213" y="1027395"/>
                        <a:pt x="381856" y="1027154"/>
                        <a:pt x="382257" y="1026913"/>
                      </a:cubicBezTo>
                      <a:lnTo>
                        <a:pt x="381213" y="1028680"/>
                      </a:lnTo>
                      <a:lnTo>
                        <a:pt x="379365" y="1031733"/>
                      </a:lnTo>
                      <a:lnTo>
                        <a:pt x="383141" y="1034785"/>
                      </a:lnTo>
                      <a:lnTo>
                        <a:pt x="383060" y="1039444"/>
                      </a:lnTo>
                      <a:lnTo>
                        <a:pt x="384747" y="1038641"/>
                      </a:lnTo>
                      <a:lnTo>
                        <a:pt x="386997" y="1044907"/>
                      </a:lnTo>
                      <a:cubicBezTo>
                        <a:pt x="385711" y="1046433"/>
                        <a:pt x="383944" y="1048441"/>
                        <a:pt x="382659" y="1049887"/>
                      </a:cubicBezTo>
                      <a:cubicBezTo>
                        <a:pt x="388121" y="1047798"/>
                        <a:pt x="391575" y="1043059"/>
                        <a:pt x="396395" y="1040087"/>
                      </a:cubicBezTo>
                      <a:cubicBezTo>
                        <a:pt x="390692" y="1027315"/>
                        <a:pt x="390692" y="1027315"/>
                        <a:pt x="396395" y="1018318"/>
                      </a:cubicBezTo>
                      <a:cubicBezTo>
                        <a:pt x="395833" y="1020567"/>
                        <a:pt x="395029" y="1023620"/>
                        <a:pt x="394467" y="1025949"/>
                      </a:cubicBezTo>
                      <a:cubicBezTo>
                        <a:pt x="395913" y="1027716"/>
                        <a:pt x="397921" y="1030126"/>
                        <a:pt x="399367" y="1031894"/>
                      </a:cubicBezTo>
                      <a:cubicBezTo>
                        <a:pt x="404910" y="1028520"/>
                        <a:pt x="404910" y="1028520"/>
                        <a:pt x="414147" y="1019282"/>
                      </a:cubicBezTo>
                      <a:cubicBezTo>
                        <a:pt x="414067" y="1019925"/>
                        <a:pt x="414067" y="1020728"/>
                        <a:pt x="413987" y="1021370"/>
                      </a:cubicBezTo>
                      <a:cubicBezTo>
                        <a:pt x="416236" y="1015025"/>
                        <a:pt x="415192" y="1008116"/>
                        <a:pt x="417441" y="1001771"/>
                      </a:cubicBezTo>
                      <a:cubicBezTo>
                        <a:pt x="419128" y="1003136"/>
                        <a:pt x="421377" y="1004903"/>
                        <a:pt x="423064" y="1006269"/>
                      </a:cubicBezTo>
                      <a:cubicBezTo>
                        <a:pt x="435515" y="1003618"/>
                        <a:pt x="447002" y="997192"/>
                        <a:pt x="460175" y="997754"/>
                      </a:cubicBezTo>
                      <a:lnTo>
                        <a:pt x="462103" y="997031"/>
                      </a:lnTo>
                      <a:cubicBezTo>
                        <a:pt x="465879" y="997834"/>
                        <a:pt x="470939" y="998879"/>
                        <a:pt x="474715" y="999843"/>
                      </a:cubicBezTo>
                      <a:cubicBezTo>
                        <a:pt x="476241" y="998557"/>
                        <a:pt x="478329" y="996951"/>
                        <a:pt x="479856" y="995666"/>
                      </a:cubicBezTo>
                      <a:cubicBezTo>
                        <a:pt x="477928" y="996067"/>
                        <a:pt x="475438" y="996710"/>
                        <a:pt x="473510" y="997111"/>
                      </a:cubicBezTo>
                      <a:cubicBezTo>
                        <a:pt x="470618" y="994541"/>
                        <a:pt x="467887" y="989802"/>
                        <a:pt x="467084" y="986026"/>
                      </a:cubicBezTo>
                      <a:cubicBezTo>
                        <a:pt x="472466" y="979841"/>
                        <a:pt x="476803" y="972852"/>
                        <a:pt x="482266" y="966747"/>
                      </a:cubicBezTo>
                      <a:cubicBezTo>
                        <a:pt x="482828" y="966908"/>
                        <a:pt x="483631" y="967149"/>
                        <a:pt x="484193" y="967310"/>
                      </a:cubicBezTo>
                      <a:lnTo>
                        <a:pt x="486764" y="967711"/>
                      </a:lnTo>
                      <a:lnTo>
                        <a:pt x="487166" y="965623"/>
                      </a:lnTo>
                      <a:lnTo>
                        <a:pt x="488129" y="966587"/>
                      </a:lnTo>
                      <a:lnTo>
                        <a:pt x="489495" y="964498"/>
                      </a:lnTo>
                      <a:lnTo>
                        <a:pt x="489656" y="966265"/>
                      </a:lnTo>
                      <a:lnTo>
                        <a:pt x="490941" y="964739"/>
                      </a:lnTo>
                      <a:lnTo>
                        <a:pt x="491262" y="966185"/>
                      </a:lnTo>
                      <a:cubicBezTo>
                        <a:pt x="495439" y="964257"/>
                        <a:pt x="500580" y="960723"/>
                        <a:pt x="503713" y="957429"/>
                      </a:cubicBezTo>
                      <a:cubicBezTo>
                        <a:pt x="503472" y="958233"/>
                        <a:pt x="503231" y="959277"/>
                        <a:pt x="502990" y="960160"/>
                      </a:cubicBezTo>
                      <a:cubicBezTo>
                        <a:pt x="506766" y="958715"/>
                        <a:pt x="512469" y="958474"/>
                        <a:pt x="516485" y="959116"/>
                      </a:cubicBezTo>
                      <a:lnTo>
                        <a:pt x="517289" y="959357"/>
                      </a:lnTo>
                      <a:cubicBezTo>
                        <a:pt x="531989" y="955662"/>
                        <a:pt x="543154" y="949316"/>
                        <a:pt x="548536" y="945862"/>
                      </a:cubicBezTo>
                      <a:lnTo>
                        <a:pt x="546930" y="947388"/>
                      </a:lnTo>
                      <a:cubicBezTo>
                        <a:pt x="557131" y="947147"/>
                        <a:pt x="565807" y="940560"/>
                        <a:pt x="576008" y="940480"/>
                      </a:cubicBezTo>
                      <a:cubicBezTo>
                        <a:pt x="574161" y="941766"/>
                        <a:pt x="571671" y="943533"/>
                        <a:pt x="569823" y="944898"/>
                      </a:cubicBezTo>
                      <a:cubicBezTo>
                        <a:pt x="575526" y="947469"/>
                        <a:pt x="575526" y="947469"/>
                        <a:pt x="590467" y="948593"/>
                      </a:cubicBezTo>
                      <a:cubicBezTo>
                        <a:pt x="586371" y="948834"/>
                        <a:pt x="580908" y="951003"/>
                        <a:pt x="577695" y="953574"/>
                      </a:cubicBezTo>
                      <a:cubicBezTo>
                        <a:pt x="576330" y="952048"/>
                        <a:pt x="574562" y="949959"/>
                        <a:pt x="573277" y="948352"/>
                      </a:cubicBezTo>
                      <a:cubicBezTo>
                        <a:pt x="566128" y="951485"/>
                        <a:pt x="558979" y="954538"/>
                        <a:pt x="551830" y="957670"/>
                      </a:cubicBezTo>
                      <a:cubicBezTo>
                        <a:pt x="552954" y="957429"/>
                        <a:pt x="554400" y="957028"/>
                        <a:pt x="555444" y="956706"/>
                      </a:cubicBezTo>
                      <a:cubicBezTo>
                        <a:pt x="544761" y="960562"/>
                        <a:pt x="544600" y="962892"/>
                        <a:pt x="544198" y="970603"/>
                      </a:cubicBezTo>
                      <a:cubicBezTo>
                        <a:pt x="544841" y="970764"/>
                        <a:pt x="545725" y="971005"/>
                        <a:pt x="546367" y="971246"/>
                      </a:cubicBezTo>
                      <a:cubicBezTo>
                        <a:pt x="547974" y="972531"/>
                        <a:pt x="550062" y="974298"/>
                        <a:pt x="551589" y="975664"/>
                      </a:cubicBezTo>
                      <a:cubicBezTo>
                        <a:pt x="555766" y="974539"/>
                        <a:pt x="555766" y="974539"/>
                        <a:pt x="577294" y="962089"/>
                      </a:cubicBezTo>
                      <a:lnTo>
                        <a:pt x="579221" y="959759"/>
                      </a:lnTo>
                      <a:cubicBezTo>
                        <a:pt x="584443" y="961044"/>
                        <a:pt x="613923" y="956546"/>
                        <a:pt x="621153" y="949397"/>
                      </a:cubicBezTo>
                      <a:cubicBezTo>
                        <a:pt x="620189" y="947710"/>
                        <a:pt x="618823" y="945461"/>
                        <a:pt x="617859" y="943774"/>
                      </a:cubicBezTo>
                      <a:cubicBezTo>
                        <a:pt x="612477" y="942970"/>
                        <a:pt x="607015" y="944416"/>
                        <a:pt x="601713" y="942970"/>
                      </a:cubicBezTo>
                      <a:cubicBezTo>
                        <a:pt x="596813" y="942408"/>
                        <a:pt x="590226" y="941203"/>
                        <a:pt x="585487" y="939838"/>
                      </a:cubicBezTo>
                      <a:cubicBezTo>
                        <a:pt x="585166" y="938793"/>
                        <a:pt x="584764" y="937428"/>
                        <a:pt x="584443" y="936383"/>
                      </a:cubicBezTo>
                      <a:cubicBezTo>
                        <a:pt x="579944" y="935098"/>
                        <a:pt x="574241" y="931805"/>
                        <a:pt x="570787" y="928592"/>
                      </a:cubicBezTo>
                      <a:cubicBezTo>
                        <a:pt x="570707" y="926101"/>
                        <a:pt x="570626" y="922728"/>
                        <a:pt x="570546" y="920237"/>
                      </a:cubicBezTo>
                      <a:cubicBezTo>
                        <a:pt x="568457" y="919996"/>
                        <a:pt x="565726" y="919675"/>
                        <a:pt x="563718" y="919354"/>
                      </a:cubicBezTo>
                      <a:cubicBezTo>
                        <a:pt x="567012" y="916623"/>
                        <a:pt x="571108" y="912606"/>
                        <a:pt x="573839" y="909313"/>
                      </a:cubicBezTo>
                      <a:cubicBezTo>
                        <a:pt x="572554" y="908670"/>
                        <a:pt x="570787" y="907787"/>
                        <a:pt x="569502" y="907144"/>
                      </a:cubicBezTo>
                      <a:cubicBezTo>
                        <a:pt x="558015" y="907867"/>
                        <a:pt x="555605" y="907706"/>
                        <a:pt x="543716" y="902806"/>
                      </a:cubicBezTo>
                      <a:cubicBezTo>
                        <a:pt x="567172" y="905297"/>
                        <a:pt x="573357" y="902003"/>
                        <a:pt x="578980" y="891641"/>
                      </a:cubicBezTo>
                      <a:cubicBezTo>
                        <a:pt x="541548" y="893328"/>
                        <a:pt x="516084" y="898228"/>
                        <a:pt x="478249" y="911000"/>
                      </a:cubicBezTo>
                      <a:cubicBezTo>
                        <a:pt x="480579" y="906983"/>
                        <a:pt x="482426" y="900878"/>
                        <a:pt x="482587" y="896219"/>
                      </a:cubicBezTo>
                      <a:cubicBezTo>
                        <a:pt x="496002" y="891078"/>
                        <a:pt x="513272" y="896621"/>
                        <a:pt x="522992" y="881520"/>
                      </a:cubicBezTo>
                      <a:cubicBezTo>
                        <a:pt x="592957" y="874611"/>
                        <a:pt x="656095" y="843926"/>
                        <a:pt x="723571" y="829547"/>
                      </a:cubicBezTo>
                      <a:moveTo>
                        <a:pt x="495038" y="321794"/>
                      </a:moveTo>
                      <a:lnTo>
                        <a:pt x="495038" y="321794"/>
                      </a:lnTo>
                      <a:lnTo>
                        <a:pt x="495038" y="321794"/>
                      </a:lnTo>
                      <a:lnTo>
                        <a:pt x="495038" y="321794"/>
                      </a:lnTo>
                      <a:moveTo>
                        <a:pt x="491102" y="305889"/>
                      </a:moveTo>
                      <a:cubicBezTo>
                        <a:pt x="491664" y="305327"/>
                        <a:pt x="492307" y="304363"/>
                        <a:pt x="492708" y="303640"/>
                      </a:cubicBezTo>
                      <a:lnTo>
                        <a:pt x="492387" y="303961"/>
                      </a:lnTo>
                      <a:cubicBezTo>
                        <a:pt x="490780" y="305648"/>
                        <a:pt x="487005" y="309504"/>
                        <a:pt x="486764" y="309906"/>
                      </a:cubicBezTo>
                      <a:cubicBezTo>
                        <a:pt x="486925" y="309825"/>
                        <a:pt x="487085" y="309745"/>
                        <a:pt x="491102" y="305889"/>
                      </a:cubicBezTo>
                      <a:moveTo>
                        <a:pt x="440013" y="250463"/>
                      </a:moveTo>
                      <a:lnTo>
                        <a:pt x="440013" y="250463"/>
                      </a:lnTo>
                      <a:cubicBezTo>
                        <a:pt x="440013" y="250463"/>
                        <a:pt x="440013" y="250463"/>
                        <a:pt x="440013" y="250463"/>
                      </a:cubicBezTo>
                      <a:cubicBezTo>
                        <a:pt x="440013" y="250463"/>
                        <a:pt x="440013" y="250463"/>
                        <a:pt x="440013" y="250463"/>
                      </a:cubicBezTo>
                      <a:cubicBezTo>
                        <a:pt x="440013" y="250463"/>
                        <a:pt x="440013" y="250463"/>
                        <a:pt x="440013" y="250463"/>
                      </a:cubicBezTo>
                      <a:moveTo>
                        <a:pt x="1609749" y="0"/>
                      </a:moveTo>
                      <a:lnTo>
                        <a:pt x="1609749" y="0"/>
                      </a:lnTo>
                      <a:cubicBezTo>
                        <a:pt x="1614890" y="2410"/>
                        <a:pt x="1620111" y="4820"/>
                        <a:pt x="1625252" y="7229"/>
                      </a:cubicBezTo>
                      <a:cubicBezTo>
                        <a:pt x="1625011" y="7069"/>
                        <a:pt x="1624690" y="6908"/>
                        <a:pt x="1624449" y="6748"/>
                      </a:cubicBezTo>
                      <a:cubicBezTo>
                        <a:pt x="1615292" y="2490"/>
                        <a:pt x="1609829" y="0"/>
                        <a:pt x="1609749" y="0"/>
                      </a:cubicBezTo>
                      <a:moveTo>
                        <a:pt x="622679" y="345250"/>
                      </a:moveTo>
                      <a:cubicBezTo>
                        <a:pt x="623643" y="344768"/>
                        <a:pt x="624928" y="344125"/>
                        <a:pt x="625892" y="343643"/>
                      </a:cubicBezTo>
                      <a:cubicBezTo>
                        <a:pt x="624607" y="329586"/>
                        <a:pt x="620590" y="322919"/>
                        <a:pt x="612718" y="322035"/>
                      </a:cubicBezTo>
                      <a:cubicBezTo>
                        <a:pt x="605408" y="322115"/>
                        <a:pt x="599785" y="326453"/>
                        <a:pt x="599785" y="326453"/>
                      </a:cubicBezTo>
                      <a:cubicBezTo>
                        <a:pt x="599705" y="326614"/>
                        <a:pt x="593600" y="341233"/>
                        <a:pt x="600107" y="347178"/>
                      </a:cubicBezTo>
                      <a:cubicBezTo>
                        <a:pt x="602436" y="349266"/>
                        <a:pt x="608461" y="351837"/>
                        <a:pt x="622679" y="345250"/>
                      </a:cubicBezTo>
                      <a:moveTo>
                        <a:pt x="473911" y="267653"/>
                      </a:moveTo>
                      <a:cubicBezTo>
                        <a:pt x="474313" y="267332"/>
                        <a:pt x="474875" y="266930"/>
                        <a:pt x="475277" y="266609"/>
                      </a:cubicBezTo>
                      <a:cubicBezTo>
                        <a:pt x="474956" y="266850"/>
                        <a:pt x="474634" y="267171"/>
                        <a:pt x="474313" y="267332"/>
                      </a:cubicBezTo>
                      <a:cubicBezTo>
                        <a:pt x="463951" y="275445"/>
                        <a:pt x="456239" y="281710"/>
                        <a:pt x="455356" y="282353"/>
                      </a:cubicBezTo>
                      <a:cubicBezTo>
                        <a:pt x="460738" y="278176"/>
                        <a:pt x="465718" y="274079"/>
                        <a:pt x="473911" y="267653"/>
                      </a:cubicBezTo>
                      <a:moveTo>
                        <a:pt x="560505" y="565670"/>
                      </a:moveTo>
                      <a:cubicBezTo>
                        <a:pt x="560344" y="565830"/>
                        <a:pt x="560184" y="565991"/>
                        <a:pt x="560023" y="566232"/>
                      </a:cubicBezTo>
                      <a:cubicBezTo>
                        <a:pt x="559943" y="566071"/>
                        <a:pt x="559862" y="56583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lnTo>
                        <a:pt x="559782" y="565670"/>
                      </a:lnTo>
                      <a:lnTo>
                        <a:pt x="559782" y="565670"/>
                      </a:ln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60103" y="565670"/>
                        <a:pt x="560344" y="565670"/>
                        <a:pt x="560505" y="565670"/>
                      </a:cubicBezTo>
                      <a:cubicBezTo>
                        <a:pt x="560585" y="565670"/>
                        <a:pt x="560505" y="565670"/>
                        <a:pt x="560505" y="565670"/>
                      </a:cubicBezTo>
                      <a:moveTo>
                        <a:pt x="573759" y="574667"/>
                      </a:moveTo>
                      <a:cubicBezTo>
                        <a:pt x="565485" y="573381"/>
                        <a:pt x="562513" y="570249"/>
                        <a:pt x="560826" y="567678"/>
                      </a:cubicBezTo>
                      <a:cubicBezTo>
                        <a:pt x="560987" y="567678"/>
                        <a:pt x="561067" y="567678"/>
                        <a:pt x="561228" y="567678"/>
                      </a:cubicBezTo>
                      <a:cubicBezTo>
                        <a:pt x="561148" y="567437"/>
                        <a:pt x="561067" y="567116"/>
                        <a:pt x="560987" y="566794"/>
                      </a:cubicBezTo>
                      <a:cubicBezTo>
                        <a:pt x="564762" y="563983"/>
                        <a:pt x="566369" y="559725"/>
                        <a:pt x="566048" y="553942"/>
                      </a:cubicBezTo>
                      <a:cubicBezTo>
                        <a:pt x="572474" y="559243"/>
                        <a:pt x="575125" y="565911"/>
                        <a:pt x="573839" y="573140"/>
                      </a:cubicBezTo>
                      <a:cubicBezTo>
                        <a:pt x="574000" y="573622"/>
                        <a:pt x="574161" y="574265"/>
                        <a:pt x="574321" y="574747"/>
                      </a:cubicBezTo>
                      <a:cubicBezTo>
                        <a:pt x="574161" y="574747"/>
                        <a:pt x="573920" y="574747"/>
                        <a:pt x="573759" y="574667"/>
                      </a:cubicBezTo>
                      <a:moveTo>
                        <a:pt x="601312" y="534422"/>
                      </a:moveTo>
                      <a:cubicBezTo>
                        <a:pt x="599384" y="536270"/>
                        <a:pt x="598741" y="536350"/>
                        <a:pt x="598259" y="536430"/>
                      </a:cubicBezTo>
                      <a:cubicBezTo>
                        <a:pt x="598179" y="536430"/>
                        <a:pt x="584443" y="527675"/>
                        <a:pt x="583961" y="526068"/>
                      </a:cubicBezTo>
                      <a:cubicBezTo>
                        <a:pt x="584523" y="525506"/>
                        <a:pt x="589503" y="527916"/>
                        <a:pt x="601874" y="533940"/>
                      </a:cubicBezTo>
                      <a:cubicBezTo>
                        <a:pt x="601633" y="534101"/>
                        <a:pt x="601472" y="534262"/>
                        <a:pt x="601312" y="534422"/>
                      </a:cubicBezTo>
                      <a:moveTo>
                        <a:pt x="517289" y="389912"/>
                      </a:moveTo>
                      <a:cubicBezTo>
                        <a:pt x="516646" y="388707"/>
                        <a:pt x="517128" y="387502"/>
                        <a:pt x="518815" y="386297"/>
                      </a:cubicBezTo>
                      <a:cubicBezTo>
                        <a:pt x="518333" y="387583"/>
                        <a:pt x="517851" y="388787"/>
                        <a:pt x="517369" y="390073"/>
                      </a:cubicBezTo>
                      <a:cubicBezTo>
                        <a:pt x="517369" y="389993"/>
                        <a:pt x="517289" y="389912"/>
                        <a:pt x="517289" y="389912"/>
                      </a:cubicBezTo>
                      <a:moveTo>
                        <a:pt x="694090" y="527353"/>
                      </a:moveTo>
                      <a:cubicBezTo>
                        <a:pt x="694412" y="526871"/>
                        <a:pt x="694492" y="526148"/>
                        <a:pt x="694653" y="525586"/>
                      </a:cubicBezTo>
                      <a:cubicBezTo>
                        <a:pt x="692163" y="524060"/>
                        <a:pt x="689833" y="523337"/>
                        <a:pt x="670795" y="525666"/>
                      </a:cubicBezTo>
                      <a:cubicBezTo>
                        <a:pt x="675936" y="522293"/>
                        <a:pt x="678346" y="520044"/>
                        <a:pt x="681720" y="515545"/>
                      </a:cubicBezTo>
                      <a:cubicBezTo>
                        <a:pt x="679792" y="513296"/>
                        <a:pt x="679471" y="512975"/>
                        <a:pt x="676579" y="511770"/>
                      </a:cubicBezTo>
                      <a:cubicBezTo>
                        <a:pt x="668867" y="515063"/>
                        <a:pt x="668867" y="515063"/>
                        <a:pt x="664128" y="512171"/>
                      </a:cubicBezTo>
                      <a:cubicBezTo>
                        <a:pt x="666699" y="512091"/>
                        <a:pt x="666699" y="512091"/>
                        <a:pt x="670474" y="512252"/>
                      </a:cubicBezTo>
                      <a:cubicBezTo>
                        <a:pt x="671840" y="508476"/>
                        <a:pt x="671840" y="508476"/>
                        <a:pt x="673928" y="507191"/>
                      </a:cubicBezTo>
                      <a:cubicBezTo>
                        <a:pt x="673928" y="506388"/>
                        <a:pt x="673848" y="505263"/>
                        <a:pt x="673848" y="504460"/>
                      </a:cubicBezTo>
                      <a:lnTo>
                        <a:pt x="672081" y="505183"/>
                      </a:lnTo>
                      <a:cubicBezTo>
                        <a:pt x="667663" y="493616"/>
                        <a:pt x="664128" y="493134"/>
                        <a:pt x="658505" y="503255"/>
                      </a:cubicBezTo>
                      <a:cubicBezTo>
                        <a:pt x="659951" y="498917"/>
                        <a:pt x="659951" y="498917"/>
                        <a:pt x="659710" y="496588"/>
                      </a:cubicBezTo>
                      <a:cubicBezTo>
                        <a:pt x="658264" y="495865"/>
                        <a:pt x="656497" y="496186"/>
                        <a:pt x="655051" y="495302"/>
                      </a:cubicBezTo>
                      <a:cubicBezTo>
                        <a:pt x="655212" y="494660"/>
                        <a:pt x="655533" y="493857"/>
                        <a:pt x="655694" y="493294"/>
                      </a:cubicBezTo>
                      <a:cubicBezTo>
                        <a:pt x="650713" y="496829"/>
                        <a:pt x="650713" y="496829"/>
                        <a:pt x="649589" y="497471"/>
                      </a:cubicBezTo>
                      <a:cubicBezTo>
                        <a:pt x="649428" y="496909"/>
                        <a:pt x="649267" y="496266"/>
                        <a:pt x="649107" y="495704"/>
                      </a:cubicBezTo>
                      <a:cubicBezTo>
                        <a:pt x="651597" y="491768"/>
                        <a:pt x="651597" y="491768"/>
                        <a:pt x="655131" y="487109"/>
                      </a:cubicBezTo>
                      <a:cubicBezTo>
                        <a:pt x="651838" y="487752"/>
                        <a:pt x="649749" y="490563"/>
                        <a:pt x="646858" y="491929"/>
                      </a:cubicBezTo>
                      <a:cubicBezTo>
                        <a:pt x="646456" y="491527"/>
                        <a:pt x="645974" y="490965"/>
                        <a:pt x="645572" y="490644"/>
                      </a:cubicBezTo>
                      <a:cubicBezTo>
                        <a:pt x="646938" y="486386"/>
                        <a:pt x="647581" y="485181"/>
                        <a:pt x="651356" y="482450"/>
                      </a:cubicBezTo>
                      <a:cubicBezTo>
                        <a:pt x="636174" y="476586"/>
                        <a:pt x="632077" y="474899"/>
                        <a:pt x="629667" y="472489"/>
                      </a:cubicBezTo>
                      <a:cubicBezTo>
                        <a:pt x="634808" y="471766"/>
                        <a:pt x="634808" y="471766"/>
                        <a:pt x="640913" y="472570"/>
                      </a:cubicBezTo>
                      <a:cubicBezTo>
                        <a:pt x="646054" y="468553"/>
                        <a:pt x="645251" y="464697"/>
                        <a:pt x="641877" y="462930"/>
                      </a:cubicBezTo>
                      <a:cubicBezTo>
                        <a:pt x="650794" y="461806"/>
                        <a:pt x="652641" y="461484"/>
                        <a:pt x="656256" y="459958"/>
                      </a:cubicBezTo>
                      <a:cubicBezTo>
                        <a:pt x="654248" y="456584"/>
                        <a:pt x="654087" y="456343"/>
                        <a:pt x="636094" y="452327"/>
                      </a:cubicBezTo>
                      <a:cubicBezTo>
                        <a:pt x="650071" y="446463"/>
                        <a:pt x="654730" y="444134"/>
                        <a:pt x="658826" y="441001"/>
                      </a:cubicBezTo>
                      <a:cubicBezTo>
                        <a:pt x="658907" y="440439"/>
                        <a:pt x="658907" y="439635"/>
                        <a:pt x="658987" y="439073"/>
                      </a:cubicBezTo>
                      <a:cubicBezTo>
                        <a:pt x="656577" y="438591"/>
                        <a:pt x="655051" y="438270"/>
                        <a:pt x="644046" y="439876"/>
                      </a:cubicBezTo>
                      <a:cubicBezTo>
                        <a:pt x="644367" y="439073"/>
                        <a:pt x="644849" y="438029"/>
                        <a:pt x="645251" y="437225"/>
                      </a:cubicBezTo>
                      <a:cubicBezTo>
                        <a:pt x="644930" y="436502"/>
                        <a:pt x="644930" y="436502"/>
                        <a:pt x="641235" y="433209"/>
                      </a:cubicBezTo>
                      <a:cubicBezTo>
                        <a:pt x="643966" y="431120"/>
                        <a:pt x="645894" y="430237"/>
                        <a:pt x="657220" y="425256"/>
                      </a:cubicBezTo>
                      <a:cubicBezTo>
                        <a:pt x="657220" y="424614"/>
                        <a:pt x="657220" y="423811"/>
                        <a:pt x="657220" y="423248"/>
                      </a:cubicBezTo>
                      <a:cubicBezTo>
                        <a:pt x="650553" y="415938"/>
                        <a:pt x="650553" y="415938"/>
                        <a:pt x="621876" y="433611"/>
                      </a:cubicBezTo>
                      <a:cubicBezTo>
                        <a:pt x="627017" y="426783"/>
                        <a:pt x="627177" y="426060"/>
                        <a:pt x="627820" y="423489"/>
                      </a:cubicBezTo>
                      <a:cubicBezTo>
                        <a:pt x="625731" y="422766"/>
                        <a:pt x="625731" y="422766"/>
                        <a:pt x="622438" y="424293"/>
                      </a:cubicBezTo>
                      <a:cubicBezTo>
                        <a:pt x="637781" y="413448"/>
                        <a:pt x="638343" y="412484"/>
                        <a:pt x="638664" y="409432"/>
                      </a:cubicBezTo>
                      <a:cubicBezTo>
                        <a:pt x="635612" y="408950"/>
                        <a:pt x="634085" y="408628"/>
                        <a:pt x="620108" y="412966"/>
                      </a:cubicBezTo>
                      <a:cubicBezTo>
                        <a:pt x="641556" y="403729"/>
                        <a:pt x="644046" y="397865"/>
                        <a:pt x="630390" y="388787"/>
                      </a:cubicBezTo>
                      <a:cubicBezTo>
                        <a:pt x="624687" y="391920"/>
                        <a:pt x="622679" y="394491"/>
                        <a:pt x="621795" y="399712"/>
                      </a:cubicBezTo>
                      <a:cubicBezTo>
                        <a:pt x="621554" y="395615"/>
                        <a:pt x="621554" y="394732"/>
                        <a:pt x="621715" y="390555"/>
                      </a:cubicBezTo>
                      <a:cubicBezTo>
                        <a:pt x="618502" y="393125"/>
                        <a:pt x="617618" y="393688"/>
                        <a:pt x="614485" y="395133"/>
                      </a:cubicBezTo>
                      <a:cubicBezTo>
                        <a:pt x="618743" y="390073"/>
                        <a:pt x="619064" y="389591"/>
                        <a:pt x="621153" y="386699"/>
                      </a:cubicBezTo>
                      <a:cubicBezTo>
                        <a:pt x="618662" y="386860"/>
                        <a:pt x="618662" y="386860"/>
                        <a:pt x="604284" y="399552"/>
                      </a:cubicBezTo>
                      <a:cubicBezTo>
                        <a:pt x="607176" y="395696"/>
                        <a:pt x="609425" y="392884"/>
                        <a:pt x="614325" y="386860"/>
                      </a:cubicBezTo>
                      <a:cubicBezTo>
                        <a:pt x="613280" y="386860"/>
                        <a:pt x="611915" y="386619"/>
                        <a:pt x="610951" y="386217"/>
                      </a:cubicBezTo>
                      <a:cubicBezTo>
                        <a:pt x="614164" y="382763"/>
                        <a:pt x="618341" y="380433"/>
                        <a:pt x="621876" y="377381"/>
                      </a:cubicBezTo>
                      <a:cubicBezTo>
                        <a:pt x="619385" y="377301"/>
                        <a:pt x="619225" y="377301"/>
                        <a:pt x="604284" y="384289"/>
                      </a:cubicBezTo>
                      <a:cubicBezTo>
                        <a:pt x="615690" y="360994"/>
                        <a:pt x="615048" y="359709"/>
                        <a:pt x="613762" y="356978"/>
                      </a:cubicBezTo>
                      <a:cubicBezTo>
                        <a:pt x="611031" y="357781"/>
                        <a:pt x="609344" y="358263"/>
                        <a:pt x="598741" y="369107"/>
                      </a:cubicBezTo>
                      <a:cubicBezTo>
                        <a:pt x="595207" y="366617"/>
                        <a:pt x="594564" y="365974"/>
                        <a:pt x="592315" y="362520"/>
                      </a:cubicBezTo>
                      <a:cubicBezTo>
                        <a:pt x="587094" y="367501"/>
                        <a:pt x="585246" y="370874"/>
                        <a:pt x="584523" y="376176"/>
                      </a:cubicBezTo>
                      <a:cubicBezTo>
                        <a:pt x="585166" y="370392"/>
                        <a:pt x="585969" y="366697"/>
                        <a:pt x="588057" y="360432"/>
                      </a:cubicBezTo>
                      <a:cubicBezTo>
                        <a:pt x="585246" y="358504"/>
                        <a:pt x="582595" y="357620"/>
                        <a:pt x="579382" y="365733"/>
                      </a:cubicBezTo>
                      <a:cubicBezTo>
                        <a:pt x="573277" y="367420"/>
                        <a:pt x="572875" y="367340"/>
                        <a:pt x="569662" y="366617"/>
                      </a:cubicBezTo>
                      <a:cubicBezTo>
                        <a:pt x="568136" y="363565"/>
                        <a:pt x="568136" y="363565"/>
                        <a:pt x="578177" y="353122"/>
                      </a:cubicBezTo>
                      <a:cubicBezTo>
                        <a:pt x="587817" y="343081"/>
                        <a:pt x="598259" y="329988"/>
                        <a:pt x="592797" y="324445"/>
                      </a:cubicBezTo>
                      <a:cubicBezTo>
                        <a:pt x="590146" y="321714"/>
                        <a:pt x="561148" y="319545"/>
                        <a:pt x="558256" y="332879"/>
                      </a:cubicBezTo>
                      <a:cubicBezTo>
                        <a:pt x="557774" y="335209"/>
                        <a:pt x="558336" y="338502"/>
                        <a:pt x="558738" y="340832"/>
                      </a:cubicBezTo>
                      <a:cubicBezTo>
                        <a:pt x="547653" y="336333"/>
                        <a:pt x="544279" y="339627"/>
                        <a:pt x="546930" y="352238"/>
                      </a:cubicBezTo>
                      <a:cubicBezTo>
                        <a:pt x="542351" y="355210"/>
                        <a:pt x="542271" y="357219"/>
                        <a:pt x="542190" y="360833"/>
                      </a:cubicBezTo>
                      <a:cubicBezTo>
                        <a:pt x="528454" y="362922"/>
                        <a:pt x="527972" y="363002"/>
                        <a:pt x="518734" y="385976"/>
                      </a:cubicBezTo>
                      <a:cubicBezTo>
                        <a:pt x="516003" y="385012"/>
                        <a:pt x="512630" y="383888"/>
                        <a:pt x="504275" y="386940"/>
                      </a:cubicBezTo>
                      <a:cubicBezTo>
                        <a:pt x="528374" y="361315"/>
                        <a:pt x="550866" y="334245"/>
                        <a:pt x="576249" y="309745"/>
                      </a:cubicBezTo>
                      <a:cubicBezTo>
                        <a:pt x="572956" y="309504"/>
                        <a:pt x="568538" y="309263"/>
                        <a:pt x="565244" y="309022"/>
                      </a:cubicBezTo>
                      <a:cubicBezTo>
                        <a:pt x="538977" y="312637"/>
                        <a:pt x="473510" y="361797"/>
                        <a:pt x="500500" y="385092"/>
                      </a:cubicBezTo>
                      <a:cubicBezTo>
                        <a:pt x="492708" y="384691"/>
                        <a:pt x="489575" y="382602"/>
                        <a:pt x="486041" y="379630"/>
                      </a:cubicBezTo>
                      <a:cubicBezTo>
                        <a:pt x="473028" y="393366"/>
                        <a:pt x="480659" y="404050"/>
                        <a:pt x="486523" y="403488"/>
                      </a:cubicBezTo>
                      <a:cubicBezTo>
                        <a:pt x="489174" y="403247"/>
                        <a:pt x="491343" y="401319"/>
                        <a:pt x="494074" y="401319"/>
                      </a:cubicBezTo>
                      <a:cubicBezTo>
                        <a:pt x="502026" y="415537"/>
                        <a:pt x="506364" y="423409"/>
                        <a:pt x="527651" y="431522"/>
                      </a:cubicBezTo>
                      <a:cubicBezTo>
                        <a:pt x="530141" y="426702"/>
                        <a:pt x="529418" y="424774"/>
                        <a:pt x="528133" y="421642"/>
                      </a:cubicBezTo>
                      <a:cubicBezTo>
                        <a:pt x="539780" y="428068"/>
                        <a:pt x="549902" y="433611"/>
                        <a:pt x="558256" y="411038"/>
                      </a:cubicBezTo>
                      <a:cubicBezTo>
                        <a:pt x="557131" y="444375"/>
                        <a:pt x="559380" y="459235"/>
                        <a:pt x="575285" y="459074"/>
                      </a:cubicBezTo>
                      <a:cubicBezTo>
                        <a:pt x="570385" y="463412"/>
                        <a:pt x="570385" y="463412"/>
                        <a:pt x="580828" y="478514"/>
                      </a:cubicBezTo>
                      <a:cubicBezTo>
                        <a:pt x="570385" y="510645"/>
                        <a:pt x="563638" y="524622"/>
                        <a:pt x="546528" y="549845"/>
                      </a:cubicBezTo>
                      <a:cubicBezTo>
                        <a:pt x="524679" y="546953"/>
                        <a:pt x="521305" y="553540"/>
                        <a:pt x="519216" y="562376"/>
                      </a:cubicBezTo>
                      <a:cubicBezTo>
                        <a:pt x="511425" y="562055"/>
                        <a:pt x="503552" y="561734"/>
                        <a:pt x="495761" y="561573"/>
                      </a:cubicBezTo>
                      <a:cubicBezTo>
                        <a:pt x="499375" y="562376"/>
                        <a:pt x="501303" y="562858"/>
                        <a:pt x="524598" y="564304"/>
                      </a:cubicBezTo>
                      <a:cubicBezTo>
                        <a:pt x="527972" y="572096"/>
                        <a:pt x="532390" y="572899"/>
                        <a:pt x="539861" y="571614"/>
                      </a:cubicBezTo>
                      <a:cubicBezTo>
                        <a:pt x="540985" y="586153"/>
                        <a:pt x="540985" y="586153"/>
                        <a:pt x="547653" y="588804"/>
                      </a:cubicBezTo>
                      <a:cubicBezTo>
                        <a:pt x="545966" y="592821"/>
                        <a:pt x="547251" y="594427"/>
                        <a:pt x="554159" y="596837"/>
                      </a:cubicBezTo>
                      <a:cubicBezTo>
                        <a:pt x="549741" y="599166"/>
                        <a:pt x="548938" y="599729"/>
                        <a:pt x="547171" y="601978"/>
                      </a:cubicBezTo>
                      <a:cubicBezTo>
                        <a:pt x="547492" y="603344"/>
                        <a:pt x="548375" y="605111"/>
                        <a:pt x="549580" y="605834"/>
                      </a:cubicBezTo>
                      <a:lnTo>
                        <a:pt x="608059" y="639089"/>
                      </a:lnTo>
                      <a:cubicBezTo>
                        <a:pt x="608059" y="636117"/>
                        <a:pt x="608139" y="635475"/>
                        <a:pt x="610148" y="632904"/>
                      </a:cubicBezTo>
                      <a:cubicBezTo>
                        <a:pt x="598339" y="612822"/>
                        <a:pt x="596492" y="609770"/>
                        <a:pt x="593359" y="598524"/>
                      </a:cubicBezTo>
                      <a:cubicBezTo>
                        <a:pt x="595126" y="599970"/>
                        <a:pt x="595126" y="599970"/>
                        <a:pt x="597135" y="603986"/>
                      </a:cubicBezTo>
                      <a:cubicBezTo>
                        <a:pt x="597456" y="600773"/>
                        <a:pt x="597456" y="599970"/>
                        <a:pt x="597215" y="596757"/>
                      </a:cubicBezTo>
                      <a:cubicBezTo>
                        <a:pt x="602035" y="607922"/>
                        <a:pt x="603079" y="608485"/>
                        <a:pt x="606292" y="610091"/>
                      </a:cubicBezTo>
                      <a:cubicBezTo>
                        <a:pt x="606854" y="609930"/>
                        <a:pt x="607577" y="609689"/>
                        <a:pt x="608139" y="609529"/>
                      </a:cubicBezTo>
                      <a:cubicBezTo>
                        <a:pt x="608621" y="609770"/>
                        <a:pt x="609184" y="610091"/>
                        <a:pt x="609666" y="610413"/>
                      </a:cubicBezTo>
                      <a:cubicBezTo>
                        <a:pt x="609907" y="611457"/>
                        <a:pt x="610389" y="612903"/>
                        <a:pt x="610790" y="613947"/>
                      </a:cubicBezTo>
                      <a:cubicBezTo>
                        <a:pt x="611915" y="613867"/>
                        <a:pt x="613361" y="613867"/>
                        <a:pt x="614405" y="613947"/>
                      </a:cubicBezTo>
                      <a:cubicBezTo>
                        <a:pt x="622036" y="625032"/>
                        <a:pt x="624285" y="623747"/>
                        <a:pt x="626374" y="616517"/>
                      </a:cubicBezTo>
                      <a:cubicBezTo>
                        <a:pt x="631836" y="615072"/>
                        <a:pt x="632640" y="611617"/>
                        <a:pt x="630792" y="597962"/>
                      </a:cubicBezTo>
                      <a:cubicBezTo>
                        <a:pt x="632881" y="607521"/>
                        <a:pt x="633684" y="607922"/>
                        <a:pt x="635451" y="608886"/>
                      </a:cubicBezTo>
                      <a:cubicBezTo>
                        <a:pt x="636897" y="606557"/>
                        <a:pt x="637138" y="606235"/>
                        <a:pt x="638182" y="600211"/>
                      </a:cubicBezTo>
                      <a:cubicBezTo>
                        <a:pt x="638825" y="600050"/>
                        <a:pt x="639628" y="599889"/>
                        <a:pt x="640271" y="599729"/>
                      </a:cubicBezTo>
                      <a:cubicBezTo>
                        <a:pt x="640351" y="597721"/>
                        <a:pt x="640351" y="597721"/>
                        <a:pt x="629587" y="585029"/>
                      </a:cubicBezTo>
                      <a:cubicBezTo>
                        <a:pt x="633523" y="584306"/>
                        <a:pt x="633523" y="584306"/>
                        <a:pt x="636174" y="583101"/>
                      </a:cubicBezTo>
                      <a:cubicBezTo>
                        <a:pt x="635049" y="582057"/>
                        <a:pt x="633202" y="581013"/>
                        <a:pt x="631676" y="580611"/>
                      </a:cubicBezTo>
                      <a:cubicBezTo>
                        <a:pt x="632800" y="580049"/>
                        <a:pt x="634166" y="579245"/>
                        <a:pt x="635049" y="578362"/>
                      </a:cubicBezTo>
                      <a:cubicBezTo>
                        <a:pt x="635049" y="577719"/>
                        <a:pt x="635049" y="576916"/>
                        <a:pt x="635049" y="576273"/>
                      </a:cubicBezTo>
                      <a:cubicBezTo>
                        <a:pt x="622759" y="569766"/>
                        <a:pt x="622759" y="569766"/>
                        <a:pt x="621956" y="568240"/>
                      </a:cubicBezTo>
                      <a:cubicBezTo>
                        <a:pt x="621313" y="569124"/>
                        <a:pt x="620590" y="570329"/>
                        <a:pt x="620189" y="571373"/>
                      </a:cubicBezTo>
                      <a:cubicBezTo>
                        <a:pt x="620189" y="566553"/>
                        <a:pt x="619225" y="563581"/>
                        <a:pt x="616413" y="559404"/>
                      </a:cubicBezTo>
                      <a:cubicBezTo>
                        <a:pt x="617377" y="558762"/>
                        <a:pt x="618662" y="557958"/>
                        <a:pt x="619707" y="557316"/>
                      </a:cubicBezTo>
                      <a:cubicBezTo>
                        <a:pt x="612236" y="550649"/>
                        <a:pt x="610790" y="548239"/>
                        <a:pt x="607256" y="537555"/>
                      </a:cubicBezTo>
                      <a:cubicBezTo>
                        <a:pt x="616253" y="544704"/>
                        <a:pt x="618020" y="544222"/>
                        <a:pt x="620590" y="543499"/>
                      </a:cubicBezTo>
                      <a:cubicBezTo>
                        <a:pt x="621876" y="540527"/>
                        <a:pt x="622197" y="539804"/>
                        <a:pt x="619948" y="531209"/>
                      </a:cubicBezTo>
                      <a:cubicBezTo>
                        <a:pt x="622197" y="534021"/>
                        <a:pt x="622197" y="534021"/>
                        <a:pt x="624366" y="535466"/>
                      </a:cubicBezTo>
                      <a:cubicBezTo>
                        <a:pt x="624928" y="535306"/>
                        <a:pt x="625651" y="535065"/>
                        <a:pt x="626133" y="534824"/>
                      </a:cubicBezTo>
                      <a:cubicBezTo>
                        <a:pt x="626615" y="533298"/>
                        <a:pt x="626936" y="531209"/>
                        <a:pt x="627017" y="529602"/>
                      </a:cubicBezTo>
                      <a:cubicBezTo>
                        <a:pt x="627900" y="530165"/>
                        <a:pt x="629346" y="530406"/>
                        <a:pt x="630390" y="530245"/>
                      </a:cubicBezTo>
                      <a:cubicBezTo>
                        <a:pt x="630551" y="529763"/>
                        <a:pt x="630712" y="529120"/>
                        <a:pt x="630872" y="528558"/>
                      </a:cubicBezTo>
                      <a:cubicBezTo>
                        <a:pt x="632077" y="535306"/>
                        <a:pt x="632077" y="535306"/>
                        <a:pt x="643082" y="539724"/>
                      </a:cubicBezTo>
                      <a:cubicBezTo>
                        <a:pt x="642681" y="541009"/>
                        <a:pt x="642439" y="542857"/>
                        <a:pt x="642520" y="544222"/>
                      </a:cubicBezTo>
                      <a:cubicBezTo>
                        <a:pt x="645171" y="545106"/>
                        <a:pt x="645412" y="545186"/>
                        <a:pt x="650874" y="542214"/>
                      </a:cubicBezTo>
                      <a:cubicBezTo>
                        <a:pt x="642761" y="550488"/>
                        <a:pt x="640512" y="555709"/>
                        <a:pt x="647902" y="566714"/>
                      </a:cubicBezTo>
                      <a:cubicBezTo>
                        <a:pt x="649749" y="563421"/>
                        <a:pt x="650472" y="562537"/>
                        <a:pt x="653525" y="559967"/>
                      </a:cubicBezTo>
                      <a:cubicBezTo>
                        <a:pt x="650553" y="564063"/>
                        <a:pt x="650713" y="565027"/>
                        <a:pt x="652561" y="568080"/>
                      </a:cubicBezTo>
                      <a:cubicBezTo>
                        <a:pt x="656738" y="566553"/>
                        <a:pt x="657300" y="567758"/>
                        <a:pt x="658264" y="571614"/>
                      </a:cubicBezTo>
                      <a:cubicBezTo>
                        <a:pt x="663003" y="565830"/>
                        <a:pt x="664931" y="561894"/>
                        <a:pt x="666297" y="555227"/>
                      </a:cubicBezTo>
                      <a:cubicBezTo>
                        <a:pt x="665654" y="554986"/>
                        <a:pt x="664851" y="554665"/>
                        <a:pt x="664289" y="554424"/>
                      </a:cubicBezTo>
                      <a:cubicBezTo>
                        <a:pt x="664289" y="553219"/>
                        <a:pt x="664851" y="551532"/>
                        <a:pt x="665574" y="550488"/>
                      </a:cubicBezTo>
                      <a:cubicBezTo>
                        <a:pt x="669108" y="550568"/>
                        <a:pt x="671358" y="555066"/>
                        <a:pt x="675454" y="553460"/>
                      </a:cubicBezTo>
                      <a:cubicBezTo>
                        <a:pt x="675454" y="553460"/>
                        <a:pt x="677462" y="552657"/>
                        <a:pt x="677784" y="545748"/>
                      </a:cubicBezTo>
                      <a:cubicBezTo>
                        <a:pt x="681559" y="546150"/>
                        <a:pt x="682845" y="545909"/>
                        <a:pt x="685576" y="545427"/>
                      </a:cubicBezTo>
                      <a:cubicBezTo>
                        <a:pt x="681559" y="542214"/>
                        <a:pt x="681318" y="541009"/>
                        <a:pt x="681158" y="537555"/>
                      </a:cubicBezTo>
                      <a:cubicBezTo>
                        <a:pt x="681559" y="537234"/>
                        <a:pt x="682122" y="536832"/>
                        <a:pt x="682523" y="536511"/>
                      </a:cubicBezTo>
                      <a:cubicBezTo>
                        <a:pt x="687182" y="537876"/>
                        <a:pt x="687745" y="537876"/>
                        <a:pt x="690154" y="537876"/>
                      </a:cubicBezTo>
                      <a:cubicBezTo>
                        <a:pt x="690556" y="537394"/>
                        <a:pt x="691199" y="536832"/>
                        <a:pt x="691600" y="536350"/>
                      </a:cubicBezTo>
                      <a:cubicBezTo>
                        <a:pt x="690556" y="533539"/>
                        <a:pt x="690556" y="533539"/>
                        <a:pt x="688146" y="530486"/>
                      </a:cubicBezTo>
                      <a:cubicBezTo>
                        <a:pt x="689030" y="530245"/>
                        <a:pt x="690154" y="529924"/>
                        <a:pt x="691038" y="529683"/>
                      </a:cubicBezTo>
                      <a:cubicBezTo>
                        <a:pt x="691922" y="529201"/>
                        <a:pt x="693367" y="528317"/>
                        <a:pt x="694090" y="527353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8" name="Freeform: Shape 427">
                  <a:extLst>
                    <a:ext uri="{FF2B5EF4-FFF2-40B4-BE49-F238E27FC236}">
                      <a16:creationId xmlns:a16="http://schemas.microsoft.com/office/drawing/2014/main" id="{C0E5E661-589D-9E7F-D855-2B8868D35837}"/>
                    </a:ext>
                  </a:extLst>
                </p:cNvPr>
                <p:cNvSpPr/>
                <p:nvPr/>
              </p:nvSpPr>
              <p:spPr>
                <a:xfrm>
                  <a:off x="-5248584" y="3121682"/>
                  <a:ext cx="2317118" cy="1240210"/>
                </a:xfrm>
                <a:custGeom>
                  <a:avLst/>
                  <a:gdLst>
                    <a:gd name="connsiteX0" fmla="*/ 1189095 w 2317118"/>
                    <a:gd name="connsiteY0" fmla="*/ 1238336 h 1240210"/>
                    <a:gd name="connsiteX1" fmla="*/ 1212149 w 2317118"/>
                    <a:gd name="connsiteY1" fmla="*/ 1236408 h 1240210"/>
                    <a:gd name="connsiteX2" fmla="*/ 1210543 w 2317118"/>
                    <a:gd name="connsiteY2" fmla="*/ 1236569 h 1240210"/>
                    <a:gd name="connsiteX3" fmla="*/ 1165880 w 2317118"/>
                    <a:gd name="connsiteY3" fmla="*/ 1238497 h 1240210"/>
                    <a:gd name="connsiteX4" fmla="*/ 1158731 w 2317118"/>
                    <a:gd name="connsiteY4" fmla="*/ 1239862 h 1240210"/>
                    <a:gd name="connsiteX5" fmla="*/ 1158811 w 2317118"/>
                    <a:gd name="connsiteY5" fmla="*/ 1240184 h 1240210"/>
                    <a:gd name="connsiteX6" fmla="*/ 1189095 w 2317118"/>
                    <a:gd name="connsiteY6" fmla="*/ 1238336 h 1240210"/>
                    <a:gd name="connsiteX7" fmla="*/ 838303 w 2317118"/>
                    <a:gd name="connsiteY7" fmla="*/ 1193513 h 1240210"/>
                    <a:gd name="connsiteX8" fmla="*/ 816052 w 2317118"/>
                    <a:gd name="connsiteY8" fmla="*/ 1189417 h 1240210"/>
                    <a:gd name="connsiteX9" fmla="*/ 803440 w 2317118"/>
                    <a:gd name="connsiteY9" fmla="*/ 1188935 h 1240210"/>
                    <a:gd name="connsiteX10" fmla="*/ 816132 w 2317118"/>
                    <a:gd name="connsiteY10" fmla="*/ 1191907 h 1240210"/>
                    <a:gd name="connsiteX11" fmla="*/ 792596 w 2317118"/>
                    <a:gd name="connsiteY11" fmla="*/ 1191184 h 1240210"/>
                    <a:gd name="connsiteX12" fmla="*/ 797576 w 2317118"/>
                    <a:gd name="connsiteY12" fmla="*/ 1193353 h 1240210"/>
                    <a:gd name="connsiteX13" fmla="*/ 807055 w 2317118"/>
                    <a:gd name="connsiteY13" fmla="*/ 1195762 h 1240210"/>
                    <a:gd name="connsiteX14" fmla="*/ 807457 w 2317118"/>
                    <a:gd name="connsiteY14" fmla="*/ 1195762 h 1240210"/>
                    <a:gd name="connsiteX15" fmla="*/ 816775 w 2317118"/>
                    <a:gd name="connsiteY15" fmla="*/ 1197690 h 1240210"/>
                    <a:gd name="connsiteX16" fmla="*/ 830913 w 2317118"/>
                    <a:gd name="connsiteY16" fmla="*/ 1197369 h 1240210"/>
                    <a:gd name="connsiteX17" fmla="*/ 853726 w 2317118"/>
                    <a:gd name="connsiteY17" fmla="*/ 1203152 h 1240210"/>
                    <a:gd name="connsiteX18" fmla="*/ 859509 w 2317118"/>
                    <a:gd name="connsiteY18" fmla="*/ 1204599 h 1240210"/>
                    <a:gd name="connsiteX19" fmla="*/ 838303 w 2317118"/>
                    <a:gd name="connsiteY19" fmla="*/ 1193513 h 1240210"/>
                    <a:gd name="connsiteX20" fmla="*/ 833724 w 2317118"/>
                    <a:gd name="connsiteY20" fmla="*/ 1190943 h 1240210"/>
                    <a:gd name="connsiteX21" fmla="*/ 830672 w 2317118"/>
                    <a:gd name="connsiteY21" fmla="*/ 1189738 h 1240210"/>
                    <a:gd name="connsiteX22" fmla="*/ 830832 w 2317118"/>
                    <a:gd name="connsiteY22" fmla="*/ 1189818 h 1240210"/>
                    <a:gd name="connsiteX23" fmla="*/ 835250 w 2317118"/>
                    <a:gd name="connsiteY23" fmla="*/ 1192068 h 1240210"/>
                    <a:gd name="connsiteX24" fmla="*/ 833724 w 2317118"/>
                    <a:gd name="connsiteY24" fmla="*/ 1190943 h 1240210"/>
                    <a:gd name="connsiteX25" fmla="*/ 829708 w 2317118"/>
                    <a:gd name="connsiteY25" fmla="*/ 1189577 h 1240210"/>
                    <a:gd name="connsiteX26" fmla="*/ 830591 w 2317118"/>
                    <a:gd name="connsiteY26" fmla="*/ 1189738 h 1240210"/>
                    <a:gd name="connsiteX27" fmla="*/ 821273 w 2317118"/>
                    <a:gd name="connsiteY27" fmla="*/ 1185239 h 1240210"/>
                    <a:gd name="connsiteX28" fmla="*/ 814445 w 2317118"/>
                    <a:gd name="connsiteY28" fmla="*/ 1186043 h 1240210"/>
                    <a:gd name="connsiteX29" fmla="*/ 829708 w 2317118"/>
                    <a:gd name="connsiteY29" fmla="*/ 1189577 h 1240210"/>
                    <a:gd name="connsiteX30" fmla="*/ 824326 w 2317118"/>
                    <a:gd name="connsiteY30" fmla="*/ 1185320 h 1240210"/>
                    <a:gd name="connsiteX31" fmla="*/ 824486 w 2317118"/>
                    <a:gd name="connsiteY31" fmla="*/ 1185320 h 1240210"/>
                    <a:gd name="connsiteX32" fmla="*/ 819345 w 2317118"/>
                    <a:gd name="connsiteY32" fmla="*/ 1184035 h 1240210"/>
                    <a:gd name="connsiteX33" fmla="*/ 819506 w 2317118"/>
                    <a:gd name="connsiteY33" fmla="*/ 1184115 h 1240210"/>
                    <a:gd name="connsiteX34" fmla="*/ 819667 w 2317118"/>
                    <a:gd name="connsiteY34" fmla="*/ 1184195 h 1240210"/>
                    <a:gd name="connsiteX35" fmla="*/ 820390 w 2317118"/>
                    <a:gd name="connsiteY35" fmla="*/ 1184597 h 1240210"/>
                    <a:gd name="connsiteX36" fmla="*/ 821755 w 2317118"/>
                    <a:gd name="connsiteY36" fmla="*/ 1185320 h 1240210"/>
                    <a:gd name="connsiteX37" fmla="*/ 821916 w 2317118"/>
                    <a:gd name="connsiteY37" fmla="*/ 1185320 h 1240210"/>
                    <a:gd name="connsiteX38" fmla="*/ 824326 w 2317118"/>
                    <a:gd name="connsiteY38" fmla="*/ 1185320 h 1240210"/>
                    <a:gd name="connsiteX39" fmla="*/ 816614 w 2317118"/>
                    <a:gd name="connsiteY39" fmla="*/ 1183312 h 1240210"/>
                    <a:gd name="connsiteX40" fmla="*/ 819345 w 2317118"/>
                    <a:gd name="connsiteY40" fmla="*/ 1184035 h 1240210"/>
                    <a:gd name="connsiteX41" fmla="*/ 801432 w 2317118"/>
                    <a:gd name="connsiteY41" fmla="*/ 1174636 h 1240210"/>
                    <a:gd name="connsiteX42" fmla="*/ 800147 w 2317118"/>
                    <a:gd name="connsiteY42" fmla="*/ 1173994 h 1240210"/>
                    <a:gd name="connsiteX43" fmla="*/ 783358 w 2317118"/>
                    <a:gd name="connsiteY43" fmla="*/ 1171744 h 1240210"/>
                    <a:gd name="connsiteX44" fmla="*/ 779904 w 2317118"/>
                    <a:gd name="connsiteY44" fmla="*/ 1171744 h 1240210"/>
                    <a:gd name="connsiteX45" fmla="*/ 779744 w 2317118"/>
                    <a:gd name="connsiteY45" fmla="*/ 1172066 h 1240210"/>
                    <a:gd name="connsiteX46" fmla="*/ 816614 w 2317118"/>
                    <a:gd name="connsiteY46" fmla="*/ 1183312 h 1240210"/>
                    <a:gd name="connsiteX47" fmla="*/ 865213 w 2317118"/>
                    <a:gd name="connsiteY47" fmla="*/ 1145638 h 1240210"/>
                    <a:gd name="connsiteX48" fmla="*/ 865373 w 2317118"/>
                    <a:gd name="connsiteY48" fmla="*/ 1145638 h 1240210"/>
                    <a:gd name="connsiteX49" fmla="*/ 863767 w 2317118"/>
                    <a:gd name="connsiteY49" fmla="*/ 1145557 h 1240210"/>
                    <a:gd name="connsiteX50" fmla="*/ 862963 w 2317118"/>
                    <a:gd name="connsiteY50" fmla="*/ 1145638 h 1240210"/>
                    <a:gd name="connsiteX51" fmla="*/ 862963 w 2317118"/>
                    <a:gd name="connsiteY51" fmla="*/ 1145638 h 1240210"/>
                    <a:gd name="connsiteX52" fmla="*/ 862963 w 2317118"/>
                    <a:gd name="connsiteY52" fmla="*/ 1145638 h 1240210"/>
                    <a:gd name="connsiteX53" fmla="*/ 862963 w 2317118"/>
                    <a:gd name="connsiteY53" fmla="*/ 1145638 h 1240210"/>
                    <a:gd name="connsiteX54" fmla="*/ 862963 w 2317118"/>
                    <a:gd name="connsiteY54" fmla="*/ 1145638 h 1240210"/>
                    <a:gd name="connsiteX55" fmla="*/ 862963 w 2317118"/>
                    <a:gd name="connsiteY55" fmla="*/ 1145638 h 1240210"/>
                    <a:gd name="connsiteX56" fmla="*/ 862963 w 2317118"/>
                    <a:gd name="connsiteY56" fmla="*/ 1145638 h 1240210"/>
                    <a:gd name="connsiteX57" fmla="*/ 862963 w 2317118"/>
                    <a:gd name="connsiteY57" fmla="*/ 1145638 h 1240210"/>
                    <a:gd name="connsiteX58" fmla="*/ 862963 w 2317118"/>
                    <a:gd name="connsiteY58" fmla="*/ 1145638 h 1240210"/>
                    <a:gd name="connsiteX59" fmla="*/ 865213 w 2317118"/>
                    <a:gd name="connsiteY59" fmla="*/ 1145638 h 1240210"/>
                    <a:gd name="connsiteX60" fmla="*/ 887464 w 2317118"/>
                    <a:gd name="connsiteY60" fmla="*/ 1118728 h 1240210"/>
                    <a:gd name="connsiteX61" fmla="*/ 878226 w 2317118"/>
                    <a:gd name="connsiteY61" fmla="*/ 1118888 h 1240210"/>
                    <a:gd name="connsiteX62" fmla="*/ 825691 w 2317118"/>
                    <a:gd name="connsiteY62" fmla="*/ 1130054 h 1240210"/>
                    <a:gd name="connsiteX63" fmla="*/ 827378 w 2317118"/>
                    <a:gd name="connsiteY63" fmla="*/ 1131259 h 1240210"/>
                    <a:gd name="connsiteX64" fmla="*/ 822157 w 2317118"/>
                    <a:gd name="connsiteY64" fmla="*/ 1132062 h 1240210"/>
                    <a:gd name="connsiteX65" fmla="*/ 822880 w 2317118"/>
                    <a:gd name="connsiteY65" fmla="*/ 1133669 h 1240210"/>
                    <a:gd name="connsiteX66" fmla="*/ 812999 w 2317118"/>
                    <a:gd name="connsiteY66" fmla="*/ 1134071 h 1240210"/>
                    <a:gd name="connsiteX67" fmla="*/ 818703 w 2317118"/>
                    <a:gd name="connsiteY67" fmla="*/ 1137766 h 1240210"/>
                    <a:gd name="connsiteX68" fmla="*/ 813722 w 2317118"/>
                    <a:gd name="connsiteY68" fmla="*/ 1139131 h 1240210"/>
                    <a:gd name="connsiteX69" fmla="*/ 814204 w 2317118"/>
                    <a:gd name="connsiteY69" fmla="*/ 1140497 h 1240210"/>
                    <a:gd name="connsiteX70" fmla="*/ 812598 w 2317118"/>
                    <a:gd name="connsiteY70" fmla="*/ 1140497 h 1240210"/>
                    <a:gd name="connsiteX71" fmla="*/ 815008 w 2317118"/>
                    <a:gd name="connsiteY71" fmla="*/ 1142906 h 1240210"/>
                    <a:gd name="connsiteX72" fmla="*/ 808662 w 2317118"/>
                    <a:gd name="connsiteY72" fmla="*/ 1142345 h 1240210"/>
                    <a:gd name="connsiteX73" fmla="*/ 809465 w 2317118"/>
                    <a:gd name="connsiteY73" fmla="*/ 1144031 h 1240210"/>
                    <a:gd name="connsiteX74" fmla="*/ 809385 w 2317118"/>
                    <a:gd name="connsiteY74" fmla="*/ 1155759 h 1240210"/>
                    <a:gd name="connsiteX75" fmla="*/ 806895 w 2317118"/>
                    <a:gd name="connsiteY75" fmla="*/ 1154795 h 1240210"/>
                    <a:gd name="connsiteX76" fmla="*/ 805368 w 2317118"/>
                    <a:gd name="connsiteY76" fmla="*/ 1155036 h 1240210"/>
                    <a:gd name="connsiteX77" fmla="*/ 831957 w 2317118"/>
                    <a:gd name="connsiteY77" fmla="*/ 1177207 h 1240210"/>
                    <a:gd name="connsiteX78" fmla="*/ 818703 w 2317118"/>
                    <a:gd name="connsiteY78" fmla="*/ 1176162 h 1240210"/>
                    <a:gd name="connsiteX79" fmla="*/ 877503 w 2317118"/>
                    <a:gd name="connsiteY79" fmla="*/ 1206125 h 1240210"/>
                    <a:gd name="connsiteX80" fmla="*/ 858144 w 2317118"/>
                    <a:gd name="connsiteY80" fmla="*/ 1210623 h 1240210"/>
                    <a:gd name="connsiteX81" fmla="*/ 785608 w 2317118"/>
                    <a:gd name="connsiteY81" fmla="*/ 1197690 h 1240210"/>
                    <a:gd name="connsiteX82" fmla="*/ 792034 w 2317118"/>
                    <a:gd name="connsiteY82" fmla="*/ 1200180 h 1240210"/>
                    <a:gd name="connsiteX83" fmla="*/ 709537 w 2317118"/>
                    <a:gd name="connsiteY83" fmla="*/ 1178251 h 1240210"/>
                    <a:gd name="connsiteX84" fmla="*/ 829306 w 2317118"/>
                    <a:gd name="connsiteY84" fmla="*/ 1211667 h 1240210"/>
                    <a:gd name="connsiteX85" fmla="*/ 918791 w 2317118"/>
                    <a:gd name="connsiteY85" fmla="*/ 1228376 h 1240210"/>
                    <a:gd name="connsiteX86" fmla="*/ 919273 w 2317118"/>
                    <a:gd name="connsiteY86" fmla="*/ 1228456 h 1240210"/>
                    <a:gd name="connsiteX87" fmla="*/ 977110 w 2317118"/>
                    <a:gd name="connsiteY87" fmla="*/ 1230785 h 1240210"/>
                    <a:gd name="connsiteX88" fmla="*/ 975824 w 2317118"/>
                    <a:gd name="connsiteY88" fmla="*/ 1229259 h 1240210"/>
                    <a:gd name="connsiteX89" fmla="*/ 981126 w 2317118"/>
                    <a:gd name="connsiteY89" fmla="*/ 1228697 h 1240210"/>
                    <a:gd name="connsiteX90" fmla="*/ 972531 w 2317118"/>
                    <a:gd name="connsiteY90" fmla="*/ 1227572 h 1240210"/>
                    <a:gd name="connsiteX91" fmla="*/ 982572 w 2317118"/>
                    <a:gd name="connsiteY91" fmla="*/ 1227171 h 1240210"/>
                    <a:gd name="connsiteX92" fmla="*/ 976226 w 2317118"/>
                    <a:gd name="connsiteY92" fmla="*/ 1224279 h 1240210"/>
                    <a:gd name="connsiteX93" fmla="*/ 986588 w 2317118"/>
                    <a:gd name="connsiteY93" fmla="*/ 1224761 h 1240210"/>
                    <a:gd name="connsiteX94" fmla="*/ 985946 w 2317118"/>
                    <a:gd name="connsiteY94" fmla="*/ 1223074 h 1240210"/>
                    <a:gd name="connsiteX95" fmla="*/ 976949 w 2317118"/>
                    <a:gd name="connsiteY95" fmla="*/ 1223234 h 1240210"/>
                    <a:gd name="connsiteX96" fmla="*/ 980564 w 2317118"/>
                    <a:gd name="connsiteY96" fmla="*/ 1222512 h 1240210"/>
                    <a:gd name="connsiteX97" fmla="*/ 971888 w 2317118"/>
                    <a:gd name="connsiteY97" fmla="*/ 1221307 h 1240210"/>
                    <a:gd name="connsiteX98" fmla="*/ 976547 w 2317118"/>
                    <a:gd name="connsiteY98" fmla="*/ 1220825 h 1240210"/>
                    <a:gd name="connsiteX99" fmla="*/ 975824 w 2317118"/>
                    <a:gd name="connsiteY99" fmla="*/ 1219138 h 1240210"/>
                    <a:gd name="connsiteX100" fmla="*/ 953734 w 2317118"/>
                    <a:gd name="connsiteY100" fmla="*/ 1214318 h 1240210"/>
                    <a:gd name="connsiteX101" fmla="*/ 973575 w 2317118"/>
                    <a:gd name="connsiteY101" fmla="*/ 1215604 h 1240210"/>
                    <a:gd name="connsiteX102" fmla="*/ 957991 w 2317118"/>
                    <a:gd name="connsiteY102" fmla="*/ 1210784 h 1240210"/>
                    <a:gd name="connsiteX103" fmla="*/ 950039 w 2317118"/>
                    <a:gd name="connsiteY103" fmla="*/ 1209418 h 1240210"/>
                    <a:gd name="connsiteX104" fmla="*/ 950682 w 2317118"/>
                    <a:gd name="connsiteY104" fmla="*/ 1207892 h 1240210"/>
                    <a:gd name="connsiteX105" fmla="*/ 950039 w 2317118"/>
                    <a:gd name="connsiteY105" fmla="*/ 1206446 h 1240210"/>
                    <a:gd name="connsiteX106" fmla="*/ 931323 w 2317118"/>
                    <a:gd name="connsiteY106" fmla="*/ 1204599 h 1240210"/>
                    <a:gd name="connsiteX107" fmla="*/ 939275 w 2317118"/>
                    <a:gd name="connsiteY107" fmla="*/ 1202189 h 1240210"/>
                    <a:gd name="connsiteX108" fmla="*/ 929877 w 2317118"/>
                    <a:gd name="connsiteY108" fmla="*/ 1201466 h 1240210"/>
                    <a:gd name="connsiteX109" fmla="*/ 931563 w 2317118"/>
                    <a:gd name="connsiteY109" fmla="*/ 1199458 h 1240210"/>
                    <a:gd name="connsiteX110" fmla="*/ 921603 w 2317118"/>
                    <a:gd name="connsiteY110" fmla="*/ 1195120 h 1240210"/>
                    <a:gd name="connsiteX111" fmla="*/ 903770 w 2317118"/>
                    <a:gd name="connsiteY111" fmla="*/ 1189015 h 1240210"/>
                    <a:gd name="connsiteX112" fmla="*/ 906019 w 2317118"/>
                    <a:gd name="connsiteY112" fmla="*/ 1188453 h 1240210"/>
                    <a:gd name="connsiteX113" fmla="*/ 868426 w 2317118"/>
                    <a:gd name="connsiteY113" fmla="*/ 1169656 h 1240210"/>
                    <a:gd name="connsiteX114" fmla="*/ 857581 w 2317118"/>
                    <a:gd name="connsiteY114" fmla="*/ 1169977 h 1240210"/>
                    <a:gd name="connsiteX115" fmla="*/ 859670 w 2317118"/>
                    <a:gd name="connsiteY115" fmla="*/ 1172547 h 1240210"/>
                    <a:gd name="connsiteX116" fmla="*/ 837178 w 2317118"/>
                    <a:gd name="connsiteY116" fmla="*/ 1167326 h 1240210"/>
                    <a:gd name="connsiteX117" fmla="*/ 840713 w 2317118"/>
                    <a:gd name="connsiteY117" fmla="*/ 1166443 h 1240210"/>
                    <a:gd name="connsiteX118" fmla="*/ 839829 w 2317118"/>
                    <a:gd name="connsiteY118" fmla="*/ 1164756 h 1240210"/>
                    <a:gd name="connsiteX119" fmla="*/ 825611 w 2317118"/>
                    <a:gd name="connsiteY119" fmla="*/ 1157044 h 1240210"/>
                    <a:gd name="connsiteX120" fmla="*/ 832760 w 2317118"/>
                    <a:gd name="connsiteY120" fmla="*/ 1152064 h 1240210"/>
                    <a:gd name="connsiteX121" fmla="*/ 829547 w 2317118"/>
                    <a:gd name="connsiteY121" fmla="*/ 1146361 h 1240210"/>
                    <a:gd name="connsiteX122" fmla="*/ 850191 w 2317118"/>
                    <a:gd name="connsiteY122" fmla="*/ 1151502 h 1240210"/>
                    <a:gd name="connsiteX123" fmla="*/ 844006 w 2317118"/>
                    <a:gd name="connsiteY123" fmla="*/ 1147325 h 1240210"/>
                    <a:gd name="connsiteX124" fmla="*/ 856537 w 2317118"/>
                    <a:gd name="connsiteY124" fmla="*/ 1148771 h 1240210"/>
                    <a:gd name="connsiteX125" fmla="*/ 855895 w 2317118"/>
                    <a:gd name="connsiteY125" fmla="*/ 1147485 h 1240210"/>
                    <a:gd name="connsiteX126" fmla="*/ 856698 w 2317118"/>
                    <a:gd name="connsiteY126" fmla="*/ 1146120 h 1240210"/>
                    <a:gd name="connsiteX127" fmla="*/ 864008 w 2317118"/>
                    <a:gd name="connsiteY127" fmla="*/ 1147646 h 1240210"/>
                    <a:gd name="connsiteX128" fmla="*/ 846175 w 2317118"/>
                    <a:gd name="connsiteY128" fmla="*/ 1139533 h 1240210"/>
                    <a:gd name="connsiteX129" fmla="*/ 839267 w 2317118"/>
                    <a:gd name="connsiteY129" fmla="*/ 1137043 h 1240210"/>
                    <a:gd name="connsiteX130" fmla="*/ 839347 w 2317118"/>
                    <a:gd name="connsiteY130" fmla="*/ 1135276 h 1240210"/>
                    <a:gd name="connsiteX131" fmla="*/ 871478 w 2317118"/>
                    <a:gd name="connsiteY131" fmla="*/ 1125957 h 1240210"/>
                    <a:gd name="connsiteX132" fmla="*/ 887464 w 2317118"/>
                    <a:gd name="connsiteY132" fmla="*/ 1118728 h 1240210"/>
                    <a:gd name="connsiteX133" fmla="*/ 1820553 w 2317118"/>
                    <a:gd name="connsiteY133" fmla="*/ 1007072 h 1240210"/>
                    <a:gd name="connsiteX134" fmla="*/ 1958235 w 2317118"/>
                    <a:gd name="connsiteY134" fmla="*/ 890596 h 1240210"/>
                    <a:gd name="connsiteX135" fmla="*/ 1959039 w 2317118"/>
                    <a:gd name="connsiteY135" fmla="*/ 889793 h 1240210"/>
                    <a:gd name="connsiteX136" fmla="*/ 1963617 w 2317118"/>
                    <a:gd name="connsiteY136" fmla="*/ 885134 h 1240210"/>
                    <a:gd name="connsiteX137" fmla="*/ 1854291 w 2317118"/>
                    <a:gd name="connsiteY137" fmla="*/ 975985 h 1240210"/>
                    <a:gd name="connsiteX138" fmla="*/ 1856942 w 2317118"/>
                    <a:gd name="connsiteY138" fmla="*/ 971888 h 1240210"/>
                    <a:gd name="connsiteX139" fmla="*/ 1544707 w 2317118"/>
                    <a:gd name="connsiteY139" fmla="*/ 1116640 h 1240210"/>
                    <a:gd name="connsiteX140" fmla="*/ 1531292 w 2317118"/>
                    <a:gd name="connsiteY140" fmla="*/ 1112944 h 1240210"/>
                    <a:gd name="connsiteX141" fmla="*/ 1448233 w 2317118"/>
                    <a:gd name="connsiteY141" fmla="*/ 1159374 h 1240210"/>
                    <a:gd name="connsiteX142" fmla="*/ 1461005 w 2317118"/>
                    <a:gd name="connsiteY142" fmla="*/ 1160338 h 1240210"/>
                    <a:gd name="connsiteX143" fmla="*/ 1412808 w 2317118"/>
                    <a:gd name="connsiteY143" fmla="*/ 1185159 h 1240210"/>
                    <a:gd name="connsiteX144" fmla="*/ 1270066 w 2317118"/>
                    <a:gd name="connsiteY144" fmla="*/ 1226367 h 1240210"/>
                    <a:gd name="connsiteX145" fmla="*/ 1311435 w 2317118"/>
                    <a:gd name="connsiteY145" fmla="*/ 1223234 h 1240210"/>
                    <a:gd name="connsiteX146" fmla="*/ 1371841 w 2317118"/>
                    <a:gd name="connsiteY146" fmla="*/ 1211025 h 1240210"/>
                    <a:gd name="connsiteX147" fmla="*/ 1435541 w 2317118"/>
                    <a:gd name="connsiteY147" fmla="*/ 1194718 h 1240210"/>
                    <a:gd name="connsiteX148" fmla="*/ 1506150 w 2317118"/>
                    <a:gd name="connsiteY148" fmla="*/ 1172226 h 1240210"/>
                    <a:gd name="connsiteX149" fmla="*/ 1588646 w 2317118"/>
                    <a:gd name="connsiteY149" fmla="*/ 1139774 h 1240210"/>
                    <a:gd name="connsiteX150" fmla="*/ 1820553 w 2317118"/>
                    <a:gd name="connsiteY150" fmla="*/ 1007072 h 1240210"/>
                    <a:gd name="connsiteX151" fmla="*/ 688170 w 2317118"/>
                    <a:gd name="connsiteY151" fmla="*/ 1018318 h 1240210"/>
                    <a:gd name="connsiteX152" fmla="*/ 690098 w 2317118"/>
                    <a:gd name="connsiteY152" fmla="*/ 1018318 h 1240210"/>
                    <a:gd name="connsiteX153" fmla="*/ 634109 w 2317118"/>
                    <a:gd name="connsiteY153" fmla="*/ 995103 h 1240210"/>
                    <a:gd name="connsiteX154" fmla="*/ 610573 w 2317118"/>
                    <a:gd name="connsiteY154" fmla="*/ 987793 h 1240210"/>
                    <a:gd name="connsiteX155" fmla="*/ 600130 w 2317118"/>
                    <a:gd name="connsiteY155" fmla="*/ 988837 h 1240210"/>
                    <a:gd name="connsiteX156" fmla="*/ 630816 w 2317118"/>
                    <a:gd name="connsiteY156" fmla="*/ 1010687 h 1240210"/>
                    <a:gd name="connsiteX157" fmla="*/ 607119 w 2317118"/>
                    <a:gd name="connsiteY157" fmla="*/ 1002654 h 1240210"/>
                    <a:gd name="connsiteX158" fmla="*/ 610493 w 2317118"/>
                    <a:gd name="connsiteY158" fmla="*/ 1002734 h 1240210"/>
                    <a:gd name="connsiteX159" fmla="*/ 605111 w 2317118"/>
                    <a:gd name="connsiteY159" fmla="*/ 998477 h 1240210"/>
                    <a:gd name="connsiteX160" fmla="*/ 603906 w 2317118"/>
                    <a:gd name="connsiteY160" fmla="*/ 998959 h 1240210"/>
                    <a:gd name="connsiteX161" fmla="*/ 605271 w 2317118"/>
                    <a:gd name="connsiteY161" fmla="*/ 1000565 h 1240210"/>
                    <a:gd name="connsiteX162" fmla="*/ 616116 w 2317118"/>
                    <a:gd name="connsiteY162" fmla="*/ 1009000 h 1240210"/>
                    <a:gd name="connsiteX163" fmla="*/ 594186 w 2317118"/>
                    <a:gd name="connsiteY163" fmla="*/ 1005867 h 1240210"/>
                    <a:gd name="connsiteX164" fmla="*/ 614509 w 2317118"/>
                    <a:gd name="connsiteY164" fmla="*/ 1011169 h 1240210"/>
                    <a:gd name="connsiteX165" fmla="*/ 688170 w 2317118"/>
                    <a:gd name="connsiteY165" fmla="*/ 1018318 h 1240210"/>
                    <a:gd name="connsiteX166" fmla="*/ 478835 w 2317118"/>
                    <a:gd name="connsiteY166" fmla="*/ 912526 h 1240210"/>
                    <a:gd name="connsiteX167" fmla="*/ 478835 w 2317118"/>
                    <a:gd name="connsiteY167" fmla="*/ 912526 h 1240210"/>
                    <a:gd name="connsiteX168" fmla="*/ 478835 w 2317118"/>
                    <a:gd name="connsiteY168" fmla="*/ 912526 h 1240210"/>
                    <a:gd name="connsiteX169" fmla="*/ 478433 w 2317118"/>
                    <a:gd name="connsiteY169" fmla="*/ 912526 h 1240210"/>
                    <a:gd name="connsiteX170" fmla="*/ 477791 w 2317118"/>
                    <a:gd name="connsiteY170" fmla="*/ 913490 h 1240210"/>
                    <a:gd name="connsiteX171" fmla="*/ 478835 w 2317118"/>
                    <a:gd name="connsiteY171" fmla="*/ 912526 h 1240210"/>
                    <a:gd name="connsiteX172" fmla="*/ 629932 w 2317118"/>
                    <a:gd name="connsiteY172" fmla="*/ 878547 h 1240210"/>
                    <a:gd name="connsiteX173" fmla="*/ 630093 w 2317118"/>
                    <a:gd name="connsiteY173" fmla="*/ 878547 h 1240210"/>
                    <a:gd name="connsiteX174" fmla="*/ 626799 w 2317118"/>
                    <a:gd name="connsiteY174" fmla="*/ 878306 h 1240210"/>
                    <a:gd name="connsiteX175" fmla="*/ 626880 w 2317118"/>
                    <a:gd name="connsiteY175" fmla="*/ 878306 h 1240210"/>
                    <a:gd name="connsiteX176" fmla="*/ 629932 w 2317118"/>
                    <a:gd name="connsiteY176" fmla="*/ 878547 h 1240210"/>
                    <a:gd name="connsiteX177" fmla="*/ 808581 w 2317118"/>
                    <a:gd name="connsiteY177" fmla="*/ 764321 h 1240210"/>
                    <a:gd name="connsiteX178" fmla="*/ 808742 w 2317118"/>
                    <a:gd name="connsiteY178" fmla="*/ 764241 h 1240210"/>
                    <a:gd name="connsiteX179" fmla="*/ 808581 w 2317118"/>
                    <a:gd name="connsiteY179" fmla="*/ 764321 h 1240210"/>
                    <a:gd name="connsiteX180" fmla="*/ 802236 w 2317118"/>
                    <a:gd name="connsiteY180" fmla="*/ 767695 h 1240210"/>
                    <a:gd name="connsiteX181" fmla="*/ 808581 w 2317118"/>
                    <a:gd name="connsiteY181" fmla="*/ 764321 h 1240210"/>
                    <a:gd name="connsiteX182" fmla="*/ 938954 w 2317118"/>
                    <a:gd name="connsiteY182" fmla="*/ 658930 h 1240210"/>
                    <a:gd name="connsiteX183" fmla="*/ 939114 w 2317118"/>
                    <a:gd name="connsiteY183" fmla="*/ 658850 h 1240210"/>
                    <a:gd name="connsiteX184" fmla="*/ 937026 w 2317118"/>
                    <a:gd name="connsiteY184" fmla="*/ 658850 h 1240210"/>
                    <a:gd name="connsiteX185" fmla="*/ 933331 w 2317118"/>
                    <a:gd name="connsiteY185" fmla="*/ 659814 h 1240210"/>
                    <a:gd name="connsiteX186" fmla="*/ 938954 w 2317118"/>
                    <a:gd name="connsiteY186" fmla="*/ 658930 h 1240210"/>
                    <a:gd name="connsiteX187" fmla="*/ 2316820 w 2317118"/>
                    <a:gd name="connsiteY187" fmla="*/ 23456 h 1240210"/>
                    <a:gd name="connsiteX188" fmla="*/ 2315213 w 2317118"/>
                    <a:gd name="connsiteY188" fmla="*/ 0 h 1240210"/>
                    <a:gd name="connsiteX189" fmla="*/ 2314249 w 2317118"/>
                    <a:gd name="connsiteY189" fmla="*/ 4257 h 1240210"/>
                    <a:gd name="connsiteX190" fmla="*/ 2310313 w 2317118"/>
                    <a:gd name="connsiteY190" fmla="*/ 44421 h 1240210"/>
                    <a:gd name="connsiteX191" fmla="*/ 2309992 w 2317118"/>
                    <a:gd name="connsiteY191" fmla="*/ 42654 h 1240210"/>
                    <a:gd name="connsiteX192" fmla="*/ 2309188 w 2317118"/>
                    <a:gd name="connsiteY192" fmla="*/ 52535 h 1240210"/>
                    <a:gd name="connsiteX193" fmla="*/ 2295774 w 2317118"/>
                    <a:gd name="connsiteY193" fmla="*/ 129248 h 1240210"/>
                    <a:gd name="connsiteX194" fmla="*/ 2301718 w 2317118"/>
                    <a:gd name="connsiteY194" fmla="*/ 169412 h 1240210"/>
                    <a:gd name="connsiteX195" fmla="*/ 2316820 w 2317118"/>
                    <a:gd name="connsiteY195" fmla="*/ 23456 h 1240210"/>
                    <a:gd name="connsiteX196" fmla="*/ 1688735 w 2317118"/>
                    <a:gd name="connsiteY196" fmla="*/ 180818 h 1240210"/>
                    <a:gd name="connsiteX197" fmla="*/ 1692992 w 2317118"/>
                    <a:gd name="connsiteY197" fmla="*/ 179212 h 1240210"/>
                    <a:gd name="connsiteX198" fmla="*/ 1692591 w 2317118"/>
                    <a:gd name="connsiteY198" fmla="*/ 179372 h 1240210"/>
                    <a:gd name="connsiteX199" fmla="*/ 1688735 w 2317118"/>
                    <a:gd name="connsiteY199" fmla="*/ 180818 h 1240210"/>
                    <a:gd name="connsiteX200" fmla="*/ 246045 w 2317118"/>
                    <a:gd name="connsiteY200" fmla="*/ 295446 h 1240210"/>
                    <a:gd name="connsiteX201" fmla="*/ 246125 w 2317118"/>
                    <a:gd name="connsiteY201" fmla="*/ 295366 h 1240210"/>
                    <a:gd name="connsiteX202" fmla="*/ 246045 w 2317118"/>
                    <a:gd name="connsiteY202" fmla="*/ 295446 h 1240210"/>
                    <a:gd name="connsiteX203" fmla="*/ 242831 w 2317118"/>
                    <a:gd name="connsiteY203" fmla="*/ 294964 h 1240210"/>
                    <a:gd name="connsiteX204" fmla="*/ 246045 w 2317118"/>
                    <a:gd name="connsiteY204" fmla="*/ 295446 h 1240210"/>
                    <a:gd name="connsiteX205" fmla="*/ 246768 w 2317118"/>
                    <a:gd name="connsiteY205" fmla="*/ 295446 h 1240210"/>
                    <a:gd name="connsiteX206" fmla="*/ 246768 w 2317118"/>
                    <a:gd name="connsiteY206" fmla="*/ 295446 h 1240210"/>
                    <a:gd name="connsiteX207" fmla="*/ 246607 w 2317118"/>
                    <a:gd name="connsiteY207" fmla="*/ 295125 h 1240210"/>
                    <a:gd name="connsiteX208" fmla="*/ 246607 w 2317118"/>
                    <a:gd name="connsiteY208" fmla="*/ 295125 h 1240210"/>
                    <a:gd name="connsiteX209" fmla="*/ 246205 w 2317118"/>
                    <a:gd name="connsiteY209" fmla="*/ 295366 h 1240210"/>
                    <a:gd name="connsiteX210" fmla="*/ 246768 w 2317118"/>
                    <a:gd name="connsiteY210" fmla="*/ 295446 h 1240210"/>
                    <a:gd name="connsiteX211" fmla="*/ 242430 w 2317118"/>
                    <a:gd name="connsiteY211" fmla="*/ 294964 h 1240210"/>
                    <a:gd name="connsiteX212" fmla="*/ 242831 w 2317118"/>
                    <a:gd name="connsiteY212" fmla="*/ 295045 h 1240210"/>
                    <a:gd name="connsiteX213" fmla="*/ 241546 w 2317118"/>
                    <a:gd name="connsiteY213" fmla="*/ 293920 h 1240210"/>
                    <a:gd name="connsiteX214" fmla="*/ 236727 w 2317118"/>
                    <a:gd name="connsiteY214" fmla="*/ 290627 h 1240210"/>
                    <a:gd name="connsiteX215" fmla="*/ 229336 w 2317118"/>
                    <a:gd name="connsiteY215" fmla="*/ 288538 h 1240210"/>
                    <a:gd name="connsiteX216" fmla="*/ 220018 w 2317118"/>
                    <a:gd name="connsiteY216" fmla="*/ 289020 h 1240210"/>
                    <a:gd name="connsiteX217" fmla="*/ 220982 w 2317118"/>
                    <a:gd name="connsiteY217" fmla="*/ 289743 h 1240210"/>
                    <a:gd name="connsiteX218" fmla="*/ 220902 w 2317118"/>
                    <a:gd name="connsiteY218" fmla="*/ 289984 h 1240210"/>
                    <a:gd name="connsiteX219" fmla="*/ 242430 w 2317118"/>
                    <a:gd name="connsiteY219" fmla="*/ 294964 h 1240210"/>
                    <a:gd name="connsiteX220" fmla="*/ 221464 w 2317118"/>
                    <a:gd name="connsiteY220" fmla="*/ 283397 h 1240210"/>
                    <a:gd name="connsiteX221" fmla="*/ 221705 w 2317118"/>
                    <a:gd name="connsiteY221" fmla="*/ 283237 h 1240210"/>
                    <a:gd name="connsiteX222" fmla="*/ 218733 w 2317118"/>
                    <a:gd name="connsiteY222" fmla="*/ 281309 h 1240210"/>
                    <a:gd name="connsiteX223" fmla="*/ 215761 w 2317118"/>
                    <a:gd name="connsiteY223" fmla="*/ 283638 h 1240210"/>
                    <a:gd name="connsiteX224" fmla="*/ 218251 w 2317118"/>
                    <a:gd name="connsiteY224" fmla="*/ 282513 h 1240210"/>
                    <a:gd name="connsiteX225" fmla="*/ 219617 w 2317118"/>
                    <a:gd name="connsiteY225" fmla="*/ 283397 h 1240210"/>
                    <a:gd name="connsiteX226" fmla="*/ 219697 w 2317118"/>
                    <a:gd name="connsiteY226" fmla="*/ 284040 h 1240210"/>
                    <a:gd name="connsiteX227" fmla="*/ 221464 w 2317118"/>
                    <a:gd name="connsiteY227" fmla="*/ 283397 h 1240210"/>
                    <a:gd name="connsiteX228" fmla="*/ 536189 w 2317118"/>
                    <a:gd name="connsiteY228" fmla="*/ 960321 h 1240210"/>
                    <a:gd name="connsiteX229" fmla="*/ 535948 w 2317118"/>
                    <a:gd name="connsiteY229" fmla="*/ 963213 h 1240210"/>
                    <a:gd name="connsiteX230" fmla="*/ 532735 w 2317118"/>
                    <a:gd name="connsiteY230" fmla="*/ 961365 h 1240210"/>
                    <a:gd name="connsiteX231" fmla="*/ 534663 w 2317118"/>
                    <a:gd name="connsiteY231" fmla="*/ 958474 h 1240210"/>
                    <a:gd name="connsiteX232" fmla="*/ 536430 w 2317118"/>
                    <a:gd name="connsiteY232" fmla="*/ 960321 h 1240210"/>
                    <a:gd name="connsiteX233" fmla="*/ 536189 w 2317118"/>
                    <a:gd name="connsiteY233" fmla="*/ 960321 h 1240210"/>
                    <a:gd name="connsiteX234" fmla="*/ 554745 w 2317118"/>
                    <a:gd name="connsiteY234" fmla="*/ 958152 h 1240210"/>
                    <a:gd name="connsiteX235" fmla="*/ 545186 w 2317118"/>
                    <a:gd name="connsiteY235" fmla="*/ 958554 h 1240210"/>
                    <a:gd name="connsiteX236" fmla="*/ 546712 w 2317118"/>
                    <a:gd name="connsiteY236" fmla="*/ 959518 h 1240210"/>
                    <a:gd name="connsiteX237" fmla="*/ 545668 w 2317118"/>
                    <a:gd name="connsiteY237" fmla="*/ 961125 h 1240210"/>
                    <a:gd name="connsiteX238" fmla="*/ 538840 w 2317118"/>
                    <a:gd name="connsiteY238" fmla="*/ 957429 h 1240210"/>
                    <a:gd name="connsiteX239" fmla="*/ 541491 w 2317118"/>
                    <a:gd name="connsiteY239" fmla="*/ 956546 h 1240210"/>
                    <a:gd name="connsiteX240" fmla="*/ 537555 w 2317118"/>
                    <a:gd name="connsiteY240" fmla="*/ 955903 h 1240210"/>
                    <a:gd name="connsiteX241" fmla="*/ 537233 w 2317118"/>
                    <a:gd name="connsiteY241" fmla="*/ 953413 h 1240210"/>
                    <a:gd name="connsiteX242" fmla="*/ 555388 w 2317118"/>
                    <a:gd name="connsiteY242" fmla="*/ 958152 h 1240210"/>
                    <a:gd name="connsiteX243" fmla="*/ 554745 w 2317118"/>
                    <a:gd name="connsiteY243" fmla="*/ 958152 h 1240210"/>
                    <a:gd name="connsiteX244" fmla="*/ 548479 w 2317118"/>
                    <a:gd name="connsiteY244" fmla="*/ 951164 h 1240210"/>
                    <a:gd name="connsiteX245" fmla="*/ 537233 w 2317118"/>
                    <a:gd name="connsiteY245" fmla="*/ 950280 h 1240210"/>
                    <a:gd name="connsiteX246" fmla="*/ 537153 w 2317118"/>
                    <a:gd name="connsiteY246" fmla="*/ 950119 h 1240210"/>
                    <a:gd name="connsiteX247" fmla="*/ 545186 w 2317118"/>
                    <a:gd name="connsiteY247" fmla="*/ 950842 h 1240210"/>
                    <a:gd name="connsiteX248" fmla="*/ 548479 w 2317118"/>
                    <a:gd name="connsiteY248" fmla="*/ 951164 h 1240210"/>
                    <a:gd name="connsiteX249" fmla="*/ 540929 w 2317118"/>
                    <a:gd name="connsiteY249" fmla="*/ 918149 h 1240210"/>
                    <a:gd name="connsiteX250" fmla="*/ 519481 w 2317118"/>
                    <a:gd name="connsiteY250" fmla="*/ 920719 h 1240210"/>
                    <a:gd name="connsiteX251" fmla="*/ 518999 w 2317118"/>
                    <a:gd name="connsiteY251" fmla="*/ 915338 h 1240210"/>
                    <a:gd name="connsiteX252" fmla="*/ 541812 w 2317118"/>
                    <a:gd name="connsiteY252" fmla="*/ 918390 h 1240210"/>
                    <a:gd name="connsiteX253" fmla="*/ 540929 w 2317118"/>
                    <a:gd name="connsiteY253" fmla="*/ 918149 h 1240210"/>
                    <a:gd name="connsiteX254" fmla="*/ 483735 w 2317118"/>
                    <a:gd name="connsiteY254" fmla="*/ 850834 h 1240210"/>
                    <a:gd name="connsiteX255" fmla="*/ 487511 w 2317118"/>
                    <a:gd name="connsiteY255" fmla="*/ 851316 h 1240210"/>
                    <a:gd name="connsiteX256" fmla="*/ 483735 w 2317118"/>
                    <a:gd name="connsiteY256" fmla="*/ 850834 h 1240210"/>
                    <a:gd name="connsiteX257" fmla="*/ 485904 w 2317118"/>
                    <a:gd name="connsiteY257" fmla="*/ 847300 h 1240210"/>
                    <a:gd name="connsiteX258" fmla="*/ 483976 w 2317118"/>
                    <a:gd name="connsiteY258" fmla="*/ 845773 h 1240210"/>
                    <a:gd name="connsiteX259" fmla="*/ 486065 w 2317118"/>
                    <a:gd name="connsiteY259" fmla="*/ 847460 h 1240210"/>
                    <a:gd name="connsiteX260" fmla="*/ 485904 w 2317118"/>
                    <a:gd name="connsiteY260" fmla="*/ 847300 h 1240210"/>
                    <a:gd name="connsiteX261" fmla="*/ 782957 w 2317118"/>
                    <a:gd name="connsiteY261" fmla="*/ 776772 h 1240210"/>
                    <a:gd name="connsiteX262" fmla="*/ 775486 w 2317118"/>
                    <a:gd name="connsiteY262" fmla="*/ 779422 h 1240210"/>
                    <a:gd name="connsiteX263" fmla="*/ 776209 w 2317118"/>
                    <a:gd name="connsiteY263" fmla="*/ 779182 h 1240210"/>
                    <a:gd name="connsiteX264" fmla="*/ 783278 w 2317118"/>
                    <a:gd name="connsiteY264" fmla="*/ 776691 h 1240210"/>
                    <a:gd name="connsiteX265" fmla="*/ 782957 w 2317118"/>
                    <a:gd name="connsiteY265" fmla="*/ 776772 h 1240210"/>
                    <a:gd name="connsiteX266" fmla="*/ 792436 w 2317118"/>
                    <a:gd name="connsiteY266" fmla="*/ 773478 h 1240210"/>
                    <a:gd name="connsiteX267" fmla="*/ 785608 w 2317118"/>
                    <a:gd name="connsiteY267" fmla="*/ 775888 h 1240210"/>
                    <a:gd name="connsiteX268" fmla="*/ 792436 w 2317118"/>
                    <a:gd name="connsiteY268" fmla="*/ 773478 h 1240210"/>
                    <a:gd name="connsiteX269" fmla="*/ 792436 w 2317118"/>
                    <a:gd name="connsiteY269" fmla="*/ 773478 h 1240210"/>
                    <a:gd name="connsiteX270" fmla="*/ 608163 w 2317118"/>
                    <a:gd name="connsiteY270" fmla="*/ 754119 h 1240210"/>
                    <a:gd name="connsiteX271" fmla="*/ 607922 w 2317118"/>
                    <a:gd name="connsiteY271" fmla="*/ 754119 h 1240210"/>
                    <a:gd name="connsiteX272" fmla="*/ 608163 w 2317118"/>
                    <a:gd name="connsiteY272" fmla="*/ 754119 h 1240210"/>
                    <a:gd name="connsiteX273" fmla="*/ 608163 w 2317118"/>
                    <a:gd name="connsiteY273" fmla="*/ 754119 h 1240210"/>
                    <a:gd name="connsiteX274" fmla="*/ 599407 w 2317118"/>
                    <a:gd name="connsiteY274" fmla="*/ 753396 h 1240210"/>
                    <a:gd name="connsiteX275" fmla="*/ 598202 w 2317118"/>
                    <a:gd name="connsiteY275" fmla="*/ 753316 h 1240210"/>
                    <a:gd name="connsiteX276" fmla="*/ 599407 w 2317118"/>
                    <a:gd name="connsiteY276" fmla="*/ 753396 h 1240210"/>
                    <a:gd name="connsiteX277" fmla="*/ 599407 w 2317118"/>
                    <a:gd name="connsiteY277" fmla="*/ 753396 h 1240210"/>
                    <a:gd name="connsiteX278" fmla="*/ 738294 w 2317118"/>
                    <a:gd name="connsiteY278" fmla="*/ 689696 h 1240210"/>
                    <a:gd name="connsiteX279" fmla="*/ 738294 w 2317118"/>
                    <a:gd name="connsiteY279" fmla="*/ 691383 h 1240210"/>
                    <a:gd name="connsiteX280" fmla="*/ 739098 w 2317118"/>
                    <a:gd name="connsiteY280" fmla="*/ 691704 h 1240210"/>
                    <a:gd name="connsiteX281" fmla="*/ 737491 w 2317118"/>
                    <a:gd name="connsiteY281" fmla="*/ 693954 h 1240210"/>
                    <a:gd name="connsiteX282" fmla="*/ 740383 w 2317118"/>
                    <a:gd name="connsiteY282" fmla="*/ 695158 h 1240210"/>
                    <a:gd name="connsiteX283" fmla="*/ 736206 w 2317118"/>
                    <a:gd name="connsiteY283" fmla="*/ 695962 h 1240210"/>
                    <a:gd name="connsiteX284" fmla="*/ 737090 w 2317118"/>
                    <a:gd name="connsiteY284" fmla="*/ 696604 h 1240210"/>
                    <a:gd name="connsiteX285" fmla="*/ 732993 w 2317118"/>
                    <a:gd name="connsiteY285" fmla="*/ 693954 h 1240210"/>
                    <a:gd name="connsiteX286" fmla="*/ 729458 w 2317118"/>
                    <a:gd name="connsiteY286" fmla="*/ 693552 h 1240210"/>
                    <a:gd name="connsiteX287" fmla="*/ 733635 w 2317118"/>
                    <a:gd name="connsiteY287" fmla="*/ 692668 h 1240210"/>
                    <a:gd name="connsiteX288" fmla="*/ 728253 w 2317118"/>
                    <a:gd name="connsiteY288" fmla="*/ 691543 h 1240210"/>
                    <a:gd name="connsiteX289" fmla="*/ 731547 w 2317118"/>
                    <a:gd name="connsiteY289" fmla="*/ 691543 h 1240210"/>
                    <a:gd name="connsiteX290" fmla="*/ 732912 w 2317118"/>
                    <a:gd name="connsiteY290" fmla="*/ 690018 h 1240210"/>
                    <a:gd name="connsiteX291" fmla="*/ 735885 w 2317118"/>
                    <a:gd name="connsiteY291" fmla="*/ 682547 h 1240210"/>
                    <a:gd name="connsiteX292" fmla="*/ 739258 w 2317118"/>
                    <a:gd name="connsiteY292" fmla="*/ 689375 h 1240210"/>
                    <a:gd name="connsiteX293" fmla="*/ 738294 w 2317118"/>
                    <a:gd name="connsiteY293" fmla="*/ 689696 h 1240210"/>
                    <a:gd name="connsiteX294" fmla="*/ 794765 w 2317118"/>
                    <a:gd name="connsiteY294" fmla="*/ 634270 h 1240210"/>
                    <a:gd name="connsiteX295" fmla="*/ 790427 w 2317118"/>
                    <a:gd name="connsiteY295" fmla="*/ 639732 h 1240210"/>
                    <a:gd name="connsiteX296" fmla="*/ 784162 w 2317118"/>
                    <a:gd name="connsiteY296" fmla="*/ 640856 h 1240210"/>
                    <a:gd name="connsiteX297" fmla="*/ 787937 w 2317118"/>
                    <a:gd name="connsiteY297" fmla="*/ 642142 h 1240210"/>
                    <a:gd name="connsiteX298" fmla="*/ 780145 w 2317118"/>
                    <a:gd name="connsiteY298" fmla="*/ 639491 h 1240210"/>
                    <a:gd name="connsiteX299" fmla="*/ 782555 w 2317118"/>
                    <a:gd name="connsiteY299" fmla="*/ 639652 h 1240210"/>
                    <a:gd name="connsiteX300" fmla="*/ 785206 w 2317118"/>
                    <a:gd name="connsiteY300" fmla="*/ 638126 h 1240210"/>
                    <a:gd name="connsiteX301" fmla="*/ 787134 w 2317118"/>
                    <a:gd name="connsiteY301" fmla="*/ 632824 h 1240210"/>
                    <a:gd name="connsiteX302" fmla="*/ 788821 w 2317118"/>
                    <a:gd name="connsiteY302" fmla="*/ 636198 h 1240210"/>
                    <a:gd name="connsiteX303" fmla="*/ 795568 w 2317118"/>
                    <a:gd name="connsiteY303" fmla="*/ 634029 h 1240210"/>
                    <a:gd name="connsiteX304" fmla="*/ 794765 w 2317118"/>
                    <a:gd name="connsiteY304" fmla="*/ 634270 h 1240210"/>
                    <a:gd name="connsiteX305" fmla="*/ 904975 w 2317118"/>
                    <a:gd name="connsiteY305" fmla="*/ 615875 h 1240210"/>
                    <a:gd name="connsiteX306" fmla="*/ 901521 w 2317118"/>
                    <a:gd name="connsiteY306" fmla="*/ 617963 h 1240210"/>
                    <a:gd name="connsiteX307" fmla="*/ 902083 w 2317118"/>
                    <a:gd name="connsiteY307" fmla="*/ 618526 h 1240210"/>
                    <a:gd name="connsiteX308" fmla="*/ 895818 w 2317118"/>
                    <a:gd name="connsiteY308" fmla="*/ 618606 h 1240210"/>
                    <a:gd name="connsiteX309" fmla="*/ 898950 w 2317118"/>
                    <a:gd name="connsiteY309" fmla="*/ 615553 h 1240210"/>
                    <a:gd name="connsiteX310" fmla="*/ 897103 w 2317118"/>
                    <a:gd name="connsiteY310" fmla="*/ 616517 h 1240210"/>
                    <a:gd name="connsiteX311" fmla="*/ 897745 w 2317118"/>
                    <a:gd name="connsiteY311" fmla="*/ 614188 h 1240210"/>
                    <a:gd name="connsiteX312" fmla="*/ 895737 w 2317118"/>
                    <a:gd name="connsiteY312" fmla="*/ 614830 h 1240210"/>
                    <a:gd name="connsiteX313" fmla="*/ 894613 w 2317118"/>
                    <a:gd name="connsiteY313" fmla="*/ 613465 h 1240210"/>
                    <a:gd name="connsiteX314" fmla="*/ 892524 w 2317118"/>
                    <a:gd name="connsiteY314" fmla="*/ 614268 h 1240210"/>
                    <a:gd name="connsiteX315" fmla="*/ 892604 w 2317118"/>
                    <a:gd name="connsiteY315" fmla="*/ 613786 h 1240210"/>
                    <a:gd name="connsiteX316" fmla="*/ 894452 w 2317118"/>
                    <a:gd name="connsiteY316" fmla="*/ 610573 h 1240210"/>
                    <a:gd name="connsiteX317" fmla="*/ 898950 w 2317118"/>
                    <a:gd name="connsiteY317" fmla="*/ 613545 h 1240210"/>
                    <a:gd name="connsiteX318" fmla="*/ 902726 w 2317118"/>
                    <a:gd name="connsiteY318" fmla="*/ 614911 h 1240210"/>
                    <a:gd name="connsiteX319" fmla="*/ 905296 w 2317118"/>
                    <a:gd name="connsiteY319" fmla="*/ 616035 h 1240210"/>
                    <a:gd name="connsiteX320" fmla="*/ 904975 w 2317118"/>
                    <a:gd name="connsiteY320" fmla="*/ 615875 h 1240210"/>
                    <a:gd name="connsiteX321" fmla="*/ 446302 w 2317118"/>
                    <a:gd name="connsiteY321" fmla="*/ 593784 h 1240210"/>
                    <a:gd name="connsiteX322" fmla="*/ 446463 w 2317118"/>
                    <a:gd name="connsiteY322" fmla="*/ 594588 h 1240210"/>
                    <a:gd name="connsiteX323" fmla="*/ 445338 w 2317118"/>
                    <a:gd name="connsiteY323" fmla="*/ 595230 h 1240210"/>
                    <a:gd name="connsiteX324" fmla="*/ 446142 w 2317118"/>
                    <a:gd name="connsiteY324" fmla="*/ 593142 h 1240210"/>
                    <a:gd name="connsiteX325" fmla="*/ 446302 w 2317118"/>
                    <a:gd name="connsiteY325" fmla="*/ 593784 h 1240210"/>
                    <a:gd name="connsiteX326" fmla="*/ 445178 w 2317118"/>
                    <a:gd name="connsiteY326" fmla="*/ 592098 h 1240210"/>
                    <a:gd name="connsiteX327" fmla="*/ 425738 w 2317118"/>
                    <a:gd name="connsiteY327" fmla="*/ 585189 h 1240210"/>
                    <a:gd name="connsiteX328" fmla="*/ 429433 w 2317118"/>
                    <a:gd name="connsiteY328" fmla="*/ 585029 h 1240210"/>
                    <a:gd name="connsiteX329" fmla="*/ 445820 w 2317118"/>
                    <a:gd name="connsiteY329" fmla="*/ 592178 h 1240210"/>
                    <a:gd name="connsiteX330" fmla="*/ 445178 w 2317118"/>
                    <a:gd name="connsiteY330" fmla="*/ 592098 h 1240210"/>
                    <a:gd name="connsiteX331" fmla="*/ 957670 w 2317118"/>
                    <a:gd name="connsiteY331" fmla="*/ 506789 h 1240210"/>
                    <a:gd name="connsiteX332" fmla="*/ 948191 w 2317118"/>
                    <a:gd name="connsiteY332" fmla="*/ 516991 h 1240210"/>
                    <a:gd name="connsiteX333" fmla="*/ 938552 w 2317118"/>
                    <a:gd name="connsiteY333" fmla="*/ 515706 h 1240210"/>
                    <a:gd name="connsiteX334" fmla="*/ 939998 w 2317118"/>
                    <a:gd name="connsiteY334" fmla="*/ 525747 h 1240210"/>
                    <a:gd name="connsiteX335" fmla="*/ 933893 w 2317118"/>
                    <a:gd name="connsiteY335" fmla="*/ 523257 h 1240210"/>
                    <a:gd name="connsiteX336" fmla="*/ 930921 w 2317118"/>
                    <a:gd name="connsiteY336" fmla="*/ 529362 h 1240210"/>
                    <a:gd name="connsiteX337" fmla="*/ 924013 w 2317118"/>
                    <a:gd name="connsiteY337" fmla="*/ 528799 h 1240210"/>
                    <a:gd name="connsiteX338" fmla="*/ 925539 w 2317118"/>
                    <a:gd name="connsiteY338" fmla="*/ 526389 h 1240210"/>
                    <a:gd name="connsiteX339" fmla="*/ 926824 w 2317118"/>
                    <a:gd name="connsiteY339" fmla="*/ 522373 h 1240210"/>
                    <a:gd name="connsiteX340" fmla="*/ 930760 w 2317118"/>
                    <a:gd name="connsiteY340" fmla="*/ 522855 h 1240210"/>
                    <a:gd name="connsiteX341" fmla="*/ 928752 w 2317118"/>
                    <a:gd name="connsiteY341" fmla="*/ 520767 h 1240210"/>
                    <a:gd name="connsiteX342" fmla="*/ 932447 w 2317118"/>
                    <a:gd name="connsiteY342" fmla="*/ 518999 h 1240210"/>
                    <a:gd name="connsiteX343" fmla="*/ 932046 w 2317118"/>
                    <a:gd name="connsiteY343" fmla="*/ 518437 h 1240210"/>
                    <a:gd name="connsiteX344" fmla="*/ 935259 w 2317118"/>
                    <a:gd name="connsiteY344" fmla="*/ 517794 h 1240210"/>
                    <a:gd name="connsiteX345" fmla="*/ 928511 w 2317118"/>
                    <a:gd name="connsiteY345" fmla="*/ 515143 h 1240210"/>
                    <a:gd name="connsiteX346" fmla="*/ 929796 w 2317118"/>
                    <a:gd name="connsiteY346" fmla="*/ 514902 h 1240210"/>
                    <a:gd name="connsiteX347" fmla="*/ 930118 w 2317118"/>
                    <a:gd name="connsiteY347" fmla="*/ 514501 h 1240210"/>
                    <a:gd name="connsiteX348" fmla="*/ 934696 w 2317118"/>
                    <a:gd name="connsiteY348" fmla="*/ 514420 h 1240210"/>
                    <a:gd name="connsiteX349" fmla="*/ 936142 w 2317118"/>
                    <a:gd name="connsiteY349" fmla="*/ 514340 h 1240210"/>
                    <a:gd name="connsiteX350" fmla="*/ 937267 w 2317118"/>
                    <a:gd name="connsiteY350" fmla="*/ 511368 h 1240210"/>
                    <a:gd name="connsiteX351" fmla="*/ 959277 w 2317118"/>
                    <a:gd name="connsiteY351" fmla="*/ 504942 h 1240210"/>
                    <a:gd name="connsiteX352" fmla="*/ 957670 w 2317118"/>
                    <a:gd name="connsiteY352" fmla="*/ 506789 h 1240210"/>
                    <a:gd name="connsiteX353" fmla="*/ 795649 w 2317118"/>
                    <a:gd name="connsiteY353" fmla="*/ 472730 h 1240210"/>
                    <a:gd name="connsiteX354" fmla="*/ 779583 w 2317118"/>
                    <a:gd name="connsiteY354" fmla="*/ 465581 h 1240210"/>
                    <a:gd name="connsiteX355" fmla="*/ 776209 w 2317118"/>
                    <a:gd name="connsiteY355" fmla="*/ 462448 h 1240210"/>
                    <a:gd name="connsiteX356" fmla="*/ 796372 w 2317118"/>
                    <a:gd name="connsiteY356" fmla="*/ 472730 h 1240210"/>
                    <a:gd name="connsiteX357" fmla="*/ 795649 w 2317118"/>
                    <a:gd name="connsiteY357" fmla="*/ 472730 h 1240210"/>
                    <a:gd name="connsiteX358" fmla="*/ 662063 w 2317118"/>
                    <a:gd name="connsiteY358" fmla="*/ 362279 h 1240210"/>
                    <a:gd name="connsiteX359" fmla="*/ 653548 w 2317118"/>
                    <a:gd name="connsiteY359" fmla="*/ 365573 h 1240210"/>
                    <a:gd name="connsiteX360" fmla="*/ 653629 w 2317118"/>
                    <a:gd name="connsiteY360" fmla="*/ 365091 h 1240210"/>
                    <a:gd name="connsiteX361" fmla="*/ 662063 w 2317118"/>
                    <a:gd name="connsiteY361" fmla="*/ 362279 h 1240210"/>
                    <a:gd name="connsiteX362" fmla="*/ 662063 w 2317118"/>
                    <a:gd name="connsiteY362" fmla="*/ 362279 h 1240210"/>
                    <a:gd name="connsiteX363" fmla="*/ 488153 w 2317118"/>
                    <a:gd name="connsiteY363" fmla="*/ 294964 h 1240210"/>
                    <a:gd name="connsiteX364" fmla="*/ 482530 w 2317118"/>
                    <a:gd name="connsiteY364" fmla="*/ 293920 h 1240210"/>
                    <a:gd name="connsiteX365" fmla="*/ 482530 w 2317118"/>
                    <a:gd name="connsiteY365" fmla="*/ 293920 h 1240210"/>
                    <a:gd name="connsiteX366" fmla="*/ 482530 w 2317118"/>
                    <a:gd name="connsiteY366" fmla="*/ 293920 h 1240210"/>
                    <a:gd name="connsiteX367" fmla="*/ 482530 w 2317118"/>
                    <a:gd name="connsiteY367" fmla="*/ 293920 h 1240210"/>
                    <a:gd name="connsiteX368" fmla="*/ 482530 w 2317118"/>
                    <a:gd name="connsiteY368" fmla="*/ 293920 h 1240210"/>
                    <a:gd name="connsiteX369" fmla="*/ 482530 w 2317118"/>
                    <a:gd name="connsiteY369" fmla="*/ 293920 h 1240210"/>
                    <a:gd name="connsiteX370" fmla="*/ 482530 w 2317118"/>
                    <a:gd name="connsiteY370" fmla="*/ 293920 h 1240210"/>
                    <a:gd name="connsiteX371" fmla="*/ 482530 w 2317118"/>
                    <a:gd name="connsiteY371" fmla="*/ 293920 h 1240210"/>
                    <a:gd name="connsiteX372" fmla="*/ 482530 w 2317118"/>
                    <a:gd name="connsiteY372" fmla="*/ 293920 h 1240210"/>
                    <a:gd name="connsiteX373" fmla="*/ 488153 w 2317118"/>
                    <a:gd name="connsiteY373" fmla="*/ 295045 h 1240210"/>
                    <a:gd name="connsiteX374" fmla="*/ 488153 w 2317118"/>
                    <a:gd name="connsiteY374" fmla="*/ 294964 h 1240210"/>
                    <a:gd name="connsiteX375" fmla="*/ 1068924 w 2317118"/>
                    <a:gd name="connsiteY375" fmla="*/ 495784 h 1240210"/>
                    <a:gd name="connsiteX376" fmla="*/ 881600 w 2317118"/>
                    <a:gd name="connsiteY376" fmla="*/ 437306 h 1240210"/>
                    <a:gd name="connsiteX377" fmla="*/ 877985 w 2317118"/>
                    <a:gd name="connsiteY377" fmla="*/ 441483 h 1240210"/>
                    <a:gd name="connsiteX378" fmla="*/ 881198 w 2317118"/>
                    <a:gd name="connsiteY378" fmla="*/ 432807 h 1240210"/>
                    <a:gd name="connsiteX379" fmla="*/ 874531 w 2317118"/>
                    <a:gd name="connsiteY379" fmla="*/ 432084 h 1240210"/>
                    <a:gd name="connsiteX380" fmla="*/ 878145 w 2317118"/>
                    <a:gd name="connsiteY380" fmla="*/ 429192 h 1240210"/>
                    <a:gd name="connsiteX381" fmla="*/ 873245 w 2317118"/>
                    <a:gd name="connsiteY381" fmla="*/ 426702 h 1240210"/>
                    <a:gd name="connsiteX382" fmla="*/ 874209 w 2317118"/>
                    <a:gd name="connsiteY382" fmla="*/ 425899 h 1240210"/>
                    <a:gd name="connsiteX383" fmla="*/ 800388 w 2317118"/>
                    <a:gd name="connsiteY383" fmla="*/ 423168 h 1240210"/>
                    <a:gd name="connsiteX384" fmla="*/ 800870 w 2317118"/>
                    <a:gd name="connsiteY384" fmla="*/ 428469 h 1240210"/>
                    <a:gd name="connsiteX385" fmla="*/ 798942 w 2317118"/>
                    <a:gd name="connsiteY385" fmla="*/ 430156 h 1240210"/>
                    <a:gd name="connsiteX386" fmla="*/ 777414 w 2317118"/>
                    <a:gd name="connsiteY386" fmla="*/ 443491 h 1240210"/>
                    <a:gd name="connsiteX387" fmla="*/ 781109 w 2317118"/>
                    <a:gd name="connsiteY387" fmla="*/ 435297 h 1240210"/>
                    <a:gd name="connsiteX388" fmla="*/ 715722 w 2317118"/>
                    <a:gd name="connsiteY388" fmla="*/ 433691 h 1240210"/>
                    <a:gd name="connsiteX389" fmla="*/ 723675 w 2317118"/>
                    <a:gd name="connsiteY389" fmla="*/ 363725 h 1240210"/>
                    <a:gd name="connsiteX390" fmla="*/ 719096 w 2317118"/>
                    <a:gd name="connsiteY390" fmla="*/ 364769 h 1240210"/>
                    <a:gd name="connsiteX391" fmla="*/ 716204 w 2317118"/>
                    <a:gd name="connsiteY391" fmla="*/ 360833 h 1240210"/>
                    <a:gd name="connsiteX392" fmla="*/ 711706 w 2317118"/>
                    <a:gd name="connsiteY392" fmla="*/ 360833 h 1240210"/>
                    <a:gd name="connsiteX393" fmla="*/ 618204 w 2317118"/>
                    <a:gd name="connsiteY393" fmla="*/ 351997 h 1240210"/>
                    <a:gd name="connsiteX394" fmla="*/ 588643 w 2317118"/>
                    <a:gd name="connsiteY394" fmla="*/ 343804 h 1240210"/>
                    <a:gd name="connsiteX395" fmla="*/ 564304 w 2317118"/>
                    <a:gd name="connsiteY395" fmla="*/ 321392 h 1240210"/>
                    <a:gd name="connsiteX396" fmla="*/ 564384 w 2317118"/>
                    <a:gd name="connsiteY396" fmla="*/ 321874 h 1240210"/>
                    <a:gd name="connsiteX397" fmla="*/ 530807 w 2317118"/>
                    <a:gd name="connsiteY397" fmla="*/ 318259 h 1240210"/>
                    <a:gd name="connsiteX398" fmla="*/ 540688 w 2317118"/>
                    <a:gd name="connsiteY398" fmla="*/ 311512 h 1240210"/>
                    <a:gd name="connsiteX399" fmla="*/ 528237 w 2317118"/>
                    <a:gd name="connsiteY399" fmla="*/ 303158 h 1240210"/>
                    <a:gd name="connsiteX400" fmla="*/ 525907 w 2317118"/>
                    <a:gd name="connsiteY400" fmla="*/ 306210 h 1240210"/>
                    <a:gd name="connsiteX401" fmla="*/ 517633 w 2317118"/>
                    <a:gd name="connsiteY401" fmla="*/ 301873 h 1240210"/>
                    <a:gd name="connsiteX402" fmla="*/ 517955 w 2317118"/>
                    <a:gd name="connsiteY402" fmla="*/ 303720 h 1240210"/>
                    <a:gd name="connsiteX403" fmla="*/ 516589 w 2317118"/>
                    <a:gd name="connsiteY403" fmla="*/ 303077 h 1240210"/>
                    <a:gd name="connsiteX404" fmla="*/ 505343 w 2317118"/>
                    <a:gd name="connsiteY404" fmla="*/ 296169 h 1240210"/>
                    <a:gd name="connsiteX405" fmla="*/ 519963 w 2317118"/>
                    <a:gd name="connsiteY405" fmla="*/ 293599 h 1240210"/>
                    <a:gd name="connsiteX406" fmla="*/ 352158 w 2317118"/>
                    <a:gd name="connsiteY406" fmla="*/ 280264 h 1240210"/>
                    <a:gd name="connsiteX407" fmla="*/ 352881 w 2317118"/>
                    <a:gd name="connsiteY407" fmla="*/ 296732 h 1240210"/>
                    <a:gd name="connsiteX408" fmla="*/ 347740 w 2317118"/>
                    <a:gd name="connsiteY408" fmla="*/ 279541 h 1240210"/>
                    <a:gd name="connsiteX409" fmla="*/ 349186 w 2317118"/>
                    <a:gd name="connsiteY409" fmla="*/ 279381 h 1240210"/>
                    <a:gd name="connsiteX410" fmla="*/ 334727 w 2317118"/>
                    <a:gd name="connsiteY410" fmla="*/ 264600 h 1240210"/>
                    <a:gd name="connsiteX411" fmla="*/ 284281 w 2317118"/>
                    <a:gd name="connsiteY411" fmla="*/ 279381 h 1240210"/>
                    <a:gd name="connsiteX412" fmla="*/ 285325 w 2317118"/>
                    <a:gd name="connsiteY412" fmla="*/ 280746 h 1240210"/>
                    <a:gd name="connsiteX413" fmla="*/ 242831 w 2317118"/>
                    <a:gd name="connsiteY413" fmla="*/ 298017 h 1240210"/>
                    <a:gd name="connsiteX414" fmla="*/ 262191 w 2317118"/>
                    <a:gd name="connsiteY414" fmla="*/ 345812 h 1240210"/>
                    <a:gd name="connsiteX415" fmla="*/ 264440 w 2317118"/>
                    <a:gd name="connsiteY415" fmla="*/ 348382 h 1240210"/>
                    <a:gd name="connsiteX416" fmla="*/ 266528 w 2317118"/>
                    <a:gd name="connsiteY416" fmla="*/ 352238 h 1240210"/>
                    <a:gd name="connsiteX417" fmla="*/ 246928 w 2317118"/>
                    <a:gd name="connsiteY417" fmla="*/ 366858 h 1240210"/>
                    <a:gd name="connsiteX418" fmla="*/ 247250 w 2317118"/>
                    <a:gd name="connsiteY418" fmla="*/ 371276 h 1240210"/>
                    <a:gd name="connsiteX419" fmla="*/ 242831 w 2317118"/>
                    <a:gd name="connsiteY419" fmla="*/ 369991 h 1240210"/>
                    <a:gd name="connsiteX420" fmla="*/ 221946 w 2317118"/>
                    <a:gd name="connsiteY420" fmla="*/ 393045 h 1240210"/>
                    <a:gd name="connsiteX421" fmla="*/ 232148 w 2317118"/>
                    <a:gd name="connsiteY421" fmla="*/ 415376 h 1240210"/>
                    <a:gd name="connsiteX422" fmla="*/ 361235 w 2317118"/>
                    <a:gd name="connsiteY422" fmla="*/ 577156 h 1240210"/>
                    <a:gd name="connsiteX423" fmla="*/ 453853 w 2317118"/>
                    <a:gd name="connsiteY423" fmla="*/ 797014 h 1240210"/>
                    <a:gd name="connsiteX424" fmla="*/ 473453 w 2317118"/>
                    <a:gd name="connsiteY424" fmla="*/ 859108 h 1240210"/>
                    <a:gd name="connsiteX425" fmla="*/ 472650 w 2317118"/>
                    <a:gd name="connsiteY425" fmla="*/ 860634 h 1240210"/>
                    <a:gd name="connsiteX426" fmla="*/ 492973 w 2317118"/>
                    <a:gd name="connsiteY426" fmla="*/ 860473 h 1240210"/>
                    <a:gd name="connsiteX427" fmla="*/ 489037 w 2317118"/>
                    <a:gd name="connsiteY427" fmla="*/ 862240 h 1240210"/>
                    <a:gd name="connsiteX428" fmla="*/ 496025 w 2317118"/>
                    <a:gd name="connsiteY428" fmla="*/ 869309 h 1240210"/>
                    <a:gd name="connsiteX429" fmla="*/ 491688 w 2317118"/>
                    <a:gd name="connsiteY429" fmla="*/ 867944 h 1240210"/>
                    <a:gd name="connsiteX430" fmla="*/ 499158 w 2317118"/>
                    <a:gd name="connsiteY430" fmla="*/ 899834 h 1240210"/>
                    <a:gd name="connsiteX431" fmla="*/ 508155 w 2317118"/>
                    <a:gd name="connsiteY431" fmla="*/ 903047 h 1240210"/>
                    <a:gd name="connsiteX432" fmla="*/ 495383 w 2317118"/>
                    <a:gd name="connsiteY432" fmla="*/ 907064 h 1240210"/>
                    <a:gd name="connsiteX433" fmla="*/ 493294 w 2317118"/>
                    <a:gd name="connsiteY433" fmla="*/ 903128 h 1240210"/>
                    <a:gd name="connsiteX434" fmla="*/ 481004 w 2317118"/>
                    <a:gd name="connsiteY434" fmla="*/ 909955 h 1240210"/>
                    <a:gd name="connsiteX435" fmla="*/ 517874 w 2317118"/>
                    <a:gd name="connsiteY435" fmla="*/ 931242 h 1240210"/>
                    <a:gd name="connsiteX436" fmla="*/ 501809 w 2317118"/>
                    <a:gd name="connsiteY436" fmla="*/ 928511 h 1240210"/>
                    <a:gd name="connsiteX437" fmla="*/ 510163 w 2317118"/>
                    <a:gd name="connsiteY437" fmla="*/ 934456 h 1240210"/>
                    <a:gd name="connsiteX438" fmla="*/ 516027 w 2317118"/>
                    <a:gd name="connsiteY438" fmla="*/ 944336 h 1240210"/>
                    <a:gd name="connsiteX439" fmla="*/ 518919 w 2317118"/>
                    <a:gd name="connsiteY439" fmla="*/ 941203 h 1240210"/>
                    <a:gd name="connsiteX440" fmla="*/ 524863 w 2317118"/>
                    <a:gd name="connsiteY440" fmla="*/ 948031 h 1240210"/>
                    <a:gd name="connsiteX441" fmla="*/ 519642 w 2317118"/>
                    <a:gd name="connsiteY441" fmla="*/ 947549 h 1240210"/>
                    <a:gd name="connsiteX442" fmla="*/ 526068 w 2317118"/>
                    <a:gd name="connsiteY442" fmla="*/ 952127 h 1240210"/>
                    <a:gd name="connsiteX443" fmla="*/ 521409 w 2317118"/>
                    <a:gd name="connsiteY443" fmla="*/ 951485 h 1240210"/>
                    <a:gd name="connsiteX444" fmla="*/ 528638 w 2317118"/>
                    <a:gd name="connsiteY444" fmla="*/ 957429 h 1240210"/>
                    <a:gd name="connsiteX445" fmla="*/ 526791 w 2317118"/>
                    <a:gd name="connsiteY445" fmla="*/ 957188 h 1240210"/>
                    <a:gd name="connsiteX446" fmla="*/ 517473 w 2317118"/>
                    <a:gd name="connsiteY446" fmla="*/ 956305 h 1240210"/>
                    <a:gd name="connsiteX447" fmla="*/ 554022 w 2317118"/>
                    <a:gd name="connsiteY447" fmla="*/ 975262 h 1240210"/>
                    <a:gd name="connsiteX448" fmla="*/ 548961 w 2317118"/>
                    <a:gd name="connsiteY448" fmla="*/ 970041 h 1240210"/>
                    <a:gd name="connsiteX449" fmla="*/ 563179 w 2317118"/>
                    <a:gd name="connsiteY449" fmla="*/ 977431 h 1240210"/>
                    <a:gd name="connsiteX450" fmla="*/ 543981 w 2317118"/>
                    <a:gd name="connsiteY450" fmla="*/ 975664 h 1240210"/>
                    <a:gd name="connsiteX451" fmla="*/ 545507 w 2317118"/>
                    <a:gd name="connsiteY451" fmla="*/ 980242 h 1240210"/>
                    <a:gd name="connsiteX452" fmla="*/ 558922 w 2317118"/>
                    <a:gd name="connsiteY452" fmla="*/ 982732 h 1240210"/>
                    <a:gd name="connsiteX453" fmla="*/ 554263 w 2317118"/>
                    <a:gd name="connsiteY453" fmla="*/ 984741 h 1240210"/>
                    <a:gd name="connsiteX454" fmla="*/ 582539 w 2317118"/>
                    <a:gd name="connsiteY454" fmla="*/ 985464 h 1240210"/>
                    <a:gd name="connsiteX455" fmla="*/ 566794 w 2317118"/>
                    <a:gd name="connsiteY455" fmla="*/ 986508 h 1240210"/>
                    <a:gd name="connsiteX456" fmla="*/ 574907 w 2317118"/>
                    <a:gd name="connsiteY456" fmla="*/ 993497 h 1240210"/>
                    <a:gd name="connsiteX457" fmla="*/ 584065 w 2317118"/>
                    <a:gd name="connsiteY457" fmla="*/ 988757 h 1240210"/>
                    <a:gd name="connsiteX458" fmla="*/ 585671 w 2317118"/>
                    <a:gd name="connsiteY458" fmla="*/ 993577 h 1240210"/>
                    <a:gd name="connsiteX459" fmla="*/ 606557 w 2317118"/>
                    <a:gd name="connsiteY459" fmla="*/ 976547 h 1240210"/>
                    <a:gd name="connsiteX460" fmla="*/ 605834 w 2317118"/>
                    <a:gd name="connsiteY460" fmla="*/ 971727 h 1240210"/>
                    <a:gd name="connsiteX461" fmla="*/ 601657 w 2317118"/>
                    <a:gd name="connsiteY461" fmla="*/ 970683 h 1240210"/>
                    <a:gd name="connsiteX462" fmla="*/ 606717 w 2317118"/>
                    <a:gd name="connsiteY462" fmla="*/ 963052 h 1240210"/>
                    <a:gd name="connsiteX463" fmla="*/ 603183 w 2317118"/>
                    <a:gd name="connsiteY463" fmla="*/ 960482 h 1240210"/>
                    <a:gd name="connsiteX464" fmla="*/ 634350 w 2317118"/>
                    <a:gd name="connsiteY464" fmla="*/ 939596 h 1240210"/>
                    <a:gd name="connsiteX465" fmla="*/ 629289 w 2317118"/>
                    <a:gd name="connsiteY465" fmla="*/ 885857 h 1240210"/>
                    <a:gd name="connsiteX466" fmla="*/ 619650 w 2317118"/>
                    <a:gd name="connsiteY466" fmla="*/ 883929 h 1240210"/>
                    <a:gd name="connsiteX467" fmla="*/ 637322 w 2317118"/>
                    <a:gd name="connsiteY467" fmla="*/ 882082 h 1240210"/>
                    <a:gd name="connsiteX468" fmla="*/ 609207 w 2317118"/>
                    <a:gd name="connsiteY468" fmla="*/ 864972 h 1240210"/>
                    <a:gd name="connsiteX469" fmla="*/ 649130 w 2317118"/>
                    <a:gd name="connsiteY469" fmla="*/ 861036 h 1240210"/>
                    <a:gd name="connsiteX470" fmla="*/ 647363 w 2317118"/>
                    <a:gd name="connsiteY470" fmla="*/ 847781 h 1240210"/>
                    <a:gd name="connsiteX471" fmla="*/ 649452 w 2317118"/>
                    <a:gd name="connsiteY471" fmla="*/ 847781 h 1240210"/>
                    <a:gd name="connsiteX472" fmla="*/ 689214 w 2317118"/>
                    <a:gd name="connsiteY472" fmla="*/ 773800 h 1240210"/>
                    <a:gd name="connsiteX473" fmla="*/ 810108 w 2317118"/>
                    <a:gd name="connsiteY473" fmla="*/ 751388 h 1240210"/>
                    <a:gd name="connsiteX474" fmla="*/ 811714 w 2317118"/>
                    <a:gd name="connsiteY474" fmla="*/ 752111 h 1240210"/>
                    <a:gd name="connsiteX475" fmla="*/ 811795 w 2317118"/>
                    <a:gd name="connsiteY475" fmla="*/ 747131 h 1240210"/>
                    <a:gd name="connsiteX476" fmla="*/ 818140 w 2317118"/>
                    <a:gd name="connsiteY476" fmla="*/ 748335 h 1240210"/>
                    <a:gd name="connsiteX477" fmla="*/ 820149 w 2317118"/>
                    <a:gd name="connsiteY477" fmla="*/ 753075 h 1240210"/>
                    <a:gd name="connsiteX478" fmla="*/ 808501 w 2317118"/>
                    <a:gd name="connsiteY478" fmla="*/ 763919 h 1240210"/>
                    <a:gd name="connsiteX479" fmla="*/ 847781 w 2317118"/>
                    <a:gd name="connsiteY479" fmla="*/ 697006 h 1240210"/>
                    <a:gd name="connsiteX480" fmla="*/ 851718 w 2317118"/>
                    <a:gd name="connsiteY480" fmla="*/ 694275 h 1240210"/>
                    <a:gd name="connsiteX481" fmla="*/ 847862 w 2317118"/>
                    <a:gd name="connsiteY481" fmla="*/ 691945 h 1240210"/>
                    <a:gd name="connsiteX482" fmla="*/ 855011 w 2317118"/>
                    <a:gd name="connsiteY482" fmla="*/ 691303 h 1240210"/>
                    <a:gd name="connsiteX483" fmla="*/ 859349 w 2317118"/>
                    <a:gd name="connsiteY483" fmla="*/ 689053 h 1240210"/>
                    <a:gd name="connsiteX484" fmla="*/ 859108 w 2317118"/>
                    <a:gd name="connsiteY484" fmla="*/ 686965 h 1240210"/>
                    <a:gd name="connsiteX485" fmla="*/ 991809 w 2317118"/>
                    <a:gd name="connsiteY485" fmla="*/ 630494 h 1240210"/>
                    <a:gd name="connsiteX486" fmla="*/ 1014301 w 2317118"/>
                    <a:gd name="connsiteY486" fmla="*/ 550969 h 1240210"/>
                    <a:gd name="connsiteX487" fmla="*/ 1013578 w 2317118"/>
                    <a:gd name="connsiteY487" fmla="*/ 552094 h 1240210"/>
                    <a:gd name="connsiteX488" fmla="*/ 1042095 w 2317118"/>
                    <a:gd name="connsiteY488" fmla="*/ 518356 h 1240210"/>
                    <a:gd name="connsiteX489" fmla="*/ 1068924 w 2317118"/>
                    <a:gd name="connsiteY489" fmla="*/ 495784 h 1240210"/>
                    <a:gd name="connsiteX490" fmla="*/ 161138 w 2317118"/>
                    <a:gd name="connsiteY490" fmla="*/ 229497 h 1240210"/>
                    <a:gd name="connsiteX491" fmla="*/ 161138 w 2317118"/>
                    <a:gd name="connsiteY491" fmla="*/ 229417 h 1240210"/>
                    <a:gd name="connsiteX492" fmla="*/ 161138 w 2317118"/>
                    <a:gd name="connsiteY492" fmla="*/ 229497 h 1240210"/>
                    <a:gd name="connsiteX493" fmla="*/ 160174 w 2317118"/>
                    <a:gd name="connsiteY493" fmla="*/ 230782 h 1240210"/>
                    <a:gd name="connsiteX494" fmla="*/ 161138 w 2317118"/>
                    <a:gd name="connsiteY494" fmla="*/ 229497 h 1240210"/>
                    <a:gd name="connsiteX495" fmla="*/ 346615 w 2317118"/>
                    <a:gd name="connsiteY495" fmla="*/ 191181 h 1240210"/>
                    <a:gd name="connsiteX496" fmla="*/ 345330 w 2317118"/>
                    <a:gd name="connsiteY496" fmla="*/ 191181 h 1240210"/>
                    <a:gd name="connsiteX497" fmla="*/ 342278 w 2317118"/>
                    <a:gd name="connsiteY497" fmla="*/ 189895 h 1240210"/>
                    <a:gd name="connsiteX498" fmla="*/ 347017 w 2317118"/>
                    <a:gd name="connsiteY498" fmla="*/ 190699 h 1240210"/>
                    <a:gd name="connsiteX499" fmla="*/ 346615 w 2317118"/>
                    <a:gd name="connsiteY499" fmla="*/ 191181 h 1240210"/>
                    <a:gd name="connsiteX500" fmla="*/ 396901 w 2317118"/>
                    <a:gd name="connsiteY500" fmla="*/ 195518 h 1240210"/>
                    <a:gd name="connsiteX501" fmla="*/ 378425 w 2317118"/>
                    <a:gd name="connsiteY501" fmla="*/ 185799 h 1240210"/>
                    <a:gd name="connsiteX502" fmla="*/ 385012 w 2317118"/>
                    <a:gd name="connsiteY502" fmla="*/ 184353 h 1240210"/>
                    <a:gd name="connsiteX503" fmla="*/ 338743 w 2317118"/>
                    <a:gd name="connsiteY503" fmla="*/ 172464 h 1240210"/>
                    <a:gd name="connsiteX504" fmla="*/ 325248 w 2317118"/>
                    <a:gd name="connsiteY504" fmla="*/ 181059 h 1240210"/>
                    <a:gd name="connsiteX505" fmla="*/ 316010 w 2317118"/>
                    <a:gd name="connsiteY505" fmla="*/ 192305 h 1240210"/>
                    <a:gd name="connsiteX506" fmla="*/ 394732 w 2317118"/>
                    <a:gd name="connsiteY506" fmla="*/ 198089 h 1240210"/>
                    <a:gd name="connsiteX507" fmla="*/ 396901 w 2317118"/>
                    <a:gd name="connsiteY507" fmla="*/ 195518 h 1240210"/>
                    <a:gd name="connsiteX508" fmla="*/ 80 w 2317118"/>
                    <a:gd name="connsiteY508" fmla="*/ 70126 h 1240210"/>
                    <a:gd name="connsiteX509" fmla="*/ 80 w 2317118"/>
                    <a:gd name="connsiteY509" fmla="*/ 68359 h 1240210"/>
                    <a:gd name="connsiteX510" fmla="*/ 80 w 2317118"/>
                    <a:gd name="connsiteY510" fmla="*/ 68439 h 1240210"/>
                    <a:gd name="connsiteX511" fmla="*/ 0 w 2317118"/>
                    <a:gd name="connsiteY511" fmla="*/ 71170 h 1240210"/>
                    <a:gd name="connsiteX512" fmla="*/ 80 w 2317118"/>
                    <a:gd name="connsiteY512" fmla="*/ 70126 h 1240210"/>
                    <a:gd name="connsiteX513" fmla="*/ 299463 w 2317118"/>
                    <a:gd name="connsiteY513" fmla="*/ 162905 h 1240210"/>
                    <a:gd name="connsiteX514" fmla="*/ 299623 w 2317118"/>
                    <a:gd name="connsiteY514" fmla="*/ 161058 h 1240210"/>
                    <a:gd name="connsiteX515" fmla="*/ 293277 w 2317118"/>
                    <a:gd name="connsiteY515" fmla="*/ 157523 h 1240210"/>
                    <a:gd name="connsiteX516" fmla="*/ 260343 w 2317118"/>
                    <a:gd name="connsiteY516" fmla="*/ 144590 h 1240210"/>
                    <a:gd name="connsiteX517" fmla="*/ 260905 w 2317118"/>
                    <a:gd name="connsiteY517" fmla="*/ 143867 h 1240210"/>
                    <a:gd name="connsiteX518" fmla="*/ 256809 w 2317118"/>
                    <a:gd name="connsiteY518" fmla="*/ 140895 h 1240210"/>
                    <a:gd name="connsiteX519" fmla="*/ 253033 w 2317118"/>
                    <a:gd name="connsiteY519" fmla="*/ 140333 h 1240210"/>
                    <a:gd name="connsiteX520" fmla="*/ 255523 w 2317118"/>
                    <a:gd name="connsiteY520" fmla="*/ 140413 h 1240210"/>
                    <a:gd name="connsiteX521" fmla="*/ 249418 w 2317118"/>
                    <a:gd name="connsiteY521" fmla="*/ 135995 h 1240210"/>
                    <a:gd name="connsiteX522" fmla="*/ 250784 w 2317118"/>
                    <a:gd name="connsiteY522" fmla="*/ 137441 h 1240210"/>
                    <a:gd name="connsiteX523" fmla="*/ 215440 w 2317118"/>
                    <a:gd name="connsiteY523" fmla="*/ 118323 h 1240210"/>
                    <a:gd name="connsiteX524" fmla="*/ 215841 w 2317118"/>
                    <a:gd name="connsiteY524" fmla="*/ 117680 h 1240210"/>
                    <a:gd name="connsiteX525" fmla="*/ 184835 w 2317118"/>
                    <a:gd name="connsiteY525" fmla="*/ 109166 h 1240210"/>
                    <a:gd name="connsiteX526" fmla="*/ 148205 w 2317118"/>
                    <a:gd name="connsiteY526" fmla="*/ 117118 h 1240210"/>
                    <a:gd name="connsiteX527" fmla="*/ 182585 w 2317118"/>
                    <a:gd name="connsiteY527" fmla="*/ 117359 h 1240210"/>
                    <a:gd name="connsiteX528" fmla="*/ 195518 w 2317118"/>
                    <a:gd name="connsiteY528" fmla="*/ 121456 h 1240210"/>
                    <a:gd name="connsiteX529" fmla="*/ 204595 w 2317118"/>
                    <a:gd name="connsiteY529" fmla="*/ 125633 h 1240210"/>
                    <a:gd name="connsiteX530" fmla="*/ 247250 w 2317118"/>
                    <a:gd name="connsiteY530" fmla="*/ 160736 h 1240210"/>
                    <a:gd name="connsiteX531" fmla="*/ 287494 w 2317118"/>
                    <a:gd name="connsiteY531" fmla="*/ 164833 h 1240210"/>
                    <a:gd name="connsiteX532" fmla="*/ 287895 w 2317118"/>
                    <a:gd name="connsiteY532" fmla="*/ 166118 h 1240210"/>
                    <a:gd name="connsiteX533" fmla="*/ 299463 w 2317118"/>
                    <a:gd name="connsiteY533" fmla="*/ 162905 h 1240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</a:cxnLst>
                  <a:rect l="l" t="t" r="r" b="b"/>
                  <a:pathLst>
                    <a:path w="2317118" h="1240210">
                      <a:moveTo>
                        <a:pt x="1189095" y="1238336"/>
                      </a:moveTo>
                      <a:lnTo>
                        <a:pt x="1212149" y="1236408"/>
                      </a:lnTo>
                      <a:lnTo>
                        <a:pt x="1210543" y="1236569"/>
                      </a:lnTo>
                      <a:cubicBezTo>
                        <a:pt x="1195682" y="1237774"/>
                        <a:pt x="1180741" y="1237212"/>
                        <a:pt x="1165880" y="1238497"/>
                      </a:cubicBezTo>
                      <a:cubicBezTo>
                        <a:pt x="1161703" y="1238979"/>
                        <a:pt x="1160177" y="1239300"/>
                        <a:pt x="1158731" y="1239862"/>
                      </a:cubicBezTo>
                      <a:cubicBezTo>
                        <a:pt x="1158731" y="1239943"/>
                        <a:pt x="1158811" y="1240104"/>
                        <a:pt x="1158811" y="1240184"/>
                      </a:cubicBezTo>
                      <a:cubicBezTo>
                        <a:pt x="1167969" y="1240425"/>
                        <a:pt x="1180098" y="1238979"/>
                        <a:pt x="1189095" y="1238336"/>
                      </a:cubicBezTo>
                      <a:moveTo>
                        <a:pt x="838303" y="1193513"/>
                      </a:moveTo>
                      <a:cubicBezTo>
                        <a:pt x="835813" y="1192308"/>
                        <a:pt x="833242" y="1191023"/>
                        <a:pt x="816052" y="1189417"/>
                      </a:cubicBezTo>
                      <a:cubicBezTo>
                        <a:pt x="810831" y="1189015"/>
                        <a:pt x="807939" y="1188854"/>
                        <a:pt x="803440" y="1188935"/>
                      </a:cubicBezTo>
                      <a:cubicBezTo>
                        <a:pt x="807778" y="1190220"/>
                        <a:pt x="810911" y="1190943"/>
                        <a:pt x="816132" y="1191907"/>
                      </a:cubicBezTo>
                      <a:cubicBezTo>
                        <a:pt x="808260" y="1192068"/>
                        <a:pt x="800468" y="1191023"/>
                        <a:pt x="792596" y="1191184"/>
                      </a:cubicBezTo>
                      <a:cubicBezTo>
                        <a:pt x="794122" y="1191826"/>
                        <a:pt x="796050" y="1192710"/>
                        <a:pt x="797576" y="1193353"/>
                      </a:cubicBezTo>
                      <a:lnTo>
                        <a:pt x="807055" y="1195762"/>
                      </a:lnTo>
                      <a:cubicBezTo>
                        <a:pt x="807136" y="1195762"/>
                        <a:pt x="807296" y="1195762"/>
                        <a:pt x="807457" y="1195762"/>
                      </a:cubicBezTo>
                      <a:cubicBezTo>
                        <a:pt x="810670" y="1196004"/>
                        <a:pt x="813562" y="1197690"/>
                        <a:pt x="816775" y="1197690"/>
                      </a:cubicBezTo>
                      <a:cubicBezTo>
                        <a:pt x="821514" y="1197690"/>
                        <a:pt x="826173" y="1196646"/>
                        <a:pt x="830913" y="1197369"/>
                      </a:cubicBezTo>
                      <a:lnTo>
                        <a:pt x="853726" y="1203152"/>
                      </a:lnTo>
                      <a:cubicBezTo>
                        <a:pt x="858224" y="1204599"/>
                        <a:pt x="859108" y="1204599"/>
                        <a:pt x="859509" y="1204599"/>
                      </a:cubicBezTo>
                      <a:cubicBezTo>
                        <a:pt x="859268" y="1203876"/>
                        <a:pt x="859268" y="1203876"/>
                        <a:pt x="838303" y="1193513"/>
                      </a:cubicBezTo>
                      <a:moveTo>
                        <a:pt x="833724" y="1190943"/>
                      </a:moveTo>
                      <a:cubicBezTo>
                        <a:pt x="832599" y="1190381"/>
                        <a:pt x="830993" y="1189738"/>
                        <a:pt x="830672" y="1189738"/>
                      </a:cubicBezTo>
                      <a:cubicBezTo>
                        <a:pt x="830752" y="1189738"/>
                        <a:pt x="830752" y="1189818"/>
                        <a:pt x="830832" y="1189818"/>
                      </a:cubicBezTo>
                      <a:cubicBezTo>
                        <a:pt x="832278" y="1190541"/>
                        <a:pt x="833804" y="1191264"/>
                        <a:pt x="835250" y="1192068"/>
                      </a:cubicBezTo>
                      <a:cubicBezTo>
                        <a:pt x="835090" y="1191907"/>
                        <a:pt x="834849" y="1191505"/>
                        <a:pt x="833724" y="1190943"/>
                      </a:cubicBezTo>
                      <a:moveTo>
                        <a:pt x="829708" y="1189577"/>
                      </a:moveTo>
                      <a:cubicBezTo>
                        <a:pt x="829949" y="1189657"/>
                        <a:pt x="830350" y="1189657"/>
                        <a:pt x="830591" y="1189738"/>
                      </a:cubicBezTo>
                      <a:cubicBezTo>
                        <a:pt x="821675" y="1185320"/>
                        <a:pt x="821675" y="1185320"/>
                        <a:pt x="821273" y="1185239"/>
                      </a:cubicBezTo>
                      <a:cubicBezTo>
                        <a:pt x="815891" y="1185239"/>
                        <a:pt x="813883" y="1185481"/>
                        <a:pt x="814445" y="1186043"/>
                      </a:cubicBezTo>
                      <a:cubicBezTo>
                        <a:pt x="815249" y="1186766"/>
                        <a:pt x="820791" y="1188051"/>
                        <a:pt x="829708" y="1189577"/>
                      </a:cubicBezTo>
                      <a:moveTo>
                        <a:pt x="824326" y="1185320"/>
                      </a:moveTo>
                      <a:cubicBezTo>
                        <a:pt x="824406" y="1185320"/>
                        <a:pt x="824486" y="1185320"/>
                        <a:pt x="824486" y="1185320"/>
                      </a:cubicBezTo>
                      <a:cubicBezTo>
                        <a:pt x="822799" y="1184918"/>
                        <a:pt x="821032" y="1184436"/>
                        <a:pt x="819345" y="1184035"/>
                      </a:cubicBezTo>
                      <a:cubicBezTo>
                        <a:pt x="819426" y="1184035"/>
                        <a:pt x="819426" y="1184115"/>
                        <a:pt x="819506" y="1184115"/>
                      </a:cubicBezTo>
                      <a:cubicBezTo>
                        <a:pt x="819586" y="1184115"/>
                        <a:pt x="819586" y="1184195"/>
                        <a:pt x="819667" y="1184195"/>
                      </a:cubicBezTo>
                      <a:cubicBezTo>
                        <a:pt x="819908" y="1184356"/>
                        <a:pt x="820149" y="1184436"/>
                        <a:pt x="820390" y="1184597"/>
                      </a:cubicBezTo>
                      <a:cubicBezTo>
                        <a:pt x="820872" y="1184838"/>
                        <a:pt x="821273" y="1185159"/>
                        <a:pt x="821755" y="1185320"/>
                      </a:cubicBezTo>
                      <a:cubicBezTo>
                        <a:pt x="821836" y="1185320"/>
                        <a:pt x="821836" y="1185320"/>
                        <a:pt x="821916" y="1185320"/>
                      </a:cubicBezTo>
                      <a:cubicBezTo>
                        <a:pt x="822799" y="1185239"/>
                        <a:pt x="823603" y="1185239"/>
                        <a:pt x="824326" y="1185320"/>
                      </a:cubicBezTo>
                      <a:moveTo>
                        <a:pt x="816614" y="1183312"/>
                      </a:moveTo>
                      <a:cubicBezTo>
                        <a:pt x="817418" y="1183552"/>
                        <a:pt x="818542" y="1183794"/>
                        <a:pt x="819345" y="1184035"/>
                      </a:cubicBezTo>
                      <a:cubicBezTo>
                        <a:pt x="813160" y="1180821"/>
                        <a:pt x="807136" y="1177689"/>
                        <a:pt x="801432" y="1174636"/>
                      </a:cubicBezTo>
                      <a:cubicBezTo>
                        <a:pt x="801031" y="1174395"/>
                        <a:pt x="800549" y="1174074"/>
                        <a:pt x="800147" y="1173994"/>
                      </a:cubicBezTo>
                      <a:cubicBezTo>
                        <a:pt x="800147" y="1173994"/>
                        <a:pt x="789624" y="1172307"/>
                        <a:pt x="783358" y="1171744"/>
                      </a:cubicBezTo>
                      <a:cubicBezTo>
                        <a:pt x="781270" y="1171584"/>
                        <a:pt x="780627" y="1171584"/>
                        <a:pt x="779904" y="1171744"/>
                      </a:cubicBezTo>
                      <a:cubicBezTo>
                        <a:pt x="779824" y="1171825"/>
                        <a:pt x="779824" y="1171905"/>
                        <a:pt x="779744" y="1172066"/>
                      </a:cubicBezTo>
                      <a:cubicBezTo>
                        <a:pt x="781993" y="1174395"/>
                        <a:pt x="810911" y="1181866"/>
                        <a:pt x="816614" y="1183312"/>
                      </a:cubicBezTo>
                      <a:moveTo>
                        <a:pt x="865213" y="1145638"/>
                      </a:moveTo>
                      <a:cubicBezTo>
                        <a:pt x="865213" y="1145638"/>
                        <a:pt x="865293" y="1145638"/>
                        <a:pt x="865373" y="1145638"/>
                      </a:cubicBezTo>
                      <a:cubicBezTo>
                        <a:pt x="864811" y="1145557"/>
                        <a:pt x="864329" y="1145557"/>
                        <a:pt x="863767" y="1145557"/>
                      </a:cubicBezTo>
                      <a:cubicBezTo>
                        <a:pt x="863526" y="1145557"/>
                        <a:pt x="863204" y="1145557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3847" y="1145638"/>
                        <a:pt x="864490" y="1145638"/>
                        <a:pt x="865213" y="1145638"/>
                      </a:cubicBezTo>
                      <a:moveTo>
                        <a:pt x="887464" y="1118728"/>
                      </a:moveTo>
                      <a:cubicBezTo>
                        <a:pt x="884893" y="1118648"/>
                        <a:pt x="884893" y="1118648"/>
                        <a:pt x="878226" y="1118888"/>
                      </a:cubicBezTo>
                      <a:cubicBezTo>
                        <a:pt x="845934" y="1122021"/>
                        <a:pt x="828181" y="1128287"/>
                        <a:pt x="825691" y="1130054"/>
                      </a:cubicBezTo>
                      <a:cubicBezTo>
                        <a:pt x="826173" y="1130456"/>
                        <a:pt x="826896" y="1130938"/>
                        <a:pt x="827378" y="1131259"/>
                      </a:cubicBezTo>
                      <a:cubicBezTo>
                        <a:pt x="824245" y="1131339"/>
                        <a:pt x="824245" y="1131339"/>
                        <a:pt x="822157" y="1132062"/>
                      </a:cubicBezTo>
                      <a:cubicBezTo>
                        <a:pt x="822398" y="1132544"/>
                        <a:pt x="822639" y="1133187"/>
                        <a:pt x="822880" y="1133669"/>
                      </a:cubicBezTo>
                      <a:cubicBezTo>
                        <a:pt x="819586" y="1134151"/>
                        <a:pt x="816213" y="1133267"/>
                        <a:pt x="812999" y="1134071"/>
                      </a:cubicBezTo>
                      <a:cubicBezTo>
                        <a:pt x="814847" y="1136079"/>
                        <a:pt x="814847" y="1136079"/>
                        <a:pt x="818703" y="1137766"/>
                      </a:cubicBezTo>
                      <a:cubicBezTo>
                        <a:pt x="816775" y="1138730"/>
                        <a:pt x="816775" y="1138730"/>
                        <a:pt x="813722" y="1139131"/>
                      </a:cubicBezTo>
                      <a:cubicBezTo>
                        <a:pt x="813883" y="1139533"/>
                        <a:pt x="814044" y="1140095"/>
                        <a:pt x="814204" y="1140497"/>
                      </a:cubicBezTo>
                      <a:cubicBezTo>
                        <a:pt x="813722" y="1140497"/>
                        <a:pt x="813080" y="1140497"/>
                        <a:pt x="812598" y="1140497"/>
                      </a:cubicBezTo>
                      <a:cubicBezTo>
                        <a:pt x="813321" y="1141220"/>
                        <a:pt x="814285" y="1142184"/>
                        <a:pt x="815008" y="1142906"/>
                      </a:cubicBezTo>
                      <a:cubicBezTo>
                        <a:pt x="812919" y="1142906"/>
                        <a:pt x="810831" y="1142424"/>
                        <a:pt x="808662" y="1142345"/>
                      </a:cubicBezTo>
                      <a:cubicBezTo>
                        <a:pt x="808903" y="1142827"/>
                        <a:pt x="809224" y="1143549"/>
                        <a:pt x="809465" y="1144031"/>
                      </a:cubicBezTo>
                      <a:cubicBezTo>
                        <a:pt x="801995" y="1146682"/>
                        <a:pt x="801995" y="1149735"/>
                        <a:pt x="809385" y="1155759"/>
                      </a:cubicBezTo>
                      <a:cubicBezTo>
                        <a:pt x="808662" y="1155518"/>
                        <a:pt x="807617" y="1155116"/>
                        <a:pt x="806895" y="1154795"/>
                      </a:cubicBezTo>
                      <a:cubicBezTo>
                        <a:pt x="806413" y="1154876"/>
                        <a:pt x="805850" y="1154956"/>
                        <a:pt x="805368" y="1155036"/>
                      </a:cubicBezTo>
                      <a:cubicBezTo>
                        <a:pt x="808983" y="1160258"/>
                        <a:pt x="817980" y="1167648"/>
                        <a:pt x="831957" y="1177207"/>
                      </a:cubicBezTo>
                      <a:cubicBezTo>
                        <a:pt x="825290" y="1176082"/>
                        <a:pt x="822318" y="1175841"/>
                        <a:pt x="818703" y="1176162"/>
                      </a:cubicBezTo>
                      <a:cubicBezTo>
                        <a:pt x="866177" y="1195280"/>
                        <a:pt x="870755" y="1197289"/>
                        <a:pt x="877503" y="1206125"/>
                      </a:cubicBezTo>
                      <a:cubicBezTo>
                        <a:pt x="875655" y="1208775"/>
                        <a:pt x="873406" y="1211989"/>
                        <a:pt x="858144" y="1210623"/>
                      </a:cubicBezTo>
                      <a:cubicBezTo>
                        <a:pt x="833563" y="1208374"/>
                        <a:pt x="809947" y="1201305"/>
                        <a:pt x="785608" y="1197690"/>
                      </a:cubicBezTo>
                      <a:cubicBezTo>
                        <a:pt x="787696" y="1198815"/>
                        <a:pt x="787696" y="1198815"/>
                        <a:pt x="792034" y="1200180"/>
                      </a:cubicBezTo>
                      <a:cubicBezTo>
                        <a:pt x="771390" y="1196807"/>
                        <a:pt x="743596" y="1189417"/>
                        <a:pt x="709537" y="1178251"/>
                      </a:cubicBezTo>
                      <a:cubicBezTo>
                        <a:pt x="745203" y="1189095"/>
                        <a:pt x="793078" y="1202670"/>
                        <a:pt x="829306" y="1211667"/>
                      </a:cubicBezTo>
                      <a:cubicBezTo>
                        <a:pt x="856055" y="1217050"/>
                        <a:pt x="891801" y="1223958"/>
                        <a:pt x="918791" y="1228376"/>
                      </a:cubicBezTo>
                      <a:lnTo>
                        <a:pt x="919273" y="1228456"/>
                      </a:lnTo>
                      <a:cubicBezTo>
                        <a:pt x="943131" y="1231910"/>
                        <a:pt x="972531" y="1235123"/>
                        <a:pt x="977110" y="1230785"/>
                      </a:cubicBezTo>
                      <a:cubicBezTo>
                        <a:pt x="976708" y="1230303"/>
                        <a:pt x="976226" y="1229661"/>
                        <a:pt x="975824" y="1229259"/>
                      </a:cubicBezTo>
                      <a:cubicBezTo>
                        <a:pt x="979359" y="1229099"/>
                        <a:pt x="979359" y="1229099"/>
                        <a:pt x="981126" y="1228697"/>
                      </a:cubicBezTo>
                      <a:cubicBezTo>
                        <a:pt x="978716" y="1228135"/>
                        <a:pt x="978716" y="1228135"/>
                        <a:pt x="972531" y="1227572"/>
                      </a:cubicBezTo>
                      <a:cubicBezTo>
                        <a:pt x="975824" y="1226609"/>
                        <a:pt x="979278" y="1227412"/>
                        <a:pt x="982572" y="1227171"/>
                      </a:cubicBezTo>
                      <a:cubicBezTo>
                        <a:pt x="981206" y="1225885"/>
                        <a:pt x="981206" y="1225885"/>
                        <a:pt x="976226" y="1224279"/>
                      </a:cubicBezTo>
                      <a:cubicBezTo>
                        <a:pt x="982652" y="1224921"/>
                        <a:pt x="983455" y="1224841"/>
                        <a:pt x="986588" y="1224761"/>
                      </a:cubicBezTo>
                      <a:cubicBezTo>
                        <a:pt x="986428" y="1224279"/>
                        <a:pt x="986106" y="1223556"/>
                        <a:pt x="985946" y="1223074"/>
                      </a:cubicBezTo>
                      <a:cubicBezTo>
                        <a:pt x="984018" y="1223636"/>
                        <a:pt x="983214" y="1223797"/>
                        <a:pt x="976949" y="1223234"/>
                      </a:cubicBezTo>
                      <a:cubicBezTo>
                        <a:pt x="978073" y="1223074"/>
                        <a:pt x="979519" y="1222833"/>
                        <a:pt x="980564" y="1222512"/>
                      </a:cubicBezTo>
                      <a:cubicBezTo>
                        <a:pt x="978154" y="1221708"/>
                        <a:pt x="978154" y="1221708"/>
                        <a:pt x="971888" y="1221307"/>
                      </a:cubicBezTo>
                      <a:cubicBezTo>
                        <a:pt x="973334" y="1220423"/>
                        <a:pt x="973334" y="1220423"/>
                        <a:pt x="976547" y="1220825"/>
                      </a:cubicBezTo>
                      <a:cubicBezTo>
                        <a:pt x="976306" y="1220343"/>
                        <a:pt x="975985" y="1219620"/>
                        <a:pt x="975824" y="1219138"/>
                      </a:cubicBezTo>
                      <a:cubicBezTo>
                        <a:pt x="968675" y="1216487"/>
                        <a:pt x="961044" y="1216086"/>
                        <a:pt x="953734" y="1214318"/>
                      </a:cubicBezTo>
                      <a:cubicBezTo>
                        <a:pt x="960321" y="1215362"/>
                        <a:pt x="966988" y="1214961"/>
                        <a:pt x="973575" y="1215604"/>
                      </a:cubicBezTo>
                      <a:cubicBezTo>
                        <a:pt x="971969" y="1211587"/>
                        <a:pt x="958554" y="1210864"/>
                        <a:pt x="957991" y="1210784"/>
                      </a:cubicBezTo>
                      <a:cubicBezTo>
                        <a:pt x="954859" y="1210623"/>
                        <a:pt x="953172" y="1210543"/>
                        <a:pt x="950039" y="1209418"/>
                      </a:cubicBezTo>
                      <a:cubicBezTo>
                        <a:pt x="950200" y="1208936"/>
                        <a:pt x="950441" y="1208374"/>
                        <a:pt x="950682" y="1207892"/>
                      </a:cubicBezTo>
                      <a:cubicBezTo>
                        <a:pt x="950521" y="1207490"/>
                        <a:pt x="950200" y="1206848"/>
                        <a:pt x="950039" y="1206446"/>
                      </a:cubicBezTo>
                      <a:cubicBezTo>
                        <a:pt x="946264" y="1205402"/>
                        <a:pt x="942970" y="1205081"/>
                        <a:pt x="931323" y="1204599"/>
                      </a:cubicBezTo>
                      <a:cubicBezTo>
                        <a:pt x="937508" y="1203313"/>
                        <a:pt x="937588" y="1203313"/>
                        <a:pt x="939275" y="1202189"/>
                      </a:cubicBezTo>
                      <a:cubicBezTo>
                        <a:pt x="935901" y="1201466"/>
                        <a:pt x="935901" y="1201466"/>
                        <a:pt x="929877" y="1201466"/>
                      </a:cubicBezTo>
                      <a:cubicBezTo>
                        <a:pt x="930359" y="1200903"/>
                        <a:pt x="931082" y="1200100"/>
                        <a:pt x="931563" y="1199458"/>
                      </a:cubicBezTo>
                      <a:cubicBezTo>
                        <a:pt x="930841" y="1197610"/>
                        <a:pt x="930359" y="1196244"/>
                        <a:pt x="921603" y="1195120"/>
                      </a:cubicBezTo>
                      <a:cubicBezTo>
                        <a:pt x="918711" y="1194718"/>
                        <a:pt x="918711" y="1194718"/>
                        <a:pt x="903770" y="1189015"/>
                      </a:cubicBezTo>
                      <a:cubicBezTo>
                        <a:pt x="904413" y="1188854"/>
                        <a:pt x="905377" y="1188613"/>
                        <a:pt x="906019" y="1188453"/>
                      </a:cubicBezTo>
                      <a:cubicBezTo>
                        <a:pt x="889311" y="1183070"/>
                        <a:pt x="869952" y="1176082"/>
                        <a:pt x="868426" y="1169656"/>
                      </a:cubicBezTo>
                      <a:cubicBezTo>
                        <a:pt x="861036" y="1169093"/>
                        <a:pt x="860232" y="1169335"/>
                        <a:pt x="857581" y="1169977"/>
                      </a:cubicBezTo>
                      <a:cubicBezTo>
                        <a:pt x="857983" y="1170861"/>
                        <a:pt x="858867" y="1172066"/>
                        <a:pt x="859670" y="1172547"/>
                      </a:cubicBezTo>
                      <a:cubicBezTo>
                        <a:pt x="847460" y="1170781"/>
                        <a:pt x="843444" y="1169817"/>
                        <a:pt x="837178" y="1167326"/>
                      </a:cubicBezTo>
                      <a:cubicBezTo>
                        <a:pt x="838222" y="1167166"/>
                        <a:pt x="839668" y="1166845"/>
                        <a:pt x="840713" y="1166443"/>
                      </a:cubicBezTo>
                      <a:cubicBezTo>
                        <a:pt x="840472" y="1165961"/>
                        <a:pt x="840070" y="1165238"/>
                        <a:pt x="839829" y="1164756"/>
                      </a:cubicBezTo>
                      <a:cubicBezTo>
                        <a:pt x="837259" y="1165639"/>
                        <a:pt x="829627" y="1168290"/>
                        <a:pt x="825611" y="1157044"/>
                      </a:cubicBezTo>
                      <a:cubicBezTo>
                        <a:pt x="827057" y="1154072"/>
                        <a:pt x="830752" y="1154313"/>
                        <a:pt x="832760" y="1152064"/>
                      </a:cubicBezTo>
                      <a:cubicBezTo>
                        <a:pt x="832037" y="1149413"/>
                        <a:pt x="832037" y="1149413"/>
                        <a:pt x="829547" y="1146361"/>
                      </a:cubicBezTo>
                      <a:cubicBezTo>
                        <a:pt x="837098" y="1146923"/>
                        <a:pt x="842640" y="1148289"/>
                        <a:pt x="850191" y="1151502"/>
                      </a:cubicBezTo>
                      <a:cubicBezTo>
                        <a:pt x="845934" y="1149092"/>
                        <a:pt x="845693" y="1148931"/>
                        <a:pt x="844006" y="1147325"/>
                      </a:cubicBezTo>
                      <a:cubicBezTo>
                        <a:pt x="845693" y="1146441"/>
                        <a:pt x="846095" y="1146200"/>
                        <a:pt x="856537" y="1148771"/>
                      </a:cubicBezTo>
                      <a:cubicBezTo>
                        <a:pt x="856377" y="1148369"/>
                        <a:pt x="856136" y="1147887"/>
                        <a:pt x="855895" y="1147485"/>
                      </a:cubicBezTo>
                      <a:cubicBezTo>
                        <a:pt x="856136" y="1147084"/>
                        <a:pt x="856457" y="1146521"/>
                        <a:pt x="856698" y="1146120"/>
                      </a:cubicBezTo>
                      <a:cubicBezTo>
                        <a:pt x="858224" y="1146039"/>
                        <a:pt x="859750" y="1145879"/>
                        <a:pt x="864008" y="1147646"/>
                      </a:cubicBezTo>
                      <a:cubicBezTo>
                        <a:pt x="859349" y="1142103"/>
                        <a:pt x="850191" y="1146521"/>
                        <a:pt x="846175" y="1139533"/>
                      </a:cubicBezTo>
                      <a:cubicBezTo>
                        <a:pt x="841918" y="1138569"/>
                        <a:pt x="841516" y="1138408"/>
                        <a:pt x="839267" y="1137043"/>
                      </a:cubicBezTo>
                      <a:cubicBezTo>
                        <a:pt x="839267" y="1136561"/>
                        <a:pt x="839267" y="1135838"/>
                        <a:pt x="839347" y="1135276"/>
                      </a:cubicBezTo>
                      <a:cubicBezTo>
                        <a:pt x="849388" y="1129893"/>
                        <a:pt x="861839" y="1132786"/>
                        <a:pt x="871478" y="1125957"/>
                      </a:cubicBezTo>
                      <a:cubicBezTo>
                        <a:pt x="872523" y="1118326"/>
                        <a:pt x="884973" y="1118567"/>
                        <a:pt x="887464" y="1118728"/>
                      </a:cubicBezTo>
                      <a:moveTo>
                        <a:pt x="1820553" y="1007072"/>
                      </a:moveTo>
                      <a:cubicBezTo>
                        <a:pt x="1895258" y="949075"/>
                        <a:pt x="1904898" y="941685"/>
                        <a:pt x="1958235" y="890596"/>
                      </a:cubicBezTo>
                      <a:lnTo>
                        <a:pt x="1959039" y="889793"/>
                      </a:lnTo>
                      <a:cubicBezTo>
                        <a:pt x="1960404" y="888427"/>
                        <a:pt x="1962252" y="886580"/>
                        <a:pt x="1963617" y="885134"/>
                      </a:cubicBezTo>
                      <a:cubicBezTo>
                        <a:pt x="1944098" y="904252"/>
                        <a:pt x="1898391" y="948995"/>
                        <a:pt x="1854291" y="975985"/>
                      </a:cubicBezTo>
                      <a:cubicBezTo>
                        <a:pt x="1855094" y="974780"/>
                        <a:pt x="1856139" y="973093"/>
                        <a:pt x="1856942" y="971888"/>
                      </a:cubicBezTo>
                      <a:cubicBezTo>
                        <a:pt x="1756612" y="1035588"/>
                        <a:pt x="1715966" y="1051092"/>
                        <a:pt x="1544707" y="1116640"/>
                      </a:cubicBezTo>
                      <a:cubicBezTo>
                        <a:pt x="1539807" y="1112864"/>
                        <a:pt x="1536835" y="1110535"/>
                        <a:pt x="1531292" y="1112944"/>
                      </a:cubicBezTo>
                      <a:lnTo>
                        <a:pt x="1448233" y="1159374"/>
                      </a:lnTo>
                      <a:cubicBezTo>
                        <a:pt x="1451527" y="1161302"/>
                        <a:pt x="1457230" y="1160980"/>
                        <a:pt x="1461005" y="1160338"/>
                      </a:cubicBezTo>
                      <a:cubicBezTo>
                        <a:pt x="1444136" y="1167005"/>
                        <a:pt x="1429999" y="1179134"/>
                        <a:pt x="1412808" y="1185159"/>
                      </a:cubicBezTo>
                      <a:cubicBezTo>
                        <a:pt x="1365897" y="1201385"/>
                        <a:pt x="1316254" y="1207892"/>
                        <a:pt x="1270066" y="1226367"/>
                      </a:cubicBezTo>
                      <a:cubicBezTo>
                        <a:pt x="1284444" y="1227813"/>
                        <a:pt x="1284444" y="1227813"/>
                        <a:pt x="1311435" y="1223234"/>
                      </a:cubicBezTo>
                      <a:cubicBezTo>
                        <a:pt x="1350956" y="1215764"/>
                        <a:pt x="1351759" y="1215604"/>
                        <a:pt x="1371841" y="1211025"/>
                      </a:cubicBezTo>
                      <a:cubicBezTo>
                        <a:pt x="1413371" y="1200984"/>
                        <a:pt x="1414174" y="1200823"/>
                        <a:pt x="1435541" y="1194718"/>
                      </a:cubicBezTo>
                      <a:cubicBezTo>
                        <a:pt x="1480445" y="1181223"/>
                        <a:pt x="1482212" y="1180661"/>
                        <a:pt x="1506150" y="1172226"/>
                      </a:cubicBezTo>
                      <a:cubicBezTo>
                        <a:pt x="1558041" y="1152947"/>
                        <a:pt x="1560050" y="1152225"/>
                        <a:pt x="1588646" y="1139774"/>
                      </a:cubicBezTo>
                      <a:cubicBezTo>
                        <a:pt x="1634112" y="1118648"/>
                        <a:pt x="1728979" y="1074708"/>
                        <a:pt x="1820553" y="1007072"/>
                      </a:cubicBezTo>
                      <a:moveTo>
                        <a:pt x="688170" y="1018318"/>
                      </a:moveTo>
                      <a:cubicBezTo>
                        <a:pt x="688732" y="1018318"/>
                        <a:pt x="689535" y="1018318"/>
                        <a:pt x="690098" y="1018318"/>
                      </a:cubicBezTo>
                      <a:cubicBezTo>
                        <a:pt x="678289" y="1014542"/>
                        <a:pt x="643186" y="1000003"/>
                        <a:pt x="634109" y="995103"/>
                      </a:cubicBezTo>
                      <a:cubicBezTo>
                        <a:pt x="625353" y="990444"/>
                        <a:pt x="618525" y="988355"/>
                        <a:pt x="610573" y="987793"/>
                      </a:cubicBezTo>
                      <a:cubicBezTo>
                        <a:pt x="606476" y="987713"/>
                        <a:pt x="604066" y="987954"/>
                        <a:pt x="600130" y="988837"/>
                      </a:cubicBezTo>
                      <a:cubicBezTo>
                        <a:pt x="615794" y="998798"/>
                        <a:pt x="615794" y="998798"/>
                        <a:pt x="630816" y="1010687"/>
                      </a:cubicBezTo>
                      <a:cubicBezTo>
                        <a:pt x="620935" y="1007875"/>
                        <a:pt x="617160" y="1006670"/>
                        <a:pt x="607119" y="1002654"/>
                      </a:cubicBezTo>
                      <a:cubicBezTo>
                        <a:pt x="608163" y="1002654"/>
                        <a:pt x="609529" y="1002734"/>
                        <a:pt x="610493" y="1002734"/>
                      </a:cubicBezTo>
                      <a:cubicBezTo>
                        <a:pt x="607922" y="1001128"/>
                        <a:pt x="606637" y="1000083"/>
                        <a:pt x="605111" y="998477"/>
                      </a:cubicBezTo>
                      <a:cubicBezTo>
                        <a:pt x="604709" y="998557"/>
                        <a:pt x="604227" y="998718"/>
                        <a:pt x="603906" y="998959"/>
                      </a:cubicBezTo>
                      <a:cubicBezTo>
                        <a:pt x="603906" y="999602"/>
                        <a:pt x="603906" y="999682"/>
                        <a:pt x="605271" y="1000565"/>
                      </a:cubicBezTo>
                      <a:cubicBezTo>
                        <a:pt x="604147" y="1003136"/>
                        <a:pt x="606878" y="1005305"/>
                        <a:pt x="616116" y="1009000"/>
                      </a:cubicBezTo>
                      <a:cubicBezTo>
                        <a:pt x="600532" y="1005947"/>
                        <a:pt x="600532" y="1005947"/>
                        <a:pt x="594186" y="1005867"/>
                      </a:cubicBezTo>
                      <a:cubicBezTo>
                        <a:pt x="599648" y="1008357"/>
                        <a:pt x="606557" y="1010124"/>
                        <a:pt x="614509" y="1011169"/>
                      </a:cubicBezTo>
                      <a:cubicBezTo>
                        <a:pt x="648568" y="1015667"/>
                        <a:pt x="673309" y="1018077"/>
                        <a:pt x="688170" y="1018318"/>
                      </a:cubicBezTo>
                      <a:moveTo>
                        <a:pt x="478835" y="912526"/>
                      </a:moveTo>
                      <a:cubicBezTo>
                        <a:pt x="478915" y="912526"/>
                        <a:pt x="478915" y="912445"/>
                        <a:pt x="478835" y="912526"/>
                      </a:cubicBezTo>
                      <a:cubicBezTo>
                        <a:pt x="478915" y="912445"/>
                        <a:pt x="478915" y="912445"/>
                        <a:pt x="478835" y="912526"/>
                      </a:cubicBezTo>
                      <a:cubicBezTo>
                        <a:pt x="478674" y="912526"/>
                        <a:pt x="478514" y="912445"/>
                        <a:pt x="478433" y="912526"/>
                      </a:cubicBezTo>
                      <a:cubicBezTo>
                        <a:pt x="478433" y="912526"/>
                        <a:pt x="477710" y="913410"/>
                        <a:pt x="477791" y="913490"/>
                      </a:cubicBezTo>
                      <a:cubicBezTo>
                        <a:pt x="477791" y="913570"/>
                        <a:pt x="478192" y="913169"/>
                        <a:pt x="478835" y="912526"/>
                      </a:cubicBezTo>
                      <a:moveTo>
                        <a:pt x="629932" y="878547"/>
                      </a:moveTo>
                      <a:cubicBezTo>
                        <a:pt x="630012" y="878547"/>
                        <a:pt x="630012" y="878547"/>
                        <a:pt x="630093" y="878547"/>
                      </a:cubicBezTo>
                      <a:cubicBezTo>
                        <a:pt x="629129" y="878467"/>
                        <a:pt x="627763" y="878386"/>
                        <a:pt x="626799" y="878306"/>
                      </a:cubicBezTo>
                      <a:lnTo>
                        <a:pt x="626880" y="878306"/>
                      </a:lnTo>
                      <a:cubicBezTo>
                        <a:pt x="627602" y="878467"/>
                        <a:pt x="627844" y="878467"/>
                        <a:pt x="629932" y="878547"/>
                      </a:cubicBezTo>
                      <a:moveTo>
                        <a:pt x="808581" y="764321"/>
                      </a:moveTo>
                      <a:cubicBezTo>
                        <a:pt x="808662" y="764321"/>
                        <a:pt x="808742" y="764241"/>
                        <a:pt x="808742" y="764241"/>
                      </a:cubicBezTo>
                      <a:cubicBezTo>
                        <a:pt x="808662" y="764241"/>
                        <a:pt x="808581" y="764241"/>
                        <a:pt x="808581" y="764321"/>
                      </a:cubicBezTo>
                      <a:cubicBezTo>
                        <a:pt x="806413" y="765526"/>
                        <a:pt x="804485" y="766570"/>
                        <a:pt x="802236" y="767695"/>
                      </a:cubicBezTo>
                      <a:cubicBezTo>
                        <a:pt x="803842" y="766891"/>
                        <a:pt x="806091" y="765686"/>
                        <a:pt x="808581" y="764321"/>
                      </a:cubicBezTo>
                      <a:moveTo>
                        <a:pt x="938954" y="658930"/>
                      </a:moveTo>
                      <a:cubicBezTo>
                        <a:pt x="939034" y="658930"/>
                        <a:pt x="939114" y="658930"/>
                        <a:pt x="939114" y="658850"/>
                      </a:cubicBezTo>
                      <a:cubicBezTo>
                        <a:pt x="937347" y="658770"/>
                        <a:pt x="937347" y="658770"/>
                        <a:pt x="937026" y="658850"/>
                      </a:cubicBezTo>
                      <a:cubicBezTo>
                        <a:pt x="935821" y="659171"/>
                        <a:pt x="934616" y="659493"/>
                        <a:pt x="933331" y="659814"/>
                      </a:cubicBezTo>
                      <a:cubicBezTo>
                        <a:pt x="935098" y="659573"/>
                        <a:pt x="936946" y="659332"/>
                        <a:pt x="938954" y="658930"/>
                      </a:cubicBezTo>
                      <a:moveTo>
                        <a:pt x="2316820" y="23456"/>
                      </a:moveTo>
                      <a:cubicBezTo>
                        <a:pt x="2316338" y="9318"/>
                        <a:pt x="2315534" y="3053"/>
                        <a:pt x="2315213" y="0"/>
                      </a:cubicBezTo>
                      <a:cubicBezTo>
                        <a:pt x="2314972" y="1285"/>
                        <a:pt x="2314570" y="2972"/>
                        <a:pt x="2314249" y="4257"/>
                      </a:cubicBezTo>
                      <a:cubicBezTo>
                        <a:pt x="2312401" y="17592"/>
                        <a:pt x="2311919" y="31006"/>
                        <a:pt x="2310313" y="44421"/>
                      </a:cubicBezTo>
                      <a:cubicBezTo>
                        <a:pt x="2310233" y="43859"/>
                        <a:pt x="2310152" y="43136"/>
                        <a:pt x="2309992" y="42654"/>
                      </a:cubicBezTo>
                      <a:cubicBezTo>
                        <a:pt x="2309590" y="44341"/>
                        <a:pt x="2309590" y="44341"/>
                        <a:pt x="2309188" y="52535"/>
                      </a:cubicBezTo>
                      <a:cubicBezTo>
                        <a:pt x="2307742" y="53498"/>
                        <a:pt x="2298424" y="87718"/>
                        <a:pt x="2295774" y="129248"/>
                      </a:cubicBezTo>
                      <a:cubicBezTo>
                        <a:pt x="2293685" y="161459"/>
                        <a:pt x="2299228" y="168046"/>
                        <a:pt x="2301718" y="169412"/>
                      </a:cubicBezTo>
                      <a:cubicBezTo>
                        <a:pt x="2310393" y="164994"/>
                        <a:pt x="2318828" y="83220"/>
                        <a:pt x="2316820" y="23456"/>
                      </a:cubicBezTo>
                      <a:moveTo>
                        <a:pt x="1688735" y="180818"/>
                      </a:moveTo>
                      <a:lnTo>
                        <a:pt x="1692992" y="179212"/>
                      </a:lnTo>
                      <a:cubicBezTo>
                        <a:pt x="1692832" y="179212"/>
                        <a:pt x="1692751" y="179292"/>
                        <a:pt x="1692591" y="179372"/>
                      </a:cubicBezTo>
                      <a:cubicBezTo>
                        <a:pt x="1691306" y="179854"/>
                        <a:pt x="1690020" y="180336"/>
                        <a:pt x="1688735" y="180818"/>
                      </a:cubicBezTo>
                      <a:moveTo>
                        <a:pt x="246045" y="295446"/>
                      </a:moveTo>
                      <a:cubicBezTo>
                        <a:pt x="246045" y="295446"/>
                        <a:pt x="246125" y="295446"/>
                        <a:pt x="246125" y="295366"/>
                      </a:cubicBezTo>
                      <a:cubicBezTo>
                        <a:pt x="246125" y="295366"/>
                        <a:pt x="246045" y="295366"/>
                        <a:pt x="246045" y="295446"/>
                      </a:cubicBezTo>
                      <a:cubicBezTo>
                        <a:pt x="245000" y="295286"/>
                        <a:pt x="243956" y="295125"/>
                        <a:pt x="242831" y="294964"/>
                      </a:cubicBezTo>
                      <a:cubicBezTo>
                        <a:pt x="243635" y="295527"/>
                        <a:pt x="244759" y="296008"/>
                        <a:pt x="246045" y="295446"/>
                      </a:cubicBezTo>
                      <a:moveTo>
                        <a:pt x="246768" y="295446"/>
                      </a:moveTo>
                      <a:cubicBezTo>
                        <a:pt x="246768" y="295446"/>
                        <a:pt x="246768" y="295446"/>
                        <a:pt x="246768" y="295446"/>
                      </a:cubicBezTo>
                      <a:cubicBezTo>
                        <a:pt x="246687" y="295366"/>
                        <a:pt x="246687" y="295286"/>
                        <a:pt x="246607" y="295125"/>
                      </a:cubicBezTo>
                      <a:cubicBezTo>
                        <a:pt x="246607" y="295125"/>
                        <a:pt x="246607" y="295125"/>
                        <a:pt x="246607" y="295125"/>
                      </a:cubicBezTo>
                      <a:cubicBezTo>
                        <a:pt x="246446" y="295205"/>
                        <a:pt x="246366" y="295286"/>
                        <a:pt x="246205" y="295366"/>
                      </a:cubicBezTo>
                      <a:cubicBezTo>
                        <a:pt x="246366" y="295366"/>
                        <a:pt x="246527" y="295446"/>
                        <a:pt x="246768" y="295446"/>
                      </a:cubicBezTo>
                      <a:moveTo>
                        <a:pt x="242430" y="294964"/>
                      </a:moveTo>
                      <a:cubicBezTo>
                        <a:pt x="242510" y="294964"/>
                        <a:pt x="242671" y="294964"/>
                        <a:pt x="242831" y="295045"/>
                      </a:cubicBezTo>
                      <a:cubicBezTo>
                        <a:pt x="242189" y="294563"/>
                        <a:pt x="241948" y="294322"/>
                        <a:pt x="241546" y="293920"/>
                      </a:cubicBezTo>
                      <a:cubicBezTo>
                        <a:pt x="240904" y="293197"/>
                        <a:pt x="239458" y="291992"/>
                        <a:pt x="236727" y="290627"/>
                      </a:cubicBezTo>
                      <a:cubicBezTo>
                        <a:pt x="233754" y="289181"/>
                        <a:pt x="230541" y="288699"/>
                        <a:pt x="229336" y="288538"/>
                      </a:cubicBezTo>
                      <a:cubicBezTo>
                        <a:pt x="225722" y="288136"/>
                        <a:pt x="223553" y="288297"/>
                        <a:pt x="220018" y="289020"/>
                      </a:cubicBezTo>
                      <a:cubicBezTo>
                        <a:pt x="220340" y="289261"/>
                        <a:pt x="220741" y="289502"/>
                        <a:pt x="220982" y="289743"/>
                      </a:cubicBezTo>
                      <a:cubicBezTo>
                        <a:pt x="220982" y="289824"/>
                        <a:pt x="220902" y="289903"/>
                        <a:pt x="220902" y="289984"/>
                      </a:cubicBezTo>
                      <a:cubicBezTo>
                        <a:pt x="224195" y="290787"/>
                        <a:pt x="233031" y="293599"/>
                        <a:pt x="242430" y="294964"/>
                      </a:cubicBezTo>
                      <a:moveTo>
                        <a:pt x="221464" y="283397"/>
                      </a:moveTo>
                      <a:cubicBezTo>
                        <a:pt x="221545" y="283397"/>
                        <a:pt x="221625" y="283317"/>
                        <a:pt x="221705" y="283237"/>
                      </a:cubicBezTo>
                      <a:cubicBezTo>
                        <a:pt x="220661" y="282112"/>
                        <a:pt x="219777" y="281389"/>
                        <a:pt x="218733" y="281309"/>
                      </a:cubicBezTo>
                      <a:cubicBezTo>
                        <a:pt x="216725" y="281228"/>
                        <a:pt x="215761" y="283638"/>
                        <a:pt x="215761" y="283638"/>
                      </a:cubicBezTo>
                      <a:cubicBezTo>
                        <a:pt x="217207" y="283879"/>
                        <a:pt x="217769" y="283638"/>
                        <a:pt x="218251" y="282513"/>
                      </a:cubicBezTo>
                      <a:cubicBezTo>
                        <a:pt x="218653" y="282755"/>
                        <a:pt x="219215" y="283156"/>
                        <a:pt x="219617" y="283397"/>
                      </a:cubicBezTo>
                      <a:cubicBezTo>
                        <a:pt x="219456" y="283638"/>
                        <a:pt x="219135" y="284120"/>
                        <a:pt x="219697" y="284040"/>
                      </a:cubicBezTo>
                      <a:cubicBezTo>
                        <a:pt x="219777" y="284040"/>
                        <a:pt x="220259" y="283959"/>
                        <a:pt x="221464" y="283397"/>
                      </a:cubicBezTo>
                      <a:moveTo>
                        <a:pt x="536189" y="960321"/>
                      </a:moveTo>
                      <a:cubicBezTo>
                        <a:pt x="535306" y="960482"/>
                        <a:pt x="533538" y="961044"/>
                        <a:pt x="535948" y="963213"/>
                      </a:cubicBezTo>
                      <a:cubicBezTo>
                        <a:pt x="534904" y="962570"/>
                        <a:pt x="533779" y="961928"/>
                        <a:pt x="532735" y="961365"/>
                      </a:cubicBezTo>
                      <a:cubicBezTo>
                        <a:pt x="533056" y="960642"/>
                        <a:pt x="533699" y="959357"/>
                        <a:pt x="534663" y="958474"/>
                      </a:cubicBezTo>
                      <a:cubicBezTo>
                        <a:pt x="534583" y="959196"/>
                        <a:pt x="535065" y="959598"/>
                        <a:pt x="536430" y="960321"/>
                      </a:cubicBezTo>
                      <a:cubicBezTo>
                        <a:pt x="536350" y="960241"/>
                        <a:pt x="536270" y="960321"/>
                        <a:pt x="536189" y="960321"/>
                      </a:cubicBezTo>
                      <a:moveTo>
                        <a:pt x="554745" y="958152"/>
                      </a:moveTo>
                      <a:cubicBezTo>
                        <a:pt x="548399" y="957590"/>
                        <a:pt x="543981" y="957269"/>
                        <a:pt x="545186" y="958554"/>
                      </a:cubicBezTo>
                      <a:cubicBezTo>
                        <a:pt x="545507" y="958875"/>
                        <a:pt x="546230" y="959277"/>
                        <a:pt x="546712" y="959518"/>
                      </a:cubicBezTo>
                      <a:cubicBezTo>
                        <a:pt x="546391" y="960000"/>
                        <a:pt x="545989" y="960642"/>
                        <a:pt x="545668" y="961125"/>
                      </a:cubicBezTo>
                      <a:cubicBezTo>
                        <a:pt x="543820" y="959036"/>
                        <a:pt x="541893" y="957992"/>
                        <a:pt x="538840" y="957429"/>
                      </a:cubicBezTo>
                      <a:cubicBezTo>
                        <a:pt x="540848" y="957028"/>
                        <a:pt x="541250" y="956867"/>
                        <a:pt x="541491" y="956546"/>
                      </a:cubicBezTo>
                      <a:cubicBezTo>
                        <a:pt x="541250" y="956385"/>
                        <a:pt x="541009" y="956144"/>
                        <a:pt x="537555" y="955903"/>
                      </a:cubicBezTo>
                      <a:cubicBezTo>
                        <a:pt x="536591" y="954778"/>
                        <a:pt x="536511" y="954216"/>
                        <a:pt x="537233" y="953413"/>
                      </a:cubicBezTo>
                      <a:cubicBezTo>
                        <a:pt x="545347" y="956706"/>
                        <a:pt x="552576" y="957831"/>
                        <a:pt x="555388" y="958152"/>
                      </a:cubicBezTo>
                      <a:cubicBezTo>
                        <a:pt x="555227" y="958152"/>
                        <a:pt x="554906" y="958152"/>
                        <a:pt x="554745" y="958152"/>
                      </a:cubicBezTo>
                      <a:moveTo>
                        <a:pt x="548479" y="951164"/>
                      </a:moveTo>
                      <a:cubicBezTo>
                        <a:pt x="548479" y="951164"/>
                        <a:pt x="545266" y="950923"/>
                        <a:pt x="537233" y="950280"/>
                      </a:cubicBezTo>
                      <a:cubicBezTo>
                        <a:pt x="537233" y="950200"/>
                        <a:pt x="537153" y="950200"/>
                        <a:pt x="537153" y="950119"/>
                      </a:cubicBezTo>
                      <a:cubicBezTo>
                        <a:pt x="539804" y="950360"/>
                        <a:pt x="542535" y="950601"/>
                        <a:pt x="545186" y="950842"/>
                      </a:cubicBezTo>
                      <a:cubicBezTo>
                        <a:pt x="546311" y="950923"/>
                        <a:pt x="547435" y="950923"/>
                        <a:pt x="548479" y="951164"/>
                      </a:cubicBezTo>
                      <a:moveTo>
                        <a:pt x="540929" y="918149"/>
                      </a:moveTo>
                      <a:cubicBezTo>
                        <a:pt x="530004" y="916060"/>
                        <a:pt x="522774" y="916864"/>
                        <a:pt x="519481" y="920719"/>
                      </a:cubicBezTo>
                      <a:cubicBezTo>
                        <a:pt x="520606" y="918711"/>
                        <a:pt x="520445" y="917426"/>
                        <a:pt x="518999" y="915338"/>
                      </a:cubicBezTo>
                      <a:cubicBezTo>
                        <a:pt x="528478" y="913731"/>
                        <a:pt x="536189" y="916141"/>
                        <a:pt x="541812" y="918390"/>
                      </a:cubicBezTo>
                      <a:cubicBezTo>
                        <a:pt x="541571" y="918229"/>
                        <a:pt x="541250" y="918149"/>
                        <a:pt x="540929" y="918149"/>
                      </a:cubicBezTo>
                      <a:moveTo>
                        <a:pt x="483735" y="850834"/>
                      </a:moveTo>
                      <a:cubicBezTo>
                        <a:pt x="484378" y="850513"/>
                        <a:pt x="485824" y="850191"/>
                        <a:pt x="487511" y="851316"/>
                      </a:cubicBezTo>
                      <a:cubicBezTo>
                        <a:pt x="486386" y="851235"/>
                        <a:pt x="484860" y="850995"/>
                        <a:pt x="483735" y="850834"/>
                      </a:cubicBezTo>
                      <a:moveTo>
                        <a:pt x="485904" y="847300"/>
                      </a:moveTo>
                      <a:cubicBezTo>
                        <a:pt x="485261" y="846818"/>
                        <a:pt x="484619" y="846255"/>
                        <a:pt x="483976" y="845773"/>
                      </a:cubicBezTo>
                      <a:cubicBezTo>
                        <a:pt x="484699" y="846336"/>
                        <a:pt x="485342" y="846898"/>
                        <a:pt x="486065" y="847460"/>
                      </a:cubicBezTo>
                      <a:cubicBezTo>
                        <a:pt x="485984" y="847380"/>
                        <a:pt x="485904" y="847300"/>
                        <a:pt x="485904" y="847300"/>
                      </a:cubicBezTo>
                      <a:moveTo>
                        <a:pt x="782957" y="776772"/>
                      </a:moveTo>
                      <a:cubicBezTo>
                        <a:pt x="779422" y="778057"/>
                        <a:pt x="775727" y="779342"/>
                        <a:pt x="775486" y="779422"/>
                      </a:cubicBezTo>
                      <a:cubicBezTo>
                        <a:pt x="775727" y="779342"/>
                        <a:pt x="775968" y="779262"/>
                        <a:pt x="776209" y="779182"/>
                      </a:cubicBezTo>
                      <a:cubicBezTo>
                        <a:pt x="778539" y="778378"/>
                        <a:pt x="780949" y="777494"/>
                        <a:pt x="783278" y="776691"/>
                      </a:cubicBezTo>
                      <a:cubicBezTo>
                        <a:pt x="783198" y="776691"/>
                        <a:pt x="783037" y="776772"/>
                        <a:pt x="782957" y="776772"/>
                      </a:cubicBezTo>
                      <a:moveTo>
                        <a:pt x="792436" y="773478"/>
                      </a:moveTo>
                      <a:cubicBezTo>
                        <a:pt x="790186" y="774362"/>
                        <a:pt x="787857" y="775085"/>
                        <a:pt x="785608" y="775888"/>
                      </a:cubicBezTo>
                      <a:cubicBezTo>
                        <a:pt x="787937" y="775085"/>
                        <a:pt x="790186" y="774201"/>
                        <a:pt x="792436" y="773478"/>
                      </a:cubicBezTo>
                      <a:lnTo>
                        <a:pt x="792436" y="773478"/>
                      </a:lnTo>
                      <a:moveTo>
                        <a:pt x="608163" y="754119"/>
                      </a:moveTo>
                      <a:cubicBezTo>
                        <a:pt x="608083" y="754119"/>
                        <a:pt x="608002" y="754119"/>
                        <a:pt x="607922" y="754119"/>
                      </a:cubicBezTo>
                      <a:cubicBezTo>
                        <a:pt x="608002" y="754119"/>
                        <a:pt x="608083" y="754119"/>
                        <a:pt x="608163" y="754119"/>
                      </a:cubicBezTo>
                      <a:lnTo>
                        <a:pt x="608163" y="754119"/>
                      </a:lnTo>
                      <a:moveTo>
                        <a:pt x="599407" y="753396"/>
                      </a:moveTo>
                      <a:cubicBezTo>
                        <a:pt x="599006" y="753396"/>
                        <a:pt x="598604" y="753316"/>
                        <a:pt x="598202" y="753316"/>
                      </a:cubicBezTo>
                      <a:cubicBezTo>
                        <a:pt x="598604" y="753316"/>
                        <a:pt x="599006" y="753316"/>
                        <a:pt x="599407" y="753396"/>
                      </a:cubicBezTo>
                      <a:cubicBezTo>
                        <a:pt x="599407" y="753396"/>
                        <a:pt x="599407" y="753396"/>
                        <a:pt x="599407" y="753396"/>
                      </a:cubicBezTo>
                      <a:moveTo>
                        <a:pt x="738294" y="689696"/>
                      </a:moveTo>
                      <a:cubicBezTo>
                        <a:pt x="736849" y="690178"/>
                        <a:pt x="736849" y="690660"/>
                        <a:pt x="738294" y="691383"/>
                      </a:cubicBezTo>
                      <a:cubicBezTo>
                        <a:pt x="738535" y="691543"/>
                        <a:pt x="738857" y="691624"/>
                        <a:pt x="739098" y="691704"/>
                      </a:cubicBezTo>
                      <a:cubicBezTo>
                        <a:pt x="737893" y="691945"/>
                        <a:pt x="735162" y="692588"/>
                        <a:pt x="737491" y="693954"/>
                      </a:cubicBezTo>
                      <a:cubicBezTo>
                        <a:pt x="738294" y="694436"/>
                        <a:pt x="739660" y="694918"/>
                        <a:pt x="740383" y="695158"/>
                      </a:cubicBezTo>
                      <a:lnTo>
                        <a:pt x="736206" y="695962"/>
                      </a:lnTo>
                      <a:cubicBezTo>
                        <a:pt x="736447" y="696203"/>
                        <a:pt x="736849" y="696444"/>
                        <a:pt x="737090" y="696604"/>
                      </a:cubicBezTo>
                      <a:cubicBezTo>
                        <a:pt x="731788" y="697729"/>
                        <a:pt x="732190" y="695801"/>
                        <a:pt x="732993" y="693954"/>
                      </a:cubicBezTo>
                      <a:cubicBezTo>
                        <a:pt x="731949" y="693793"/>
                        <a:pt x="730503" y="693632"/>
                        <a:pt x="729458" y="693552"/>
                      </a:cubicBezTo>
                      <a:cubicBezTo>
                        <a:pt x="732270" y="693230"/>
                        <a:pt x="733314" y="692990"/>
                        <a:pt x="733635" y="692668"/>
                      </a:cubicBezTo>
                      <a:cubicBezTo>
                        <a:pt x="733555" y="692267"/>
                        <a:pt x="732190" y="691945"/>
                        <a:pt x="728253" y="691543"/>
                      </a:cubicBezTo>
                      <a:cubicBezTo>
                        <a:pt x="729378" y="691303"/>
                        <a:pt x="730422" y="691543"/>
                        <a:pt x="731547" y="691543"/>
                      </a:cubicBezTo>
                      <a:cubicBezTo>
                        <a:pt x="733876" y="691383"/>
                        <a:pt x="733876" y="690982"/>
                        <a:pt x="732912" y="690018"/>
                      </a:cubicBezTo>
                      <a:cubicBezTo>
                        <a:pt x="734760" y="687768"/>
                        <a:pt x="735644" y="685439"/>
                        <a:pt x="735885" y="682547"/>
                      </a:cubicBezTo>
                      <a:cubicBezTo>
                        <a:pt x="736126" y="685519"/>
                        <a:pt x="737812" y="687929"/>
                        <a:pt x="739258" y="689375"/>
                      </a:cubicBezTo>
                      <a:cubicBezTo>
                        <a:pt x="738937" y="689535"/>
                        <a:pt x="738535" y="689616"/>
                        <a:pt x="738294" y="689696"/>
                      </a:cubicBezTo>
                      <a:moveTo>
                        <a:pt x="794765" y="634270"/>
                      </a:moveTo>
                      <a:cubicBezTo>
                        <a:pt x="788339" y="636680"/>
                        <a:pt x="789865" y="638929"/>
                        <a:pt x="790427" y="639732"/>
                      </a:cubicBezTo>
                      <a:cubicBezTo>
                        <a:pt x="787054" y="639813"/>
                        <a:pt x="785126" y="640535"/>
                        <a:pt x="784162" y="640856"/>
                      </a:cubicBezTo>
                      <a:cubicBezTo>
                        <a:pt x="785286" y="641259"/>
                        <a:pt x="786813" y="641740"/>
                        <a:pt x="787937" y="642142"/>
                      </a:cubicBezTo>
                      <a:cubicBezTo>
                        <a:pt x="782796" y="642303"/>
                        <a:pt x="780627" y="641580"/>
                        <a:pt x="780145" y="639491"/>
                      </a:cubicBezTo>
                      <a:cubicBezTo>
                        <a:pt x="781190" y="639652"/>
                        <a:pt x="781752" y="639652"/>
                        <a:pt x="782555" y="639652"/>
                      </a:cubicBezTo>
                      <a:cubicBezTo>
                        <a:pt x="784403" y="639491"/>
                        <a:pt x="785045" y="639089"/>
                        <a:pt x="785206" y="638126"/>
                      </a:cubicBezTo>
                      <a:cubicBezTo>
                        <a:pt x="785929" y="637724"/>
                        <a:pt x="787535" y="637001"/>
                        <a:pt x="787134" y="632824"/>
                      </a:cubicBezTo>
                      <a:cubicBezTo>
                        <a:pt x="788017" y="634109"/>
                        <a:pt x="788419" y="634993"/>
                        <a:pt x="788821" y="636198"/>
                      </a:cubicBezTo>
                      <a:cubicBezTo>
                        <a:pt x="791070" y="635475"/>
                        <a:pt x="793319" y="634752"/>
                        <a:pt x="795568" y="634029"/>
                      </a:cubicBezTo>
                      <a:cubicBezTo>
                        <a:pt x="795327" y="634109"/>
                        <a:pt x="795006" y="634190"/>
                        <a:pt x="794765" y="634270"/>
                      </a:cubicBezTo>
                      <a:moveTo>
                        <a:pt x="904975" y="615875"/>
                      </a:moveTo>
                      <a:cubicBezTo>
                        <a:pt x="902565" y="615794"/>
                        <a:pt x="899914" y="616035"/>
                        <a:pt x="901521" y="617963"/>
                      </a:cubicBezTo>
                      <a:cubicBezTo>
                        <a:pt x="901682" y="618124"/>
                        <a:pt x="901923" y="618365"/>
                        <a:pt x="902083" y="618526"/>
                      </a:cubicBezTo>
                      <a:cubicBezTo>
                        <a:pt x="900878" y="617722"/>
                        <a:pt x="899272" y="617160"/>
                        <a:pt x="895818" y="618606"/>
                      </a:cubicBezTo>
                      <a:cubicBezTo>
                        <a:pt x="897906" y="617722"/>
                        <a:pt x="898549" y="617080"/>
                        <a:pt x="898950" y="615553"/>
                      </a:cubicBezTo>
                      <a:cubicBezTo>
                        <a:pt x="897585" y="616598"/>
                        <a:pt x="897344" y="616598"/>
                        <a:pt x="897103" y="616517"/>
                      </a:cubicBezTo>
                      <a:cubicBezTo>
                        <a:pt x="896942" y="616196"/>
                        <a:pt x="896942" y="615875"/>
                        <a:pt x="897745" y="614188"/>
                      </a:cubicBezTo>
                      <a:cubicBezTo>
                        <a:pt x="897103" y="614348"/>
                        <a:pt x="896300" y="614590"/>
                        <a:pt x="895737" y="614830"/>
                      </a:cubicBezTo>
                      <a:cubicBezTo>
                        <a:pt x="896139" y="614188"/>
                        <a:pt x="896942" y="612742"/>
                        <a:pt x="894613" y="613465"/>
                      </a:cubicBezTo>
                      <a:cubicBezTo>
                        <a:pt x="893890" y="613706"/>
                        <a:pt x="893086" y="614027"/>
                        <a:pt x="892524" y="614268"/>
                      </a:cubicBezTo>
                      <a:cubicBezTo>
                        <a:pt x="892524" y="614108"/>
                        <a:pt x="892604" y="613947"/>
                        <a:pt x="892604" y="613786"/>
                      </a:cubicBezTo>
                      <a:cubicBezTo>
                        <a:pt x="895496" y="612019"/>
                        <a:pt x="895496" y="611376"/>
                        <a:pt x="894452" y="610573"/>
                      </a:cubicBezTo>
                      <a:cubicBezTo>
                        <a:pt x="897424" y="609930"/>
                        <a:pt x="898147" y="611296"/>
                        <a:pt x="898950" y="613545"/>
                      </a:cubicBezTo>
                      <a:cubicBezTo>
                        <a:pt x="899754" y="615714"/>
                        <a:pt x="901923" y="615152"/>
                        <a:pt x="902726" y="614911"/>
                      </a:cubicBezTo>
                      <a:cubicBezTo>
                        <a:pt x="903529" y="615232"/>
                        <a:pt x="904493" y="615634"/>
                        <a:pt x="905296" y="616035"/>
                      </a:cubicBezTo>
                      <a:cubicBezTo>
                        <a:pt x="905216" y="615875"/>
                        <a:pt x="905055" y="615875"/>
                        <a:pt x="904975" y="615875"/>
                      </a:cubicBezTo>
                      <a:moveTo>
                        <a:pt x="446302" y="593784"/>
                      </a:moveTo>
                      <a:cubicBezTo>
                        <a:pt x="446383" y="594026"/>
                        <a:pt x="446463" y="594347"/>
                        <a:pt x="446463" y="594588"/>
                      </a:cubicBezTo>
                      <a:cubicBezTo>
                        <a:pt x="445820" y="595070"/>
                        <a:pt x="445499" y="595230"/>
                        <a:pt x="445338" y="595230"/>
                      </a:cubicBezTo>
                      <a:cubicBezTo>
                        <a:pt x="445017" y="595150"/>
                        <a:pt x="445419" y="594508"/>
                        <a:pt x="446142" y="593142"/>
                      </a:cubicBezTo>
                      <a:cubicBezTo>
                        <a:pt x="446222" y="593383"/>
                        <a:pt x="446302" y="593544"/>
                        <a:pt x="446302" y="593784"/>
                      </a:cubicBezTo>
                      <a:moveTo>
                        <a:pt x="445178" y="592098"/>
                      </a:moveTo>
                      <a:cubicBezTo>
                        <a:pt x="442125" y="591616"/>
                        <a:pt x="434012" y="589929"/>
                        <a:pt x="425738" y="585189"/>
                      </a:cubicBezTo>
                      <a:cubicBezTo>
                        <a:pt x="426301" y="584386"/>
                        <a:pt x="427184" y="583985"/>
                        <a:pt x="429433" y="585029"/>
                      </a:cubicBezTo>
                      <a:cubicBezTo>
                        <a:pt x="436743" y="583985"/>
                        <a:pt x="443169" y="586796"/>
                        <a:pt x="445820" y="592178"/>
                      </a:cubicBezTo>
                      <a:cubicBezTo>
                        <a:pt x="445579" y="592178"/>
                        <a:pt x="445338" y="592098"/>
                        <a:pt x="445178" y="592098"/>
                      </a:cubicBezTo>
                      <a:moveTo>
                        <a:pt x="957670" y="506789"/>
                      </a:moveTo>
                      <a:cubicBezTo>
                        <a:pt x="955983" y="508637"/>
                        <a:pt x="950682" y="514501"/>
                        <a:pt x="948191" y="516991"/>
                      </a:cubicBezTo>
                      <a:cubicBezTo>
                        <a:pt x="944978" y="516027"/>
                        <a:pt x="942569" y="515706"/>
                        <a:pt x="938552" y="515706"/>
                      </a:cubicBezTo>
                      <a:cubicBezTo>
                        <a:pt x="943291" y="519883"/>
                        <a:pt x="942649" y="522694"/>
                        <a:pt x="939998" y="525747"/>
                      </a:cubicBezTo>
                      <a:cubicBezTo>
                        <a:pt x="939355" y="522775"/>
                        <a:pt x="937990" y="516670"/>
                        <a:pt x="933893" y="523257"/>
                      </a:cubicBezTo>
                      <a:cubicBezTo>
                        <a:pt x="932768" y="525024"/>
                        <a:pt x="931724" y="527433"/>
                        <a:pt x="930921" y="529362"/>
                      </a:cubicBezTo>
                      <a:cubicBezTo>
                        <a:pt x="928270" y="528960"/>
                        <a:pt x="926664" y="528799"/>
                        <a:pt x="924013" y="528799"/>
                      </a:cubicBezTo>
                      <a:cubicBezTo>
                        <a:pt x="924334" y="527996"/>
                        <a:pt x="924896" y="526871"/>
                        <a:pt x="925539" y="526389"/>
                      </a:cubicBezTo>
                      <a:cubicBezTo>
                        <a:pt x="928190" y="524381"/>
                        <a:pt x="927226" y="522935"/>
                        <a:pt x="926824" y="522373"/>
                      </a:cubicBezTo>
                      <a:cubicBezTo>
                        <a:pt x="928270" y="522855"/>
                        <a:pt x="931242" y="523979"/>
                        <a:pt x="930760" y="522855"/>
                      </a:cubicBezTo>
                      <a:cubicBezTo>
                        <a:pt x="930519" y="522293"/>
                        <a:pt x="929314" y="521248"/>
                        <a:pt x="928752" y="520767"/>
                      </a:cubicBezTo>
                      <a:cubicBezTo>
                        <a:pt x="931644" y="521248"/>
                        <a:pt x="934295" y="521409"/>
                        <a:pt x="932447" y="518999"/>
                      </a:cubicBezTo>
                      <a:cubicBezTo>
                        <a:pt x="932287" y="518838"/>
                        <a:pt x="932126" y="518597"/>
                        <a:pt x="932046" y="518437"/>
                      </a:cubicBezTo>
                      <a:cubicBezTo>
                        <a:pt x="934295" y="518276"/>
                        <a:pt x="934696" y="518116"/>
                        <a:pt x="935259" y="517794"/>
                      </a:cubicBezTo>
                      <a:cubicBezTo>
                        <a:pt x="935098" y="517232"/>
                        <a:pt x="934696" y="516830"/>
                        <a:pt x="928511" y="515143"/>
                      </a:cubicBezTo>
                      <a:lnTo>
                        <a:pt x="929796" y="514902"/>
                      </a:lnTo>
                      <a:cubicBezTo>
                        <a:pt x="929877" y="514742"/>
                        <a:pt x="930037" y="514581"/>
                        <a:pt x="930118" y="514501"/>
                      </a:cubicBezTo>
                      <a:cubicBezTo>
                        <a:pt x="933009" y="515866"/>
                        <a:pt x="934777" y="516348"/>
                        <a:pt x="934696" y="514420"/>
                      </a:cubicBezTo>
                      <a:cubicBezTo>
                        <a:pt x="935178" y="514420"/>
                        <a:pt x="935660" y="514420"/>
                        <a:pt x="936142" y="514340"/>
                      </a:cubicBezTo>
                      <a:cubicBezTo>
                        <a:pt x="938873" y="513938"/>
                        <a:pt x="939114" y="513216"/>
                        <a:pt x="937267" y="511368"/>
                      </a:cubicBezTo>
                      <a:cubicBezTo>
                        <a:pt x="952770" y="509520"/>
                        <a:pt x="957670" y="506147"/>
                        <a:pt x="959277" y="504942"/>
                      </a:cubicBezTo>
                      <a:cubicBezTo>
                        <a:pt x="958795" y="505504"/>
                        <a:pt x="958152" y="506227"/>
                        <a:pt x="957670" y="506789"/>
                      </a:cubicBezTo>
                      <a:moveTo>
                        <a:pt x="795649" y="472730"/>
                      </a:moveTo>
                      <a:cubicBezTo>
                        <a:pt x="791231" y="472730"/>
                        <a:pt x="784804" y="471525"/>
                        <a:pt x="779583" y="465581"/>
                      </a:cubicBezTo>
                      <a:cubicBezTo>
                        <a:pt x="780226" y="463975"/>
                        <a:pt x="779503" y="463332"/>
                        <a:pt x="776209" y="462448"/>
                      </a:cubicBezTo>
                      <a:cubicBezTo>
                        <a:pt x="782876" y="458110"/>
                        <a:pt x="787375" y="463011"/>
                        <a:pt x="796372" y="472730"/>
                      </a:cubicBezTo>
                      <a:cubicBezTo>
                        <a:pt x="796131" y="472650"/>
                        <a:pt x="795890" y="472730"/>
                        <a:pt x="795649" y="472730"/>
                      </a:cubicBezTo>
                      <a:moveTo>
                        <a:pt x="662063" y="362279"/>
                      </a:moveTo>
                      <a:cubicBezTo>
                        <a:pt x="661983" y="362359"/>
                        <a:pt x="660457" y="363002"/>
                        <a:pt x="653548" y="365573"/>
                      </a:cubicBezTo>
                      <a:cubicBezTo>
                        <a:pt x="653548" y="365412"/>
                        <a:pt x="653629" y="365251"/>
                        <a:pt x="653629" y="365091"/>
                      </a:cubicBezTo>
                      <a:cubicBezTo>
                        <a:pt x="659573" y="363002"/>
                        <a:pt x="661662" y="362279"/>
                        <a:pt x="662063" y="362279"/>
                      </a:cubicBezTo>
                      <a:cubicBezTo>
                        <a:pt x="662063" y="362279"/>
                        <a:pt x="662063" y="362279"/>
                        <a:pt x="662063" y="362279"/>
                      </a:cubicBezTo>
                      <a:moveTo>
                        <a:pt x="488153" y="294964"/>
                      </a:moveTo>
                      <a:cubicBezTo>
                        <a:pt x="486306" y="294643"/>
                        <a:pt x="484378" y="294241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4619" y="294000"/>
                        <a:pt x="486306" y="294322"/>
                        <a:pt x="488153" y="295045"/>
                      </a:cubicBezTo>
                      <a:cubicBezTo>
                        <a:pt x="488314" y="295045"/>
                        <a:pt x="488233" y="295045"/>
                        <a:pt x="488153" y="294964"/>
                      </a:cubicBezTo>
                      <a:moveTo>
                        <a:pt x="1068924" y="495784"/>
                      </a:moveTo>
                      <a:cubicBezTo>
                        <a:pt x="1087882" y="438430"/>
                        <a:pt x="1048280" y="438189"/>
                        <a:pt x="881600" y="437306"/>
                      </a:cubicBezTo>
                      <a:cubicBezTo>
                        <a:pt x="880475" y="438591"/>
                        <a:pt x="879029" y="440278"/>
                        <a:pt x="877985" y="441483"/>
                      </a:cubicBezTo>
                      <a:cubicBezTo>
                        <a:pt x="879029" y="438912"/>
                        <a:pt x="880314" y="435458"/>
                        <a:pt x="881198" y="432807"/>
                      </a:cubicBezTo>
                      <a:cubicBezTo>
                        <a:pt x="879190" y="432968"/>
                        <a:pt x="876298" y="432968"/>
                        <a:pt x="874531" y="432084"/>
                      </a:cubicBezTo>
                      <a:cubicBezTo>
                        <a:pt x="875655" y="431201"/>
                        <a:pt x="877101" y="430076"/>
                        <a:pt x="878145" y="429192"/>
                      </a:cubicBezTo>
                      <a:cubicBezTo>
                        <a:pt x="876700" y="428469"/>
                        <a:pt x="874772" y="427425"/>
                        <a:pt x="873245" y="426702"/>
                      </a:cubicBezTo>
                      <a:lnTo>
                        <a:pt x="874209" y="425899"/>
                      </a:lnTo>
                      <a:cubicBezTo>
                        <a:pt x="873727" y="425738"/>
                        <a:pt x="819667" y="411601"/>
                        <a:pt x="800388" y="423168"/>
                      </a:cubicBezTo>
                      <a:cubicBezTo>
                        <a:pt x="800549" y="424774"/>
                        <a:pt x="800790" y="426863"/>
                        <a:pt x="800870" y="428469"/>
                      </a:cubicBezTo>
                      <a:cubicBezTo>
                        <a:pt x="800308" y="428952"/>
                        <a:pt x="799585" y="429674"/>
                        <a:pt x="798942" y="430156"/>
                      </a:cubicBezTo>
                      <a:cubicBezTo>
                        <a:pt x="787455" y="432566"/>
                        <a:pt x="784322" y="434012"/>
                        <a:pt x="777414" y="443491"/>
                      </a:cubicBezTo>
                      <a:cubicBezTo>
                        <a:pt x="778619" y="441081"/>
                        <a:pt x="780065" y="437788"/>
                        <a:pt x="781109" y="435297"/>
                      </a:cubicBezTo>
                      <a:cubicBezTo>
                        <a:pt x="767293" y="424774"/>
                        <a:pt x="729860" y="431281"/>
                        <a:pt x="715722" y="433691"/>
                      </a:cubicBezTo>
                      <a:cubicBezTo>
                        <a:pt x="797898" y="398989"/>
                        <a:pt x="724960" y="363886"/>
                        <a:pt x="723675" y="363725"/>
                      </a:cubicBezTo>
                      <a:cubicBezTo>
                        <a:pt x="722309" y="363565"/>
                        <a:pt x="720462" y="364448"/>
                        <a:pt x="719096" y="364769"/>
                      </a:cubicBezTo>
                      <a:cubicBezTo>
                        <a:pt x="718212" y="363565"/>
                        <a:pt x="717088" y="362038"/>
                        <a:pt x="716204" y="360833"/>
                      </a:cubicBezTo>
                      <a:cubicBezTo>
                        <a:pt x="714839" y="360833"/>
                        <a:pt x="713071" y="360833"/>
                        <a:pt x="711706" y="360833"/>
                      </a:cubicBezTo>
                      <a:cubicBezTo>
                        <a:pt x="681342" y="341073"/>
                        <a:pt x="618606" y="351756"/>
                        <a:pt x="618204" y="351997"/>
                      </a:cubicBezTo>
                      <a:cubicBezTo>
                        <a:pt x="598684" y="339787"/>
                        <a:pt x="598684" y="339787"/>
                        <a:pt x="588643" y="343804"/>
                      </a:cubicBezTo>
                      <a:cubicBezTo>
                        <a:pt x="588322" y="330389"/>
                        <a:pt x="584466" y="326855"/>
                        <a:pt x="564304" y="321392"/>
                      </a:cubicBezTo>
                      <a:cubicBezTo>
                        <a:pt x="564304" y="321553"/>
                        <a:pt x="564304" y="321714"/>
                        <a:pt x="564384" y="321874"/>
                      </a:cubicBezTo>
                      <a:cubicBezTo>
                        <a:pt x="552094" y="319304"/>
                        <a:pt x="544704" y="318259"/>
                        <a:pt x="530807" y="318259"/>
                      </a:cubicBezTo>
                      <a:cubicBezTo>
                        <a:pt x="534101" y="316814"/>
                        <a:pt x="538438" y="314323"/>
                        <a:pt x="540688" y="311512"/>
                      </a:cubicBezTo>
                      <a:cubicBezTo>
                        <a:pt x="536912" y="306692"/>
                        <a:pt x="536912" y="306692"/>
                        <a:pt x="528237" y="303158"/>
                      </a:cubicBezTo>
                      <a:cubicBezTo>
                        <a:pt x="527514" y="304041"/>
                        <a:pt x="526630" y="305246"/>
                        <a:pt x="525907" y="306210"/>
                      </a:cubicBezTo>
                      <a:cubicBezTo>
                        <a:pt x="523658" y="304523"/>
                        <a:pt x="520284" y="302837"/>
                        <a:pt x="517633" y="301873"/>
                      </a:cubicBezTo>
                      <a:cubicBezTo>
                        <a:pt x="517714" y="302435"/>
                        <a:pt x="517874" y="303158"/>
                        <a:pt x="517955" y="303720"/>
                      </a:cubicBezTo>
                      <a:lnTo>
                        <a:pt x="516589" y="303077"/>
                      </a:lnTo>
                      <a:cubicBezTo>
                        <a:pt x="515384" y="302917"/>
                        <a:pt x="515384" y="302917"/>
                        <a:pt x="505343" y="296169"/>
                      </a:cubicBezTo>
                      <a:cubicBezTo>
                        <a:pt x="510163" y="295125"/>
                        <a:pt x="515143" y="294563"/>
                        <a:pt x="519963" y="293599"/>
                      </a:cubicBezTo>
                      <a:cubicBezTo>
                        <a:pt x="463974" y="289824"/>
                        <a:pt x="409110" y="272151"/>
                        <a:pt x="352158" y="280264"/>
                      </a:cubicBezTo>
                      <a:cubicBezTo>
                        <a:pt x="352800" y="290145"/>
                        <a:pt x="352800" y="290707"/>
                        <a:pt x="352881" y="296732"/>
                      </a:cubicBezTo>
                      <a:cubicBezTo>
                        <a:pt x="349828" y="291109"/>
                        <a:pt x="349828" y="291109"/>
                        <a:pt x="347740" y="279541"/>
                      </a:cubicBezTo>
                      <a:cubicBezTo>
                        <a:pt x="348222" y="279461"/>
                        <a:pt x="348784" y="279461"/>
                        <a:pt x="349186" y="279381"/>
                      </a:cubicBezTo>
                      <a:cubicBezTo>
                        <a:pt x="347900" y="268135"/>
                        <a:pt x="345892" y="264761"/>
                        <a:pt x="334727" y="264600"/>
                      </a:cubicBezTo>
                      <a:cubicBezTo>
                        <a:pt x="315930" y="267974"/>
                        <a:pt x="284361" y="279381"/>
                        <a:pt x="284281" y="279381"/>
                      </a:cubicBezTo>
                      <a:cubicBezTo>
                        <a:pt x="284602" y="279783"/>
                        <a:pt x="285004" y="280345"/>
                        <a:pt x="285325" y="280746"/>
                      </a:cubicBezTo>
                      <a:cubicBezTo>
                        <a:pt x="274159" y="293920"/>
                        <a:pt x="255604" y="288860"/>
                        <a:pt x="242831" y="298017"/>
                      </a:cubicBezTo>
                      <a:cubicBezTo>
                        <a:pt x="249820" y="311833"/>
                        <a:pt x="249820" y="311833"/>
                        <a:pt x="262191" y="345812"/>
                      </a:cubicBezTo>
                      <a:lnTo>
                        <a:pt x="264440" y="348382"/>
                      </a:lnTo>
                      <a:cubicBezTo>
                        <a:pt x="265082" y="349507"/>
                        <a:pt x="265886" y="351033"/>
                        <a:pt x="266528" y="352238"/>
                      </a:cubicBezTo>
                      <a:cubicBezTo>
                        <a:pt x="261146" y="358665"/>
                        <a:pt x="252551" y="360753"/>
                        <a:pt x="246928" y="366858"/>
                      </a:cubicBezTo>
                      <a:cubicBezTo>
                        <a:pt x="247009" y="368143"/>
                        <a:pt x="247169" y="369910"/>
                        <a:pt x="247250" y="371276"/>
                      </a:cubicBezTo>
                      <a:cubicBezTo>
                        <a:pt x="245964" y="370874"/>
                        <a:pt x="244197" y="370392"/>
                        <a:pt x="242831" y="369991"/>
                      </a:cubicBezTo>
                      <a:cubicBezTo>
                        <a:pt x="233433" y="375453"/>
                        <a:pt x="229738" y="386056"/>
                        <a:pt x="221946" y="393045"/>
                      </a:cubicBezTo>
                      <a:cubicBezTo>
                        <a:pt x="213512" y="409271"/>
                        <a:pt x="218572" y="410958"/>
                        <a:pt x="232148" y="415376"/>
                      </a:cubicBezTo>
                      <a:cubicBezTo>
                        <a:pt x="232228" y="476907"/>
                        <a:pt x="275605" y="531289"/>
                        <a:pt x="361235" y="577156"/>
                      </a:cubicBezTo>
                      <a:cubicBezTo>
                        <a:pt x="459476" y="629691"/>
                        <a:pt x="474497" y="737330"/>
                        <a:pt x="453853" y="797014"/>
                      </a:cubicBezTo>
                      <a:cubicBezTo>
                        <a:pt x="449515" y="809465"/>
                        <a:pt x="449515" y="809465"/>
                        <a:pt x="473453" y="859108"/>
                      </a:cubicBezTo>
                      <a:cubicBezTo>
                        <a:pt x="473212" y="859590"/>
                        <a:pt x="472891" y="860232"/>
                        <a:pt x="472650" y="860634"/>
                      </a:cubicBezTo>
                      <a:cubicBezTo>
                        <a:pt x="484056" y="861276"/>
                        <a:pt x="485583" y="861116"/>
                        <a:pt x="492973" y="860473"/>
                      </a:cubicBezTo>
                      <a:cubicBezTo>
                        <a:pt x="491768" y="861036"/>
                        <a:pt x="490242" y="861679"/>
                        <a:pt x="489037" y="862240"/>
                      </a:cubicBezTo>
                      <a:cubicBezTo>
                        <a:pt x="491366" y="864088"/>
                        <a:pt x="494178" y="866980"/>
                        <a:pt x="496025" y="869309"/>
                      </a:cubicBezTo>
                      <a:cubicBezTo>
                        <a:pt x="494740" y="868908"/>
                        <a:pt x="492973" y="868345"/>
                        <a:pt x="491688" y="867944"/>
                      </a:cubicBezTo>
                      <a:cubicBezTo>
                        <a:pt x="492973" y="878868"/>
                        <a:pt x="500042" y="888427"/>
                        <a:pt x="499158" y="899834"/>
                      </a:cubicBezTo>
                      <a:cubicBezTo>
                        <a:pt x="501970" y="900557"/>
                        <a:pt x="505584" y="901843"/>
                        <a:pt x="508155" y="903047"/>
                      </a:cubicBezTo>
                      <a:cubicBezTo>
                        <a:pt x="502452" y="902967"/>
                        <a:pt x="502452" y="902967"/>
                        <a:pt x="495383" y="907064"/>
                      </a:cubicBezTo>
                      <a:cubicBezTo>
                        <a:pt x="494740" y="905859"/>
                        <a:pt x="493937" y="904252"/>
                        <a:pt x="493294" y="903128"/>
                      </a:cubicBezTo>
                      <a:cubicBezTo>
                        <a:pt x="487270" y="904011"/>
                        <a:pt x="487270" y="904011"/>
                        <a:pt x="481004" y="909955"/>
                      </a:cubicBezTo>
                      <a:cubicBezTo>
                        <a:pt x="490242" y="912445"/>
                        <a:pt x="517633" y="931082"/>
                        <a:pt x="517874" y="931242"/>
                      </a:cubicBezTo>
                      <a:cubicBezTo>
                        <a:pt x="514099" y="930760"/>
                        <a:pt x="514099" y="930760"/>
                        <a:pt x="501809" y="928511"/>
                      </a:cubicBezTo>
                      <a:cubicBezTo>
                        <a:pt x="503817" y="930841"/>
                        <a:pt x="507271" y="933331"/>
                        <a:pt x="510163" y="934456"/>
                      </a:cubicBezTo>
                      <a:cubicBezTo>
                        <a:pt x="511047" y="937749"/>
                        <a:pt x="513697" y="941765"/>
                        <a:pt x="516027" y="944336"/>
                      </a:cubicBezTo>
                      <a:cubicBezTo>
                        <a:pt x="516911" y="943372"/>
                        <a:pt x="518035" y="942086"/>
                        <a:pt x="518919" y="941203"/>
                      </a:cubicBezTo>
                      <a:cubicBezTo>
                        <a:pt x="519883" y="943773"/>
                        <a:pt x="522534" y="946665"/>
                        <a:pt x="524863" y="948031"/>
                      </a:cubicBezTo>
                      <a:cubicBezTo>
                        <a:pt x="523337" y="947870"/>
                        <a:pt x="521248" y="947709"/>
                        <a:pt x="519642" y="947549"/>
                      </a:cubicBezTo>
                      <a:cubicBezTo>
                        <a:pt x="521570" y="948915"/>
                        <a:pt x="524060" y="950842"/>
                        <a:pt x="526068" y="952127"/>
                      </a:cubicBezTo>
                      <a:cubicBezTo>
                        <a:pt x="524702" y="951967"/>
                        <a:pt x="522774" y="951726"/>
                        <a:pt x="521409" y="951485"/>
                      </a:cubicBezTo>
                      <a:cubicBezTo>
                        <a:pt x="522774" y="953895"/>
                        <a:pt x="525988" y="956546"/>
                        <a:pt x="528638" y="957429"/>
                      </a:cubicBezTo>
                      <a:cubicBezTo>
                        <a:pt x="528076" y="957349"/>
                        <a:pt x="527353" y="957269"/>
                        <a:pt x="526791" y="957188"/>
                      </a:cubicBezTo>
                      <a:cubicBezTo>
                        <a:pt x="523979" y="956706"/>
                        <a:pt x="520284" y="956385"/>
                        <a:pt x="517473" y="956305"/>
                      </a:cubicBezTo>
                      <a:cubicBezTo>
                        <a:pt x="517633" y="956465"/>
                        <a:pt x="538840" y="971969"/>
                        <a:pt x="554022" y="975262"/>
                      </a:cubicBezTo>
                      <a:cubicBezTo>
                        <a:pt x="552496" y="973736"/>
                        <a:pt x="550488" y="971648"/>
                        <a:pt x="548961" y="970041"/>
                      </a:cubicBezTo>
                      <a:cubicBezTo>
                        <a:pt x="557315" y="973977"/>
                        <a:pt x="557315" y="973977"/>
                        <a:pt x="563179" y="977431"/>
                      </a:cubicBezTo>
                      <a:cubicBezTo>
                        <a:pt x="559484" y="978395"/>
                        <a:pt x="559484" y="978395"/>
                        <a:pt x="543981" y="975664"/>
                      </a:cubicBezTo>
                      <a:cubicBezTo>
                        <a:pt x="544463" y="977029"/>
                        <a:pt x="545025" y="978877"/>
                        <a:pt x="545507" y="980242"/>
                      </a:cubicBezTo>
                      <a:cubicBezTo>
                        <a:pt x="550889" y="982652"/>
                        <a:pt x="550889" y="982652"/>
                        <a:pt x="558922" y="982732"/>
                      </a:cubicBezTo>
                      <a:cubicBezTo>
                        <a:pt x="557557" y="983295"/>
                        <a:pt x="555629" y="984098"/>
                        <a:pt x="554263" y="984741"/>
                      </a:cubicBezTo>
                      <a:cubicBezTo>
                        <a:pt x="563661" y="987070"/>
                        <a:pt x="573220" y="983054"/>
                        <a:pt x="582539" y="985464"/>
                      </a:cubicBezTo>
                      <a:cubicBezTo>
                        <a:pt x="573702" y="985544"/>
                        <a:pt x="573140" y="985625"/>
                        <a:pt x="566794" y="986508"/>
                      </a:cubicBezTo>
                      <a:cubicBezTo>
                        <a:pt x="568240" y="989400"/>
                        <a:pt x="572016" y="992212"/>
                        <a:pt x="574907" y="993497"/>
                      </a:cubicBezTo>
                      <a:cubicBezTo>
                        <a:pt x="577558" y="991970"/>
                        <a:pt x="581253" y="990042"/>
                        <a:pt x="584065" y="988757"/>
                      </a:cubicBezTo>
                      <a:cubicBezTo>
                        <a:pt x="584547" y="990203"/>
                        <a:pt x="585189" y="992131"/>
                        <a:pt x="585671" y="993577"/>
                      </a:cubicBezTo>
                      <a:cubicBezTo>
                        <a:pt x="595311" y="991408"/>
                        <a:pt x="595311" y="991408"/>
                        <a:pt x="606557" y="976547"/>
                      </a:cubicBezTo>
                      <a:cubicBezTo>
                        <a:pt x="606316" y="975102"/>
                        <a:pt x="606075" y="973174"/>
                        <a:pt x="605834" y="971727"/>
                      </a:cubicBezTo>
                      <a:cubicBezTo>
                        <a:pt x="604548" y="971406"/>
                        <a:pt x="602861" y="971005"/>
                        <a:pt x="601657" y="970683"/>
                      </a:cubicBezTo>
                      <a:cubicBezTo>
                        <a:pt x="603665" y="968836"/>
                        <a:pt x="605834" y="965623"/>
                        <a:pt x="606717" y="963052"/>
                      </a:cubicBezTo>
                      <a:cubicBezTo>
                        <a:pt x="605673" y="962249"/>
                        <a:pt x="604227" y="961285"/>
                        <a:pt x="603183" y="960482"/>
                      </a:cubicBezTo>
                      <a:cubicBezTo>
                        <a:pt x="610493" y="948995"/>
                        <a:pt x="624952" y="948031"/>
                        <a:pt x="634350" y="939596"/>
                      </a:cubicBezTo>
                      <a:cubicBezTo>
                        <a:pt x="624470" y="936464"/>
                        <a:pt x="577799" y="919032"/>
                        <a:pt x="629289" y="885857"/>
                      </a:cubicBezTo>
                      <a:cubicBezTo>
                        <a:pt x="626398" y="885375"/>
                        <a:pt x="622542" y="884572"/>
                        <a:pt x="619650" y="883929"/>
                      </a:cubicBezTo>
                      <a:cubicBezTo>
                        <a:pt x="625514" y="883367"/>
                        <a:pt x="631458" y="883126"/>
                        <a:pt x="637322" y="882082"/>
                      </a:cubicBezTo>
                      <a:cubicBezTo>
                        <a:pt x="609288" y="865213"/>
                        <a:pt x="609288" y="865213"/>
                        <a:pt x="609207" y="864972"/>
                      </a:cubicBezTo>
                      <a:cubicBezTo>
                        <a:pt x="621819" y="856939"/>
                        <a:pt x="636358" y="868105"/>
                        <a:pt x="649130" y="861036"/>
                      </a:cubicBezTo>
                      <a:cubicBezTo>
                        <a:pt x="650014" y="857100"/>
                        <a:pt x="648889" y="851477"/>
                        <a:pt x="647363" y="847781"/>
                      </a:cubicBezTo>
                      <a:cubicBezTo>
                        <a:pt x="648006" y="847781"/>
                        <a:pt x="648809" y="847781"/>
                        <a:pt x="649452" y="847781"/>
                      </a:cubicBezTo>
                      <a:cubicBezTo>
                        <a:pt x="724317" y="837419"/>
                        <a:pt x="733957" y="819426"/>
                        <a:pt x="689214" y="773800"/>
                      </a:cubicBezTo>
                      <a:cubicBezTo>
                        <a:pt x="752673" y="817658"/>
                        <a:pt x="784804" y="788981"/>
                        <a:pt x="810108" y="751388"/>
                      </a:cubicBezTo>
                      <a:cubicBezTo>
                        <a:pt x="810590" y="751629"/>
                        <a:pt x="811232" y="751950"/>
                        <a:pt x="811714" y="752111"/>
                      </a:cubicBezTo>
                      <a:cubicBezTo>
                        <a:pt x="811714" y="750665"/>
                        <a:pt x="811714" y="748657"/>
                        <a:pt x="811795" y="747131"/>
                      </a:cubicBezTo>
                      <a:cubicBezTo>
                        <a:pt x="813722" y="747532"/>
                        <a:pt x="816213" y="748014"/>
                        <a:pt x="818140" y="748335"/>
                      </a:cubicBezTo>
                      <a:cubicBezTo>
                        <a:pt x="818703" y="749781"/>
                        <a:pt x="819506" y="751629"/>
                        <a:pt x="820149" y="753075"/>
                      </a:cubicBezTo>
                      <a:cubicBezTo>
                        <a:pt x="815891" y="759260"/>
                        <a:pt x="815891" y="759260"/>
                        <a:pt x="808501" y="763919"/>
                      </a:cubicBezTo>
                      <a:cubicBezTo>
                        <a:pt x="845693" y="740705"/>
                        <a:pt x="855975" y="723193"/>
                        <a:pt x="847781" y="697006"/>
                      </a:cubicBezTo>
                      <a:cubicBezTo>
                        <a:pt x="848986" y="696203"/>
                        <a:pt x="850513" y="695078"/>
                        <a:pt x="851718" y="694275"/>
                      </a:cubicBezTo>
                      <a:cubicBezTo>
                        <a:pt x="850593" y="693552"/>
                        <a:pt x="848986" y="692668"/>
                        <a:pt x="847862" y="691945"/>
                      </a:cubicBezTo>
                      <a:cubicBezTo>
                        <a:pt x="849950" y="691624"/>
                        <a:pt x="852842" y="691222"/>
                        <a:pt x="855011" y="691303"/>
                      </a:cubicBezTo>
                      <a:cubicBezTo>
                        <a:pt x="856296" y="690580"/>
                        <a:pt x="858063" y="689696"/>
                        <a:pt x="859349" y="689053"/>
                      </a:cubicBezTo>
                      <a:cubicBezTo>
                        <a:pt x="859268" y="688411"/>
                        <a:pt x="859188" y="687607"/>
                        <a:pt x="859108" y="686965"/>
                      </a:cubicBezTo>
                      <a:cubicBezTo>
                        <a:pt x="902967" y="667285"/>
                        <a:pt x="953734" y="663831"/>
                        <a:pt x="991809" y="630494"/>
                      </a:cubicBezTo>
                      <a:cubicBezTo>
                        <a:pt x="1022334" y="603745"/>
                        <a:pt x="1016711" y="566794"/>
                        <a:pt x="1014301" y="550969"/>
                      </a:cubicBezTo>
                      <a:cubicBezTo>
                        <a:pt x="1014060" y="551291"/>
                        <a:pt x="1013819" y="551773"/>
                        <a:pt x="1013578" y="552094"/>
                      </a:cubicBezTo>
                      <a:cubicBezTo>
                        <a:pt x="1008116" y="532012"/>
                        <a:pt x="1033580" y="530486"/>
                        <a:pt x="1042095" y="518356"/>
                      </a:cubicBezTo>
                      <a:cubicBezTo>
                        <a:pt x="1049887" y="509520"/>
                        <a:pt x="1064667" y="508797"/>
                        <a:pt x="1068924" y="495784"/>
                      </a:cubicBezTo>
                      <a:moveTo>
                        <a:pt x="161138" y="229497"/>
                      </a:moveTo>
                      <a:cubicBezTo>
                        <a:pt x="161138" y="229497"/>
                        <a:pt x="161138" y="229417"/>
                        <a:pt x="161138" y="229417"/>
                      </a:cubicBezTo>
                      <a:cubicBezTo>
                        <a:pt x="161218" y="229417"/>
                        <a:pt x="161138" y="229497"/>
                        <a:pt x="161138" y="229497"/>
                      </a:cubicBezTo>
                      <a:cubicBezTo>
                        <a:pt x="160736" y="229899"/>
                        <a:pt x="160495" y="230300"/>
                        <a:pt x="160174" y="230782"/>
                      </a:cubicBezTo>
                      <a:cubicBezTo>
                        <a:pt x="160254" y="231023"/>
                        <a:pt x="160415" y="231345"/>
                        <a:pt x="161138" y="229497"/>
                      </a:cubicBezTo>
                      <a:moveTo>
                        <a:pt x="346615" y="191181"/>
                      </a:moveTo>
                      <a:cubicBezTo>
                        <a:pt x="346615" y="191181"/>
                        <a:pt x="346133" y="191261"/>
                        <a:pt x="345330" y="191181"/>
                      </a:cubicBezTo>
                      <a:cubicBezTo>
                        <a:pt x="344205" y="191020"/>
                        <a:pt x="343241" y="190699"/>
                        <a:pt x="342278" y="189895"/>
                      </a:cubicBezTo>
                      <a:cubicBezTo>
                        <a:pt x="343723" y="189172"/>
                        <a:pt x="345089" y="189413"/>
                        <a:pt x="347017" y="190699"/>
                      </a:cubicBezTo>
                      <a:cubicBezTo>
                        <a:pt x="346856" y="190779"/>
                        <a:pt x="346776" y="191020"/>
                        <a:pt x="346615" y="191181"/>
                      </a:cubicBezTo>
                      <a:moveTo>
                        <a:pt x="396901" y="195518"/>
                      </a:moveTo>
                      <a:cubicBezTo>
                        <a:pt x="400355" y="188851"/>
                        <a:pt x="387181" y="187004"/>
                        <a:pt x="378425" y="185799"/>
                      </a:cubicBezTo>
                      <a:cubicBezTo>
                        <a:pt x="380112" y="184915"/>
                        <a:pt x="382201" y="184513"/>
                        <a:pt x="385012" y="184353"/>
                      </a:cubicBezTo>
                      <a:cubicBezTo>
                        <a:pt x="358423" y="175115"/>
                        <a:pt x="348864" y="173107"/>
                        <a:pt x="338743" y="172464"/>
                      </a:cubicBezTo>
                      <a:cubicBezTo>
                        <a:pt x="329505" y="172705"/>
                        <a:pt x="326373" y="174713"/>
                        <a:pt x="325248" y="181059"/>
                      </a:cubicBezTo>
                      <a:cubicBezTo>
                        <a:pt x="318741" y="183871"/>
                        <a:pt x="307817" y="188530"/>
                        <a:pt x="316010" y="192305"/>
                      </a:cubicBezTo>
                      <a:cubicBezTo>
                        <a:pt x="326935" y="197446"/>
                        <a:pt x="369348" y="197848"/>
                        <a:pt x="394732" y="198089"/>
                      </a:cubicBezTo>
                      <a:cubicBezTo>
                        <a:pt x="395374" y="197286"/>
                        <a:pt x="396419" y="196402"/>
                        <a:pt x="396901" y="195518"/>
                      </a:cubicBezTo>
                      <a:moveTo>
                        <a:pt x="80" y="70126"/>
                      </a:moveTo>
                      <a:cubicBezTo>
                        <a:pt x="161" y="69403"/>
                        <a:pt x="80" y="68761"/>
                        <a:pt x="80" y="68359"/>
                      </a:cubicBezTo>
                      <a:cubicBezTo>
                        <a:pt x="80" y="68359"/>
                        <a:pt x="80" y="68439"/>
                        <a:pt x="80" y="68439"/>
                      </a:cubicBezTo>
                      <a:cubicBezTo>
                        <a:pt x="80" y="69323"/>
                        <a:pt x="0" y="70287"/>
                        <a:pt x="0" y="71170"/>
                      </a:cubicBezTo>
                      <a:cubicBezTo>
                        <a:pt x="80" y="70769"/>
                        <a:pt x="80" y="70448"/>
                        <a:pt x="80" y="70126"/>
                      </a:cubicBezTo>
                      <a:moveTo>
                        <a:pt x="299463" y="162905"/>
                      </a:moveTo>
                      <a:cubicBezTo>
                        <a:pt x="299543" y="162343"/>
                        <a:pt x="299623" y="161620"/>
                        <a:pt x="299623" y="161058"/>
                      </a:cubicBezTo>
                      <a:cubicBezTo>
                        <a:pt x="297856" y="159772"/>
                        <a:pt x="295286" y="158407"/>
                        <a:pt x="293277" y="157523"/>
                      </a:cubicBezTo>
                      <a:lnTo>
                        <a:pt x="260343" y="144590"/>
                      </a:lnTo>
                      <a:cubicBezTo>
                        <a:pt x="260504" y="144349"/>
                        <a:pt x="260745" y="144108"/>
                        <a:pt x="260905" y="143867"/>
                      </a:cubicBezTo>
                      <a:cubicBezTo>
                        <a:pt x="259379" y="142823"/>
                        <a:pt x="259299" y="142823"/>
                        <a:pt x="256809" y="140895"/>
                      </a:cubicBezTo>
                      <a:cubicBezTo>
                        <a:pt x="255684" y="141859"/>
                        <a:pt x="254720" y="142421"/>
                        <a:pt x="253033" y="140333"/>
                      </a:cubicBezTo>
                      <a:cubicBezTo>
                        <a:pt x="253836" y="140413"/>
                        <a:pt x="254640" y="140574"/>
                        <a:pt x="255523" y="140413"/>
                      </a:cubicBezTo>
                      <a:cubicBezTo>
                        <a:pt x="255282" y="139690"/>
                        <a:pt x="255282" y="139690"/>
                        <a:pt x="249418" y="135995"/>
                      </a:cubicBezTo>
                      <a:cubicBezTo>
                        <a:pt x="249820" y="136397"/>
                        <a:pt x="250382" y="137040"/>
                        <a:pt x="250784" y="137441"/>
                      </a:cubicBezTo>
                      <a:cubicBezTo>
                        <a:pt x="236727" y="131015"/>
                        <a:pt x="228131" y="126436"/>
                        <a:pt x="215440" y="118323"/>
                      </a:cubicBezTo>
                      <a:cubicBezTo>
                        <a:pt x="215600" y="118162"/>
                        <a:pt x="215761" y="117841"/>
                        <a:pt x="215841" y="117680"/>
                      </a:cubicBezTo>
                      <a:cubicBezTo>
                        <a:pt x="191582" y="109808"/>
                        <a:pt x="191582" y="109808"/>
                        <a:pt x="184835" y="109166"/>
                      </a:cubicBezTo>
                      <a:cubicBezTo>
                        <a:pt x="156479" y="107639"/>
                        <a:pt x="149812" y="111094"/>
                        <a:pt x="148205" y="117118"/>
                      </a:cubicBezTo>
                      <a:cubicBezTo>
                        <a:pt x="170135" y="112298"/>
                        <a:pt x="180256" y="115190"/>
                        <a:pt x="182585" y="117359"/>
                      </a:cubicBezTo>
                      <a:cubicBezTo>
                        <a:pt x="187486" y="121938"/>
                        <a:pt x="191823" y="123384"/>
                        <a:pt x="195518" y="121456"/>
                      </a:cubicBezTo>
                      <a:cubicBezTo>
                        <a:pt x="198490" y="126436"/>
                        <a:pt x="203230" y="125874"/>
                        <a:pt x="204595" y="125633"/>
                      </a:cubicBezTo>
                      <a:cubicBezTo>
                        <a:pt x="205077" y="125553"/>
                        <a:pt x="251587" y="137120"/>
                        <a:pt x="247250" y="160736"/>
                      </a:cubicBezTo>
                      <a:cubicBezTo>
                        <a:pt x="261709" y="162262"/>
                        <a:pt x="267733" y="162905"/>
                        <a:pt x="287494" y="164833"/>
                      </a:cubicBezTo>
                      <a:cubicBezTo>
                        <a:pt x="287655" y="165235"/>
                        <a:pt x="287815" y="165717"/>
                        <a:pt x="287895" y="166118"/>
                      </a:cubicBezTo>
                      <a:cubicBezTo>
                        <a:pt x="291350" y="165556"/>
                        <a:pt x="296169" y="164512"/>
                        <a:pt x="299463" y="162905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44" name="Group 743">
              <a:extLst>
                <a:ext uri="{FF2B5EF4-FFF2-40B4-BE49-F238E27FC236}">
                  <a16:creationId xmlns:a16="http://schemas.microsoft.com/office/drawing/2014/main" id="{087FE4F2-6126-1C4A-0304-A76468EC0B07}"/>
                </a:ext>
              </a:extLst>
            </p:cNvPr>
            <p:cNvGrpSpPr/>
            <p:nvPr/>
          </p:nvGrpSpPr>
          <p:grpSpPr>
            <a:xfrm>
              <a:off x="-5318871" y="3726311"/>
              <a:ext cx="324043" cy="731948"/>
              <a:chOff x="-5318871" y="3726311"/>
              <a:chExt cx="324043" cy="731948"/>
            </a:xfrm>
          </p:grpSpPr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F2CAE749-C476-89D3-EFF7-06081156B537}"/>
                  </a:ext>
                </a:extLst>
              </p:cNvPr>
              <p:cNvSpPr/>
              <p:nvPr/>
            </p:nvSpPr>
            <p:spPr>
              <a:xfrm>
                <a:off x="-5318871" y="4371666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22788043-91D0-6F00-51BF-7CE66820F7C6}"/>
                  </a:ext>
                </a:extLst>
              </p:cNvPr>
              <p:cNvSpPr/>
              <p:nvPr/>
            </p:nvSpPr>
            <p:spPr>
              <a:xfrm>
                <a:off x="-5318871" y="3768162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C36A0866-7E4E-F67A-A129-203468ED04D8}"/>
                  </a:ext>
                </a:extLst>
              </p:cNvPr>
              <p:cNvSpPr/>
              <p:nvPr/>
            </p:nvSpPr>
            <p:spPr>
              <a:xfrm>
                <a:off x="-5318871" y="3822142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834CFF19-F36D-7597-BB0C-72A3C5D0FBC4}"/>
                  </a:ext>
                </a:extLst>
              </p:cNvPr>
              <p:cNvSpPr/>
              <p:nvPr/>
            </p:nvSpPr>
            <p:spPr>
              <a:xfrm>
                <a:off x="-5318871" y="387612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5EBEED16-6AA1-6D93-E732-6C6E52E3AE10}"/>
                  </a:ext>
                </a:extLst>
              </p:cNvPr>
              <p:cNvSpPr/>
              <p:nvPr/>
            </p:nvSpPr>
            <p:spPr>
              <a:xfrm>
                <a:off x="-5318871" y="393018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EC727783-71DA-4397-9DB7-E90D33165BEA}"/>
                  </a:ext>
                </a:extLst>
              </p:cNvPr>
              <p:cNvSpPr/>
              <p:nvPr/>
            </p:nvSpPr>
            <p:spPr>
              <a:xfrm>
                <a:off x="-5318871" y="39841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FE57B001-55CE-8CDE-22BE-AD666C5D2A40}"/>
                  </a:ext>
                </a:extLst>
              </p:cNvPr>
              <p:cNvSpPr/>
              <p:nvPr/>
            </p:nvSpPr>
            <p:spPr>
              <a:xfrm>
                <a:off x="-5318871" y="403814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8" name="Freeform: Shape 437">
                <a:extLst>
                  <a:ext uri="{FF2B5EF4-FFF2-40B4-BE49-F238E27FC236}">
                    <a16:creationId xmlns:a16="http://schemas.microsoft.com/office/drawing/2014/main" id="{CEBD4778-B7AD-D1B2-8FCF-CD597FD34BD2}"/>
                  </a:ext>
                </a:extLst>
              </p:cNvPr>
              <p:cNvSpPr/>
              <p:nvPr/>
            </p:nvSpPr>
            <p:spPr>
              <a:xfrm>
                <a:off x="-5318871" y="409220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9" name="Freeform: Shape 438">
                <a:extLst>
                  <a:ext uri="{FF2B5EF4-FFF2-40B4-BE49-F238E27FC236}">
                    <a16:creationId xmlns:a16="http://schemas.microsoft.com/office/drawing/2014/main" id="{CE5AC18C-2040-BC1D-A8F7-E99CC24124EC}"/>
                  </a:ext>
                </a:extLst>
              </p:cNvPr>
              <p:cNvSpPr/>
              <p:nvPr/>
            </p:nvSpPr>
            <p:spPr>
              <a:xfrm>
                <a:off x="-5318871" y="414618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CBD517B4-4F0B-B45F-9009-9D356922A709}"/>
                  </a:ext>
                </a:extLst>
              </p:cNvPr>
              <p:cNvSpPr/>
              <p:nvPr/>
            </p:nvSpPr>
            <p:spPr>
              <a:xfrm>
                <a:off x="-5318871" y="420016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34A6878C-2FD4-B823-6675-A657040313C5}"/>
                  </a:ext>
                </a:extLst>
              </p:cNvPr>
              <p:cNvSpPr/>
              <p:nvPr/>
            </p:nvSpPr>
            <p:spPr>
              <a:xfrm>
                <a:off x="-5318871" y="425422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1E3296E6-C06C-C05F-B3B7-5F26E92BBF2E}"/>
                  </a:ext>
                </a:extLst>
              </p:cNvPr>
              <p:cNvSpPr/>
              <p:nvPr/>
            </p:nvSpPr>
            <p:spPr>
              <a:xfrm>
                <a:off x="-5318871" y="430820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0989E48C-96E0-6112-9B46-F74991F1DC13}"/>
                  </a:ext>
                </a:extLst>
              </p:cNvPr>
              <p:cNvSpPr/>
              <p:nvPr/>
            </p:nvSpPr>
            <p:spPr>
              <a:xfrm>
                <a:off x="-5318871" y="436218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45250CC5-4FE6-4412-FA56-72E6BA5A900F}"/>
                  </a:ext>
                </a:extLst>
              </p:cNvPr>
              <p:cNvSpPr/>
              <p:nvPr/>
            </p:nvSpPr>
            <p:spPr>
              <a:xfrm>
                <a:off x="-5073228" y="3768162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7 h 690097"/>
                  <a:gd name="connsiteX3" fmla="*/ 0 w 78400"/>
                  <a:gd name="connsiteY3" fmla="*/ 690097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7"/>
                    </a:lnTo>
                    <a:lnTo>
                      <a:pt x="0" y="690097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6" name="Freeform: Shape 445">
                <a:extLst>
                  <a:ext uri="{FF2B5EF4-FFF2-40B4-BE49-F238E27FC236}">
                    <a16:creationId xmlns:a16="http://schemas.microsoft.com/office/drawing/2014/main" id="{2D1C0CA0-F015-923D-8587-4E1A2CEEC256}"/>
                  </a:ext>
                </a:extLst>
              </p:cNvPr>
              <p:cNvSpPr/>
              <p:nvPr/>
            </p:nvSpPr>
            <p:spPr>
              <a:xfrm>
                <a:off x="-5318871" y="3726311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7" name="Freeform: Shape 446">
                <a:extLst>
                  <a:ext uri="{FF2B5EF4-FFF2-40B4-BE49-F238E27FC236}">
                    <a16:creationId xmlns:a16="http://schemas.microsoft.com/office/drawing/2014/main" id="{0DF625B7-D589-D784-93D7-49F443C1455A}"/>
                  </a:ext>
                </a:extLst>
              </p:cNvPr>
              <p:cNvSpPr/>
              <p:nvPr/>
            </p:nvSpPr>
            <p:spPr>
              <a:xfrm>
                <a:off x="-5318871" y="376816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3" name="Group 742">
              <a:extLst>
                <a:ext uri="{FF2B5EF4-FFF2-40B4-BE49-F238E27FC236}">
                  <a16:creationId xmlns:a16="http://schemas.microsoft.com/office/drawing/2014/main" id="{5980F889-F7C9-0638-8546-D160590A4B6F}"/>
                </a:ext>
              </a:extLst>
            </p:cNvPr>
            <p:cNvGrpSpPr/>
            <p:nvPr/>
          </p:nvGrpSpPr>
          <p:grpSpPr>
            <a:xfrm>
              <a:off x="-3309547" y="3726311"/>
              <a:ext cx="324043" cy="731948"/>
              <a:chOff x="-3309547" y="3726311"/>
              <a:chExt cx="324043" cy="731948"/>
            </a:xfrm>
          </p:grpSpPr>
          <p:sp>
            <p:nvSpPr>
              <p:cNvPr id="449" name="Freeform: Shape 448">
                <a:extLst>
                  <a:ext uri="{FF2B5EF4-FFF2-40B4-BE49-F238E27FC236}">
                    <a16:creationId xmlns:a16="http://schemas.microsoft.com/office/drawing/2014/main" id="{E2A4586F-3C32-549F-2FE3-2E07E1B21D7F}"/>
                  </a:ext>
                </a:extLst>
              </p:cNvPr>
              <p:cNvSpPr/>
              <p:nvPr/>
            </p:nvSpPr>
            <p:spPr>
              <a:xfrm>
                <a:off x="-3309547" y="4371666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1 w 324043"/>
                  <a:gd name="connsiteY1" fmla="*/ 83702 h 83701"/>
                  <a:gd name="connsiteX2" fmla="*/ 0 w 324043"/>
                  <a:gd name="connsiteY2" fmla="*/ 41851 h 83701"/>
                  <a:gd name="connsiteX3" fmla="*/ 162021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3" y="83702"/>
                      <a:pt x="162021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8"/>
                      <a:pt x="72539" y="0"/>
                      <a:pt x="162021" y="0"/>
                    </a:cubicBezTo>
                    <a:cubicBezTo>
                      <a:pt x="251503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0" name="Freeform: Shape 449">
                <a:extLst>
                  <a:ext uri="{FF2B5EF4-FFF2-40B4-BE49-F238E27FC236}">
                    <a16:creationId xmlns:a16="http://schemas.microsoft.com/office/drawing/2014/main" id="{E0C5DB8B-EFA1-4D58-5155-7946CB8C0411}"/>
                  </a:ext>
                </a:extLst>
              </p:cNvPr>
              <p:cNvSpPr/>
              <p:nvPr/>
            </p:nvSpPr>
            <p:spPr>
              <a:xfrm>
                <a:off x="-3309547" y="3768162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7906C4A0-1F27-F343-A4B2-1107E57BE282}"/>
                  </a:ext>
                </a:extLst>
              </p:cNvPr>
              <p:cNvSpPr/>
              <p:nvPr/>
            </p:nvSpPr>
            <p:spPr>
              <a:xfrm>
                <a:off x="-3309547" y="3822142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2" name="Freeform: Shape 451">
                <a:extLst>
                  <a:ext uri="{FF2B5EF4-FFF2-40B4-BE49-F238E27FC236}">
                    <a16:creationId xmlns:a16="http://schemas.microsoft.com/office/drawing/2014/main" id="{0C4C7B42-4E33-69E5-1E14-62591F68409C}"/>
                  </a:ext>
                </a:extLst>
              </p:cNvPr>
              <p:cNvSpPr/>
              <p:nvPr/>
            </p:nvSpPr>
            <p:spPr>
              <a:xfrm>
                <a:off x="-3309547" y="387612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3" name="Freeform: Shape 452">
                <a:extLst>
                  <a:ext uri="{FF2B5EF4-FFF2-40B4-BE49-F238E27FC236}">
                    <a16:creationId xmlns:a16="http://schemas.microsoft.com/office/drawing/2014/main" id="{E21F76A7-CB18-DCA3-2B99-4D1E29935CF1}"/>
                  </a:ext>
                </a:extLst>
              </p:cNvPr>
              <p:cNvSpPr/>
              <p:nvPr/>
            </p:nvSpPr>
            <p:spPr>
              <a:xfrm>
                <a:off x="-3309547" y="393018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1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4" name="Freeform: Shape 453">
                <a:extLst>
                  <a:ext uri="{FF2B5EF4-FFF2-40B4-BE49-F238E27FC236}">
                    <a16:creationId xmlns:a16="http://schemas.microsoft.com/office/drawing/2014/main" id="{449A8A2C-779B-5357-BB42-9A98406DE6AA}"/>
                  </a:ext>
                </a:extLst>
              </p:cNvPr>
              <p:cNvSpPr/>
              <p:nvPr/>
            </p:nvSpPr>
            <p:spPr>
              <a:xfrm>
                <a:off x="-3309547" y="39841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5" name="Freeform: Shape 454">
                <a:extLst>
                  <a:ext uri="{FF2B5EF4-FFF2-40B4-BE49-F238E27FC236}">
                    <a16:creationId xmlns:a16="http://schemas.microsoft.com/office/drawing/2014/main" id="{76F825ED-25C2-4DCB-2B0A-FD7150974020}"/>
                  </a:ext>
                </a:extLst>
              </p:cNvPr>
              <p:cNvSpPr/>
              <p:nvPr/>
            </p:nvSpPr>
            <p:spPr>
              <a:xfrm>
                <a:off x="-3309547" y="403814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6" name="Freeform: Shape 455">
                <a:extLst>
                  <a:ext uri="{FF2B5EF4-FFF2-40B4-BE49-F238E27FC236}">
                    <a16:creationId xmlns:a16="http://schemas.microsoft.com/office/drawing/2014/main" id="{BD1A546E-BF71-045B-1805-A95CC5C1EAC0}"/>
                  </a:ext>
                </a:extLst>
              </p:cNvPr>
              <p:cNvSpPr/>
              <p:nvPr/>
            </p:nvSpPr>
            <p:spPr>
              <a:xfrm>
                <a:off x="-3309547" y="409220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7" name="Freeform: Shape 456">
                <a:extLst>
                  <a:ext uri="{FF2B5EF4-FFF2-40B4-BE49-F238E27FC236}">
                    <a16:creationId xmlns:a16="http://schemas.microsoft.com/office/drawing/2014/main" id="{69010746-596A-AC78-54E2-4FBA9F26152E}"/>
                  </a:ext>
                </a:extLst>
              </p:cNvPr>
              <p:cNvSpPr/>
              <p:nvPr/>
            </p:nvSpPr>
            <p:spPr>
              <a:xfrm>
                <a:off x="-3309547" y="414618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8" name="Freeform: Shape 457">
                <a:extLst>
                  <a:ext uri="{FF2B5EF4-FFF2-40B4-BE49-F238E27FC236}">
                    <a16:creationId xmlns:a16="http://schemas.microsoft.com/office/drawing/2014/main" id="{B0A57962-478E-16E6-A016-6B57DA74621B}"/>
                  </a:ext>
                </a:extLst>
              </p:cNvPr>
              <p:cNvSpPr/>
              <p:nvPr/>
            </p:nvSpPr>
            <p:spPr>
              <a:xfrm>
                <a:off x="-3309547" y="420016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9" name="Freeform: Shape 458">
                <a:extLst>
                  <a:ext uri="{FF2B5EF4-FFF2-40B4-BE49-F238E27FC236}">
                    <a16:creationId xmlns:a16="http://schemas.microsoft.com/office/drawing/2014/main" id="{EBE46885-3606-5D27-AE14-6C34634BA28D}"/>
                  </a:ext>
                </a:extLst>
              </p:cNvPr>
              <p:cNvSpPr/>
              <p:nvPr/>
            </p:nvSpPr>
            <p:spPr>
              <a:xfrm>
                <a:off x="-3309547" y="425422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0" name="Freeform: Shape 459">
                <a:extLst>
                  <a:ext uri="{FF2B5EF4-FFF2-40B4-BE49-F238E27FC236}">
                    <a16:creationId xmlns:a16="http://schemas.microsoft.com/office/drawing/2014/main" id="{DA913A0A-04FA-94BD-4391-8BB6D67EA7D4}"/>
                  </a:ext>
                </a:extLst>
              </p:cNvPr>
              <p:cNvSpPr/>
              <p:nvPr/>
            </p:nvSpPr>
            <p:spPr>
              <a:xfrm>
                <a:off x="-3309547" y="430820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1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1" name="Freeform: Shape 460">
                <a:extLst>
                  <a:ext uri="{FF2B5EF4-FFF2-40B4-BE49-F238E27FC236}">
                    <a16:creationId xmlns:a16="http://schemas.microsoft.com/office/drawing/2014/main" id="{011EE033-34D7-F643-516C-4264827C1774}"/>
                  </a:ext>
                </a:extLst>
              </p:cNvPr>
              <p:cNvSpPr/>
              <p:nvPr/>
            </p:nvSpPr>
            <p:spPr>
              <a:xfrm>
                <a:off x="-3309547" y="436218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2" name="Freeform: Shape 461">
                <a:extLst>
                  <a:ext uri="{FF2B5EF4-FFF2-40B4-BE49-F238E27FC236}">
                    <a16:creationId xmlns:a16="http://schemas.microsoft.com/office/drawing/2014/main" id="{B3A0531C-8021-F079-08EE-296137E0D7FC}"/>
                  </a:ext>
                </a:extLst>
              </p:cNvPr>
              <p:cNvSpPr/>
              <p:nvPr/>
            </p:nvSpPr>
            <p:spPr>
              <a:xfrm>
                <a:off x="-3063904" y="3768162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7 h 690097"/>
                  <a:gd name="connsiteX3" fmla="*/ 0 w 78400"/>
                  <a:gd name="connsiteY3" fmla="*/ 690097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7"/>
                    </a:lnTo>
                    <a:lnTo>
                      <a:pt x="0" y="690097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4" name="Freeform: Shape 463">
                <a:extLst>
                  <a:ext uri="{FF2B5EF4-FFF2-40B4-BE49-F238E27FC236}">
                    <a16:creationId xmlns:a16="http://schemas.microsoft.com/office/drawing/2014/main" id="{CE6384A4-73E3-4553-B78D-CB743B1106EA}"/>
                  </a:ext>
                </a:extLst>
              </p:cNvPr>
              <p:cNvSpPr/>
              <p:nvPr/>
            </p:nvSpPr>
            <p:spPr>
              <a:xfrm>
                <a:off x="-3309547" y="3726311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1 w 324043"/>
                  <a:gd name="connsiteY1" fmla="*/ 83702 h 83701"/>
                  <a:gd name="connsiteX2" fmla="*/ 0 w 324043"/>
                  <a:gd name="connsiteY2" fmla="*/ 41851 h 83701"/>
                  <a:gd name="connsiteX3" fmla="*/ 162021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3" y="83702"/>
                      <a:pt x="162021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1" y="0"/>
                    </a:cubicBezTo>
                    <a:cubicBezTo>
                      <a:pt x="251503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5" name="Freeform: Shape 464">
                <a:extLst>
                  <a:ext uri="{FF2B5EF4-FFF2-40B4-BE49-F238E27FC236}">
                    <a16:creationId xmlns:a16="http://schemas.microsoft.com/office/drawing/2014/main" id="{AE65E79F-28DF-CAAF-D988-064DCB59ED59}"/>
                  </a:ext>
                </a:extLst>
              </p:cNvPr>
              <p:cNvSpPr/>
              <p:nvPr/>
            </p:nvSpPr>
            <p:spPr>
              <a:xfrm>
                <a:off x="-3309547" y="376816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2" name="Group 741">
              <a:extLst>
                <a:ext uri="{FF2B5EF4-FFF2-40B4-BE49-F238E27FC236}">
                  <a16:creationId xmlns:a16="http://schemas.microsoft.com/office/drawing/2014/main" id="{F7861E19-07BB-3F06-F50E-2F2F702CB68F}"/>
                </a:ext>
              </a:extLst>
            </p:cNvPr>
            <p:cNvGrpSpPr/>
            <p:nvPr/>
          </p:nvGrpSpPr>
          <p:grpSpPr>
            <a:xfrm>
              <a:off x="-3431404" y="4198800"/>
              <a:ext cx="324043" cy="731948"/>
              <a:chOff x="-3431404" y="4198800"/>
              <a:chExt cx="324043" cy="731948"/>
            </a:xfrm>
          </p:grpSpPr>
          <p:sp>
            <p:nvSpPr>
              <p:cNvPr id="504" name="Freeform: Shape 503">
                <a:extLst>
                  <a:ext uri="{FF2B5EF4-FFF2-40B4-BE49-F238E27FC236}">
                    <a16:creationId xmlns:a16="http://schemas.microsoft.com/office/drawing/2014/main" id="{3BFBCEED-68F0-DBC6-3F8A-E0AC5C0C31D9}"/>
                  </a:ext>
                </a:extLst>
              </p:cNvPr>
              <p:cNvSpPr/>
              <p:nvPr/>
            </p:nvSpPr>
            <p:spPr>
              <a:xfrm>
                <a:off x="-3431404" y="4844155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1 w 324043"/>
                  <a:gd name="connsiteY1" fmla="*/ 83702 h 83701"/>
                  <a:gd name="connsiteX2" fmla="*/ 0 w 324043"/>
                  <a:gd name="connsiteY2" fmla="*/ 41851 h 83701"/>
                  <a:gd name="connsiteX3" fmla="*/ 162021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3" y="83702"/>
                      <a:pt x="162021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8"/>
                      <a:pt x="72539" y="0"/>
                      <a:pt x="162021" y="0"/>
                    </a:cubicBezTo>
                    <a:cubicBezTo>
                      <a:pt x="251503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5" name="Freeform: Shape 504">
                <a:extLst>
                  <a:ext uri="{FF2B5EF4-FFF2-40B4-BE49-F238E27FC236}">
                    <a16:creationId xmlns:a16="http://schemas.microsoft.com/office/drawing/2014/main" id="{8515B65A-AC5A-7489-FB34-06158276B877}"/>
                  </a:ext>
                </a:extLst>
              </p:cNvPr>
              <p:cNvSpPr/>
              <p:nvPr/>
            </p:nvSpPr>
            <p:spPr>
              <a:xfrm>
                <a:off x="-3431404" y="4240651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93F3D13B-BF91-6C74-8FC8-609D84C4D2B8}"/>
                  </a:ext>
                </a:extLst>
              </p:cNvPr>
              <p:cNvSpPr/>
              <p:nvPr/>
            </p:nvSpPr>
            <p:spPr>
              <a:xfrm>
                <a:off x="-3431404" y="4294711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7" name="Freeform: Shape 506">
                <a:extLst>
                  <a:ext uri="{FF2B5EF4-FFF2-40B4-BE49-F238E27FC236}">
                    <a16:creationId xmlns:a16="http://schemas.microsoft.com/office/drawing/2014/main" id="{2CDCDEAC-17F3-5770-650A-E6F7E25A651C}"/>
                  </a:ext>
                </a:extLst>
              </p:cNvPr>
              <p:cNvSpPr/>
              <p:nvPr/>
            </p:nvSpPr>
            <p:spPr>
              <a:xfrm>
                <a:off x="-3431404" y="434869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B329FFD6-0953-660E-EF45-F6D2231868EA}"/>
                  </a:ext>
                </a:extLst>
              </p:cNvPr>
              <p:cNvSpPr/>
              <p:nvPr/>
            </p:nvSpPr>
            <p:spPr>
              <a:xfrm>
                <a:off x="-3431404" y="440267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E74C6F95-D746-3EA3-2673-08DB839C6257}"/>
                  </a:ext>
                </a:extLst>
              </p:cNvPr>
              <p:cNvSpPr/>
              <p:nvPr/>
            </p:nvSpPr>
            <p:spPr>
              <a:xfrm>
                <a:off x="-3431404" y="445673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0" name="Freeform: Shape 509">
                <a:extLst>
                  <a:ext uri="{FF2B5EF4-FFF2-40B4-BE49-F238E27FC236}">
                    <a16:creationId xmlns:a16="http://schemas.microsoft.com/office/drawing/2014/main" id="{748D3094-7A9B-DD72-0703-789B92CC59A4}"/>
                  </a:ext>
                </a:extLst>
              </p:cNvPr>
              <p:cNvSpPr/>
              <p:nvPr/>
            </p:nvSpPr>
            <p:spPr>
              <a:xfrm>
                <a:off x="-3431404" y="451071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1" name="Freeform: Shape 510">
                <a:extLst>
                  <a:ext uri="{FF2B5EF4-FFF2-40B4-BE49-F238E27FC236}">
                    <a16:creationId xmlns:a16="http://schemas.microsoft.com/office/drawing/2014/main" id="{15BF1392-F48E-8AD7-A57E-27345D351CA3}"/>
                  </a:ext>
                </a:extLst>
              </p:cNvPr>
              <p:cNvSpPr/>
              <p:nvPr/>
            </p:nvSpPr>
            <p:spPr>
              <a:xfrm>
                <a:off x="-3431404" y="456469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2" name="Freeform: Shape 511">
                <a:extLst>
                  <a:ext uri="{FF2B5EF4-FFF2-40B4-BE49-F238E27FC236}">
                    <a16:creationId xmlns:a16="http://schemas.microsoft.com/office/drawing/2014/main" id="{26C9CD84-562E-47D7-7C2B-27507FEBB1A0}"/>
                  </a:ext>
                </a:extLst>
              </p:cNvPr>
              <p:cNvSpPr/>
              <p:nvPr/>
            </p:nvSpPr>
            <p:spPr>
              <a:xfrm>
                <a:off x="-3431404" y="461875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3" name="Freeform: Shape 512">
                <a:extLst>
                  <a:ext uri="{FF2B5EF4-FFF2-40B4-BE49-F238E27FC236}">
                    <a16:creationId xmlns:a16="http://schemas.microsoft.com/office/drawing/2014/main" id="{CF5031AF-C5AF-33C7-877F-8575A0F308C7}"/>
                  </a:ext>
                </a:extLst>
              </p:cNvPr>
              <p:cNvSpPr/>
              <p:nvPr/>
            </p:nvSpPr>
            <p:spPr>
              <a:xfrm>
                <a:off x="-3431404" y="467273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4" name="Freeform: Shape 513">
                <a:extLst>
                  <a:ext uri="{FF2B5EF4-FFF2-40B4-BE49-F238E27FC236}">
                    <a16:creationId xmlns:a16="http://schemas.microsoft.com/office/drawing/2014/main" id="{6D66062E-8374-7236-6DAE-5ED5C1CBABDB}"/>
                  </a:ext>
                </a:extLst>
              </p:cNvPr>
              <p:cNvSpPr/>
              <p:nvPr/>
            </p:nvSpPr>
            <p:spPr>
              <a:xfrm>
                <a:off x="-3431404" y="472671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5" name="Freeform: Shape 514">
                <a:extLst>
                  <a:ext uri="{FF2B5EF4-FFF2-40B4-BE49-F238E27FC236}">
                    <a16:creationId xmlns:a16="http://schemas.microsoft.com/office/drawing/2014/main" id="{8359C042-49A5-7560-6975-F6477709C8E6}"/>
                  </a:ext>
                </a:extLst>
              </p:cNvPr>
              <p:cNvSpPr/>
              <p:nvPr/>
            </p:nvSpPr>
            <p:spPr>
              <a:xfrm>
                <a:off x="-3431404" y="478069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6" name="Freeform: Shape 515">
                <a:extLst>
                  <a:ext uri="{FF2B5EF4-FFF2-40B4-BE49-F238E27FC236}">
                    <a16:creationId xmlns:a16="http://schemas.microsoft.com/office/drawing/2014/main" id="{DFB50D02-4A91-8B9F-2F15-C0DE9E736FEC}"/>
                  </a:ext>
                </a:extLst>
              </p:cNvPr>
              <p:cNvSpPr/>
              <p:nvPr/>
            </p:nvSpPr>
            <p:spPr>
              <a:xfrm>
                <a:off x="-3431404" y="483475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7" name="Freeform: Shape 516">
                <a:extLst>
                  <a:ext uri="{FF2B5EF4-FFF2-40B4-BE49-F238E27FC236}">
                    <a16:creationId xmlns:a16="http://schemas.microsoft.com/office/drawing/2014/main" id="{F3194448-7C15-B5FF-D19C-EFF758E637E5}"/>
                  </a:ext>
                </a:extLst>
              </p:cNvPr>
              <p:cNvSpPr/>
              <p:nvPr/>
            </p:nvSpPr>
            <p:spPr>
              <a:xfrm>
                <a:off x="-3185761" y="4240651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9" name="Freeform: Shape 518">
                <a:extLst>
                  <a:ext uri="{FF2B5EF4-FFF2-40B4-BE49-F238E27FC236}">
                    <a16:creationId xmlns:a16="http://schemas.microsoft.com/office/drawing/2014/main" id="{B2473126-A7B9-2F12-DD44-AB3C87DB514D}"/>
                  </a:ext>
                </a:extLst>
              </p:cNvPr>
              <p:cNvSpPr/>
              <p:nvPr/>
            </p:nvSpPr>
            <p:spPr>
              <a:xfrm>
                <a:off x="-3431404" y="4198800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1 w 324043"/>
                  <a:gd name="connsiteY1" fmla="*/ 83702 h 83701"/>
                  <a:gd name="connsiteX2" fmla="*/ 0 w 324043"/>
                  <a:gd name="connsiteY2" fmla="*/ 41851 h 83701"/>
                  <a:gd name="connsiteX3" fmla="*/ 162021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3" y="83702"/>
                      <a:pt x="162021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1" y="0"/>
                    </a:cubicBezTo>
                    <a:cubicBezTo>
                      <a:pt x="251503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0" name="Freeform: Shape 519">
                <a:extLst>
                  <a:ext uri="{FF2B5EF4-FFF2-40B4-BE49-F238E27FC236}">
                    <a16:creationId xmlns:a16="http://schemas.microsoft.com/office/drawing/2014/main" id="{9B5F25DA-F11A-0226-96F3-FCB2EB88C6DE}"/>
                  </a:ext>
                </a:extLst>
              </p:cNvPr>
              <p:cNvSpPr/>
              <p:nvPr/>
            </p:nvSpPr>
            <p:spPr>
              <a:xfrm>
                <a:off x="-3431404" y="4240651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1" name="Group 740">
              <a:extLst>
                <a:ext uri="{FF2B5EF4-FFF2-40B4-BE49-F238E27FC236}">
                  <a16:creationId xmlns:a16="http://schemas.microsoft.com/office/drawing/2014/main" id="{830C6571-1414-89E5-BF4F-055E506EF940}"/>
                </a:ext>
              </a:extLst>
            </p:cNvPr>
            <p:cNvGrpSpPr/>
            <p:nvPr/>
          </p:nvGrpSpPr>
          <p:grpSpPr>
            <a:xfrm>
              <a:off x="-3631903" y="3998783"/>
              <a:ext cx="324043" cy="731948"/>
              <a:chOff x="-3631903" y="3998783"/>
              <a:chExt cx="324043" cy="731948"/>
            </a:xfrm>
          </p:grpSpPr>
          <p:sp>
            <p:nvSpPr>
              <p:cNvPr id="522" name="Freeform: Shape 521">
                <a:extLst>
                  <a:ext uri="{FF2B5EF4-FFF2-40B4-BE49-F238E27FC236}">
                    <a16:creationId xmlns:a16="http://schemas.microsoft.com/office/drawing/2014/main" id="{645FA1D1-6E3C-1900-8CE7-D6983334D136}"/>
                  </a:ext>
                </a:extLst>
              </p:cNvPr>
              <p:cNvSpPr/>
              <p:nvPr/>
            </p:nvSpPr>
            <p:spPr>
              <a:xfrm>
                <a:off x="-3631903" y="4644138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3" name="Freeform: Shape 522">
                <a:extLst>
                  <a:ext uri="{FF2B5EF4-FFF2-40B4-BE49-F238E27FC236}">
                    <a16:creationId xmlns:a16="http://schemas.microsoft.com/office/drawing/2014/main" id="{64784D95-6F55-FB4F-51A9-584857F61D5F}"/>
                  </a:ext>
                </a:extLst>
              </p:cNvPr>
              <p:cNvSpPr/>
              <p:nvPr/>
            </p:nvSpPr>
            <p:spPr>
              <a:xfrm>
                <a:off x="-3631903" y="4040634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6 h 645355"/>
                  <a:gd name="connsiteX3" fmla="*/ 0 w 324043"/>
                  <a:gd name="connsiteY3" fmla="*/ 645356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6"/>
                    </a:lnTo>
                    <a:lnTo>
                      <a:pt x="0" y="645356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4" name="Freeform: Shape 523">
                <a:extLst>
                  <a:ext uri="{FF2B5EF4-FFF2-40B4-BE49-F238E27FC236}">
                    <a16:creationId xmlns:a16="http://schemas.microsoft.com/office/drawing/2014/main" id="{74EB19A9-A347-6281-72FA-56413C644346}"/>
                  </a:ext>
                </a:extLst>
              </p:cNvPr>
              <p:cNvSpPr/>
              <p:nvPr/>
            </p:nvSpPr>
            <p:spPr>
              <a:xfrm>
                <a:off x="-3631903" y="409461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5" name="Freeform: Shape 524">
                <a:extLst>
                  <a:ext uri="{FF2B5EF4-FFF2-40B4-BE49-F238E27FC236}">
                    <a16:creationId xmlns:a16="http://schemas.microsoft.com/office/drawing/2014/main" id="{8C98751B-1433-B348-B10E-4E5E8B203632}"/>
                  </a:ext>
                </a:extLst>
              </p:cNvPr>
              <p:cNvSpPr/>
              <p:nvPr/>
            </p:nvSpPr>
            <p:spPr>
              <a:xfrm>
                <a:off x="-3631903" y="414859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2B140C5B-0D63-2B14-F33A-5C98752049B3}"/>
                  </a:ext>
                </a:extLst>
              </p:cNvPr>
              <p:cNvSpPr/>
              <p:nvPr/>
            </p:nvSpPr>
            <p:spPr>
              <a:xfrm>
                <a:off x="-3631903" y="420265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8E75CBDB-1F70-47E1-7027-1E1433F3E05C}"/>
                  </a:ext>
                </a:extLst>
              </p:cNvPr>
              <p:cNvSpPr/>
              <p:nvPr/>
            </p:nvSpPr>
            <p:spPr>
              <a:xfrm>
                <a:off x="-3631903" y="425663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19AB6109-3EB5-CD05-CF04-5E0DDB9BFC52}"/>
                  </a:ext>
                </a:extLst>
              </p:cNvPr>
              <p:cNvSpPr/>
              <p:nvPr/>
            </p:nvSpPr>
            <p:spPr>
              <a:xfrm>
                <a:off x="-3631903" y="431061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74CEA593-ECCC-8326-D657-CAA05153ED68}"/>
                  </a:ext>
                </a:extLst>
              </p:cNvPr>
              <p:cNvSpPr/>
              <p:nvPr/>
            </p:nvSpPr>
            <p:spPr>
              <a:xfrm>
                <a:off x="-3631903" y="436459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DEBD8B0A-27E6-663C-BAE2-CAB5AE7BC23D}"/>
                  </a:ext>
                </a:extLst>
              </p:cNvPr>
              <p:cNvSpPr/>
              <p:nvPr/>
            </p:nvSpPr>
            <p:spPr>
              <a:xfrm>
                <a:off x="-3631903" y="441865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1" name="Freeform: Shape 530">
                <a:extLst>
                  <a:ext uri="{FF2B5EF4-FFF2-40B4-BE49-F238E27FC236}">
                    <a16:creationId xmlns:a16="http://schemas.microsoft.com/office/drawing/2014/main" id="{27683501-F92C-D300-3967-A89DB807C6AB}"/>
                  </a:ext>
                </a:extLst>
              </p:cNvPr>
              <p:cNvSpPr/>
              <p:nvPr/>
            </p:nvSpPr>
            <p:spPr>
              <a:xfrm>
                <a:off x="-3631903" y="447263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2" name="Freeform: Shape 531">
                <a:extLst>
                  <a:ext uri="{FF2B5EF4-FFF2-40B4-BE49-F238E27FC236}">
                    <a16:creationId xmlns:a16="http://schemas.microsoft.com/office/drawing/2014/main" id="{30FD322D-61A7-90D0-800A-A80828AD579A}"/>
                  </a:ext>
                </a:extLst>
              </p:cNvPr>
              <p:cNvSpPr/>
              <p:nvPr/>
            </p:nvSpPr>
            <p:spPr>
              <a:xfrm>
                <a:off x="-3631903" y="452661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3" name="Freeform: Shape 532">
                <a:extLst>
                  <a:ext uri="{FF2B5EF4-FFF2-40B4-BE49-F238E27FC236}">
                    <a16:creationId xmlns:a16="http://schemas.microsoft.com/office/drawing/2014/main" id="{11CBF617-58B1-15D8-C116-DBA0998240E6}"/>
                  </a:ext>
                </a:extLst>
              </p:cNvPr>
              <p:cNvSpPr/>
              <p:nvPr/>
            </p:nvSpPr>
            <p:spPr>
              <a:xfrm>
                <a:off x="-3631903" y="458067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4" name="Freeform: Shape 533">
                <a:extLst>
                  <a:ext uri="{FF2B5EF4-FFF2-40B4-BE49-F238E27FC236}">
                    <a16:creationId xmlns:a16="http://schemas.microsoft.com/office/drawing/2014/main" id="{719FAA10-0ABF-C9F1-D355-5BD9E157A295}"/>
                  </a:ext>
                </a:extLst>
              </p:cNvPr>
              <p:cNvSpPr/>
              <p:nvPr/>
            </p:nvSpPr>
            <p:spPr>
              <a:xfrm>
                <a:off x="-3631903" y="4634660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5" name="Freeform: Shape 534">
                <a:extLst>
                  <a:ext uri="{FF2B5EF4-FFF2-40B4-BE49-F238E27FC236}">
                    <a16:creationId xmlns:a16="http://schemas.microsoft.com/office/drawing/2014/main" id="{56511B7B-C6EB-68CE-36B3-736591A27784}"/>
                  </a:ext>
                </a:extLst>
              </p:cNvPr>
              <p:cNvSpPr/>
              <p:nvPr/>
            </p:nvSpPr>
            <p:spPr>
              <a:xfrm>
                <a:off x="-3386260" y="4040634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id="{A415444B-71BC-5353-8E11-9393B51AC926}"/>
                  </a:ext>
                </a:extLst>
              </p:cNvPr>
              <p:cNvSpPr/>
              <p:nvPr/>
            </p:nvSpPr>
            <p:spPr>
              <a:xfrm>
                <a:off x="-3631903" y="3998783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5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8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8" name="Freeform: Shape 537">
                <a:extLst>
                  <a:ext uri="{FF2B5EF4-FFF2-40B4-BE49-F238E27FC236}">
                    <a16:creationId xmlns:a16="http://schemas.microsoft.com/office/drawing/2014/main" id="{8DBEBFE6-2673-8B0D-D934-579071AAAF82}"/>
                  </a:ext>
                </a:extLst>
              </p:cNvPr>
              <p:cNvSpPr/>
              <p:nvPr/>
            </p:nvSpPr>
            <p:spPr>
              <a:xfrm>
                <a:off x="-3631903" y="404063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540" name="Graphic 9">
              <a:extLst>
                <a:ext uri="{FF2B5EF4-FFF2-40B4-BE49-F238E27FC236}">
                  <a16:creationId xmlns:a16="http://schemas.microsoft.com/office/drawing/2014/main" id="{1EB10BD0-43B2-F045-4A24-78E8596AA0CF}"/>
                </a:ext>
              </a:extLst>
            </p:cNvPr>
            <p:cNvGrpSpPr/>
            <p:nvPr/>
          </p:nvGrpSpPr>
          <p:grpSpPr>
            <a:xfrm>
              <a:off x="-4149617" y="3558184"/>
              <a:ext cx="324043" cy="731948"/>
              <a:chOff x="-4149617" y="3558184"/>
              <a:chExt cx="324043" cy="731948"/>
            </a:xfrm>
          </p:grpSpPr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id="{9A88CD43-A1DA-5E76-A12B-E0241769BF23}"/>
                  </a:ext>
                </a:extLst>
              </p:cNvPr>
              <p:cNvSpPr/>
              <p:nvPr/>
            </p:nvSpPr>
            <p:spPr>
              <a:xfrm>
                <a:off x="-4149617" y="4203539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8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2" name="Freeform: Shape 541">
                <a:extLst>
                  <a:ext uri="{FF2B5EF4-FFF2-40B4-BE49-F238E27FC236}">
                    <a16:creationId xmlns:a16="http://schemas.microsoft.com/office/drawing/2014/main" id="{57097A9E-8ED1-5A0E-3358-03D0538C17DB}"/>
                  </a:ext>
                </a:extLst>
              </p:cNvPr>
              <p:cNvSpPr/>
              <p:nvPr/>
            </p:nvSpPr>
            <p:spPr>
              <a:xfrm>
                <a:off x="-4149617" y="3600035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3" name="Freeform: Shape 542">
                <a:extLst>
                  <a:ext uri="{FF2B5EF4-FFF2-40B4-BE49-F238E27FC236}">
                    <a16:creationId xmlns:a16="http://schemas.microsoft.com/office/drawing/2014/main" id="{9DDC3317-DE6E-AF7E-FA91-6B813DD3BEA5}"/>
                  </a:ext>
                </a:extLst>
              </p:cNvPr>
              <p:cNvSpPr/>
              <p:nvPr/>
            </p:nvSpPr>
            <p:spPr>
              <a:xfrm>
                <a:off x="-4149617" y="365409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4" name="Freeform: Shape 543">
                <a:extLst>
                  <a:ext uri="{FF2B5EF4-FFF2-40B4-BE49-F238E27FC236}">
                    <a16:creationId xmlns:a16="http://schemas.microsoft.com/office/drawing/2014/main" id="{4FC39DF2-3CE3-DD08-42A9-38F94FC62D18}"/>
                  </a:ext>
                </a:extLst>
              </p:cNvPr>
              <p:cNvSpPr/>
              <p:nvPr/>
            </p:nvSpPr>
            <p:spPr>
              <a:xfrm>
                <a:off x="-4149617" y="370807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5" name="Freeform: Shape 544">
                <a:extLst>
                  <a:ext uri="{FF2B5EF4-FFF2-40B4-BE49-F238E27FC236}">
                    <a16:creationId xmlns:a16="http://schemas.microsoft.com/office/drawing/2014/main" id="{4AE35232-D2A7-90B1-3C82-67AE425805A2}"/>
                  </a:ext>
                </a:extLst>
              </p:cNvPr>
              <p:cNvSpPr/>
              <p:nvPr/>
            </p:nvSpPr>
            <p:spPr>
              <a:xfrm>
                <a:off x="-4149617" y="376205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6" name="Freeform: Shape 545">
                <a:extLst>
                  <a:ext uri="{FF2B5EF4-FFF2-40B4-BE49-F238E27FC236}">
                    <a16:creationId xmlns:a16="http://schemas.microsoft.com/office/drawing/2014/main" id="{6D0AE81A-9122-66DE-8C1F-85AD9437A069}"/>
                  </a:ext>
                </a:extLst>
              </p:cNvPr>
              <p:cNvSpPr/>
              <p:nvPr/>
            </p:nvSpPr>
            <p:spPr>
              <a:xfrm>
                <a:off x="-4149617" y="381611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7" name="Freeform: Shape 546">
                <a:extLst>
                  <a:ext uri="{FF2B5EF4-FFF2-40B4-BE49-F238E27FC236}">
                    <a16:creationId xmlns:a16="http://schemas.microsoft.com/office/drawing/2014/main" id="{7B423D73-7B7B-6453-82F9-84E4833D8BCB}"/>
                  </a:ext>
                </a:extLst>
              </p:cNvPr>
              <p:cNvSpPr/>
              <p:nvPr/>
            </p:nvSpPr>
            <p:spPr>
              <a:xfrm>
                <a:off x="-4149617" y="387009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8" name="Freeform: Shape 547">
                <a:extLst>
                  <a:ext uri="{FF2B5EF4-FFF2-40B4-BE49-F238E27FC236}">
                    <a16:creationId xmlns:a16="http://schemas.microsoft.com/office/drawing/2014/main" id="{B094C633-BEF8-E1CA-B264-F9C95258ABAF}"/>
                  </a:ext>
                </a:extLst>
              </p:cNvPr>
              <p:cNvSpPr/>
              <p:nvPr/>
            </p:nvSpPr>
            <p:spPr>
              <a:xfrm>
                <a:off x="-4149617" y="392407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9" name="Freeform: Shape 548">
                <a:extLst>
                  <a:ext uri="{FF2B5EF4-FFF2-40B4-BE49-F238E27FC236}">
                    <a16:creationId xmlns:a16="http://schemas.microsoft.com/office/drawing/2014/main" id="{E357F0B1-F104-8086-2651-82906195DAD5}"/>
                  </a:ext>
                </a:extLst>
              </p:cNvPr>
              <p:cNvSpPr/>
              <p:nvPr/>
            </p:nvSpPr>
            <p:spPr>
              <a:xfrm>
                <a:off x="-4149617" y="397805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0" name="Freeform: Shape 549">
                <a:extLst>
                  <a:ext uri="{FF2B5EF4-FFF2-40B4-BE49-F238E27FC236}">
                    <a16:creationId xmlns:a16="http://schemas.microsoft.com/office/drawing/2014/main" id="{BD98D537-0C2F-73F0-7DFD-B633ACDFE54E}"/>
                  </a:ext>
                </a:extLst>
              </p:cNvPr>
              <p:cNvSpPr/>
              <p:nvPr/>
            </p:nvSpPr>
            <p:spPr>
              <a:xfrm>
                <a:off x="-4149617" y="403211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1" name="Freeform: Shape 550">
                <a:extLst>
                  <a:ext uri="{FF2B5EF4-FFF2-40B4-BE49-F238E27FC236}">
                    <a16:creationId xmlns:a16="http://schemas.microsoft.com/office/drawing/2014/main" id="{3B4A0BE8-5F3E-F8DA-05FE-81EA3FF6C791}"/>
                  </a:ext>
                </a:extLst>
              </p:cNvPr>
              <p:cNvSpPr/>
              <p:nvPr/>
            </p:nvSpPr>
            <p:spPr>
              <a:xfrm>
                <a:off x="-4149617" y="4086100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2" name="Freeform: Shape 551">
                <a:extLst>
                  <a:ext uri="{FF2B5EF4-FFF2-40B4-BE49-F238E27FC236}">
                    <a16:creationId xmlns:a16="http://schemas.microsoft.com/office/drawing/2014/main" id="{7F6D4D4D-70DA-6DE3-570F-D1EAFFFE77EF}"/>
                  </a:ext>
                </a:extLst>
              </p:cNvPr>
              <p:cNvSpPr/>
              <p:nvPr/>
            </p:nvSpPr>
            <p:spPr>
              <a:xfrm>
                <a:off x="-4149617" y="4140080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3" name="Freeform: Shape 552">
                <a:extLst>
                  <a:ext uri="{FF2B5EF4-FFF2-40B4-BE49-F238E27FC236}">
                    <a16:creationId xmlns:a16="http://schemas.microsoft.com/office/drawing/2014/main" id="{FBF6F4E1-3914-8F55-CD33-87DD991B0868}"/>
                  </a:ext>
                </a:extLst>
              </p:cNvPr>
              <p:cNvSpPr/>
              <p:nvPr/>
            </p:nvSpPr>
            <p:spPr>
              <a:xfrm>
                <a:off x="-4149617" y="4194141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4" name="Freeform: Shape 553">
                <a:extLst>
                  <a:ext uri="{FF2B5EF4-FFF2-40B4-BE49-F238E27FC236}">
                    <a16:creationId xmlns:a16="http://schemas.microsoft.com/office/drawing/2014/main" id="{E0102AB6-BB57-2542-AA4D-E10B517EFEBB}"/>
                  </a:ext>
                </a:extLst>
              </p:cNvPr>
              <p:cNvSpPr/>
              <p:nvPr/>
            </p:nvSpPr>
            <p:spPr>
              <a:xfrm>
                <a:off x="-3903974" y="3600035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5" name="Freeform: Shape 554">
                <a:extLst>
                  <a:ext uri="{FF2B5EF4-FFF2-40B4-BE49-F238E27FC236}">
                    <a16:creationId xmlns:a16="http://schemas.microsoft.com/office/drawing/2014/main" id="{9AA412DB-7AFF-97BA-2335-59A9A4D3C8AD}"/>
                  </a:ext>
                </a:extLst>
              </p:cNvPr>
              <p:cNvSpPr/>
              <p:nvPr/>
            </p:nvSpPr>
            <p:spPr>
              <a:xfrm>
                <a:off x="-4149617" y="3600035"/>
                <a:ext cx="39200" cy="690097"/>
              </a:xfrm>
              <a:custGeom>
                <a:avLst/>
                <a:gdLst>
                  <a:gd name="connsiteX0" fmla="*/ 0 w 39200"/>
                  <a:gd name="connsiteY0" fmla="*/ 0 h 690097"/>
                  <a:gd name="connsiteX1" fmla="*/ 39200 w 39200"/>
                  <a:gd name="connsiteY1" fmla="*/ 0 h 690097"/>
                  <a:gd name="connsiteX2" fmla="*/ 39200 w 39200"/>
                  <a:gd name="connsiteY2" fmla="*/ 690098 h 690097"/>
                  <a:gd name="connsiteX3" fmla="*/ 0 w 392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200" h="690097">
                    <a:moveTo>
                      <a:pt x="0" y="0"/>
                    </a:moveTo>
                    <a:lnTo>
                      <a:pt x="39200" y="0"/>
                    </a:lnTo>
                    <a:lnTo>
                      <a:pt x="392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CBCBC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6" name="Freeform: Shape 555">
                <a:extLst>
                  <a:ext uri="{FF2B5EF4-FFF2-40B4-BE49-F238E27FC236}">
                    <a16:creationId xmlns:a16="http://schemas.microsoft.com/office/drawing/2014/main" id="{F522AB59-8E02-136A-A661-10DAF4E4120E}"/>
                  </a:ext>
                </a:extLst>
              </p:cNvPr>
              <p:cNvSpPr/>
              <p:nvPr/>
            </p:nvSpPr>
            <p:spPr>
              <a:xfrm>
                <a:off x="-4149617" y="3558184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7" name="Freeform: Shape 556">
                <a:extLst>
                  <a:ext uri="{FF2B5EF4-FFF2-40B4-BE49-F238E27FC236}">
                    <a16:creationId xmlns:a16="http://schemas.microsoft.com/office/drawing/2014/main" id="{52848234-C287-5C09-A153-B98299558E51}"/>
                  </a:ext>
                </a:extLst>
              </p:cNvPr>
              <p:cNvSpPr/>
              <p:nvPr/>
            </p:nvSpPr>
            <p:spPr>
              <a:xfrm>
                <a:off x="-4149617" y="360003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0" name="Group 739">
              <a:extLst>
                <a:ext uri="{FF2B5EF4-FFF2-40B4-BE49-F238E27FC236}">
                  <a16:creationId xmlns:a16="http://schemas.microsoft.com/office/drawing/2014/main" id="{D456A7F9-161A-4DB8-F48D-30CA335BE6B9}"/>
                </a:ext>
              </a:extLst>
            </p:cNvPr>
            <p:cNvGrpSpPr/>
            <p:nvPr/>
          </p:nvGrpSpPr>
          <p:grpSpPr>
            <a:xfrm>
              <a:off x="-4149617" y="3014123"/>
              <a:ext cx="324043" cy="731948"/>
              <a:chOff x="-4149617" y="3014123"/>
              <a:chExt cx="324043" cy="731948"/>
            </a:xfrm>
          </p:grpSpPr>
          <p:sp>
            <p:nvSpPr>
              <p:cNvPr id="559" name="Freeform: Shape 558">
                <a:extLst>
                  <a:ext uri="{FF2B5EF4-FFF2-40B4-BE49-F238E27FC236}">
                    <a16:creationId xmlns:a16="http://schemas.microsoft.com/office/drawing/2014/main" id="{08581B3C-548D-E767-01BC-7C8482010094}"/>
                  </a:ext>
                </a:extLst>
              </p:cNvPr>
              <p:cNvSpPr/>
              <p:nvPr/>
            </p:nvSpPr>
            <p:spPr>
              <a:xfrm>
                <a:off x="-4149617" y="3659478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0" name="Freeform: Shape 559">
                <a:extLst>
                  <a:ext uri="{FF2B5EF4-FFF2-40B4-BE49-F238E27FC236}">
                    <a16:creationId xmlns:a16="http://schemas.microsoft.com/office/drawing/2014/main" id="{18E9BC25-11AB-3E90-C440-0712EFB09624}"/>
                  </a:ext>
                </a:extLst>
              </p:cNvPr>
              <p:cNvSpPr/>
              <p:nvPr/>
            </p:nvSpPr>
            <p:spPr>
              <a:xfrm>
                <a:off x="-4149617" y="3055974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1" name="Freeform: Shape 560">
                <a:extLst>
                  <a:ext uri="{FF2B5EF4-FFF2-40B4-BE49-F238E27FC236}">
                    <a16:creationId xmlns:a16="http://schemas.microsoft.com/office/drawing/2014/main" id="{6D619794-8FC8-FDC0-119C-908FDE42EE09}"/>
                  </a:ext>
                </a:extLst>
              </p:cNvPr>
              <p:cNvSpPr/>
              <p:nvPr/>
            </p:nvSpPr>
            <p:spPr>
              <a:xfrm>
                <a:off x="-4149617" y="310995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2" name="Freeform: Shape 561">
                <a:extLst>
                  <a:ext uri="{FF2B5EF4-FFF2-40B4-BE49-F238E27FC236}">
                    <a16:creationId xmlns:a16="http://schemas.microsoft.com/office/drawing/2014/main" id="{B609C0A4-7157-10F7-DC85-E36B0F5B5ABA}"/>
                  </a:ext>
                </a:extLst>
              </p:cNvPr>
              <p:cNvSpPr/>
              <p:nvPr/>
            </p:nvSpPr>
            <p:spPr>
              <a:xfrm>
                <a:off x="-4149617" y="316401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3" name="Freeform: Shape 562">
                <a:extLst>
                  <a:ext uri="{FF2B5EF4-FFF2-40B4-BE49-F238E27FC236}">
                    <a16:creationId xmlns:a16="http://schemas.microsoft.com/office/drawing/2014/main" id="{EB7DF2C9-63A1-766A-179F-52B11011DACA}"/>
                  </a:ext>
                </a:extLst>
              </p:cNvPr>
              <p:cNvSpPr/>
              <p:nvPr/>
            </p:nvSpPr>
            <p:spPr>
              <a:xfrm>
                <a:off x="-4149617" y="321799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4" name="Freeform: Shape 563">
                <a:extLst>
                  <a:ext uri="{FF2B5EF4-FFF2-40B4-BE49-F238E27FC236}">
                    <a16:creationId xmlns:a16="http://schemas.microsoft.com/office/drawing/2014/main" id="{7F7EACDF-B1CF-6BB0-1D54-D9A453192242}"/>
                  </a:ext>
                </a:extLst>
              </p:cNvPr>
              <p:cNvSpPr/>
              <p:nvPr/>
            </p:nvSpPr>
            <p:spPr>
              <a:xfrm>
                <a:off x="-4149617" y="327197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5" name="Freeform: Shape 564">
                <a:extLst>
                  <a:ext uri="{FF2B5EF4-FFF2-40B4-BE49-F238E27FC236}">
                    <a16:creationId xmlns:a16="http://schemas.microsoft.com/office/drawing/2014/main" id="{251B4D59-4394-D60B-9526-E492272D3476}"/>
                  </a:ext>
                </a:extLst>
              </p:cNvPr>
              <p:cNvSpPr/>
              <p:nvPr/>
            </p:nvSpPr>
            <p:spPr>
              <a:xfrm>
                <a:off x="-4149617" y="332595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6" name="Freeform: Shape 565">
                <a:extLst>
                  <a:ext uri="{FF2B5EF4-FFF2-40B4-BE49-F238E27FC236}">
                    <a16:creationId xmlns:a16="http://schemas.microsoft.com/office/drawing/2014/main" id="{E29DCB01-3846-023C-09DC-89ED5A6F981D}"/>
                  </a:ext>
                </a:extLst>
              </p:cNvPr>
              <p:cNvSpPr/>
              <p:nvPr/>
            </p:nvSpPr>
            <p:spPr>
              <a:xfrm>
                <a:off x="-4149617" y="338001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7" name="Freeform: Shape 566">
                <a:extLst>
                  <a:ext uri="{FF2B5EF4-FFF2-40B4-BE49-F238E27FC236}">
                    <a16:creationId xmlns:a16="http://schemas.microsoft.com/office/drawing/2014/main" id="{ECAB5D38-FE68-9A28-EC6B-C7C87132D64B}"/>
                  </a:ext>
                </a:extLst>
              </p:cNvPr>
              <p:cNvSpPr/>
              <p:nvPr/>
            </p:nvSpPr>
            <p:spPr>
              <a:xfrm>
                <a:off x="-4149617" y="343399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8" name="Freeform: Shape 567">
                <a:extLst>
                  <a:ext uri="{FF2B5EF4-FFF2-40B4-BE49-F238E27FC236}">
                    <a16:creationId xmlns:a16="http://schemas.microsoft.com/office/drawing/2014/main" id="{C1DE545B-BB0C-4A28-3C37-025AF9EDAF61}"/>
                  </a:ext>
                </a:extLst>
              </p:cNvPr>
              <p:cNvSpPr/>
              <p:nvPr/>
            </p:nvSpPr>
            <p:spPr>
              <a:xfrm>
                <a:off x="-4149617" y="348797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9" name="Freeform: Shape 568">
                <a:extLst>
                  <a:ext uri="{FF2B5EF4-FFF2-40B4-BE49-F238E27FC236}">
                    <a16:creationId xmlns:a16="http://schemas.microsoft.com/office/drawing/2014/main" id="{1A6EEB57-2302-EF62-5B72-3D1EEADB326B}"/>
                  </a:ext>
                </a:extLst>
              </p:cNvPr>
              <p:cNvSpPr/>
              <p:nvPr/>
            </p:nvSpPr>
            <p:spPr>
              <a:xfrm>
                <a:off x="-4149617" y="354203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0" name="Freeform: Shape 569">
                <a:extLst>
                  <a:ext uri="{FF2B5EF4-FFF2-40B4-BE49-F238E27FC236}">
                    <a16:creationId xmlns:a16="http://schemas.microsoft.com/office/drawing/2014/main" id="{102E9578-0BF5-49DC-3EF4-BE8D44B1954B}"/>
                  </a:ext>
                </a:extLst>
              </p:cNvPr>
              <p:cNvSpPr/>
              <p:nvPr/>
            </p:nvSpPr>
            <p:spPr>
              <a:xfrm>
                <a:off x="-4149617" y="359601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1" name="Freeform: Shape 570">
                <a:extLst>
                  <a:ext uri="{FF2B5EF4-FFF2-40B4-BE49-F238E27FC236}">
                    <a16:creationId xmlns:a16="http://schemas.microsoft.com/office/drawing/2014/main" id="{CD708504-A980-AA9F-68EF-FD9F6931ED18}"/>
                  </a:ext>
                </a:extLst>
              </p:cNvPr>
              <p:cNvSpPr/>
              <p:nvPr/>
            </p:nvSpPr>
            <p:spPr>
              <a:xfrm>
                <a:off x="-4149617" y="364999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2" name="Freeform: Shape 571">
                <a:extLst>
                  <a:ext uri="{FF2B5EF4-FFF2-40B4-BE49-F238E27FC236}">
                    <a16:creationId xmlns:a16="http://schemas.microsoft.com/office/drawing/2014/main" id="{A1097702-27DD-DA53-7BAA-9A75DA465460}"/>
                  </a:ext>
                </a:extLst>
              </p:cNvPr>
              <p:cNvSpPr/>
              <p:nvPr/>
            </p:nvSpPr>
            <p:spPr>
              <a:xfrm>
                <a:off x="-3903974" y="3055974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4" name="Freeform: Shape 573">
                <a:extLst>
                  <a:ext uri="{FF2B5EF4-FFF2-40B4-BE49-F238E27FC236}">
                    <a16:creationId xmlns:a16="http://schemas.microsoft.com/office/drawing/2014/main" id="{92FA8BF9-E6E6-C5F3-99F9-2D35AB3962CA}"/>
                  </a:ext>
                </a:extLst>
              </p:cNvPr>
              <p:cNvSpPr/>
              <p:nvPr/>
            </p:nvSpPr>
            <p:spPr>
              <a:xfrm>
                <a:off x="-4149617" y="3014123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85"/>
                      <a:pt x="251507" y="83702"/>
                      <a:pt x="162022" y="83702"/>
                    </a:cubicBezTo>
                    <a:cubicBezTo>
                      <a:pt x="72536" y="83702"/>
                      <a:pt x="0" y="64985"/>
                      <a:pt x="0" y="41851"/>
                    </a:cubicBezTo>
                    <a:cubicBezTo>
                      <a:pt x="0" y="18717"/>
                      <a:pt x="72536" y="0"/>
                      <a:pt x="162022" y="0"/>
                    </a:cubicBezTo>
                    <a:cubicBezTo>
                      <a:pt x="251507" y="0"/>
                      <a:pt x="324043" y="1871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5" name="Freeform: Shape 574">
                <a:extLst>
                  <a:ext uri="{FF2B5EF4-FFF2-40B4-BE49-F238E27FC236}">
                    <a16:creationId xmlns:a16="http://schemas.microsoft.com/office/drawing/2014/main" id="{16166956-EAD8-51A7-A930-BE4E68B66C09}"/>
                  </a:ext>
                </a:extLst>
              </p:cNvPr>
              <p:cNvSpPr/>
              <p:nvPr/>
            </p:nvSpPr>
            <p:spPr>
              <a:xfrm>
                <a:off x="-4149617" y="305597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9" name="Group 738">
              <a:extLst>
                <a:ext uri="{FF2B5EF4-FFF2-40B4-BE49-F238E27FC236}">
                  <a16:creationId xmlns:a16="http://schemas.microsoft.com/office/drawing/2014/main" id="{3C3996D8-0DF7-9143-F0BA-A09549E3DEFD}"/>
                </a:ext>
              </a:extLst>
            </p:cNvPr>
            <p:cNvGrpSpPr/>
            <p:nvPr/>
          </p:nvGrpSpPr>
          <p:grpSpPr>
            <a:xfrm>
              <a:off x="-4860519" y="3900783"/>
              <a:ext cx="324123" cy="731948"/>
              <a:chOff x="-4860519" y="3900783"/>
              <a:chExt cx="324123" cy="731948"/>
            </a:xfrm>
          </p:grpSpPr>
          <p:sp>
            <p:nvSpPr>
              <p:cNvPr id="577" name="Freeform: Shape 576">
                <a:extLst>
                  <a:ext uri="{FF2B5EF4-FFF2-40B4-BE49-F238E27FC236}">
                    <a16:creationId xmlns:a16="http://schemas.microsoft.com/office/drawing/2014/main" id="{CB21287E-AAA8-1871-07D6-B86F09906AF2}"/>
                  </a:ext>
                </a:extLst>
              </p:cNvPr>
              <p:cNvSpPr/>
              <p:nvPr/>
            </p:nvSpPr>
            <p:spPr>
              <a:xfrm>
                <a:off x="-4860439" y="4546138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8" name="Freeform: Shape 577">
                <a:extLst>
                  <a:ext uri="{FF2B5EF4-FFF2-40B4-BE49-F238E27FC236}">
                    <a16:creationId xmlns:a16="http://schemas.microsoft.com/office/drawing/2014/main" id="{C67ACBDC-4BE8-4A05-C7A5-B2E42E644CA6}"/>
                  </a:ext>
                </a:extLst>
              </p:cNvPr>
              <p:cNvSpPr/>
              <p:nvPr/>
            </p:nvSpPr>
            <p:spPr>
              <a:xfrm>
                <a:off x="-4860439" y="3942634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9" name="Freeform: Shape 578">
                <a:extLst>
                  <a:ext uri="{FF2B5EF4-FFF2-40B4-BE49-F238E27FC236}">
                    <a16:creationId xmlns:a16="http://schemas.microsoft.com/office/drawing/2014/main" id="{03E8C670-12CD-D86D-E6A6-153E7EF59BD6}"/>
                  </a:ext>
                </a:extLst>
              </p:cNvPr>
              <p:cNvSpPr/>
              <p:nvPr/>
            </p:nvSpPr>
            <p:spPr>
              <a:xfrm>
                <a:off x="-4860519" y="399661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0" name="Freeform: Shape 579">
                <a:extLst>
                  <a:ext uri="{FF2B5EF4-FFF2-40B4-BE49-F238E27FC236}">
                    <a16:creationId xmlns:a16="http://schemas.microsoft.com/office/drawing/2014/main" id="{26D5E13A-29EE-98BB-D25B-287B83E31BB5}"/>
                  </a:ext>
                </a:extLst>
              </p:cNvPr>
              <p:cNvSpPr/>
              <p:nvPr/>
            </p:nvSpPr>
            <p:spPr>
              <a:xfrm>
                <a:off x="-4860519" y="405067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1" name="Freeform: Shape 580">
                <a:extLst>
                  <a:ext uri="{FF2B5EF4-FFF2-40B4-BE49-F238E27FC236}">
                    <a16:creationId xmlns:a16="http://schemas.microsoft.com/office/drawing/2014/main" id="{2CD2E83A-4C1F-7665-8C8A-8512968DBABA}"/>
                  </a:ext>
                </a:extLst>
              </p:cNvPr>
              <p:cNvSpPr/>
              <p:nvPr/>
            </p:nvSpPr>
            <p:spPr>
              <a:xfrm>
                <a:off x="-4860519" y="410465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2" name="Freeform: Shape 581">
                <a:extLst>
                  <a:ext uri="{FF2B5EF4-FFF2-40B4-BE49-F238E27FC236}">
                    <a16:creationId xmlns:a16="http://schemas.microsoft.com/office/drawing/2014/main" id="{9FFF7183-1D9B-955B-848F-1AC86BE5D8B0}"/>
                  </a:ext>
                </a:extLst>
              </p:cNvPr>
              <p:cNvSpPr/>
              <p:nvPr/>
            </p:nvSpPr>
            <p:spPr>
              <a:xfrm>
                <a:off x="-4860519" y="415863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3" name="Freeform: Shape 582">
                <a:extLst>
                  <a:ext uri="{FF2B5EF4-FFF2-40B4-BE49-F238E27FC236}">
                    <a16:creationId xmlns:a16="http://schemas.microsoft.com/office/drawing/2014/main" id="{C1E5B2A5-D9DF-26ED-F426-0BCF3BE8A1FD}"/>
                  </a:ext>
                </a:extLst>
              </p:cNvPr>
              <p:cNvSpPr/>
              <p:nvPr/>
            </p:nvSpPr>
            <p:spPr>
              <a:xfrm>
                <a:off x="-4860519" y="421269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4" name="Freeform: Shape 583">
                <a:extLst>
                  <a:ext uri="{FF2B5EF4-FFF2-40B4-BE49-F238E27FC236}">
                    <a16:creationId xmlns:a16="http://schemas.microsoft.com/office/drawing/2014/main" id="{25A046AB-786E-EA3C-37E1-8B25309D246B}"/>
                  </a:ext>
                </a:extLst>
              </p:cNvPr>
              <p:cNvSpPr/>
              <p:nvPr/>
            </p:nvSpPr>
            <p:spPr>
              <a:xfrm>
                <a:off x="-4860519" y="426667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5" name="Freeform: Shape 584">
                <a:extLst>
                  <a:ext uri="{FF2B5EF4-FFF2-40B4-BE49-F238E27FC236}">
                    <a16:creationId xmlns:a16="http://schemas.microsoft.com/office/drawing/2014/main" id="{AF0CB5E8-9C9D-8A74-5E1C-3481668DEE81}"/>
                  </a:ext>
                </a:extLst>
              </p:cNvPr>
              <p:cNvSpPr/>
              <p:nvPr/>
            </p:nvSpPr>
            <p:spPr>
              <a:xfrm>
                <a:off x="-4860519" y="432065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6" name="Freeform: Shape 585">
                <a:extLst>
                  <a:ext uri="{FF2B5EF4-FFF2-40B4-BE49-F238E27FC236}">
                    <a16:creationId xmlns:a16="http://schemas.microsoft.com/office/drawing/2014/main" id="{9F7EB0AA-0B44-1BAC-5D0A-B79F3B7724F5}"/>
                  </a:ext>
                </a:extLst>
              </p:cNvPr>
              <p:cNvSpPr/>
              <p:nvPr/>
            </p:nvSpPr>
            <p:spPr>
              <a:xfrm>
                <a:off x="-4860519" y="437471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7" name="Freeform: Shape 586">
                <a:extLst>
                  <a:ext uri="{FF2B5EF4-FFF2-40B4-BE49-F238E27FC236}">
                    <a16:creationId xmlns:a16="http://schemas.microsoft.com/office/drawing/2014/main" id="{98126C9D-3153-C054-FF2B-65674BA3FA95}"/>
                  </a:ext>
                </a:extLst>
              </p:cNvPr>
              <p:cNvSpPr/>
              <p:nvPr/>
            </p:nvSpPr>
            <p:spPr>
              <a:xfrm>
                <a:off x="-4860519" y="442869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8" name="Freeform: Shape 587">
                <a:extLst>
                  <a:ext uri="{FF2B5EF4-FFF2-40B4-BE49-F238E27FC236}">
                    <a16:creationId xmlns:a16="http://schemas.microsoft.com/office/drawing/2014/main" id="{1EB5CFD6-D95E-B29C-5594-D95627C494D5}"/>
                  </a:ext>
                </a:extLst>
              </p:cNvPr>
              <p:cNvSpPr/>
              <p:nvPr/>
            </p:nvSpPr>
            <p:spPr>
              <a:xfrm>
                <a:off x="-4860519" y="448267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9" name="Freeform: Shape 588">
                <a:extLst>
                  <a:ext uri="{FF2B5EF4-FFF2-40B4-BE49-F238E27FC236}">
                    <a16:creationId xmlns:a16="http://schemas.microsoft.com/office/drawing/2014/main" id="{AE3A7505-7E1C-601F-092D-946B352FD867}"/>
                  </a:ext>
                </a:extLst>
              </p:cNvPr>
              <p:cNvSpPr/>
              <p:nvPr/>
            </p:nvSpPr>
            <p:spPr>
              <a:xfrm>
                <a:off x="-4860519" y="4536660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0" name="Freeform: Shape 589">
                <a:extLst>
                  <a:ext uri="{FF2B5EF4-FFF2-40B4-BE49-F238E27FC236}">
                    <a16:creationId xmlns:a16="http://schemas.microsoft.com/office/drawing/2014/main" id="{0C3FF513-77A4-97C3-CE92-F6C0DF807A96}"/>
                  </a:ext>
                </a:extLst>
              </p:cNvPr>
              <p:cNvSpPr/>
              <p:nvPr/>
            </p:nvSpPr>
            <p:spPr>
              <a:xfrm>
                <a:off x="-4614876" y="3942634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2" name="Freeform: Shape 591">
                <a:extLst>
                  <a:ext uri="{FF2B5EF4-FFF2-40B4-BE49-F238E27FC236}">
                    <a16:creationId xmlns:a16="http://schemas.microsoft.com/office/drawing/2014/main" id="{C2815D7D-B8B7-833B-68F0-1AA6B2A10C54}"/>
                  </a:ext>
                </a:extLst>
              </p:cNvPr>
              <p:cNvSpPr/>
              <p:nvPr/>
            </p:nvSpPr>
            <p:spPr>
              <a:xfrm>
                <a:off x="-4860439" y="3900783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3" name="Freeform: Shape 592">
                <a:extLst>
                  <a:ext uri="{FF2B5EF4-FFF2-40B4-BE49-F238E27FC236}">
                    <a16:creationId xmlns:a16="http://schemas.microsoft.com/office/drawing/2014/main" id="{B25226F1-DC85-68C4-A44F-456ADDEA9F01}"/>
                  </a:ext>
                </a:extLst>
              </p:cNvPr>
              <p:cNvSpPr/>
              <p:nvPr/>
            </p:nvSpPr>
            <p:spPr>
              <a:xfrm>
                <a:off x="-4860519" y="394263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5" name="Group 744">
              <a:extLst>
                <a:ext uri="{FF2B5EF4-FFF2-40B4-BE49-F238E27FC236}">
                  <a16:creationId xmlns:a16="http://schemas.microsoft.com/office/drawing/2014/main" id="{2D133EA6-8772-7108-37BB-E1F694A984DB}"/>
                </a:ext>
              </a:extLst>
            </p:cNvPr>
            <p:cNvGrpSpPr/>
            <p:nvPr/>
          </p:nvGrpSpPr>
          <p:grpSpPr>
            <a:xfrm>
              <a:off x="-4337504" y="3286194"/>
              <a:ext cx="794765" cy="1276010"/>
              <a:chOff x="-4337504" y="3286194"/>
              <a:chExt cx="794765" cy="1276010"/>
            </a:xfrm>
          </p:grpSpPr>
          <p:grpSp>
            <p:nvGrpSpPr>
              <p:cNvPr id="466" name="Graphic 9">
                <a:extLst>
                  <a:ext uri="{FF2B5EF4-FFF2-40B4-BE49-F238E27FC236}">
                    <a16:creationId xmlns:a16="http://schemas.microsoft.com/office/drawing/2014/main" id="{C69A414F-5C60-5A91-3B6B-1F8ACB1F16D9}"/>
                  </a:ext>
                </a:extLst>
              </p:cNvPr>
              <p:cNvGrpSpPr/>
              <p:nvPr/>
            </p:nvGrpSpPr>
            <p:grpSpPr>
              <a:xfrm>
                <a:off x="-3866862" y="3286194"/>
                <a:ext cx="324123" cy="1276010"/>
                <a:chOff x="-3866862" y="3286194"/>
                <a:chExt cx="324123" cy="1276010"/>
              </a:xfrm>
            </p:grpSpPr>
            <p:grpSp>
              <p:nvGrpSpPr>
                <p:cNvPr id="467" name="Graphic 9">
                  <a:extLst>
                    <a:ext uri="{FF2B5EF4-FFF2-40B4-BE49-F238E27FC236}">
                      <a16:creationId xmlns:a16="http://schemas.microsoft.com/office/drawing/2014/main" id="{D44E2B14-9CB1-1F7D-DEBF-10B3F316AF88}"/>
                    </a:ext>
                  </a:extLst>
                </p:cNvPr>
                <p:cNvGrpSpPr/>
                <p:nvPr/>
              </p:nvGrpSpPr>
              <p:grpSpPr>
                <a:xfrm>
                  <a:off x="-3866862" y="3830255"/>
                  <a:ext cx="324123" cy="731948"/>
                  <a:chOff x="-3866862" y="3830255"/>
                  <a:chExt cx="324123" cy="731948"/>
                </a:xfrm>
              </p:grpSpPr>
              <p:sp>
                <p:nvSpPr>
                  <p:cNvPr id="468" name="Freeform: Shape 467">
                    <a:extLst>
                      <a:ext uri="{FF2B5EF4-FFF2-40B4-BE49-F238E27FC236}">
                        <a16:creationId xmlns:a16="http://schemas.microsoft.com/office/drawing/2014/main" id="{366E2C62-C3D0-B98C-44C2-41F2B5ECB32F}"/>
                      </a:ext>
                    </a:extLst>
                  </p:cNvPr>
                  <p:cNvSpPr/>
                  <p:nvPr/>
                </p:nvSpPr>
                <p:spPr>
                  <a:xfrm>
                    <a:off x="-3866782" y="4475610"/>
                    <a:ext cx="324043" cy="83701"/>
                  </a:xfrm>
                  <a:custGeom>
                    <a:avLst/>
                    <a:gdLst>
                      <a:gd name="connsiteX0" fmla="*/ 324043 w 324043"/>
                      <a:gd name="connsiteY0" fmla="*/ 41851 h 83701"/>
                      <a:gd name="connsiteX1" fmla="*/ 162022 w 324043"/>
                      <a:gd name="connsiteY1" fmla="*/ 83702 h 83701"/>
                      <a:gd name="connsiteX2" fmla="*/ 0 w 324043"/>
                      <a:gd name="connsiteY2" fmla="*/ 41851 h 83701"/>
                      <a:gd name="connsiteX3" fmla="*/ 162022 w 324043"/>
                      <a:gd name="connsiteY3" fmla="*/ 0 h 83701"/>
                      <a:gd name="connsiteX4" fmla="*/ 324043 w 324043"/>
                      <a:gd name="connsiteY4" fmla="*/ 41851 h 8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4043" h="83701">
                        <a:moveTo>
                          <a:pt x="324043" y="41851"/>
                        </a:moveTo>
                        <a:cubicBezTo>
                          <a:pt x="324043" y="64964"/>
                          <a:pt x="251504" y="83702"/>
                          <a:pt x="162022" y="83702"/>
                        </a:cubicBezTo>
                        <a:cubicBezTo>
                          <a:pt x="72540" y="83702"/>
                          <a:pt x="0" y="64965"/>
                          <a:pt x="0" y="41851"/>
                        </a:cubicBezTo>
                        <a:cubicBezTo>
                          <a:pt x="0" y="18738"/>
                          <a:pt x="72540" y="0"/>
                          <a:pt x="162022" y="0"/>
                        </a:cubicBezTo>
                        <a:cubicBezTo>
                          <a:pt x="251504" y="0"/>
                          <a:pt x="324043" y="18737"/>
                          <a:pt x="324043" y="41851"/>
                        </a:cubicBez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9" name="Freeform: Shape 468">
                    <a:extLst>
                      <a:ext uri="{FF2B5EF4-FFF2-40B4-BE49-F238E27FC236}">
                        <a16:creationId xmlns:a16="http://schemas.microsoft.com/office/drawing/2014/main" id="{0B96528A-1B3C-D801-DCD7-C49BCF811114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872106"/>
                    <a:ext cx="324043" cy="645355"/>
                  </a:xfrm>
                  <a:custGeom>
                    <a:avLst/>
                    <a:gdLst>
                      <a:gd name="connsiteX0" fmla="*/ 0 w 324043"/>
                      <a:gd name="connsiteY0" fmla="*/ 0 h 645355"/>
                      <a:gd name="connsiteX1" fmla="*/ 324043 w 324043"/>
                      <a:gd name="connsiteY1" fmla="*/ 0 h 645355"/>
                      <a:gd name="connsiteX2" fmla="*/ 324043 w 324043"/>
                      <a:gd name="connsiteY2" fmla="*/ 645355 h 645355"/>
                      <a:gd name="connsiteX3" fmla="*/ 0 w 324043"/>
                      <a:gd name="connsiteY3" fmla="*/ 645355 h 645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4043" h="645355">
                        <a:moveTo>
                          <a:pt x="0" y="0"/>
                        </a:moveTo>
                        <a:lnTo>
                          <a:pt x="324043" y="0"/>
                        </a:lnTo>
                        <a:lnTo>
                          <a:pt x="324043" y="645355"/>
                        </a:lnTo>
                        <a:lnTo>
                          <a:pt x="0" y="645355"/>
                        </a:ln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0" name="Freeform: Shape 469">
                    <a:extLst>
                      <a:ext uri="{FF2B5EF4-FFF2-40B4-BE49-F238E27FC236}">
                        <a16:creationId xmlns:a16="http://schemas.microsoft.com/office/drawing/2014/main" id="{242F23B9-6A13-0D15-280C-DE4EC1FD0097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926087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1" name="Freeform: Shape 470">
                    <a:extLst>
                      <a:ext uri="{FF2B5EF4-FFF2-40B4-BE49-F238E27FC236}">
                        <a16:creationId xmlns:a16="http://schemas.microsoft.com/office/drawing/2014/main" id="{DB00CAF3-2E7C-4EAD-05FA-ED441D34718A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980147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2" name="Freeform: Shape 471">
                    <a:extLst>
                      <a:ext uri="{FF2B5EF4-FFF2-40B4-BE49-F238E27FC236}">
                        <a16:creationId xmlns:a16="http://schemas.microsoft.com/office/drawing/2014/main" id="{B2CDD35D-F7B7-BFC8-F6A9-8440C8EE4E78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034127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3" name="Freeform: Shape 472">
                    <a:extLst>
                      <a:ext uri="{FF2B5EF4-FFF2-40B4-BE49-F238E27FC236}">
                        <a16:creationId xmlns:a16="http://schemas.microsoft.com/office/drawing/2014/main" id="{35505FC7-4C59-0389-B8D2-8D347C4A625A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088108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4" name="Freeform: Shape 473">
                    <a:extLst>
                      <a:ext uri="{FF2B5EF4-FFF2-40B4-BE49-F238E27FC236}">
                        <a16:creationId xmlns:a16="http://schemas.microsoft.com/office/drawing/2014/main" id="{F707FC6D-1173-C7D1-B32B-2D0B4F9FC556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142169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5" name="Freeform: Shape 474">
                    <a:extLst>
                      <a:ext uri="{FF2B5EF4-FFF2-40B4-BE49-F238E27FC236}">
                        <a16:creationId xmlns:a16="http://schemas.microsoft.com/office/drawing/2014/main" id="{80409B48-ECF9-33F1-47A3-19474DFDCA05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196149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6" name="Freeform: Shape 475">
                    <a:extLst>
                      <a:ext uri="{FF2B5EF4-FFF2-40B4-BE49-F238E27FC236}">
                        <a16:creationId xmlns:a16="http://schemas.microsoft.com/office/drawing/2014/main" id="{EDD4B0AA-130A-7F7B-6390-A22336A0BFC1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250130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7" name="Freeform: Shape 476">
                    <a:extLst>
                      <a:ext uri="{FF2B5EF4-FFF2-40B4-BE49-F238E27FC236}">
                        <a16:creationId xmlns:a16="http://schemas.microsoft.com/office/drawing/2014/main" id="{5C79663B-F943-10C4-3058-65C3B7611D72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304110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8" name="Freeform: Shape 477">
                    <a:extLst>
                      <a:ext uri="{FF2B5EF4-FFF2-40B4-BE49-F238E27FC236}">
                        <a16:creationId xmlns:a16="http://schemas.microsoft.com/office/drawing/2014/main" id="{4FF7F115-F9A3-F8D9-0135-B67155F0977E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358171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9" name="Freeform: Shape 478">
                    <a:extLst>
                      <a:ext uri="{FF2B5EF4-FFF2-40B4-BE49-F238E27FC236}">
                        <a16:creationId xmlns:a16="http://schemas.microsoft.com/office/drawing/2014/main" id="{8E025674-5D19-61C7-D1D8-87C4BEFC5811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412151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4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4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0" name="Freeform: Shape 479">
                    <a:extLst>
                      <a:ext uri="{FF2B5EF4-FFF2-40B4-BE49-F238E27FC236}">
                        <a16:creationId xmlns:a16="http://schemas.microsoft.com/office/drawing/2014/main" id="{FA59BEF8-1341-B84C-0711-549A765FA78C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466132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1" name="Freeform: Shape 480">
                    <a:extLst>
                      <a:ext uri="{FF2B5EF4-FFF2-40B4-BE49-F238E27FC236}">
                        <a16:creationId xmlns:a16="http://schemas.microsoft.com/office/drawing/2014/main" id="{01E6CC21-7155-F1CF-A08E-1095700C3D7C}"/>
                      </a:ext>
                    </a:extLst>
                  </p:cNvPr>
                  <p:cNvSpPr/>
                  <p:nvPr/>
                </p:nvSpPr>
                <p:spPr>
                  <a:xfrm>
                    <a:off x="-3621219" y="3872106"/>
                    <a:ext cx="78400" cy="690097"/>
                  </a:xfrm>
                  <a:custGeom>
                    <a:avLst/>
                    <a:gdLst>
                      <a:gd name="connsiteX0" fmla="*/ 0 w 78400"/>
                      <a:gd name="connsiteY0" fmla="*/ 0 h 690097"/>
                      <a:gd name="connsiteX1" fmla="*/ 78400 w 78400"/>
                      <a:gd name="connsiteY1" fmla="*/ 0 h 690097"/>
                      <a:gd name="connsiteX2" fmla="*/ 78400 w 78400"/>
                      <a:gd name="connsiteY2" fmla="*/ 690097 h 690097"/>
                      <a:gd name="connsiteX3" fmla="*/ 0 w 78400"/>
                      <a:gd name="connsiteY3" fmla="*/ 690097 h 690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8400" h="690097">
                        <a:moveTo>
                          <a:pt x="0" y="0"/>
                        </a:moveTo>
                        <a:lnTo>
                          <a:pt x="78400" y="0"/>
                        </a:lnTo>
                        <a:lnTo>
                          <a:pt x="78400" y="690097"/>
                        </a:lnTo>
                        <a:lnTo>
                          <a:pt x="0" y="690097"/>
                        </a:lnTo>
                        <a:close/>
                      </a:path>
                    </a:pathLst>
                  </a:custGeom>
                  <a:solidFill>
                    <a:srgbClr val="FADE78">
                      <a:alpha val="70000"/>
                    </a:srgbClr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2" name="Freeform: Shape 481">
                    <a:extLst>
                      <a:ext uri="{FF2B5EF4-FFF2-40B4-BE49-F238E27FC236}">
                        <a16:creationId xmlns:a16="http://schemas.microsoft.com/office/drawing/2014/main" id="{E048B7AE-BCE8-FB57-A0B4-C5D048F3CE93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872106"/>
                    <a:ext cx="39200" cy="690097"/>
                  </a:xfrm>
                  <a:custGeom>
                    <a:avLst/>
                    <a:gdLst>
                      <a:gd name="connsiteX0" fmla="*/ 0 w 39200"/>
                      <a:gd name="connsiteY0" fmla="*/ 0 h 690097"/>
                      <a:gd name="connsiteX1" fmla="*/ 39200 w 39200"/>
                      <a:gd name="connsiteY1" fmla="*/ 0 h 690097"/>
                      <a:gd name="connsiteX2" fmla="*/ 39200 w 39200"/>
                      <a:gd name="connsiteY2" fmla="*/ 690097 h 690097"/>
                      <a:gd name="connsiteX3" fmla="*/ 0 w 39200"/>
                      <a:gd name="connsiteY3" fmla="*/ 690097 h 690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200" h="690097">
                        <a:moveTo>
                          <a:pt x="0" y="0"/>
                        </a:moveTo>
                        <a:lnTo>
                          <a:pt x="39200" y="0"/>
                        </a:lnTo>
                        <a:lnTo>
                          <a:pt x="39200" y="690097"/>
                        </a:lnTo>
                        <a:lnTo>
                          <a:pt x="0" y="690097"/>
                        </a:lnTo>
                        <a:close/>
                      </a:path>
                    </a:pathLst>
                  </a:custGeom>
                  <a:solidFill>
                    <a:srgbClr val="CBCBC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3" name="Freeform: Shape 482">
                    <a:extLst>
                      <a:ext uri="{FF2B5EF4-FFF2-40B4-BE49-F238E27FC236}">
                        <a16:creationId xmlns:a16="http://schemas.microsoft.com/office/drawing/2014/main" id="{93A103D8-5618-D5B6-4814-5B6626657952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830255"/>
                    <a:ext cx="324043" cy="83701"/>
                  </a:xfrm>
                  <a:custGeom>
                    <a:avLst/>
                    <a:gdLst>
                      <a:gd name="connsiteX0" fmla="*/ 324043 w 324043"/>
                      <a:gd name="connsiteY0" fmla="*/ 41851 h 83701"/>
                      <a:gd name="connsiteX1" fmla="*/ 162022 w 324043"/>
                      <a:gd name="connsiteY1" fmla="*/ 83702 h 83701"/>
                      <a:gd name="connsiteX2" fmla="*/ 0 w 324043"/>
                      <a:gd name="connsiteY2" fmla="*/ 41851 h 83701"/>
                      <a:gd name="connsiteX3" fmla="*/ 162022 w 324043"/>
                      <a:gd name="connsiteY3" fmla="*/ 0 h 83701"/>
                      <a:gd name="connsiteX4" fmla="*/ 324043 w 324043"/>
                      <a:gd name="connsiteY4" fmla="*/ 41851 h 8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4043" h="83701">
                        <a:moveTo>
                          <a:pt x="324043" y="41851"/>
                        </a:moveTo>
                        <a:cubicBezTo>
                          <a:pt x="324043" y="64964"/>
                          <a:pt x="251504" y="83702"/>
                          <a:pt x="162022" y="83702"/>
                        </a:cubicBezTo>
                        <a:cubicBezTo>
                          <a:pt x="72540" y="83702"/>
                          <a:pt x="0" y="64965"/>
                          <a:pt x="0" y="41851"/>
                        </a:cubicBezTo>
                        <a:cubicBezTo>
                          <a:pt x="0" y="18737"/>
                          <a:pt x="72540" y="0"/>
                          <a:pt x="162022" y="0"/>
                        </a:cubicBezTo>
                        <a:cubicBezTo>
                          <a:pt x="251504" y="0"/>
                          <a:pt x="324043" y="18737"/>
                          <a:pt x="324043" y="41851"/>
                        </a:cubicBez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4" name="Freeform: Shape 483">
                    <a:extLst>
                      <a:ext uri="{FF2B5EF4-FFF2-40B4-BE49-F238E27FC236}">
                        <a16:creationId xmlns:a16="http://schemas.microsoft.com/office/drawing/2014/main" id="{2ECE7831-0F9A-5737-5CE9-270B0A36F65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872106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85" name="Graphic 9">
                  <a:extLst>
                    <a:ext uri="{FF2B5EF4-FFF2-40B4-BE49-F238E27FC236}">
                      <a16:creationId xmlns:a16="http://schemas.microsoft.com/office/drawing/2014/main" id="{E848053E-D4A2-010D-C476-9AD87E5E11B1}"/>
                    </a:ext>
                  </a:extLst>
                </p:cNvPr>
                <p:cNvGrpSpPr/>
                <p:nvPr/>
              </p:nvGrpSpPr>
              <p:grpSpPr>
                <a:xfrm>
                  <a:off x="-3866862" y="3286194"/>
                  <a:ext cx="324123" cy="731948"/>
                  <a:chOff x="-3866862" y="3286194"/>
                  <a:chExt cx="324123" cy="731948"/>
                </a:xfrm>
              </p:grpSpPr>
              <p:sp>
                <p:nvSpPr>
                  <p:cNvPr id="486" name="Freeform: Shape 485">
                    <a:extLst>
                      <a:ext uri="{FF2B5EF4-FFF2-40B4-BE49-F238E27FC236}">
                        <a16:creationId xmlns:a16="http://schemas.microsoft.com/office/drawing/2014/main" id="{2F09038F-A20B-34A2-15D0-4C0172DAF414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931549"/>
                    <a:ext cx="324043" cy="83701"/>
                  </a:xfrm>
                  <a:custGeom>
                    <a:avLst/>
                    <a:gdLst>
                      <a:gd name="connsiteX0" fmla="*/ 324043 w 324043"/>
                      <a:gd name="connsiteY0" fmla="*/ 41851 h 83701"/>
                      <a:gd name="connsiteX1" fmla="*/ 162022 w 324043"/>
                      <a:gd name="connsiteY1" fmla="*/ 83702 h 83701"/>
                      <a:gd name="connsiteX2" fmla="*/ 0 w 324043"/>
                      <a:gd name="connsiteY2" fmla="*/ 41851 h 83701"/>
                      <a:gd name="connsiteX3" fmla="*/ 162022 w 324043"/>
                      <a:gd name="connsiteY3" fmla="*/ 0 h 83701"/>
                      <a:gd name="connsiteX4" fmla="*/ 324043 w 324043"/>
                      <a:gd name="connsiteY4" fmla="*/ 41851 h 8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4043" h="83701">
                        <a:moveTo>
                          <a:pt x="324043" y="41851"/>
                        </a:moveTo>
                        <a:cubicBezTo>
                          <a:pt x="324043" y="64964"/>
                          <a:pt x="251504" y="83702"/>
                          <a:pt x="162022" y="83702"/>
                        </a:cubicBezTo>
                        <a:cubicBezTo>
                          <a:pt x="72540" y="83702"/>
                          <a:pt x="0" y="64965"/>
                          <a:pt x="0" y="41851"/>
                        </a:cubicBezTo>
                        <a:cubicBezTo>
                          <a:pt x="0" y="18737"/>
                          <a:pt x="72540" y="0"/>
                          <a:pt x="162022" y="0"/>
                        </a:cubicBezTo>
                        <a:cubicBezTo>
                          <a:pt x="251504" y="0"/>
                          <a:pt x="324043" y="18737"/>
                          <a:pt x="324043" y="41851"/>
                        </a:cubicBez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7" name="Freeform: Shape 486">
                    <a:extLst>
                      <a:ext uri="{FF2B5EF4-FFF2-40B4-BE49-F238E27FC236}">
                        <a16:creationId xmlns:a16="http://schemas.microsoft.com/office/drawing/2014/main" id="{F7266C63-76D5-FB7B-2113-0A55F3462102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328045"/>
                    <a:ext cx="324043" cy="645355"/>
                  </a:xfrm>
                  <a:custGeom>
                    <a:avLst/>
                    <a:gdLst>
                      <a:gd name="connsiteX0" fmla="*/ 0 w 324043"/>
                      <a:gd name="connsiteY0" fmla="*/ 0 h 645355"/>
                      <a:gd name="connsiteX1" fmla="*/ 324043 w 324043"/>
                      <a:gd name="connsiteY1" fmla="*/ 0 h 645355"/>
                      <a:gd name="connsiteX2" fmla="*/ 324043 w 324043"/>
                      <a:gd name="connsiteY2" fmla="*/ 645355 h 645355"/>
                      <a:gd name="connsiteX3" fmla="*/ 0 w 324043"/>
                      <a:gd name="connsiteY3" fmla="*/ 645355 h 645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4043" h="645355">
                        <a:moveTo>
                          <a:pt x="0" y="0"/>
                        </a:moveTo>
                        <a:lnTo>
                          <a:pt x="324043" y="0"/>
                        </a:lnTo>
                        <a:lnTo>
                          <a:pt x="324043" y="645355"/>
                        </a:lnTo>
                        <a:lnTo>
                          <a:pt x="0" y="645355"/>
                        </a:ln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8" name="Freeform: Shape 487">
                    <a:extLst>
                      <a:ext uri="{FF2B5EF4-FFF2-40B4-BE49-F238E27FC236}">
                        <a16:creationId xmlns:a16="http://schemas.microsoft.com/office/drawing/2014/main" id="{F9298874-0840-5C4D-C905-AA6A7EC8F84C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382025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9" name="Freeform: Shape 488">
                    <a:extLst>
                      <a:ext uri="{FF2B5EF4-FFF2-40B4-BE49-F238E27FC236}">
                        <a16:creationId xmlns:a16="http://schemas.microsoft.com/office/drawing/2014/main" id="{610E3A45-62DE-181F-19B1-34BEAB7CC5B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436006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0" name="Freeform: Shape 489">
                    <a:extLst>
                      <a:ext uri="{FF2B5EF4-FFF2-40B4-BE49-F238E27FC236}">
                        <a16:creationId xmlns:a16="http://schemas.microsoft.com/office/drawing/2014/main" id="{9B8305AC-2D17-389E-EE7B-628F9137FABF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490066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1" name="Freeform: Shape 490">
                    <a:extLst>
                      <a:ext uri="{FF2B5EF4-FFF2-40B4-BE49-F238E27FC236}">
                        <a16:creationId xmlns:a16="http://schemas.microsoft.com/office/drawing/2014/main" id="{4CE50291-4C06-D838-F7EF-57A8FE1B1C45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544047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2" name="Freeform: Shape 491">
                    <a:extLst>
                      <a:ext uri="{FF2B5EF4-FFF2-40B4-BE49-F238E27FC236}">
                        <a16:creationId xmlns:a16="http://schemas.microsoft.com/office/drawing/2014/main" id="{7B7DC8DB-3862-44A9-A95C-95EE1F96FF5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598027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3" name="Freeform: Shape 492">
                    <a:extLst>
                      <a:ext uri="{FF2B5EF4-FFF2-40B4-BE49-F238E27FC236}">
                        <a16:creationId xmlns:a16="http://schemas.microsoft.com/office/drawing/2014/main" id="{92E71AF9-7BF6-81C7-03E5-2D1BDB8FA1D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652008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4" name="Freeform: Shape 493">
                    <a:extLst>
                      <a:ext uri="{FF2B5EF4-FFF2-40B4-BE49-F238E27FC236}">
                        <a16:creationId xmlns:a16="http://schemas.microsoft.com/office/drawing/2014/main" id="{D00F0C5F-1E6C-2226-B579-DCC0BC9F961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706068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5" name="Freeform: Shape 494">
                    <a:extLst>
                      <a:ext uri="{FF2B5EF4-FFF2-40B4-BE49-F238E27FC236}">
                        <a16:creationId xmlns:a16="http://schemas.microsoft.com/office/drawing/2014/main" id="{8DEAF822-F56D-9A08-EE06-E99986EC0CF3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760048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6" name="Freeform: Shape 495">
                    <a:extLst>
                      <a:ext uri="{FF2B5EF4-FFF2-40B4-BE49-F238E27FC236}">
                        <a16:creationId xmlns:a16="http://schemas.microsoft.com/office/drawing/2014/main" id="{F3EF9DB1-9FF6-3C0F-8CA6-794926AA7FEB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814029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7" name="Freeform: Shape 496">
                    <a:extLst>
                      <a:ext uri="{FF2B5EF4-FFF2-40B4-BE49-F238E27FC236}">
                        <a16:creationId xmlns:a16="http://schemas.microsoft.com/office/drawing/2014/main" id="{B779CC31-60D2-6C8B-8559-82FAA7EC1B93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868090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8" name="Freeform: Shape 497">
                    <a:extLst>
                      <a:ext uri="{FF2B5EF4-FFF2-40B4-BE49-F238E27FC236}">
                        <a16:creationId xmlns:a16="http://schemas.microsoft.com/office/drawing/2014/main" id="{7BC958FC-0C40-63A2-AA39-35B9B5EC6AA5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922070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9" name="Freeform: Shape 498">
                    <a:extLst>
                      <a:ext uri="{FF2B5EF4-FFF2-40B4-BE49-F238E27FC236}">
                        <a16:creationId xmlns:a16="http://schemas.microsoft.com/office/drawing/2014/main" id="{B048B5DA-9907-14DC-22B5-A33CBA0C2AEB}"/>
                      </a:ext>
                    </a:extLst>
                  </p:cNvPr>
                  <p:cNvSpPr/>
                  <p:nvPr/>
                </p:nvSpPr>
                <p:spPr>
                  <a:xfrm>
                    <a:off x="-3621219" y="3328045"/>
                    <a:ext cx="78400" cy="690097"/>
                  </a:xfrm>
                  <a:custGeom>
                    <a:avLst/>
                    <a:gdLst>
                      <a:gd name="connsiteX0" fmla="*/ 0 w 78400"/>
                      <a:gd name="connsiteY0" fmla="*/ 0 h 690097"/>
                      <a:gd name="connsiteX1" fmla="*/ 78400 w 78400"/>
                      <a:gd name="connsiteY1" fmla="*/ 0 h 690097"/>
                      <a:gd name="connsiteX2" fmla="*/ 78400 w 78400"/>
                      <a:gd name="connsiteY2" fmla="*/ 690098 h 690097"/>
                      <a:gd name="connsiteX3" fmla="*/ 0 w 78400"/>
                      <a:gd name="connsiteY3" fmla="*/ 690098 h 690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8400" h="690097">
                        <a:moveTo>
                          <a:pt x="0" y="0"/>
                        </a:moveTo>
                        <a:lnTo>
                          <a:pt x="78400" y="0"/>
                        </a:lnTo>
                        <a:lnTo>
                          <a:pt x="78400" y="690098"/>
                        </a:lnTo>
                        <a:lnTo>
                          <a:pt x="0" y="690098"/>
                        </a:lnTo>
                        <a:close/>
                      </a:path>
                    </a:pathLst>
                  </a:custGeom>
                  <a:solidFill>
                    <a:srgbClr val="FADE78">
                      <a:alpha val="70000"/>
                    </a:srgbClr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0" name="Freeform: Shape 499">
                    <a:extLst>
                      <a:ext uri="{FF2B5EF4-FFF2-40B4-BE49-F238E27FC236}">
                        <a16:creationId xmlns:a16="http://schemas.microsoft.com/office/drawing/2014/main" id="{C57E376D-4897-A6A3-CBD9-4A2BB7236C08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328045"/>
                    <a:ext cx="39200" cy="690097"/>
                  </a:xfrm>
                  <a:custGeom>
                    <a:avLst/>
                    <a:gdLst>
                      <a:gd name="connsiteX0" fmla="*/ 0 w 39200"/>
                      <a:gd name="connsiteY0" fmla="*/ 0 h 690097"/>
                      <a:gd name="connsiteX1" fmla="*/ 39200 w 39200"/>
                      <a:gd name="connsiteY1" fmla="*/ 0 h 690097"/>
                      <a:gd name="connsiteX2" fmla="*/ 39200 w 39200"/>
                      <a:gd name="connsiteY2" fmla="*/ 690098 h 690097"/>
                      <a:gd name="connsiteX3" fmla="*/ 0 w 39200"/>
                      <a:gd name="connsiteY3" fmla="*/ 690098 h 690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200" h="690097">
                        <a:moveTo>
                          <a:pt x="0" y="0"/>
                        </a:moveTo>
                        <a:lnTo>
                          <a:pt x="39200" y="0"/>
                        </a:lnTo>
                        <a:lnTo>
                          <a:pt x="39200" y="690098"/>
                        </a:lnTo>
                        <a:lnTo>
                          <a:pt x="0" y="690098"/>
                        </a:lnTo>
                        <a:close/>
                      </a:path>
                    </a:pathLst>
                  </a:custGeom>
                  <a:solidFill>
                    <a:srgbClr val="CBCBC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1" name="Freeform: Shape 500">
                    <a:extLst>
                      <a:ext uri="{FF2B5EF4-FFF2-40B4-BE49-F238E27FC236}">
                        <a16:creationId xmlns:a16="http://schemas.microsoft.com/office/drawing/2014/main" id="{ED35CC70-E306-AFA5-9731-884BCD85EB69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286194"/>
                    <a:ext cx="324043" cy="83701"/>
                  </a:xfrm>
                  <a:custGeom>
                    <a:avLst/>
                    <a:gdLst>
                      <a:gd name="connsiteX0" fmla="*/ 324043 w 324043"/>
                      <a:gd name="connsiteY0" fmla="*/ 41851 h 83701"/>
                      <a:gd name="connsiteX1" fmla="*/ 162022 w 324043"/>
                      <a:gd name="connsiteY1" fmla="*/ 83702 h 83701"/>
                      <a:gd name="connsiteX2" fmla="*/ 0 w 324043"/>
                      <a:gd name="connsiteY2" fmla="*/ 41851 h 83701"/>
                      <a:gd name="connsiteX3" fmla="*/ 162022 w 324043"/>
                      <a:gd name="connsiteY3" fmla="*/ 0 h 83701"/>
                      <a:gd name="connsiteX4" fmla="*/ 324043 w 324043"/>
                      <a:gd name="connsiteY4" fmla="*/ 41851 h 8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4043" h="83701">
                        <a:moveTo>
                          <a:pt x="324043" y="41851"/>
                        </a:moveTo>
                        <a:cubicBezTo>
                          <a:pt x="324043" y="64965"/>
                          <a:pt x="251504" y="83702"/>
                          <a:pt x="162022" y="83702"/>
                        </a:cubicBezTo>
                        <a:cubicBezTo>
                          <a:pt x="72540" y="83702"/>
                          <a:pt x="0" y="64965"/>
                          <a:pt x="0" y="41851"/>
                        </a:cubicBezTo>
                        <a:cubicBezTo>
                          <a:pt x="0" y="18738"/>
                          <a:pt x="72540" y="0"/>
                          <a:pt x="162022" y="0"/>
                        </a:cubicBezTo>
                        <a:cubicBezTo>
                          <a:pt x="251504" y="0"/>
                          <a:pt x="324043" y="18738"/>
                          <a:pt x="324043" y="41851"/>
                        </a:cubicBez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2" name="Freeform: Shape 501">
                    <a:extLst>
                      <a:ext uri="{FF2B5EF4-FFF2-40B4-BE49-F238E27FC236}">
                        <a16:creationId xmlns:a16="http://schemas.microsoft.com/office/drawing/2014/main" id="{096E0A6E-889B-2B57-0FD9-2301004EC2C2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328045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594" name="Graphic 9">
                <a:extLst>
                  <a:ext uri="{FF2B5EF4-FFF2-40B4-BE49-F238E27FC236}">
                    <a16:creationId xmlns:a16="http://schemas.microsoft.com/office/drawing/2014/main" id="{DF7B0F74-126C-66DA-7C5D-85F064EDDA6B}"/>
                  </a:ext>
                </a:extLst>
              </p:cNvPr>
              <p:cNvGrpSpPr/>
              <p:nvPr/>
            </p:nvGrpSpPr>
            <p:grpSpPr>
              <a:xfrm>
                <a:off x="-4337504" y="3661888"/>
                <a:ext cx="324043" cy="731948"/>
                <a:chOff x="-4337504" y="3661888"/>
                <a:chExt cx="324043" cy="731948"/>
              </a:xfrm>
            </p:grpSpPr>
            <p:sp>
              <p:nvSpPr>
                <p:cNvPr id="595" name="Freeform: Shape 594">
                  <a:extLst>
                    <a:ext uri="{FF2B5EF4-FFF2-40B4-BE49-F238E27FC236}">
                      <a16:creationId xmlns:a16="http://schemas.microsoft.com/office/drawing/2014/main" id="{00E1BC4D-77B2-B75D-279A-4DBF9CBA5100}"/>
                    </a:ext>
                  </a:extLst>
                </p:cNvPr>
                <p:cNvSpPr/>
                <p:nvPr/>
              </p:nvSpPr>
              <p:spPr>
                <a:xfrm>
                  <a:off x="-4337504" y="4307243"/>
                  <a:ext cx="324043" cy="83701"/>
                </a:xfrm>
                <a:custGeom>
                  <a:avLst/>
                  <a:gdLst>
                    <a:gd name="connsiteX0" fmla="*/ 324043 w 324043"/>
                    <a:gd name="connsiteY0" fmla="*/ 41851 h 83701"/>
                    <a:gd name="connsiteX1" fmla="*/ 162022 w 324043"/>
                    <a:gd name="connsiteY1" fmla="*/ 83702 h 83701"/>
                    <a:gd name="connsiteX2" fmla="*/ 0 w 324043"/>
                    <a:gd name="connsiteY2" fmla="*/ 41851 h 83701"/>
                    <a:gd name="connsiteX3" fmla="*/ 162022 w 324043"/>
                    <a:gd name="connsiteY3" fmla="*/ 0 h 83701"/>
                    <a:gd name="connsiteX4" fmla="*/ 324043 w 324043"/>
                    <a:gd name="connsiteY4" fmla="*/ 41851 h 83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043" h="83701">
                      <a:moveTo>
                        <a:pt x="324043" y="41851"/>
                      </a:moveTo>
                      <a:cubicBezTo>
                        <a:pt x="324043" y="64964"/>
                        <a:pt x="251504" y="83702"/>
                        <a:pt x="162022" y="83702"/>
                      </a:cubicBezTo>
                      <a:cubicBezTo>
                        <a:pt x="72540" y="83702"/>
                        <a:pt x="0" y="64965"/>
                        <a:pt x="0" y="41851"/>
                      </a:cubicBezTo>
                      <a:cubicBezTo>
                        <a:pt x="0" y="18737"/>
                        <a:pt x="72540" y="0"/>
                        <a:pt x="162022" y="0"/>
                      </a:cubicBezTo>
                      <a:cubicBezTo>
                        <a:pt x="251504" y="0"/>
                        <a:pt x="324043" y="18737"/>
                        <a:pt x="324043" y="41851"/>
                      </a:cubicBezTo>
                      <a:close/>
                    </a:path>
                  </a:pathLst>
                </a:custGeom>
                <a:solidFill>
                  <a:srgbClr val="FAAF3B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6" name="Freeform: Shape 595">
                  <a:extLst>
                    <a:ext uri="{FF2B5EF4-FFF2-40B4-BE49-F238E27FC236}">
                      <a16:creationId xmlns:a16="http://schemas.microsoft.com/office/drawing/2014/main" id="{1E63616D-9D43-3938-4738-A0470888A8B9}"/>
                    </a:ext>
                  </a:extLst>
                </p:cNvPr>
                <p:cNvSpPr/>
                <p:nvPr/>
              </p:nvSpPr>
              <p:spPr>
                <a:xfrm>
                  <a:off x="-4337504" y="3703739"/>
                  <a:ext cx="324043" cy="645355"/>
                </a:xfrm>
                <a:custGeom>
                  <a:avLst/>
                  <a:gdLst>
                    <a:gd name="connsiteX0" fmla="*/ 0 w 324043"/>
                    <a:gd name="connsiteY0" fmla="*/ 0 h 645355"/>
                    <a:gd name="connsiteX1" fmla="*/ 324043 w 324043"/>
                    <a:gd name="connsiteY1" fmla="*/ 0 h 645355"/>
                    <a:gd name="connsiteX2" fmla="*/ 324043 w 324043"/>
                    <a:gd name="connsiteY2" fmla="*/ 645356 h 645355"/>
                    <a:gd name="connsiteX3" fmla="*/ 0 w 324043"/>
                    <a:gd name="connsiteY3" fmla="*/ 645356 h 645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4043" h="645355">
                      <a:moveTo>
                        <a:pt x="0" y="0"/>
                      </a:moveTo>
                      <a:lnTo>
                        <a:pt x="324043" y="0"/>
                      </a:lnTo>
                      <a:lnTo>
                        <a:pt x="324043" y="645356"/>
                      </a:lnTo>
                      <a:lnTo>
                        <a:pt x="0" y="645356"/>
                      </a:lnTo>
                      <a:close/>
                    </a:path>
                  </a:pathLst>
                </a:custGeom>
                <a:solidFill>
                  <a:srgbClr val="FAAF3B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7" name="Freeform: Shape 596">
                  <a:extLst>
                    <a:ext uri="{FF2B5EF4-FFF2-40B4-BE49-F238E27FC236}">
                      <a16:creationId xmlns:a16="http://schemas.microsoft.com/office/drawing/2014/main" id="{BC9C7AC4-66A9-C576-2C24-0952A329B121}"/>
                    </a:ext>
                  </a:extLst>
                </p:cNvPr>
                <p:cNvSpPr/>
                <p:nvPr/>
              </p:nvSpPr>
              <p:spPr>
                <a:xfrm>
                  <a:off x="-4337504" y="3757799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8" name="Freeform: Shape 597">
                  <a:extLst>
                    <a:ext uri="{FF2B5EF4-FFF2-40B4-BE49-F238E27FC236}">
                      <a16:creationId xmlns:a16="http://schemas.microsoft.com/office/drawing/2014/main" id="{AFC1D908-58B5-6CEC-55DC-5458C7D4BD0D}"/>
                    </a:ext>
                  </a:extLst>
                </p:cNvPr>
                <p:cNvSpPr/>
                <p:nvPr/>
              </p:nvSpPr>
              <p:spPr>
                <a:xfrm>
                  <a:off x="-4337504" y="3811780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9" name="Freeform: Shape 598">
                  <a:extLst>
                    <a:ext uri="{FF2B5EF4-FFF2-40B4-BE49-F238E27FC236}">
                      <a16:creationId xmlns:a16="http://schemas.microsoft.com/office/drawing/2014/main" id="{50484791-7EA0-9A90-B782-9BBAEBF40AAC}"/>
                    </a:ext>
                  </a:extLst>
                </p:cNvPr>
                <p:cNvSpPr/>
                <p:nvPr/>
              </p:nvSpPr>
              <p:spPr>
                <a:xfrm>
                  <a:off x="-4337504" y="3865760"/>
                  <a:ext cx="324043" cy="41850"/>
                </a:xfrm>
                <a:custGeom>
                  <a:avLst/>
                  <a:gdLst>
                    <a:gd name="connsiteX0" fmla="*/ 324043 w 324043"/>
                    <a:gd name="connsiteY0" fmla="*/ 0 h 41850"/>
                    <a:gd name="connsiteX1" fmla="*/ 162022 w 324043"/>
                    <a:gd name="connsiteY1" fmla="*/ 41851 h 41850"/>
                    <a:gd name="connsiteX2" fmla="*/ 0 w 324043"/>
                    <a:gd name="connsiteY2" fmla="*/ 0 h 41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0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0" name="Freeform: Shape 599">
                  <a:extLst>
                    <a:ext uri="{FF2B5EF4-FFF2-40B4-BE49-F238E27FC236}">
                      <a16:creationId xmlns:a16="http://schemas.microsoft.com/office/drawing/2014/main" id="{D1A80263-879F-8AED-4339-77BA1FF80FA5}"/>
                    </a:ext>
                  </a:extLst>
                </p:cNvPr>
                <p:cNvSpPr/>
                <p:nvPr/>
              </p:nvSpPr>
              <p:spPr>
                <a:xfrm>
                  <a:off x="-4337504" y="3919740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1" name="Freeform: Shape 600">
                  <a:extLst>
                    <a:ext uri="{FF2B5EF4-FFF2-40B4-BE49-F238E27FC236}">
                      <a16:creationId xmlns:a16="http://schemas.microsoft.com/office/drawing/2014/main" id="{21055BD0-A889-7735-EEE3-6F6D57300AD6}"/>
                    </a:ext>
                  </a:extLst>
                </p:cNvPr>
                <p:cNvSpPr/>
                <p:nvPr/>
              </p:nvSpPr>
              <p:spPr>
                <a:xfrm>
                  <a:off x="-4337504" y="3973802"/>
                  <a:ext cx="324043" cy="41850"/>
                </a:xfrm>
                <a:custGeom>
                  <a:avLst/>
                  <a:gdLst>
                    <a:gd name="connsiteX0" fmla="*/ 324043 w 324043"/>
                    <a:gd name="connsiteY0" fmla="*/ 0 h 41850"/>
                    <a:gd name="connsiteX1" fmla="*/ 162022 w 324043"/>
                    <a:gd name="connsiteY1" fmla="*/ 41851 h 41850"/>
                    <a:gd name="connsiteX2" fmla="*/ 0 w 324043"/>
                    <a:gd name="connsiteY2" fmla="*/ 0 h 41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0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2" name="Freeform: Shape 601">
                  <a:extLst>
                    <a:ext uri="{FF2B5EF4-FFF2-40B4-BE49-F238E27FC236}">
                      <a16:creationId xmlns:a16="http://schemas.microsoft.com/office/drawing/2014/main" id="{BD714BB3-4A87-41A9-7FB0-07105E633012}"/>
                    </a:ext>
                  </a:extLst>
                </p:cNvPr>
                <p:cNvSpPr/>
                <p:nvPr/>
              </p:nvSpPr>
              <p:spPr>
                <a:xfrm>
                  <a:off x="-4337504" y="4027782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3" name="Freeform: Shape 602">
                  <a:extLst>
                    <a:ext uri="{FF2B5EF4-FFF2-40B4-BE49-F238E27FC236}">
                      <a16:creationId xmlns:a16="http://schemas.microsoft.com/office/drawing/2014/main" id="{83D01786-874D-331D-9A4F-190B97D7F5E2}"/>
                    </a:ext>
                  </a:extLst>
                </p:cNvPr>
                <p:cNvSpPr/>
                <p:nvPr/>
              </p:nvSpPr>
              <p:spPr>
                <a:xfrm>
                  <a:off x="-4337504" y="4081762"/>
                  <a:ext cx="324043" cy="41850"/>
                </a:xfrm>
                <a:custGeom>
                  <a:avLst/>
                  <a:gdLst>
                    <a:gd name="connsiteX0" fmla="*/ 324043 w 324043"/>
                    <a:gd name="connsiteY0" fmla="*/ 0 h 41850"/>
                    <a:gd name="connsiteX1" fmla="*/ 162022 w 324043"/>
                    <a:gd name="connsiteY1" fmla="*/ 41851 h 41850"/>
                    <a:gd name="connsiteX2" fmla="*/ 0 w 324043"/>
                    <a:gd name="connsiteY2" fmla="*/ 0 h 41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0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4" name="Freeform: Shape 603">
                  <a:extLst>
                    <a:ext uri="{FF2B5EF4-FFF2-40B4-BE49-F238E27FC236}">
                      <a16:creationId xmlns:a16="http://schemas.microsoft.com/office/drawing/2014/main" id="{43542796-6C00-73E1-819B-F2A91191E17C}"/>
                    </a:ext>
                  </a:extLst>
                </p:cNvPr>
                <p:cNvSpPr/>
                <p:nvPr/>
              </p:nvSpPr>
              <p:spPr>
                <a:xfrm>
                  <a:off x="-4337504" y="4135823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5" name="Freeform: Shape 604">
                  <a:extLst>
                    <a:ext uri="{FF2B5EF4-FFF2-40B4-BE49-F238E27FC236}">
                      <a16:creationId xmlns:a16="http://schemas.microsoft.com/office/drawing/2014/main" id="{97DA698C-585A-5CE1-2EEA-445D6EA8169B}"/>
                    </a:ext>
                  </a:extLst>
                </p:cNvPr>
                <p:cNvSpPr/>
                <p:nvPr/>
              </p:nvSpPr>
              <p:spPr>
                <a:xfrm>
                  <a:off x="-4337504" y="4189803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6" name="Freeform: Shape 605">
                  <a:extLst>
                    <a:ext uri="{FF2B5EF4-FFF2-40B4-BE49-F238E27FC236}">
                      <a16:creationId xmlns:a16="http://schemas.microsoft.com/office/drawing/2014/main" id="{7DB683DF-B4CD-E2DB-808C-9F6C9B2A34D2}"/>
                    </a:ext>
                  </a:extLst>
                </p:cNvPr>
                <p:cNvSpPr/>
                <p:nvPr/>
              </p:nvSpPr>
              <p:spPr>
                <a:xfrm>
                  <a:off x="-4337504" y="4243784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7" name="Freeform: Shape 606">
                  <a:extLst>
                    <a:ext uri="{FF2B5EF4-FFF2-40B4-BE49-F238E27FC236}">
                      <a16:creationId xmlns:a16="http://schemas.microsoft.com/office/drawing/2014/main" id="{317A5F8D-9C42-7D92-7FD6-162BD36B5F77}"/>
                    </a:ext>
                  </a:extLst>
                </p:cNvPr>
                <p:cNvSpPr/>
                <p:nvPr/>
              </p:nvSpPr>
              <p:spPr>
                <a:xfrm>
                  <a:off x="-4337504" y="4297844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8" name="Freeform: Shape 607">
                  <a:extLst>
                    <a:ext uri="{FF2B5EF4-FFF2-40B4-BE49-F238E27FC236}">
                      <a16:creationId xmlns:a16="http://schemas.microsoft.com/office/drawing/2014/main" id="{3F2E9C12-C8E1-5FA2-632C-539D82F31E3A}"/>
                    </a:ext>
                  </a:extLst>
                </p:cNvPr>
                <p:cNvSpPr/>
                <p:nvPr/>
              </p:nvSpPr>
              <p:spPr>
                <a:xfrm>
                  <a:off x="-4091861" y="3703739"/>
                  <a:ext cx="78400" cy="690097"/>
                </a:xfrm>
                <a:custGeom>
                  <a:avLst/>
                  <a:gdLst>
                    <a:gd name="connsiteX0" fmla="*/ 0 w 78400"/>
                    <a:gd name="connsiteY0" fmla="*/ 0 h 690097"/>
                    <a:gd name="connsiteX1" fmla="*/ 78400 w 78400"/>
                    <a:gd name="connsiteY1" fmla="*/ 0 h 690097"/>
                    <a:gd name="connsiteX2" fmla="*/ 78400 w 78400"/>
                    <a:gd name="connsiteY2" fmla="*/ 690098 h 690097"/>
                    <a:gd name="connsiteX3" fmla="*/ 0 w 78400"/>
                    <a:gd name="connsiteY3" fmla="*/ 690098 h 690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400" h="690097">
                      <a:moveTo>
                        <a:pt x="0" y="0"/>
                      </a:moveTo>
                      <a:lnTo>
                        <a:pt x="78400" y="0"/>
                      </a:lnTo>
                      <a:lnTo>
                        <a:pt x="78400" y="690098"/>
                      </a:lnTo>
                      <a:lnTo>
                        <a:pt x="0" y="690098"/>
                      </a:lnTo>
                      <a:close/>
                    </a:path>
                  </a:pathLst>
                </a:custGeom>
                <a:solidFill>
                  <a:srgbClr val="FADE78">
                    <a:alpha val="70000"/>
                  </a:srgbClr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9" name="Freeform: Shape 608">
                  <a:extLst>
                    <a:ext uri="{FF2B5EF4-FFF2-40B4-BE49-F238E27FC236}">
                      <a16:creationId xmlns:a16="http://schemas.microsoft.com/office/drawing/2014/main" id="{0A9FE051-FE64-907C-ECB7-07586F3F6AA0}"/>
                    </a:ext>
                  </a:extLst>
                </p:cNvPr>
                <p:cNvSpPr/>
                <p:nvPr/>
              </p:nvSpPr>
              <p:spPr>
                <a:xfrm>
                  <a:off x="-4337504" y="3703739"/>
                  <a:ext cx="39200" cy="690097"/>
                </a:xfrm>
                <a:custGeom>
                  <a:avLst/>
                  <a:gdLst>
                    <a:gd name="connsiteX0" fmla="*/ 0 w 39200"/>
                    <a:gd name="connsiteY0" fmla="*/ 0 h 690097"/>
                    <a:gd name="connsiteX1" fmla="*/ 39200 w 39200"/>
                    <a:gd name="connsiteY1" fmla="*/ 0 h 690097"/>
                    <a:gd name="connsiteX2" fmla="*/ 39200 w 39200"/>
                    <a:gd name="connsiteY2" fmla="*/ 690098 h 690097"/>
                    <a:gd name="connsiteX3" fmla="*/ 0 w 39200"/>
                    <a:gd name="connsiteY3" fmla="*/ 690098 h 690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200" h="690097">
                      <a:moveTo>
                        <a:pt x="0" y="0"/>
                      </a:moveTo>
                      <a:lnTo>
                        <a:pt x="39200" y="0"/>
                      </a:lnTo>
                      <a:lnTo>
                        <a:pt x="39200" y="690098"/>
                      </a:lnTo>
                      <a:lnTo>
                        <a:pt x="0" y="690098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0" name="Freeform: Shape 609">
                  <a:extLst>
                    <a:ext uri="{FF2B5EF4-FFF2-40B4-BE49-F238E27FC236}">
                      <a16:creationId xmlns:a16="http://schemas.microsoft.com/office/drawing/2014/main" id="{BEC953E1-D889-308B-CFF4-39783AA36772}"/>
                    </a:ext>
                  </a:extLst>
                </p:cNvPr>
                <p:cNvSpPr/>
                <p:nvPr/>
              </p:nvSpPr>
              <p:spPr>
                <a:xfrm>
                  <a:off x="-4337504" y="3661888"/>
                  <a:ext cx="324043" cy="83701"/>
                </a:xfrm>
                <a:custGeom>
                  <a:avLst/>
                  <a:gdLst>
                    <a:gd name="connsiteX0" fmla="*/ 324043 w 324043"/>
                    <a:gd name="connsiteY0" fmla="*/ 41851 h 83701"/>
                    <a:gd name="connsiteX1" fmla="*/ 162022 w 324043"/>
                    <a:gd name="connsiteY1" fmla="*/ 83702 h 83701"/>
                    <a:gd name="connsiteX2" fmla="*/ 0 w 324043"/>
                    <a:gd name="connsiteY2" fmla="*/ 41851 h 83701"/>
                    <a:gd name="connsiteX3" fmla="*/ 162022 w 324043"/>
                    <a:gd name="connsiteY3" fmla="*/ 0 h 83701"/>
                    <a:gd name="connsiteX4" fmla="*/ 324043 w 324043"/>
                    <a:gd name="connsiteY4" fmla="*/ 41851 h 83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043" h="83701">
                      <a:moveTo>
                        <a:pt x="324043" y="41851"/>
                      </a:moveTo>
                      <a:cubicBezTo>
                        <a:pt x="324043" y="64965"/>
                        <a:pt x="251504" y="83702"/>
                        <a:pt x="162022" y="83702"/>
                      </a:cubicBezTo>
                      <a:cubicBezTo>
                        <a:pt x="72540" y="83702"/>
                        <a:pt x="0" y="64965"/>
                        <a:pt x="0" y="41851"/>
                      </a:cubicBezTo>
                      <a:cubicBezTo>
                        <a:pt x="0" y="18738"/>
                        <a:pt x="72540" y="0"/>
                        <a:pt x="162022" y="0"/>
                      </a:cubicBezTo>
                      <a:cubicBezTo>
                        <a:pt x="251504" y="0"/>
                        <a:pt x="324043" y="18737"/>
                        <a:pt x="324043" y="41851"/>
                      </a:cubicBezTo>
                      <a:close/>
                    </a:path>
                  </a:pathLst>
                </a:custGeom>
                <a:solidFill>
                  <a:srgbClr val="FAAF3B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1" name="Freeform: Shape 610">
                  <a:extLst>
                    <a:ext uri="{FF2B5EF4-FFF2-40B4-BE49-F238E27FC236}">
                      <a16:creationId xmlns:a16="http://schemas.microsoft.com/office/drawing/2014/main" id="{4FD082CF-34C9-A572-EDEB-E504323DB6B7}"/>
                    </a:ext>
                  </a:extLst>
                </p:cNvPr>
                <p:cNvSpPr/>
                <p:nvPr/>
              </p:nvSpPr>
              <p:spPr>
                <a:xfrm>
                  <a:off x="-4337504" y="3703739"/>
                  <a:ext cx="324043" cy="41850"/>
                </a:xfrm>
                <a:custGeom>
                  <a:avLst/>
                  <a:gdLst>
                    <a:gd name="connsiteX0" fmla="*/ 324043 w 324043"/>
                    <a:gd name="connsiteY0" fmla="*/ 0 h 41850"/>
                    <a:gd name="connsiteX1" fmla="*/ 162022 w 324043"/>
                    <a:gd name="connsiteY1" fmla="*/ 41851 h 41850"/>
                    <a:gd name="connsiteX2" fmla="*/ 0 w 324043"/>
                    <a:gd name="connsiteY2" fmla="*/ 0 h 41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0">
                      <a:moveTo>
                        <a:pt x="324043" y="0"/>
                      </a:moveTo>
                      <a:cubicBezTo>
                        <a:pt x="324043" y="23134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4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38" name="Group 737">
              <a:extLst>
                <a:ext uri="{FF2B5EF4-FFF2-40B4-BE49-F238E27FC236}">
                  <a16:creationId xmlns:a16="http://schemas.microsoft.com/office/drawing/2014/main" id="{C07F69EA-86C5-6E04-61B0-303107EEDF88}"/>
                </a:ext>
              </a:extLst>
            </p:cNvPr>
            <p:cNvGrpSpPr/>
            <p:nvPr/>
          </p:nvGrpSpPr>
          <p:grpSpPr>
            <a:xfrm>
              <a:off x="-4614957" y="4250772"/>
              <a:ext cx="324124" cy="731948"/>
              <a:chOff x="-4614957" y="4250772"/>
              <a:chExt cx="324124" cy="731948"/>
            </a:xfrm>
          </p:grpSpPr>
          <p:sp>
            <p:nvSpPr>
              <p:cNvPr id="614" name="Freeform: Shape 613">
                <a:extLst>
                  <a:ext uri="{FF2B5EF4-FFF2-40B4-BE49-F238E27FC236}">
                    <a16:creationId xmlns:a16="http://schemas.microsoft.com/office/drawing/2014/main" id="{598FBA2E-8A7F-5197-D101-17FBEC31E11B}"/>
                  </a:ext>
                </a:extLst>
              </p:cNvPr>
              <p:cNvSpPr/>
              <p:nvPr/>
            </p:nvSpPr>
            <p:spPr>
              <a:xfrm>
                <a:off x="-4614876" y="4896127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5" name="Freeform: Shape 614">
                <a:extLst>
                  <a:ext uri="{FF2B5EF4-FFF2-40B4-BE49-F238E27FC236}">
                    <a16:creationId xmlns:a16="http://schemas.microsoft.com/office/drawing/2014/main" id="{B3F5D86C-4E77-2982-DE3E-89C2578AC54B}"/>
                  </a:ext>
                </a:extLst>
              </p:cNvPr>
              <p:cNvSpPr/>
              <p:nvPr/>
            </p:nvSpPr>
            <p:spPr>
              <a:xfrm>
                <a:off x="-4614876" y="4292623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6 h 645355"/>
                  <a:gd name="connsiteX3" fmla="*/ 0 w 324043"/>
                  <a:gd name="connsiteY3" fmla="*/ 645356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6"/>
                    </a:lnTo>
                    <a:lnTo>
                      <a:pt x="0" y="645356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6" name="Freeform: Shape 615">
                <a:extLst>
                  <a:ext uri="{FF2B5EF4-FFF2-40B4-BE49-F238E27FC236}">
                    <a16:creationId xmlns:a16="http://schemas.microsoft.com/office/drawing/2014/main" id="{B92B19CD-F753-A9EA-784B-E605A8051F8B}"/>
                  </a:ext>
                </a:extLst>
              </p:cNvPr>
              <p:cNvSpPr/>
              <p:nvPr/>
            </p:nvSpPr>
            <p:spPr>
              <a:xfrm>
                <a:off x="-4614957" y="434668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7" name="Freeform: Shape 616">
                <a:extLst>
                  <a:ext uri="{FF2B5EF4-FFF2-40B4-BE49-F238E27FC236}">
                    <a16:creationId xmlns:a16="http://schemas.microsoft.com/office/drawing/2014/main" id="{3DE46A47-C606-C079-689A-6EE1C2432DDF}"/>
                  </a:ext>
                </a:extLst>
              </p:cNvPr>
              <p:cNvSpPr/>
              <p:nvPr/>
            </p:nvSpPr>
            <p:spPr>
              <a:xfrm>
                <a:off x="-4614957" y="44006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8" name="Freeform: Shape 617">
                <a:extLst>
                  <a:ext uri="{FF2B5EF4-FFF2-40B4-BE49-F238E27FC236}">
                    <a16:creationId xmlns:a16="http://schemas.microsoft.com/office/drawing/2014/main" id="{C44CBFA6-E7E4-2D43-3A86-72CE585BE2DE}"/>
                  </a:ext>
                </a:extLst>
              </p:cNvPr>
              <p:cNvSpPr/>
              <p:nvPr/>
            </p:nvSpPr>
            <p:spPr>
              <a:xfrm>
                <a:off x="-4614957" y="445464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9" name="Freeform: Shape 618">
                <a:extLst>
                  <a:ext uri="{FF2B5EF4-FFF2-40B4-BE49-F238E27FC236}">
                    <a16:creationId xmlns:a16="http://schemas.microsoft.com/office/drawing/2014/main" id="{08FB4A54-01C9-F5ED-CB55-A66BF637A616}"/>
                  </a:ext>
                </a:extLst>
              </p:cNvPr>
              <p:cNvSpPr/>
              <p:nvPr/>
            </p:nvSpPr>
            <p:spPr>
              <a:xfrm>
                <a:off x="-4614957" y="450870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0" name="Freeform: Shape 619">
                <a:extLst>
                  <a:ext uri="{FF2B5EF4-FFF2-40B4-BE49-F238E27FC236}">
                    <a16:creationId xmlns:a16="http://schemas.microsoft.com/office/drawing/2014/main" id="{E23C3173-C438-8222-ECA3-750D677AF492}"/>
                  </a:ext>
                </a:extLst>
              </p:cNvPr>
              <p:cNvSpPr/>
              <p:nvPr/>
            </p:nvSpPr>
            <p:spPr>
              <a:xfrm>
                <a:off x="-4614957" y="456268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1" name="Freeform: Shape 620">
                <a:extLst>
                  <a:ext uri="{FF2B5EF4-FFF2-40B4-BE49-F238E27FC236}">
                    <a16:creationId xmlns:a16="http://schemas.microsoft.com/office/drawing/2014/main" id="{21E8BBA5-56D3-E8B5-E23E-55437764FCC9}"/>
                  </a:ext>
                </a:extLst>
              </p:cNvPr>
              <p:cNvSpPr/>
              <p:nvPr/>
            </p:nvSpPr>
            <p:spPr>
              <a:xfrm>
                <a:off x="-4614957" y="461666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2" name="Freeform: Shape 621">
                <a:extLst>
                  <a:ext uri="{FF2B5EF4-FFF2-40B4-BE49-F238E27FC236}">
                    <a16:creationId xmlns:a16="http://schemas.microsoft.com/office/drawing/2014/main" id="{29A136DD-CF64-2C7B-9B7C-C513284571A5}"/>
                  </a:ext>
                </a:extLst>
              </p:cNvPr>
              <p:cNvSpPr/>
              <p:nvPr/>
            </p:nvSpPr>
            <p:spPr>
              <a:xfrm>
                <a:off x="-4614957" y="467072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3" name="Freeform: Shape 622">
                <a:extLst>
                  <a:ext uri="{FF2B5EF4-FFF2-40B4-BE49-F238E27FC236}">
                    <a16:creationId xmlns:a16="http://schemas.microsoft.com/office/drawing/2014/main" id="{4130B0D7-A45E-A556-7A30-01F50DB26429}"/>
                  </a:ext>
                </a:extLst>
              </p:cNvPr>
              <p:cNvSpPr/>
              <p:nvPr/>
            </p:nvSpPr>
            <p:spPr>
              <a:xfrm>
                <a:off x="-4614957" y="472470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4" name="Freeform: Shape 623">
                <a:extLst>
                  <a:ext uri="{FF2B5EF4-FFF2-40B4-BE49-F238E27FC236}">
                    <a16:creationId xmlns:a16="http://schemas.microsoft.com/office/drawing/2014/main" id="{89C25015-DDF7-5FBD-5270-CF8C1F6CD643}"/>
                  </a:ext>
                </a:extLst>
              </p:cNvPr>
              <p:cNvSpPr/>
              <p:nvPr/>
            </p:nvSpPr>
            <p:spPr>
              <a:xfrm>
                <a:off x="-4614957" y="477868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5" name="Freeform: Shape 624">
                <a:extLst>
                  <a:ext uri="{FF2B5EF4-FFF2-40B4-BE49-F238E27FC236}">
                    <a16:creationId xmlns:a16="http://schemas.microsoft.com/office/drawing/2014/main" id="{39C54029-53FE-20E6-678A-9E13E608A29E}"/>
                  </a:ext>
                </a:extLst>
              </p:cNvPr>
              <p:cNvSpPr/>
              <p:nvPr/>
            </p:nvSpPr>
            <p:spPr>
              <a:xfrm>
                <a:off x="-4614957" y="483266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6" name="Freeform: Shape 625">
                <a:extLst>
                  <a:ext uri="{FF2B5EF4-FFF2-40B4-BE49-F238E27FC236}">
                    <a16:creationId xmlns:a16="http://schemas.microsoft.com/office/drawing/2014/main" id="{F6633B4A-6D0B-70E6-2AF2-C888D00D3E15}"/>
                  </a:ext>
                </a:extLst>
              </p:cNvPr>
              <p:cNvSpPr/>
              <p:nvPr/>
            </p:nvSpPr>
            <p:spPr>
              <a:xfrm>
                <a:off x="-4614957" y="488672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7" name="Freeform: Shape 626">
                <a:extLst>
                  <a:ext uri="{FF2B5EF4-FFF2-40B4-BE49-F238E27FC236}">
                    <a16:creationId xmlns:a16="http://schemas.microsoft.com/office/drawing/2014/main" id="{F4C22BA4-63FA-CF37-DFE1-4F9D00F13154}"/>
                  </a:ext>
                </a:extLst>
              </p:cNvPr>
              <p:cNvSpPr/>
              <p:nvPr/>
            </p:nvSpPr>
            <p:spPr>
              <a:xfrm>
                <a:off x="-4369314" y="4292623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9" name="Freeform: Shape 628">
                <a:extLst>
                  <a:ext uri="{FF2B5EF4-FFF2-40B4-BE49-F238E27FC236}">
                    <a16:creationId xmlns:a16="http://schemas.microsoft.com/office/drawing/2014/main" id="{77D3208D-9536-094F-BEB2-184727C717EB}"/>
                  </a:ext>
                </a:extLst>
              </p:cNvPr>
              <p:cNvSpPr/>
              <p:nvPr/>
            </p:nvSpPr>
            <p:spPr>
              <a:xfrm>
                <a:off x="-4614876" y="4250772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0" name="Freeform: Shape 629">
                <a:extLst>
                  <a:ext uri="{FF2B5EF4-FFF2-40B4-BE49-F238E27FC236}">
                    <a16:creationId xmlns:a16="http://schemas.microsoft.com/office/drawing/2014/main" id="{759DAA99-C279-D44C-D09E-7D114898C848}"/>
                  </a:ext>
                </a:extLst>
              </p:cNvPr>
              <p:cNvSpPr/>
              <p:nvPr/>
            </p:nvSpPr>
            <p:spPr>
              <a:xfrm>
                <a:off x="-4614957" y="429262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7" name="Group 736">
              <a:extLst>
                <a:ext uri="{FF2B5EF4-FFF2-40B4-BE49-F238E27FC236}">
                  <a16:creationId xmlns:a16="http://schemas.microsoft.com/office/drawing/2014/main" id="{AEC4D15A-1D92-6BC6-AF19-469F766C7120}"/>
                </a:ext>
              </a:extLst>
            </p:cNvPr>
            <p:cNvGrpSpPr/>
            <p:nvPr/>
          </p:nvGrpSpPr>
          <p:grpSpPr>
            <a:xfrm>
              <a:off x="-4614957" y="3706711"/>
              <a:ext cx="324124" cy="731948"/>
              <a:chOff x="-4614957" y="3706711"/>
              <a:chExt cx="324124" cy="731948"/>
            </a:xfrm>
          </p:grpSpPr>
          <p:sp>
            <p:nvSpPr>
              <p:cNvPr id="632" name="Freeform: Shape 631">
                <a:extLst>
                  <a:ext uri="{FF2B5EF4-FFF2-40B4-BE49-F238E27FC236}">
                    <a16:creationId xmlns:a16="http://schemas.microsoft.com/office/drawing/2014/main" id="{2B6690DA-8B0A-0910-72EF-684103CD0A45}"/>
                  </a:ext>
                </a:extLst>
              </p:cNvPr>
              <p:cNvSpPr/>
              <p:nvPr/>
            </p:nvSpPr>
            <p:spPr>
              <a:xfrm>
                <a:off x="-4614876" y="4352066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3" name="Freeform: Shape 632">
                <a:extLst>
                  <a:ext uri="{FF2B5EF4-FFF2-40B4-BE49-F238E27FC236}">
                    <a16:creationId xmlns:a16="http://schemas.microsoft.com/office/drawing/2014/main" id="{B4A6509D-1B75-088C-A400-D97F366E2A0C}"/>
                  </a:ext>
                </a:extLst>
              </p:cNvPr>
              <p:cNvSpPr/>
              <p:nvPr/>
            </p:nvSpPr>
            <p:spPr>
              <a:xfrm>
                <a:off x="-4614876" y="3748562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4" name="Freeform: Shape 633">
                <a:extLst>
                  <a:ext uri="{FF2B5EF4-FFF2-40B4-BE49-F238E27FC236}">
                    <a16:creationId xmlns:a16="http://schemas.microsoft.com/office/drawing/2014/main" id="{A4BCCB72-330B-BA68-1F05-BAB108D7082C}"/>
                  </a:ext>
                </a:extLst>
              </p:cNvPr>
              <p:cNvSpPr/>
              <p:nvPr/>
            </p:nvSpPr>
            <p:spPr>
              <a:xfrm>
                <a:off x="-4614957" y="3802542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5" name="Freeform: Shape 634">
                <a:extLst>
                  <a:ext uri="{FF2B5EF4-FFF2-40B4-BE49-F238E27FC236}">
                    <a16:creationId xmlns:a16="http://schemas.microsoft.com/office/drawing/2014/main" id="{1FF78462-D48E-BE33-E6AC-BDB5B57459A7}"/>
                  </a:ext>
                </a:extLst>
              </p:cNvPr>
              <p:cNvSpPr/>
              <p:nvPr/>
            </p:nvSpPr>
            <p:spPr>
              <a:xfrm>
                <a:off x="-4614957" y="3856603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6" name="Freeform: Shape 635">
                <a:extLst>
                  <a:ext uri="{FF2B5EF4-FFF2-40B4-BE49-F238E27FC236}">
                    <a16:creationId xmlns:a16="http://schemas.microsoft.com/office/drawing/2014/main" id="{92F09291-F66A-0820-C8A2-D2214DF32B18}"/>
                  </a:ext>
                </a:extLst>
              </p:cNvPr>
              <p:cNvSpPr/>
              <p:nvPr/>
            </p:nvSpPr>
            <p:spPr>
              <a:xfrm>
                <a:off x="-4614957" y="391058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7" name="Freeform: Shape 636">
                <a:extLst>
                  <a:ext uri="{FF2B5EF4-FFF2-40B4-BE49-F238E27FC236}">
                    <a16:creationId xmlns:a16="http://schemas.microsoft.com/office/drawing/2014/main" id="{8B0959D1-48A1-9651-9F6E-224AE7B8685A}"/>
                  </a:ext>
                </a:extLst>
              </p:cNvPr>
              <p:cNvSpPr/>
              <p:nvPr/>
            </p:nvSpPr>
            <p:spPr>
              <a:xfrm>
                <a:off x="-4614957" y="39645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8" name="Freeform: Shape 637">
                <a:extLst>
                  <a:ext uri="{FF2B5EF4-FFF2-40B4-BE49-F238E27FC236}">
                    <a16:creationId xmlns:a16="http://schemas.microsoft.com/office/drawing/2014/main" id="{06014313-BFF8-01A1-75B4-A5F1C96DFAC6}"/>
                  </a:ext>
                </a:extLst>
              </p:cNvPr>
              <p:cNvSpPr/>
              <p:nvPr/>
            </p:nvSpPr>
            <p:spPr>
              <a:xfrm>
                <a:off x="-4614957" y="401862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9" name="Freeform: Shape 638">
                <a:extLst>
                  <a:ext uri="{FF2B5EF4-FFF2-40B4-BE49-F238E27FC236}">
                    <a16:creationId xmlns:a16="http://schemas.microsoft.com/office/drawing/2014/main" id="{69340F31-F7B1-0D58-9953-E63815CA91A9}"/>
                  </a:ext>
                </a:extLst>
              </p:cNvPr>
              <p:cNvSpPr/>
              <p:nvPr/>
            </p:nvSpPr>
            <p:spPr>
              <a:xfrm>
                <a:off x="-4614957" y="407260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0" name="Freeform: Shape 639">
                <a:extLst>
                  <a:ext uri="{FF2B5EF4-FFF2-40B4-BE49-F238E27FC236}">
                    <a16:creationId xmlns:a16="http://schemas.microsoft.com/office/drawing/2014/main" id="{0852B7DA-1104-9E6B-F223-AE10021561F9}"/>
                  </a:ext>
                </a:extLst>
              </p:cNvPr>
              <p:cNvSpPr/>
              <p:nvPr/>
            </p:nvSpPr>
            <p:spPr>
              <a:xfrm>
                <a:off x="-4614957" y="412658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1" name="Freeform: Shape 640">
                <a:extLst>
                  <a:ext uri="{FF2B5EF4-FFF2-40B4-BE49-F238E27FC236}">
                    <a16:creationId xmlns:a16="http://schemas.microsoft.com/office/drawing/2014/main" id="{6AFD80D6-66B8-6D05-FAA8-0C29FC20987B}"/>
                  </a:ext>
                </a:extLst>
              </p:cNvPr>
              <p:cNvSpPr/>
              <p:nvPr/>
            </p:nvSpPr>
            <p:spPr>
              <a:xfrm>
                <a:off x="-4614957" y="418056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2" name="Freeform: Shape 641">
                <a:extLst>
                  <a:ext uri="{FF2B5EF4-FFF2-40B4-BE49-F238E27FC236}">
                    <a16:creationId xmlns:a16="http://schemas.microsoft.com/office/drawing/2014/main" id="{6B18624B-2145-F851-2338-21FBC520B6F4}"/>
                  </a:ext>
                </a:extLst>
              </p:cNvPr>
              <p:cNvSpPr/>
              <p:nvPr/>
            </p:nvSpPr>
            <p:spPr>
              <a:xfrm>
                <a:off x="-4614957" y="423462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3" name="Freeform: Shape 642">
                <a:extLst>
                  <a:ext uri="{FF2B5EF4-FFF2-40B4-BE49-F238E27FC236}">
                    <a16:creationId xmlns:a16="http://schemas.microsoft.com/office/drawing/2014/main" id="{48AB50DD-0603-7C28-92BA-B3E20375D346}"/>
                  </a:ext>
                </a:extLst>
              </p:cNvPr>
              <p:cNvSpPr/>
              <p:nvPr/>
            </p:nvSpPr>
            <p:spPr>
              <a:xfrm>
                <a:off x="-4614957" y="428860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4" name="Freeform: Shape 643">
                <a:extLst>
                  <a:ext uri="{FF2B5EF4-FFF2-40B4-BE49-F238E27FC236}">
                    <a16:creationId xmlns:a16="http://schemas.microsoft.com/office/drawing/2014/main" id="{C7E42562-A5E9-0C0C-86AF-894C18079916}"/>
                  </a:ext>
                </a:extLst>
              </p:cNvPr>
              <p:cNvSpPr/>
              <p:nvPr/>
            </p:nvSpPr>
            <p:spPr>
              <a:xfrm>
                <a:off x="-4614876" y="4342587"/>
                <a:ext cx="323962" cy="41851"/>
              </a:xfrm>
              <a:custGeom>
                <a:avLst/>
                <a:gdLst>
                  <a:gd name="connsiteX0" fmla="*/ 323963 w 323962"/>
                  <a:gd name="connsiteY0" fmla="*/ 0 h 41851"/>
                  <a:gd name="connsiteX1" fmla="*/ 161941 w 323962"/>
                  <a:gd name="connsiteY1" fmla="*/ 41851 h 41851"/>
                  <a:gd name="connsiteX2" fmla="*/ 0 w 323962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3962" h="41851">
                    <a:moveTo>
                      <a:pt x="323963" y="0"/>
                    </a:moveTo>
                    <a:cubicBezTo>
                      <a:pt x="323963" y="23135"/>
                      <a:pt x="251427" y="41851"/>
                      <a:pt x="161941" y="41851"/>
                    </a:cubicBezTo>
                    <a:cubicBezTo>
                      <a:pt x="7245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5" name="Freeform: Shape 644">
                <a:extLst>
                  <a:ext uri="{FF2B5EF4-FFF2-40B4-BE49-F238E27FC236}">
                    <a16:creationId xmlns:a16="http://schemas.microsoft.com/office/drawing/2014/main" id="{628C0118-FDD0-6CEC-DB52-DAC85F2A1000}"/>
                  </a:ext>
                </a:extLst>
              </p:cNvPr>
              <p:cNvSpPr/>
              <p:nvPr/>
            </p:nvSpPr>
            <p:spPr>
              <a:xfrm>
                <a:off x="-4369314" y="3748562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7 h 690097"/>
                  <a:gd name="connsiteX3" fmla="*/ 0 w 78400"/>
                  <a:gd name="connsiteY3" fmla="*/ 690097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7"/>
                    </a:lnTo>
                    <a:lnTo>
                      <a:pt x="0" y="690097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7" name="Freeform: Shape 646">
                <a:extLst>
                  <a:ext uri="{FF2B5EF4-FFF2-40B4-BE49-F238E27FC236}">
                    <a16:creationId xmlns:a16="http://schemas.microsoft.com/office/drawing/2014/main" id="{A75A12F9-0DA7-D0BB-1A86-5F5BA9F2F6BF}"/>
                  </a:ext>
                </a:extLst>
              </p:cNvPr>
              <p:cNvSpPr/>
              <p:nvPr/>
            </p:nvSpPr>
            <p:spPr>
              <a:xfrm>
                <a:off x="-4614876" y="3706711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8" name="Freeform: Shape 647">
                <a:extLst>
                  <a:ext uri="{FF2B5EF4-FFF2-40B4-BE49-F238E27FC236}">
                    <a16:creationId xmlns:a16="http://schemas.microsoft.com/office/drawing/2014/main" id="{AD2B7CE7-A948-B0E2-B546-F3F86DDFF6CC}"/>
                  </a:ext>
                </a:extLst>
              </p:cNvPr>
              <p:cNvSpPr/>
              <p:nvPr/>
            </p:nvSpPr>
            <p:spPr>
              <a:xfrm>
                <a:off x="-4614957" y="374856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6" name="Group 735">
              <a:extLst>
                <a:ext uri="{FF2B5EF4-FFF2-40B4-BE49-F238E27FC236}">
                  <a16:creationId xmlns:a16="http://schemas.microsoft.com/office/drawing/2014/main" id="{224BCB0A-B7F9-B42D-C297-0C7CBE5AD866}"/>
                </a:ext>
              </a:extLst>
            </p:cNvPr>
            <p:cNvGrpSpPr/>
            <p:nvPr/>
          </p:nvGrpSpPr>
          <p:grpSpPr>
            <a:xfrm>
              <a:off x="-5116685" y="4319292"/>
              <a:ext cx="324043" cy="731948"/>
              <a:chOff x="-5116685" y="4319292"/>
              <a:chExt cx="324043" cy="731948"/>
            </a:xfrm>
          </p:grpSpPr>
          <p:sp>
            <p:nvSpPr>
              <p:cNvPr id="650" name="Freeform: Shape 649">
                <a:extLst>
                  <a:ext uri="{FF2B5EF4-FFF2-40B4-BE49-F238E27FC236}">
                    <a16:creationId xmlns:a16="http://schemas.microsoft.com/office/drawing/2014/main" id="{559DCF39-FB79-36B1-5033-F39DB9058C37}"/>
                  </a:ext>
                </a:extLst>
              </p:cNvPr>
              <p:cNvSpPr/>
              <p:nvPr/>
            </p:nvSpPr>
            <p:spPr>
              <a:xfrm>
                <a:off x="-5116685" y="4964647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1" name="Freeform: Shape 650">
                <a:extLst>
                  <a:ext uri="{FF2B5EF4-FFF2-40B4-BE49-F238E27FC236}">
                    <a16:creationId xmlns:a16="http://schemas.microsoft.com/office/drawing/2014/main" id="{5977B402-84A4-2F96-E000-7BC5A74D4B0C}"/>
                  </a:ext>
                </a:extLst>
              </p:cNvPr>
              <p:cNvSpPr/>
              <p:nvPr/>
            </p:nvSpPr>
            <p:spPr>
              <a:xfrm>
                <a:off x="-5116685" y="4361143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2" name="Freeform: Shape 651">
                <a:extLst>
                  <a:ext uri="{FF2B5EF4-FFF2-40B4-BE49-F238E27FC236}">
                    <a16:creationId xmlns:a16="http://schemas.microsoft.com/office/drawing/2014/main" id="{E87C0423-77E1-EC03-F9BD-A113EC979EAB}"/>
                  </a:ext>
                </a:extLst>
              </p:cNvPr>
              <p:cNvSpPr/>
              <p:nvPr/>
            </p:nvSpPr>
            <p:spPr>
              <a:xfrm>
                <a:off x="-5116685" y="4415203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2873BC0A-F277-8764-465F-07D9B08B7868}"/>
                  </a:ext>
                </a:extLst>
              </p:cNvPr>
              <p:cNvSpPr/>
              <p:nvPr/>
            </p:nvSpPr>
            <p:spPr>
              <a:xfrm>
                <a:off x="-5116685" y="446918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A6CE574E-8A11-0B30-C03F-D711E7566B71}"/>
                  </a:ext>
                </a:extLst>
              </p:cNvPr>
              <p:cNvSpPr/>
              <p:nvPr/>
            </p:nvSpPr>
            <p:spPr>
              <a:xfrm>
                <a:off x="-5116685" y="45231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F8B4FDCB-D649-E05E-E267-E86C6C9082FF}"/>
                  </a:ext>
                </a:extLst>
              </p:cNvPr>
              <p:cNvSpPr/>
              <p:nvPr/>
            </p:nvSpPr>
            <p:spPr>
              <a:xfrm>
                <a:off x="-5116685" y="457722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6" name="Freeform: Shape 655">
                <a:extLst>
                  <a:ext uri="{FF2B5EF4-FFF2-40B4-BE49-F238E27FC236}">
                    <a16:creationId xmlns:a16="http://schemas.microsoft.com/office/drawing/2014/main" id="{484E0D59-7267-4A58-00C2-AC59666152F9}"/>
                  </a:ext>
                </a:extLst>
              </p:cNvPr>
              <p:cNvSpPr/>
              <p:nvPr/>
            </p:nvSpPr>
            <p:spPr>
              <a:xfrm>
                <a:off x="-5116685" y="463120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7" name="Freeform: Shape 656">
                <a:extLst>
                  <a:ext uri="{FF2B5EF4-FFF2-40B4-BE49-F238E27FC236}">
                    <a16:creationId xmlns:a16="http://schemas.microsoft.com/office/drawing/2014/main" id="{50A552AA-CD8F-719F-C36D-038D09697366}"/>
                  </a:ext>
                </a:extLst>
              </p:cNvPr>
              <p:cNvSpPr/>
              <p:nvPr/>
            </p:nvSpPr>
            <p:spPr>
              <a:xfrm>
                <a:off x="-5116685" y="468518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8" name="Freeform: Shape 657">
                <a:extLst>
                  <a:ext uri="{FF2B5EF4-FFF2-40B4-BE49-F238E27FC236}">
                    <a16:creationId xmlns:a16="http://schemas.microsoft.com/office/drawing/2014/main" id="{903F75DB-B2B9-9C25-27A5-C53A9C732173}"/>
                  </a:ext>
                </a:extLst>
              </p:cNvPr>
              <p:cNvSpPr/>
              <p:nvPr/>
            </p:nvSpPr>
            <p:spPr>
              <a:xfrm>
                <a:off x="-5116685" y="473924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9" name="Freeform: Shape 658">
                <a:extLst>
                  <a:ext uri="{FF2B5EF4-FFF2-40B4-BE49-F238E27FC236}">
                    <a16:creationId xmlns:a16="http://schemas.microsoft.com/office/drawing/2014/main" id="{EA9988A3-B269-1551-A848-0EE5016B0243}"/>
                  </a:ext>
                </a:extLst>
              </p:cNvPr>
              <p:cNvSpPr/>
              <p:nvPr/>
            </p:nvSpPr>
            <p:spPr>
              <a:xfrm>
                <a:off x="-5116685" y="479322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0" name="Freeform: Shape 659">
                <a:extLst>
                  <a:ext uri="{FF2B5EF4-FFF2-40B4-BE49-F238E27FC236}">
                    <a16:creationId xmlns:a16="http://schemas.microsoft.com/office/drawing/2014/main" id="{4311D4FB-D460-9A45-B677-518A98CBACD2}"/>
                  </a:ext>
                </a:extLst>
              </p:cNvPr>
              <p:cNvSpPr/>
              <p:nvPr/>
            </p:nvSpPr>
            <p:spPr>
              <a:xfrm>
                <a:off x="-5116685" y="484720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1" name="Freeform: Shape 660">
                <a:extLst>
                  <a:ext uri="{FF2B5EF4-FFF2-40B4-BE49-F238E27FC236}">
                    <a16:creationId xmlns:a16="http://schemas.microsoft.com/office/drawing/2014/main" id="{41D592EB-3445-1BA4-6638-19DBC15AABA6}"/>
                  </a:ext>
                </a:extLst>
              </p:cNvPr>
              <p:cNvSpPr/>
              <p:nvPr/>
            </p:nvSpPr>
            <p:spPr>
              <a:xfrm>
                <a:off x="-5116685" y="490118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2" name="Freeform: Shape 661">
                <a:extLst>
                  <a:ext uri="{FF2B5EF4-FFF2-40B4-BE49-F238E27FC236}">
                    <a16:creationId xmlns:a16="http://schemas.microsoft.com/office/drawing/2014/main" id="{8D583B73-6E0F-278B-5459-A459C420911B}"/>
                  </a:ext>
                </a:extLst>
              </p:cNvPr>
              <p:cNvSpPr/>
              <p:nvPr/>
            </p:nvSpPr>
            <p:spPr>
              <a:xfrm>
                <a:off x="-5116685" y="495524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3" name="Freeform: Shape 662">
                <a:extLst>
                  <a:ext uri="{FF2B5EF4-FFF2-40B4-BE49-F238E27FC236}">
                    <a16:creationId xmlns:a16="http://schemas.microsoft.com/office/drawing/2014/main" id="{1CFCAC4B-FE6B-610F-E76E-12E9FDD6E8D9}"/>
                  </a:ext>
                </a:extLst>
              </p:cNvPr>
              <p:cNvSpPr/>
              <p:nvPr/>
            </p:nvSpPr>
            <p:spPr>
              <a:xfrm>
                <a:off x="-4871042" y="4361143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5" name="Freeform: Shape 664">
                <a:extLst>
                  <a:ext uri="{FF2B5EF4-FFF2-40B4-BE49-F238E27FC236}">
                    <a16:creationId xmlns:a16="http://schemas.microsoft.com/office/drawing/2014/main" id="{AB4294A7-2F0B-57AD-279A-B42375151788}"/>
                  </a:ext>
                </a:extLst>
              </p:cNvPr>
              <p:cNvSpPr/>
              <p:nvPr/>
            </p:nvSpPr>
            <p:spPr>
              <a:xfrm>
                <a:off x="-5116685" y="4319292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6" name="Freeform: Shape 665">
                <a:extLst>
                  <a:ext uri="{FF2B5EF4-FFF2-40B4-BE49-F238E27FC236}">
                    <a16:creationId xmlns:a16="http://schemas.microsoft.com/office/drawing/2014/main" id="{E2792763-5076-37FC-EAEB-ED9EF455806D}"/>
                  </a:ext>
                </a:extLst>
              </p:cNvPr>
              <p:cNvSpPr/>
              <p:nvPr/>
            </p:nvSpPr>
            <p:spPr>
              <a:xfrm>
                <a:off x="-5116685" y="4361143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5" name="Group 734">
              <a:extLst>
                <a:ext uri="{FF2B5EF4-FFF2-40B4-BE49-F238E27FC236}">
                  <a16:creationId xmlns:a16="http://schemas.microsoft.com/office/drawing/2014/main" id="{18297139-0210-D125-FA8E-ADD4ED2EFA26}"/>
                </a:ext>
              </a:extLst>
            </p:cNvPr>
            <p:cNvGrpSpPr/>
            <p:nvPr/>
          </p:nvGrpSpPr>
          <p:grpSpPr>
            <a:xfrm>
              <a:off x="-4137889" y="4116464"/>
              <a:ext cx="324043" cy="731948"/>
              <a:chOff x="-4137889" y="4116464"/>
              <a:chExt cx="324043" cy="731948"/>
            </a:xfrm>
          </p:grpSpPr>
          <p:sp>
            <p:nvSpPr>
              <p:cNvPr id="687" name="Freeform: Shape 686">
                <a:extLst>
                  <a:ext uri="{FF2B5EF4-FFF2-40B4-BE49-F238E27FC236}">
                    <a16:creationId xmlns:a16="http://schemas.microsoft.com/office/drawing/2014/main" id="{7BF59BCB-8E3A-C481-CD9A-42EF0FB6041D}"/>
                  </a:ext>
                </a:extLst>
              </p:cNvPr>
              <p:cNvSpPr/>
              <p:nvPr/>
            </p:nvSpPr>
            <p:spPr>
              <a:xfrm>
                <a:off x="-4137889" y="4761819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8" name="Freeform: Shape 687">
                <a:extLst>
                  <a:ext uri="{FF2B5EF4-FFF2-40B4-BE49-F238E27FC236}">
                    <a16:creationId xmlns:a16="http://schemas.microsoft.com/office/drawing/2014/main" id="{907E71C8-ADD8-4B37-F9F4-0EDA405CD54E}"/>
                  </a:ext>
                </a:extLst>
              </p:cNvPr>
              <p:cNvSpPr/>
              <p:nvPr/>
            </p:nvSpPr>
            <p:spPr>
              <a:xfrm>
                <a:off x="-4137889" y="4158315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9" name="Freeform: Shape 688">
                <a:extLst>
                  <a:ext uri="{FF2B5EF4-FFF2-40B4-BE49-F238E27FC236}">
                    <a16:creationId xmlns:a16="http://schemas.microsoft.com/office/drawing/2014/main" id="{05DE3325-DE2B-E63F-CA71-0AF6BD5235AE}"/>
                  </a:ext>
                </a:extLst>
              </p:cNvPr>
              <p:cNvSpPr/>
              <p:nvPr/>
            </p:nvSpPr>
            <p:spPr>
              <a:xfrm>
                <a:off x="-4137889" y="421237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0" name="Freeform: Shape 689">
                <a:extLst>
                  <a:ext uri="{FF2B5EF4-FFF2-40B4-BE49-F238E27FC236}">
                    <a16:creationId xmlns:a16="http://schemas.microsoft.com/office/drawing/2014/main" id="{93B5629F-4AC2-CA86-D99C-68CE0B66AA18}"/>
                  </a:ext>
                </a:extLst>
              </p:cNvPr>
              <p:cNvSpPr/>
              <p:nvPr/>
            </p:nvSpPr>
            <p:spPr>
              <a:xfrm>
                <a:off x="-4137889" y="426635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1" name="Freeform: Shape 690">
                <a:extLst>
                  <a:ext uri="{FF2B5EF4-FFF2-40B4-BE49-F238E27FC236}">
                    <a16:creationId xmlns:a16="http://schemas.microsoft.com/office/drawing/2014/main" id="{EC5DD424-2AA6-35E7-E26D-A4D10A986DBA}"/>
                  </a:ext>
                </a:extLst>
              </p:cNvPr>
              <p:cNvSpPr/>
              <p:nvPr/>
            </p:nvSpPr>
            <p:spPr>
              <a:xfrm>
                <a:off x="-4137889" y="432033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2" name="Freeform: Shape 691">
                <a:extLst>
                  <a:ext uri="{FF2B5EF4-FFF2-40B4-BE49-F238E27FC236}">
                    <a16:creationId xmlns:a16="http://schemas.microsoft.com/office/drawing/2014/main" id="{4BF118C7-51CF-296A-28B3-E37BC83A8C83}"/>
                  </a:ext>
                </a:extLst>
              </p:cNvPr>
              <p:cNvSpPr/>
              <p:nvPr/>
            </p:nvSpPr>
            <p:spPr>
              <a:xfrm>
                <a:off x="-4137889" y="437439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3" name="Freeform: Shape 692">
                <a:extLst>
                  <a:ext uri="{FF2B5EF4-FFF2-40B4-BE49-F238E27FC236}">
                    <a16:creationId xmlns:a16="http://schemas.microsoft.com/office/drawing/2014/main" id="{C6E5BF58-7E9E-CFD3-5ABD-0120FA25F115}"/>
                  </a:ext>
                </a:extLst>
              </p:cNvPr>
              <p:cNvSpPr/>
              <p:nvPr/>
            </p:nvSpPr>
            <p:spPr>
              <a:xfrm>
                <a:off x="-4137889" y="442837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4" name="Freeform: Shape 693">
                <a:extLst>
                  <a:ext uri="{FF2B5EF4-FFF2-40B4-BE49-F238E27FC236}">
                    <a16:creationId xmlns:a16="http://schemas.microsoft.com/office/drawing/2014/main" id="{DB736C27-FF05-C5AD-9C44-23450A5D286F}"/>
                  </a:ext>
                </a:extLst>
              </p:cNvPr>
              <p:cNvSpPr/>
              <p:nvPr/>
            </p:nvSpPr>
            <p:spPr>
              <a:xfrm>
                <a:off x="-4137889" y="448235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5" name="Freeform: Shape 694">
                <a:extLst>
                  <a:ext uri="{FF2B5EF4-FFF2-40B4-BE49-F238E27FC236}">
                    <a16:creationId xmlns:a16="http://schemas.microsoft.com/office/drawing/2014/main" id="{33C02D37-9217-C5E3-9907-A0D2B9121D1B}"/>
                  </a:ext>
                </a:extLst>
              </p:cNvPr>
              <p:cNvSpPr/>
              <p:nvPr/>
            </p:nvSpPr>
            <p:spPr>
              <a:xfrm>
                <a:off x="-4137889" y="453633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6" name="Freeform: Shape 695">
                <a:extLst>
                  <a:ext uri="{FF2B5EF4-FFF2-40B4-BE49-F238E27FC236}">
                    <a16:creationId xmlns:a16="http://schemas.microsoft.com/office/drawing/2014/main" id="{35B55FCC-0AA8-D9BF-4A04-90DB9FCA65D7}"/>
                  </a:ext>
                </a:extLst>
              </p:cNvPr>
              <p:cNvSpPr/>
              <p:nvPr/>
            </p:nvSpPr>
            <p:spPr>
              <a:xfrm>
                <a:off x="-4137889" y="459039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7" name="Freeform: Shape 696">
                <a:extLst>
                  <a:ext uri="{FF2B5EF4-FFF2-40B4-BE49-F238E27FC236}">
                    <a16:creationId xmlns:a16="http://schemas.microsoft.com/office/drawing/2014/main" id="{C045800C-268B-8E81-758A-B7F978046A05}"/>
                  </a:ext>
                </a:extLst>
              </p:cNvPr>
              <p:cNvSpPr/>
              <p:nvPr/>
            </p:nvSpPr>
            <p:spPr>
              <a:xfrm>
                <a:off x="-4137889" y="464437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8" name="Freeform: Shape 697">
                <a:extLst>
                  <a:ext uri="{FF2B5EF4-FFF2-40B4-BE49-F238E27FC236}">
                    <a16:creationId xmlns:a16="http://schemas.microsoft.com/office/drawing/2014/main" id="{A4A500DD-96B5-729C-A44C-790E5E805D8E}"/>
                  </a:ext>
                </a:extLst>
              </p:cNvPr>
              <p:cNvSpPr/>
              <p:nvPr/>
            </p:nvSpPr>
            <p:spPr>
              <a:xfrm>
                <a:off x="-4137889" y="4698360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9" name="Freeform: Shape 698">
                <a:extLst>
                  <a:ext uri="{FF2B5EF4-FFF2-40B4-BE49-F238E27FC236}">
                    <a16:creationId xmlns:a16="http://schemas.microsoft.com/office/drawing/2014/main" id="{22DA7447-B266-99B7-96FB-8CF69D3E6F42}"/>
                  </a:ext>
                </a:extLst>
              </p:cNvPr>
              <p:cNvSpPr/>
              <p:nvPr/>
            </p:nvSpPr>
            <p:spPr>
              <a:xfrm>
                <a:off x="-4137889" y="4752421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0" name="Freeform: Shape 699">
                <a:extLst>
                  <a:ext uri="{FF2B5EF4-FFF2-40B4-BE49-F238E27FC236}">
                    <a16:creationId xmlns:a16="http://schemas.microsoft.com/office/drawing/2014/main" id="{CE95BFCA-E50D-47D6-9285-37BBF279710B}"/>
                  </a:ext>
                </a:extLst>
              </p:cNvPr>
              <p:cNvSpPr/>
              <p:nvPr/>
            </p:nvSpPr>
            <p:spPr>
              <a:xfrm>
                <a:off x="-3892246" y="4158315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2" name="Freeform: Shape 701">
                <a:extLst>
                  <a:ext uri="{FF2B5EF4-FFF2-40B4-BE49-F238E27FC236}">
                    <a16:creationId xmlns:a16="http://schemas.microsoft.com/office/drawing/2014/main" id="{9005AE99-226E-F07D-6FA5-1FA7A6124397}"/>
                  </a:ext>
                </a:extLst>
              </p:cNvPr>
              <p:cNvSpPr/>
              <p:nvPr/>
            </p:nvSpPr>
            <p:spPr>
              <a:xfrm>
                <a:off x="-4137889" y="4116464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3" name="Freeform: Shape 702">
                <a:extLst>
                  <a:ext uri="{FF2B5EF4-FFF2-40B4-BE49-F238E27FC236}">
                    <a16:creationId xmlns:a16="http://schemas.microsoft.com/office/drawing/2014/main" id="{D77B08FA-9F87-9DF8-9AC5-EF810464687B}"/>
                  </a:ext>
                </a:extLst>
              </p:cNvPr>
              <p:cNvSpPr/>
              <p:nvPr/>
            </p:nvSpPr>
            <p:spPr>
              <a:xfrm>
                <a:off x="-4137889" y="415831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52" name="Group 751">
            <a:extLst>
              <a:ext uri="{FF2B5EF4-FFF2-40B4-BE49-F238E27FC236}">
                <a16:creationId xmlns:a16="http://schemas.microsoft.com/office/drawing/2014/main" id="{13A8A210-5A56-C57D-A1AB-0336591FB62E}"/>
              </a:ext>
            </a:extLst>
          </p:cNvPr>
          <p:cNvGrpSpPr/>
          <p:nvPr/>
        </p:nvGrpSpPr>
        <p:grpSpPr>
          <a:xfrm>
            <a:off x="1709822" y="145667"/>
            <a:ext cx="959765" cy="1431604"/>
            <a:chOff x="1709822" y="0"/>
            <a:chExt cx="959765" cy="1431604"/>
          </a:xfrm>
        </p:grpSpPr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D86A6EEF-AC97-ECD3-F62A-F60665670E80}"/>
                </a:ext>
              </a:extLst>
            </p:cNvPr>
            <p:cNvSpPr/>
            <p:nvPr/>
          </p:nvSpPr>
          <p:spPr>
            <a:xfrm>
              <a:off x="1814248" y="296588"/>
              <a:ext cx="480361" cy="547917"/>
            </a:xfrm>
            <a:custGeom>
              <a:avLst/>
              <a:gdLst>
                <a:gd name="connsiteX0" fmla="*/ 0 w 480361"/>
                <a:gd name="connsiteY0" fmla="*/ 0 h 547917"/>
                <a:gd name="connsiteX1" fmla="*/ 480361 w 480361"/>
                <a:gd name="connsiteY1" fmla="*/ 0 h 547917"/>
                <a:gd name="connsiteX2" fmla="*/ 480361 w 480361"/>
                <a:gd name="connsiteY2" fmla="*/ 547917 h 547917"/>
                <a:gd name="connsiteX3" fmla="*/ 0 w 480361"/>
                <a:gd name="connsiteY3" fmla="*/ 547917 h 547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361" h="547917">
                  <a:moveTo>
                    <a:pt x="0" y="0"/>
                  </a:moveTo>
                  <a:lnTo>
                    <a:pt x="480361" y="0"/>
                  </a:lnTo>
                  <a:lnTo>
                    <a:pt x="480361" y="547917"/>
                  </a:lnTo>
                  <a:lnTo>
                    <a:pt x="0" y="547917"/>
                  </a:lnTo>
                  <a:close/>
                </a:path>
              </a:pathLst>
            </a:custGeom>
            <a:solidFill>
              <a:srgbClr val="F5B79F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113AD711-B29E-93E7-0E4F-D4021F1190D8}"/>
                </a:ext>
              </a:extLst>
            </p:cNvPr>
            <p:cNvSpPr/>
            <p:nvPr/>
          </p:nvSpPr>
          <p:spPr>
            <a:xfrm>
              <a:off x="1768220" y="176015"/>
              <a:ext cx="572417" cy="340189"/>
            </a:xfrm>
            <a:custGeom>
              <a:avLst/>
              <a:gdLst>
                <a:gd name="connsiteX0" fmla="*/ 558842 w 572417"/>
                <a:gd name="connsiteY0" fmla="*/ 340189 h 340189"/>
                <a:gd name="connsiteX1" fmla="*/ 13575 w 572417"/>
                <a:gd name="connsiteY1" fmla="*/ 340189 h 340189"/>
                <a:gd name="connsiteX2" fmla="*/ 0 w 572417"/>
                <a:gd name="connsiteY2" fmla="*/ 326614 h 340189"/>
                <a:gd name="connsiteX3" fmla="*/ 0 w 572417"/>
                <a:gd name="connsiteY3" fmla="*/ 0 h 340189"/>
                <a:gd name="connsiteX4" fmla="*/ 572417 w 572417"/>
                <a:gd name="connsiteY4" fmla="*/ 0 h 340189"/>
                <a:gd name="connsiteX5" fmla="*/ 572417 w 572417"/>
                <a:gd name="connsiteY5" fmla="*/ 326614 h 340189"/>
                <a:gd name="connsiteX6" fmla="*/ 558842 w 572417"/>
                <a:gd name="connsiteY6" fmla="*/ 340189 h 34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2417" h="340189">
                  <a:moveTo>
                    <a:pt x="558842" y="340189"/>
                  </a:moveTo>
                  <a:lnTo>
                    <a:pt x="13575" y="340189"/>
                  </a:lnTo>
                  <a:cubicBezTo>
                    <a:pt x="6105" y="340189"/>
                    <a:pt x="0" y="334084"/>
                    <a:pt x="0" y="326614"/>
                  </a:cubicBezTo>
                  <a:lnTo>
                    <a:pt x="0" y="0"/>
                  </a:lnTo>
                  <a:lnTo>
                    <a:pt x="572417" y="0"/>
                  </a:lnTo>
                  <a:lnTo>
                    <a:pt x="572417" y="326614"/>
                  </a:lnTo>
                  <a:cubicBezTo>
                    <a:pt x="572417" y="334164"/>
                    <a:pt x="566393" y="340189"/>
                    <a:pt x="558842" y="340189"/>
                  </a:cubicBezTo>
                  <a:close/>
                </a:path>
              </a:pathLst>
            </a:custGeom>
            <a:solidFill>
              <a:srgbClr val="A1B4E3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1C50F960-82CF-BD29-8D75-D7876B8CCEE8}"/>
                </a:ext>
              </a:extLst>
            </p:cNvPr>
            <p:cNvSpPr/>
            <p:nvPr/>
          </p:nvSpPr>
          <p:spPr>
            <a:xfrm>
              <a:off x="1723397" y="0"/>
              <a:ext cx="662143" cy="378442"/>
            </a:xfrm>
            <a:custGeom>
              <a:avLst/>
              <a:gdLst>
                <a:gd name="connsiteX0" fmla="*/ 662144 w 662143"/>
                <a:gd name="connsiteY0" fmla="*/ 0 h 1194075"/>
                <a:gd name="connsiteX1" fmla="*/ 0 w 662143"/>
                <a:gd name="connsiteY1" fmla="*/ 0 h 1194075"/>
                <a:gd name="connsiteX2" fmla="*/ 0 w 662143"/>
                <a:gd name="connsiteY2" fmla="*/ 1176323 h 1194075"/>
                <a:gd name="connsiteX3" fmla="*/ 17752 w 662143"/>
                <a:gd name="connsiteY3" fmla="*/ 1194076 h 1194075"/>
                <a:gd name="connsiteX4" fmla="*/ 644391 w 662143"/>
                <a:gd name="connsiteY4" fmla="*/ 1194076 h 1194075"/>
                <a:gd name="connsiteX5" fmla="*/ 662144 w 662143"/>
                <a:gd name="connsiteY5" fmla="*/ 1176323 h 1194075"/>
                <a:gd name="connsiteX6" fmla="*/ 662144 w 662143"/>
                <a:gd name="connsiteY6" fmla="*/ 0 h 119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2143" h="1194075">
                  <a:moveTo>
                    <a:pt x="662144" y="0"/>
                  </a:moveTo>
                  <a:lnTo>
                    <a:pt x="0" y="0"/>
                  </a:lnTo>
                  <a:lnTo>
                    <a:pt x="0" y="1176323"/>
                  </a:lnTo>
                  <a:cubicBezTo>
                    <a:pt x="0" y="1186123"/>
                    <a:pt x="7952" y="1194076"/>
                    <a:pt x="17752" y="1194076"/>
                  </a:cubicBezTo>
                  <a:lnTo>
                    <a:pt x="644391" y="1194076"/>
                  </a:lnTo>
                  <a:cubicBezTo>
                    <a:pt x="654191" y="1194076"/>
                    <a:pt x="662144" y="1186123"/>
                    <a:pt x="662144" y="1176323"/>
                  </a:cubicBezTo>
                  <a:lnTo>
                    <a:pt x="662144" y="0"/>
                  </a:lnTo>
                  <a:close/>
                </a:path>
              </a:pathLst>
            </a:custGeom>
            <a:solidFill>
              <a:srgbClr val="0F1890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7A14C177-5314-FE88-A9A1-9834FEFEE02A}"/>
                </a:ext>
              </a:extLst>
            </p:cNvPr>
            <p:cNvSpPr/>
            <p:nvPr/>
          </p:nvSpPr>
          <p:spPr>
            <a:xfrm>
              <a:off x="1967353" y="625933"/>
              <a:ext cx="647363" cy="176721"/>
            </a:xfrm>
            <a:custGeom>
              <a:avLst/>
              <a:gdLst>
                <a:gd name="connsiteX0" fmla="*/ 559002 w 647363"/>
                <a:gd name="connsiteY0" fmla="*/ 176722 h 176721"/>
                <a:gd name="connsiteX1" fmla="*/ 88361 w 647363"/>
                <a:gd name="connsiteY1" fmla="*/ 176722 h 176721"/>
                <a:gd name="connsiteX2" fmla="*/ 0 w 647363"/>
                <a:gd name="connsiteY2" fmla="*/ 88361 h 176721"/>
                <a:gd name="connsiteX3" fmla="*/ 88361 w 647363"/>
                <a:gd name="connsiteY3" fmla="*/ 0 h 176721"/>
                <a:gd name="connsiteX4" fmla="*/ 559002 w 647363"/>
                <a:gd name="connsiteY4" fmla="*/ 0 h 176721"/>
                <a:gd name="connsiteX5" fmla="*/ 647363 w 647363"/>
                <a:gd name="connsiteY5" fmla="*/ 88361 h 176721"/>
                <a:gd name="connsiteX6" fmla="*/ 559002 w 647363"/>
                <a:gd name="connsiteY6" fmla="*/ 176722 h 17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363" h="176721">
                  <a:moveTo>
                    <a:pt x="559002" y="176722"/>
                  </a:moveTo>
                  <a:lnTo>
                    <a:pt x="88361" y="176722"/>
                  </a:lnTo>
                  <a:cubicBezTo>
                    <a:pt x="39521" y="176722"/>
                    <a:pt x="0" y="137200"/>
                    <a:pt x="0" y="88361"/>
                  </a:cubicBezTo>
                  <a:cubicBezTo>
                    <a:pt x="0" y="39521"/>
                    <a:pt x="39521" y="0"/>
                    <a:pt x="88361" y="0"/>
                  </a:cubicBezTo>
                  <a:lnTo>
                    <a:pt x="559002" y="0"/>
                  </a:lnTo>
                  <a:cubicBezTo>
                    <a:pt x="607842" y="0"/>
                    <a:pt x="647363" y="39521"/>
                    <a:pt x="647363" y="88361"/>
                  </a:cubicBezTo>
                  <a:cubicBezTo>
                    <a:pt x="647363" y="137120"/>
                    <a:pt x="607842" y="176722"/>
                    <a:pt x="559002" y="176722"/>
                  </a:cubicBezTo>
                  <a:close/>
                </a:path>
              </a:pathLst>
            </a:custGeom>
            <a:solidFill>
              <a:srgbClr val="F5B79F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DEBE5919-BBB4-6858-63AC-3BF05418BE48}"/>
                </a:ext>
              </a:extLst>
            </p:cNvPr>
            <p:cNvSpPr/>
            <p:nvPr/>
          </p:nvSpPr>
          <p:spPr>
            <a:xfrm>
              <a:off x="2101495" y="701595"/>
              <a:ext cx="568092" cy="438195"/>
            </a:xfrm>
            <a:custGeom>
              <a:avLst/>
              <a:gdLst>
                <a:gd name="connsiteX0" fmla="*/ 479645 w 568092"/>
                <a:gd name="connsiteY0" fmla="*/ 438196 h 438195"/>
                <a:gd name="connsiteX1" fmla="*/ 430645 w 568092"/>
                <a:gd name="connsiteY1" fmla="*/ 423335 h 438195"/>
                <a:gd name="connsiteX2" fmla="*/ 39287 w 568092"/>
                <a:gd name="connsiteY2" fmla="*/ 161867 h 438195"/>
                <a:gd name="connsiteX3" fmla="*/ 14867 w 568092"/>
                <a:gd name="connsiteY3" fmla="*/ 39287 h 438195"/>
                <a:gd name="connsiteX4" fmla="*/ 137448 w 568092"/>
                <a:gd name="connsiteY4" fmla="*/ 14867 h 438195"/>
                <a:gd name="connsiteX5" fmla="*/ 528805 w 568092"/>
                <a:gd name="connsiteY5" fmla="*/ 276335 h 438195"/>
                <a:gd name="connsiteX6" fmla="*/ 553225 w 568092"/>
                <a:gd name="connsiteY6" fmla="*/ 398915 h 438195"/>
                <a:gd name="connsiteX7" fmla="*/ 479645 w 568092"/>
                <a:gd name="connsiteY7" fmla="*/ 438196 h 438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8092" h="438195">
                  <a:moveTo>
                    <a:pt x="479645" y="438196"/>
                  </a:moveTo>
                  <a:cubicBezTo>
                    <a:pt x="462776" y="438196"/>
                    <a:pt x="445746" y="433376"/>
                    <a:pt x="430645" y="423335"/>
                  </a:cubicBezTo>
                  <a:lnTo>
                    <a:pt x="39287" y="161867"/>
                  </a:lnTo>
                  <a:cubicBezTo>
                    <a:pt x="-1279" y="134716"/>
                    <a:pt x="-12204" y="79852"/>
                    <a:pt x="14867" y="39287"/>
                  </a:cubicBezTo>
                  <a:cubicBezTo>
                    <a:pt x="42018" y="-1279"/>
                    <a:pt x="96882" y="-12203"/>
                    <a:pt x="137448" y="14867"/>
                  </a:cubicBezTo>
                  <a:lnTo>
                    <a:pt x="528805" y="276335"/>
                  </a:lnTo>
                  <a:cubicBezTo>
                    <a:pt x="569371" y="303486"/>
                    <a:pt x="580296" y="358350"/>
                    <a:pt x="553225" y="398915"/>
                  </a:cubicBezTo>
                  <a:cubicBezTo>
                    <a:pt x="536196" y="424459"/>
                    <a:pt x="508161" y="438196"/>
                    <a:pt x="479645" y="438196"/>
                  </a:cubicBezTo>
                  <a:close/>
                </a:path>
              </a:pathLst>
            </a:custGeom>
            <a:solidFill>
              <a:srgbClr val="F5B79F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1" name="Cylinder 750">
              <a:extLst>
                <a:ext uri="{FF2B5EF4-FFF2-40B4-BE49-F238E27FC236}">
                  <a16:creationId xmlns:a16="http://schemas.microsoft.com/office/drawing/2014/main" id="{25CF7BE2-A91E-8F1E-A2A5-C3F08B258279}"/>
                </a:ext>
              </a:extLst>
            </p:cNvPr>
            <p:cNvSpPr/>
            <p:nvPr/>
          </p:nvSpPr>
          <p:spPr>
            <a:xfrm rot="16200000">
              <a:off x="1872277" y="1166522"/>
              <a:ext cx="349192" cy="180972"/>
            </a:xfrm>
            <a:prstGeom prst="can">
              <a:avLst>
                <a:gd name="adj" fmla="val 33386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F543C5BF-8EB6-0CFA-3DF4-17A5F9B13B03}"/>
                </a:ext>
              </a:extLst>
            </p:cNvPr>
            <p:cNvSpPr/>
            <p:nvPr/>
          </p:nvSpPr>
          <p:spPr>
            <a:xfrm>
              <a:off x="1709822" y="706180"/>
              <a:ext cx="689053" cy="629530"/>
            </a:xfrm>
            <a:custGeom>
              <a:avLst/>
              <a:gdLst>
                <a:gd name="connsiteX0" fmla="*/ 508878 w 689053"/>
                <a:gd name="connsiteY0" fmla="*/ 629531 h 629530"/>
                <a:gd name="connsiteX1" fmla="*/ 441001 w 689053"/>
                <a:gd name="connsiteY1" fmla="*/ 597881 h 629530"/>
                <a:gd name="connsiteX2" fmla="*/ 452086 w 689053"/>
                <a:gd name="connsiteY2" fmla="*/ 473453 h 629530"/>
                <a:gd name="connsiteX3" fmla="*/ 512332 w 689053"/>
                <a:gd name="connsiteY3" fmla="*/ 344607 h 629530"/>
                <a:gd name="connsiteX4" fmla="*/ 344527 w 689053"/>
                <a:gd name="connsiteY4" fmla="*/ 176802 h 629530"/>
                <a:gd name="connsiteX5" fmla="*/ 176722 w 689053"/>
                <a:gd name="connsiteY5" fmla="*/ 344607 h 629530"/>
                <a:gd name="connsiteX6" fmla="*/ 232630 w 689053"/>
                <a:gd name="connsiteY6" fmla="*/ 469597 h 629530"/>
                <a:gd name="connsiteX7" fmla="*/ 239458 w 689053"/>
                <a:gd name="connsiteY7" fmla="*/ 594347 h 629530"/>
                <a:gd name="connsiteX8" fmla="*/ 114708 w 689053"/>
                <a:gd name="connsiteY8" fmla="*/ 601175 h 629530"/>
                <a:gd name="connsiteX9" fmla="*/ 0 w 689053"/>
                <a:gd name="connsiteY9" fmla="*/ 344527 h 629530"/>
                <a:gd name="connsiteX10" fmla="*/ 344527 w 689053"/>
                <a:gd name="connsiteY10" fmla="*/ 0 h 629530"/>
                <a:gd name="connsiteX11" fmla="*/ 689053 w 689053"/>
                <a:gd name="connsiteY11" fmla="*/ 344527 h 629530"/>
                <a:gd name="connsiteX12" fmla="*/ 565429 w 689053"/>
                <a:gd name="connsiteY12" fmla="*/ 608886 h 629530"/>
                <a:gd name="connsiteX13" fmla="*/ 508878 w 689053"/>
                <a:gd name="connsiteY13" fmla="*/ 629531 h 62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9053" h="629530">
                  <a:moveTo>
                    <a:pt x="508878" y="629531"/>
                  </a:moveTo>
                  <a:cubicBezTo>
                    <a:pt x="483574" y="629531"/>
                    <a:pt x="458512" y="618767"/>
                    <a:pt x="441001" y="597881"/>
                  </a:cubicBezTo>
                  <a:cubicBezTo>
                    <a:pt x="409673" y="560448"/>
                    <a:pt x="414653" y="504701"/>
                    <a:pt x="452086" y="473453"/>
                  </a:cubicBezTo>
                  <a:cubicBezTo>
                    <a:pt x="490402" y="441402"/>
                    <a:pt x="512332" y="394491"/>
                    <a:pt x="512332" y="344607"/>
                  </a:cubicBezTo>
                  <a:cubicBezTo>
                    <a:pt x="512332" y="252069"/>
                    <a:pt x="437065" y="176802"/>
                    <a:pt x="344527" y="176802"/>
                  </a:cubicBezTo>
                  <a:cubicBezTo>
                    <a:pt x="251989" y="176802"/>
                    <a:pt x="176722" y="252069"/>
                    <a:pt x="176722" y="344607"/>
                  </a:cubicBezTo>
                  <a:cubicBezTo>
                    <a:pt x="176722" y="392242"/>
                    <a:pt x="197125" y="437788"/>
                    <a:pt x="232630" y="469597"/>
                  </a:cubicBezTo>
                  <a:cubicBezTo>
                    <a:pt x="268938" y="502130"/>
                    <a:pt x="272071" y="558039"/>
                    <a:pt x="239458" y="594347"/>
                  </a:cubicBezTo>
                  <a:cubicBezTo>
                    <a:pt x="206925" y="630655"/>
                    <a:pt x="151017" y="633788"/>
                    <a:pt x="114708" y="601175"/>
                  </a:cubicBezTo>
                  <a:cubicBezTo>
                    <a:pt x="41851" y="535868"/>
                    <a:pt x="0" y="442366"/>
                    <a:pt x="0" y="344527"/>
                  </a:cubicBezTo>
                  <a:cubicBezTo>
                    <a:pt x="0" y="154551"/>
                    <a:pt x="154551" y="0"/>
                    <a:pt x="344527" y="0"/>
                  </a:cubicBezTo>
                  <a:cubicBezTo>
                    <a:pt x="534502" y="0"/>
                    <a:pt x="689053" y="154551"/>
                    <a:pt x="689053" y="344527"/>
                  </a:cubicBezTo>
                  <a:cubicBezTo>
                    <a:pt x="689053" y="446865"/>
                    <a:pt x="643989" y="543258"/>
                    <a:pt x="565429" y="608886"/>
                  </a:cubicBezTo>
                  <a:cubicBezTo>
                    <a:pt x="548961" y="622783"/>
                    <a:pt x="528879" y="629531"/>
                    <a:pt x="508878" y="629531"/>
                  </a:cubicBezTo>
                  <a:close/>
                </a:path>
              </a:pathLst>
            </a:custGeom>
            <a:solidFill>
              <a:srgbClr val="F5B79F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652386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BD19F8-B87D-3B75-C7A6-30A65A14E4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3962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BD19F8-B87D-3B75-C7A6-30A65A14E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59B1C3A-0C9D-763A-F0C6-D508B2E20466}"/>
              </a:ext>
            </a:extLst>
          </p:cNvPr>
          <p:cNvSpPr/>
          <p:nvPr/>
        </p:nvSpPr>
        <p:spPr>
          <a:xfrm>
            <a:off x="1" y="0"/>
            <a:ext cx="6858000" cy="9906000"/>
          </a:xfrm>
          <a:prstGeom prst="rect">
            <a:avLst/>
          </a:prstGeom>
          <a:solidFill>
            <a:srgbClr val="1919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222A39-5E85-03E6-D4B3-1CFB2E975927}"/>
              </a:ext>
            </a:extLst>
          </p:cNvPr>
          <p:cNvSpPr txBox="1"/>
          <p:nvPr/>
        </p:nvSpPr>
        <p:spPr>
          <a:xfrm>
            <a:off x="353785" y="4906161"/>
            <a:ext cx="3327042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IN" sz="3600" b="1" dirty="0">
                <a:solidFill>
                  <a:schemeClr val="bg1"/>
                </a:solidFill>
                <a:latin typeface="Montserrat" panose="00000800000000000000" pitchFamily="50" charset="0"/>
              </a:rPr>
              <a:t>WHO SHOULD USE </a:t>
            </a:r>
            <a:r>
              <a:rPr lang="en-IN" sz="3600" b="1" dirty="0">
                <a:solidFill>
                  <a:srgbClr val="FFCB3E"/>
                </a:solidFill>
                <a:latin typeface="Montserrat" panose="00000800000000000000" pitchFamily="50" charset="0"/>
              </a:rPr>
              <a:t>FINANCIAL MODELLING?</a:t>
            </a:r>
            <a:endParaRPr lang="en-US" sz="3600" b="1" dirty="0">
              <a:solidFill>
                <a:srgbClr val="FFCB3E"/>
              </a:solidFill>
              <a:latin typeface="Montserrat" panose="00000800000000000000" pitchFamily="50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274778E-889A-4DBB-BC55-5FD98D0AA7C4}"/>
              </a:ext>
            </a:extLst>
          </p:cNvPr>
          <p:cNvSpPr txBox="1"/>
          <p:nvPr/>
        </p:nvSpPr>
        <p:spPr>
          <a:xfrm>
            <a:off x="353785" y="8135840"/>
            <a:ext cx="3160124" cy="13378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IN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only essential prerequisite is a clear understanding of the financial investments so that you can start plugging in the numbers &amp; building your forecast.</a:t>
            </a:r>
            <a:endParaRPr lang="en-US" sz="16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8AB236-CF76-A9D9-2066-987937E3673F}"/>
              </a:ext>
            </a:extLst>
          </p:cNvPr>
          <p:cNvSpPr txBox="1"/>
          <p:nvPr/>
        </p:nvSpPr>
        <p:spPr>
          <a:xfrm>
            <a:off x="353785" y="7348056"/>
            <a:ext cx="3160124" cy="525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IN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inancial modelling serves a wide range of people &amp; industries. </a:t>
            </a:r>
            <a:endParaRPr lang="en-US" sz="16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EB064AC-5604-425C-8673-04714A054F12}"/>
              </a:ext>
            </a:extLst>
          </p:cNvPr>
          <p:cNvGrpSpPr/>
          <p:nvPr/>
        </p:nvGrpSpPr>
        <p:grpSpPr>
          <a:xfrm>
            <a:off x="4076700" y="461262"/>
            <a:ext cx="2429819" cy="8983476"/>
            <a:chOff x="4088733" y="954709"/>
            <a:chExt cx="2285167" cy="8448672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91809F4-EF05-450B-9192-07DEAFEC9364}"/>
                </a:ext>
              </a:extLst>
            </p:cNvPr>
            <p:cNvSpPr/>
            <p:nvPr/>
          </p:nvSpPr>
          <p:spPr>
            <a:xfrm>
              <a:off x="4204241" y="1625135"/>
              <a:ext cx="556536" cy="554528"/>
            </a:xfrm>
            <a:custGeom>
              <a:avLst/>
              <a:gdLst>
                <a:gd name="connsiteX0" fmla="*/ 1000133 w 1001578"/>
                <a:gd name="connsiteY0" fmla="*/ 0 h 997965"/>
                <a:gd name="connsiteX1" fmla="*/ 1001579 w 1001578"/>
                <a:gd name="connsiteY1" fmla="*/ 996520 h 997965"/>
                <a:gd name="connsiteX2" fmla="*/ 1445 w 1001578"/>
                <a:gd name="connsiteY2" fmla="*/ 997965 h 997965"/>
                <a:gd name="connsiteX3" fmla="*/ 0 w 1001578"/>
                <a:gd name="connsiteY3" fmla="*/ 1445 h 997965"/>
                <a:gd name="connsiteX4" fmla="*/ 1000133 w 1001578"/>
                <a:gd name="connsiteY4" fmla="*/ 0 h 99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578" h="997965">
                  <a:moveTo>
                    <a:pt x="1000133" y="0"/>
                  </a:moveTo>
                  <a:cubicBezTo>
                    <a:pt x="648313" y="352837"/>
                    <a:pt x="648742" y="644722"/>
                    <a:pt x="1001579" y="996520"/>
                  </a:cubicBezTo>
                  <a:lnTo>
                    <a:pt x="1445" y="997965"/>
                  </a:lnTo>
                  <a:cubicBezTo>
                    <a:pt x="353266" y="645129"/>
                    <a:pt x="352837" y="353243"/>
                    <a:pt x="0" y="1445"/>
                  </a:cubicBezTo>
                  <a:lnTo>
                    <a:pt x="1000133" y="0"/>
                  </a:lnTo>
                  <a:close/>
                </a:path>
              </a:pathLst>
            </a:custGeom>
            <a:solidFill>
              <a:srgbClr val="A1B4E3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5E09DFE-C8E1-49A8-A762-2BE438F3A7CF}"/>
                </a:ext>
              </a:extLst>
            </p:cNvPr>
            <p:cNvSpPr/>
            <p:nvPr/>
          </p:nvSpPr>
          <p:spPr>
            <a:xfrm>
              <a:off x="4088733" y="954709"/>
              <a:ext cx="785922" cy="785921"/>
            </a:xfrm>
            <a:custGeom>
              <a:avLst/>
              <a:gdLst>
                <a:gd name="connsiteX0" fmla="*/ 0 w 1414396"/>
                <a:gd name="connsiteY0" fmla="*/ 707187 h 1414395"/>
                <a:gd name="connsiteX1" fmla="*/ 707209 w 1414396"/>
                <a:gd name="connsiteY1" fmla="*/ 1414396 h 1414395"/>
                <a:gd name="connsiteX2" fmla="*/ 1414396 w 1414396"/>
                <a:gd name="connsiteY2" fmla="*/ 707187 h 1414395"/>
                <a:gd name="connsiteX3" fmla="*/ 1024162 w 1414396"/>
                <a:gd name="connsiteY3" fmla="*/ 74840 h 1414395"/>
                <a:gd name="connsiteX4" fmla="*/ 869875 w 1414396"/>
                <a:gd name="connsiteY4" fmla="*/ 18812 h 1414395"/>
                <a:gd name="connsiteX5" fmla="*/ 707209 w 1414396"/>
                <a:gd name="connsiteY5" fmla="*/ 0 h 1414395"/>
                <a:gd name="connsiteX6" fmla="*/ 0 w 1414396"/>
                <a:gd name="connsiteY6" fmla="*/ 707187 h 14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396" h="1414395">
                  <a:moveTo>
                    <a:pt x="0" y="707187"/>
                  </a:moveTo>
                  <a:cubicBezTo>
                    <a:pt x="0" y="1097782"/>
                    <a:pt x="316614" y="1414396"/>
                    <a:pt x="707209" y="1414396"/>
                  </a:cubicBezTo>
                  <a:cubicBezTo>
                    <a:pt x="1097782" y="1414396"/>
                    <a:pt x="1414396" y="1097782"/>
                    <a:pt x="1414396" y="707187"/>
                  </a:cubicBezTo>
                  <a:cubicBezTo>
                    <a:pt x="1414396" y="430568"/>
                    <a:pt x="1255570" y="191052"/>
                    <a:pt x="1024162" y="74840"/>
                  </a:cubicBezTo>
                  <a:cubicBezTo>
                    <a:pt x="975654" y="50473"/>
                    <a:pt x="923961" y="31503"/>
                    <a:pt x="869875" y="18812"/>
                  </a:cubicBezTo>
                  <a:cubicBezTo>
                    <a:pt x="817685" y="6504"/>
                    <a:pt x="763193" y="0"/>
                    <a:pt x="707209" y="0"/>
                  </a:cubicBezTo>
                  <a:cubicBezTo>
                    <a:pt x="316614" y="0"/>
                    <a:pt x="0" y="316614"/>
                    <a:pt x="0" y="707187"/>
                  </a:cubicBezTo>
                  <a:close/>
                </a:path>
              </a:pathLst>
            </a:custGeom>
            <a:solidFill>
              <a:srgbClr val="A1B4E3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404DAB35-D9AC-4020-A0DD-99B03621254E}"/>
                </a:ext>
              </a:extLst>
            </p:cNvPr>
            <p:cNvSpPr/>
            <p:nvPr/>
          </p:nvSpPr>
          <p:spPr>
            <a:xfrm>
              <a:off x="4185620" y="1051596"/>
              <a:ext cx="592149" cy="592161"/>
            </a:xfrm>
            <a:custGeom>
              <a:avLst/>
              <a:gdLst>
                <a:gd name="connsiteX0" fmla="*/ 0 w 1065669"/>
                <a:gd name="connsiteY0" fmla="*/ 532846 h 1065691"/>
                <a:gd name="connsiteX1" fmla="*/ 532846 w 1065669"/>
                <a:gd name="connsiteY1" fmla="*/ 1065692 h 1065691"/>
                <a:gd name="connsiteX2" fmla="*/ 1065669 w 1065669"/>
                <a:gd name="connsiteY2" fmla="*/ 532846 h 1065691"/>
                <a:gd name="connsiteX3" fmla="*/ 771661 w 1065669"/>
                <a:gd name="connsiteY3" fmla="*/ 56412 h 1065691"/>
                <a:gd name="connsiteX4" fmla="*/ 655427 w 1065669"/>
                <a:gd name="connsiteY4" fmla="*/ 14182 h 1065691"/>
                <a:gd name="connsiteX5" fmla="*/ 532869 w 1065669"/>
                <a:gd name="connsiteY5" fmla="*/ 0 h 1065691"/>
                <a:gd name="connsiteX6" fmla="*/ 0 w 1065669"/>
                <a:gd name="connsiteY6" fmla="*/ 532846 h 106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5669" h="1065691">
                  <a:moveTo>
                    <a:pt x="0" y="532846"/>
                  </a:moveTo>
                  <a:cubicBezTo>
                    <a:pt x="0" y="827125"/>
                    <a:pt x="238544" y="1065692"/>
                    <a:pt x="532846" y="1065692"/>
                  </a:cubicBezTo>
                  <a:cubicBezTo>
                    <a:pt x="827125" y="1065692"/>
                    <a:pt x="1065669" y="827148"/>
                    <a:pt x="1065669" y="532846"/>
                  </a:cubicBezTo>
                  <a:cubicBezTo>
                    <a:pt x="1065669" y="324427"/>
                    <a:pt x="946002" y="143967"/>
                    <a:pt x="771661" y="56412"/>
                  </a:cubicBezTo>
                  <a:cubicBezTo>
                    <a:pt x="735122" y="38052"/>
                    <a:pt x="696166" y="23757"/>
                    <a:pt x="655427" y="14182"/>
                  </a:cubicBezTo>
                  <a:cubicBezTo>
                    <a:pt x="616087" y="4901"/>
                    <a:pt x="575031" y="0"/>
                    <a:pt x="532869" y="0"/>
                  </a:cubicBezTo>
                  <a:cubicBezTo>
                    <a:pt x="238567" y="0"/>
                    <a:pt x="0" y="238567"/>
                    <a:pt x="0" y="532846"/>
                  </a:cubicBezTo>
                  <a:close/>
                </a:path>
              </a:pathLst>
            </a:custGeom>
            <a:solidFill>
              <a:schemeClr val="bg1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57DB83C-6751-4562-B0EE-3778FB447E1E}"/>
                </a:ext>
              </a:extLst>
            </p:cNvPr>
            <p:cNvSpPr/>
            <p:nvPr/>
          </p:nvSpPr>
          <p:spPr>
            <a:xfrm>
              <a:off x="4204241" y="2726006"/>
              <a:ext cx="556536" cy="554528"/>
            </a:xfrm>
            <a:custGeom>
              <a:avLst/>
              <a:gdLst>
                <a:gd name="connsiteX0" fmla="*/ 1000133 w 1001578"/>
                <a:gd name="connsiteY0" fmla="*/ 0 h 997965"/>
                <a:gd name="connsiteX1" fmla="*/ 1001579 w 1001578"/>
                <a:gd name="connsiteY1" fmla="*/ 996520 h 997965"/>
                <a:gd name="connsiteX2" fmla="*/ 1445 w 1001578"/>
                <a:gd name="connsiteY2" fmla="*/ 997965 h 997965"/>
                <a:gd name="connsiteX3" fmla="*/ 0 w 1001578"/>
                <a:gd name="connsiteY3" fmla="*/ 1445 h 997965"/>
                <a:gd name="connsiteX4" fmla="*/ 1000133 w 1001578"/>
                <a:gd name="connsiteY4" fmla="*/ 0 h 99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578" h="997965">
                  <a:moveTo>
                    <a:pt x="1000133" y="0"/>
                  </a:moveTo>
                  <a:cubicBezTo>
                    <a:pt x="648313" y="352837"/>
                    <a:pt x="648742" y="644722"/>
                    <a:pt x="1001579" y="996520"/>
                  </a:cubicBezTo>
                  <a:lnTo>
                    <a:pt x="1445" y="997965"/>
                  </a:lnTo>
                  <a:cubicBezTo>
                    <a:pt x="353266" y="645129"/>
                    <a:pt x="352837" y="353243"/>
                    <a:pt x="0" y="1445"/>
                  </a:cubicBezTo>
                  <a:lnTo>
                    <a:pt x="1000133" y="0"/>
                  </a:lnTo>
                  <a:close/>
                </a:path>
              </a:pathLst>
            </a:custGeom>
            <a:solidFill>
              <a:srgbClr val="FFCB3E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1899D0C2-DCA1-427E-A661-C759B2A1FCA2}"/>
                </a:ext>
              </a:extLst>
            </p:cNvPr>
            <p:cNvSpPr/>
            <p:nvPr/>
          </p:nvSpPr>
          <p:spPr>
            <a:xfrm>
              <a:off x="4088733" y="2062637"/>
              <a:ext cx="785922" cy="785921"/>
            </a:xfrm>
            <a:custGeom>
              <a:avLst/>
              <a:gdLst>
                <a:gd name="connsiteX0" fmla="*/ 0 w 1414396"/>
                <a:gd name="connsiteY0" fmla="*/ 707187 h 1414395"/>
                <a:gd name="connsiteX1" fmla="*/ 707209 w 1414396"/>
                <a:gd name="connsiteY1" fmla="*/ 1414396 h 1414395"/>
                <a:gd name="connsiteX2" fmla="*/ 1414396 w 1414396"/>
                <a:gd name="connsiteY2" fmla="*/ 707187 h 1414395"/>
                <a:gd name="connsiteX3" fmla="*/ 1024162 w 1414396"/>
                <a:gd name="connsiteY3" fmla="*/ 74840 h 1414395"/>
                <a:gd name="connsiteX4" fmla="*/ 869875 w 1414396"/>
                <a:gd name="connsiteY4" fmla="*/ 18812 h 1414395"/>
                <a:gd name="connsiteX5" fmla="*/ 707209 w 1414396"/>
                <a:gd name="connsiteY5" fmla="*/ 0 h 1414395"/>
                <a:gd name="connsiteX6" fmla="*/ 0 w 1414396"/>
                <a:gd name="connsiteY6" fmla="*/ 707187 h 14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396" h="1414395">
                  <a:moveTo>
                    <a:pt x="0" y="707187"/>
                  </a:moveTo>
                  <a:cubicBezTo>
                    <a:pt x="0" y="1097782"/>
                    <a:pt x="316614" y="1414396"/>
                    <a:pt x="707209" y="1414396"/>
                  </a:cubicBezTo>
                  <a:cubicBezTo>
                    <a:pt x="1097782" y="1414396"/>
                    <a:pt x="1414396" y="1097782"/>
                    <a:pt x="1414396" y="707187"/>
                  </a:cubicBezTo>
                  <a:cubicBezTo>
                    <a:pt x="1414396" y="430568"/>
                    <a:pt x="1255570" y="191052"/>
                    <a:pt x="1024162" y="74840"/>
                  </a:cubicBezTo>
                  <a:cubicBezTo>
                    <a:pt x="975654" y="50473"/>
                    <a:pt x="923961" y="31503"/>
                    <a:pt x="869875" y="18812"/>
                  </a:cubicBezTo>
                  <a:cubicBezTo>
                    <a:pt x="817685" y="6504"/>
                    <a:pt x="763193" y="0"/>
                    <a:pt x="707209" y="0"/>
                  </a:cubicBezTo>
                  <a:cubicBezTo>
                    <a:pt x="316614" y="0"/>
                    <a:pt x="0" y="316614"/>
                    <a:pt x="0" y="707187"/>
                  </a:cubicBezTo>
                  <a:close/>
                </a:path>
              </a:pathLst>
            </a:custGeom>
            <a:solidFill>
              <a:srgbClr val="FFCB3E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47B083E4-756F-4A57-968B-F5FFC63D6BFF}"/>
                </a:ext>
              </a:extLst>
            </p:cNvPr>
            <p:cNvSpPr/>
            <p:nvPr/>
          </p:nvSpPr>
          <p:spPr>
            <a:xfrm>
              <a:off x="4185620" y="2159524"/>
              <a:ext cx="592149" cy="592161"/>
            </a:xfrm>
            <a:custGeom>
              <a:avLst/>
              <a:gdLst>
                <a:gd name="connsiteX0" fmla="*/ 0 w 1065669"/>
                <a:gd name="connsiteY0" fmla="*/ 532846 h 1065691"/>
                <a:gd name="connsiteX1" fmla="*/ 532846 w 1065669"/>
                <a:gd name="connsiteY1" fmla="*/ 1065692 h 1065691"/>
                <a:gd name="connsiteX2" fmla="*/ 1065669 w 1065669"/>
                <a:gd name="connsiteY2" fmla="*/ 532846 h 1065691"/>
                <a:gd name="connsiteX3" fmla="*/ 771661 w 1065669"/>
                <a:gd name="connsiteY3" fmla="*/ 56412 h 1065691"/>
                <a:gd name="connsiteX4" fmla="*/ 655427 w 1065669"/>
                <a:gd name="connsiteY4" fmla="*/ 14182 h 1065691"/>
                <a:gd name="connsiteX5" fmla="*/ 532869 w 1065669"/>
                <a:gd name="connsiteY5" fmla="*/ 0 h 1065691"/>
                <a:gd name="connsiteX6" fmla="*/ 0 w 1065669"/>
                <a:gd name="connsiteY6" fmla="*/ 532846 h 106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5669" h="1065691">
                  <a:moveTo>
                    <a:pt x="0" y="532846"/>
                  </a:moveTo>
                  <a:cubicBezTo>
                    <a:pt x="0" y="827125"/>
                    <a:pt x="238544" y="1065692"/>
                    <a:pt x="532846" y="1065692"/>
                  </a:cubicBezTo>
                  <a:cubicBezTo>
                    <a:pt x="827125" y="1065692"/>
                    <a:pt x="1065669" y="827148"/>
                    <a:pt x="1065669" y="532846"/>
                  </a:cubicBezTo>
                  <a:cubicBezTo>
                    <a:pt x="1065669" y="324427"/>
                    <a:pt x="946002" y="143967"/>
                    <a:pt x="771661" y="56412"/>
                  </a:cubicBezTo>
                  <a:cubicBezTo>
                    <a:pt x="735122" y="38052"/>
                    <a:pt x="696166" y="23757"/>
                    <a:pt x="655427" y="14182"/>
                  </a:cubicBezTo>
                  <a:cubicBezTo>
                    <a:pt x="616087" y="4901"/>
                    <a:pt x="575031" y="0"/>
                    <a:pt x="532869" y="0"/>
                  </a:cubicBezTo>
                  <a:cubicBezTo>
                    <a:pt x="238567" y="0"/>
                    <a:pt x="0" y="238567"/>
                    <a:pt x="0" y="532846"/>
                  </a:cubicBezTo>
                  <a:close/>
                </a:path>
              </a:pathLst>
            </a:custGeom>
            <a:solidFill>
              <a:schemeClr val="bg1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38BD364E-7E99-4573-8522-54DB461E3044}"/>
                </a:ext>
              </a:extLst>
            </p:cNvPr>
            <p:cNvSpPr/>
            <p:nvPr/>
          </p:nvSpPr>
          <p:spPr>
            <a:xfrm>
              <a:off x="4088733" y="3163509"/>
              <a:ext cx="785922" cy="785921"/>
            </a:xfrm>
            <a:custGeom>
              <a:avLst/>
              <a:gdLst>
                <a:gd name="connsiteX0" fmla="*/ 0 w 1414396"/>
                <a:gd name="connsiteY0" fmla="*/ 707187 h 1414395"/>
                <a:gd name="connsiteX1" fmla="*/ 707209 w 1414396"/>
                <a:gd name="connsiteY1" fmla="*/ 1414396 h 1414395"/>
                <a:gd name="connsiteX2" fmla="*/ 1414396 w 1414396"/>
                <a:gd name="connsiteY2" fmla="*/ 707187 h 1414395"/>
                <a:gd name="connsiteX3" fmla="*/ 1024162 w 1414396"/>
                <a:gd name="connsiteY3" fmla="*/ 74840 h 1414395"/>
                <a:gd name="connsiteX4" fmla="*/ 869875 w 1414396"/>
                <a:gd name="connsiteY4" fmla="*/ 18812 h 1414395"/>
                <a:gd name="connsiteX5" fmla="*/ 707209 w 1414396"/>
                <a:gd name="connsiteY5" fmla="*/ 0 h 1414395"/>
                <a:gd name="connsiteX6" fmla="*/ 0 w 1414396"/>
                <a:gd name="connsiteY6" fmla="*/ 707187 h 14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396" h="1414395">
                  <a:moveTo>
                    <a:pt x="0" y="707187"/>
                  </a:moveTo>
                  <a:cubicBezTo>
                    <a:pt x="0" y="1097782"/>
                    <a:pt x="316614" y="1414396"/>
                    <a:pt x="707209" y="1414396"/>
                  </a:cubicBezTo>
                  <a:cubicBezTo>
                    <a:pt x="1097782" y="1414396"/>
                    <a:pt x="1414396" y="1097782"/>
                    <a:pt x="1414396" y="707187"/>
                  </a:cubicBezTo>
                  <a:cubicBezTo>
                    <a:pt x="1414396" y="430568"/>
                    <a:pt x="1255570" y="191052"/>
                    <a:pt x="1024162" y="74840"/>
                  </a:cubicBezTo>
                  <a:cubicBezTo>
                    <a:pt x="975654" y="50473"/>
                    <a:pt x="923961" y="31503"/>
                    <a:pt x="869875" y="18812"/>
                  </a:cubicBezTo>
                  <a:cubicBezTo>
                    <a:pt x="817685" y="6504"/>
                    <a:pt x="763193" y="0"/>
                    <a:pt x="707209" y="0"/>
                  </a:cubicBezTo>
                  <a:cubicBezTo>
                    <a:pt x="316614" y="0"/>
                    <a:pt x="0" y="316614"/>
                    <a:pt x="0" y="707187"/>
                  </a:cubicBezTo>
                  <a:close/>
                </a:path>
              </a:pathLst>
            </a:custGeom>
            <a:solidFill>
              <a:srgbClr val="A1B4E3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D1011591-3A66-4326-98F4-E0B0E70024FE}"/>
                </a:ext>
              </a:extLst>
            </p:cNvPr>
            <p:cNvSpPr/>
            <p:nvPr/>
          </p:nvSpPr>
          <p:spPr>
            <a:xfrm>
              <a:off x="4204241" y="3815951"/>
              <a:ext cx="556536" cy="554528"/>
            </a:xfrm>
            <a:custGeom>
              <a:avLst/>
              <a:gdLst>
                <a:gd name="connsiteX0" fmla="*/ 1000133 w 1001578"/>
                <a:gd name="connsiteY0" fmla="*/ 0 h 997965"/>
                <a:gd name="connsiteX1" fmla="*/ 1001579 w 1001578"/>
                <a:gd name="connsiteY1" fmla="*/ 996520 h 997965"/>
                <a:gd name="connsiteX2" fmla="*/ 1445 w 1001578"/>
                <a:gd name="connsiteY2" fmla="*/ 997965 h 997965"/>
                <a:gd name="connsiteX3" fmla="*/ 0 w 1001578"/>
                <a:gd name="connsiteY3" fmla="*/ 1445 h 997965"/>
                <a:gd name="connsiteX4" fmla="*/ 1000133 w 1001578"/>
                <a:gd name="connsiteY4" fmla="*/ 0 h 99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578" h="997965">
                  <a:moveTo>
                    <a:pt x="1000133" y="0"/>
                  </a:moveTo>
                  <a:cubicBezTo>
                    <a:pt x="648313" y="352837"/>
                    <a:pt x="648742" y="644722"/>
                    <a:pt x="1001579" y="996520"/>
                  </a:cubicBezTo>
                  <a:lnTo>
                    <a:pt x="1445" y="997965"/>
                  </a:lnTo>
                  <a:cubicBezTo>
                    <a:pt x="353266" y="645129"/>
                    <a:pt x="352837" y="353243"/>
                    <a:pt x="0" y="1445"/>
                  </a:cubicBezTo>
                  <a:lnTo>
                    <a:pt x="1000133" y="0"/>
                  </a:lnTo>
                  <a:close/>
                </a:path>
              </a:pathLst>
            </a:custGeom>
            <a:solidFill>
              <a:srgbClr val="A1B4E3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B366DD14-A078-416E-8676-DB36C3877656}"/>
                </a:ext>
              </a:extLst>
            </p:cNvPr>
            <p:cNvSpPr/>
            <p:nvPr/>
          </p:nvSpPr>
          <p:spPr>
            <a:xfrm>
              <a:off x="4204241" y="4916822"/>
              <a:ext cx="556536" cy="554528"/>
            </a:xfrm>
            <a:custGeom>
              <a:avLst/>
              <a:gdLst>
                <a:gd name="connsiteX0" fmla="*/ 1000133 w 1001578"/>
                <a:gd name="connsiteY0" fmla="*/ 0 h 997965"/>
                <a:gd name="connsiteX1" fmla="*/ 1001579 w 1001578"/>
                <a:gd name="connsiteY1" fmla="*/ 996520 h 997965"/>
                <a:gd name="connsiteX2" fmla="*/ 1445 w 1001578"/>
                <a:gd name="connsiteY2" fmla="*/ 997965 h 997965"/>
                <a:gd name="connsiteX3" fmla="*/ 0 w 1001578"/>
                <a:gd name="connsiteY3" fmla="*/ 1445 h 997965"/>
                <a:gd name="connsiteX4" fmla="*/ 1000133 w 1001578"/>
                <a:gd name="connsiteY4" fmla="*/ 0 h 99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578" h="997965">
                  <a:moveTo>
                    <a:pt x="1000133" y="0"/>
                  </a:moveTo>
                  <a:cubicBezTo>
                    <a:pt x="648313" y="352837"/>
                    <a:pt x="648742" y="644722"/>
                    <a:pt x="1001579" y="996520"/>
                  </a:cubicBezTo>
                  <a:lnTo>
                    <a:pt x="1445" y="997965"/>
                  </a:lnTo>
                  <a:cubicBezTo>
                    <a:pt x="353266" y="645129"/>
                    <a:pt x="352837" y="353243"/>
                    <a:pt x="0" y="1445"/>
                  </a:cubicBezTo>
                  <a:lnTo>
                    <a:pt x="1000133" y="0"/>
                  </a:lnTo>
                  <a:close/>
                </a:path>
              </a:pathLst>
            </a:custGeom>
            <a:solidFill>
              <a:srgbClr val="FFCB3E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5EBE29A4-BF2E-460E-8E97-1B56EA5E5548}"/>
                </a:ext>
              </a:extLst>
            </p:cNvPr>
            <p:cNvSpPr/>
            <p:nvPr/>
          </p:nvSpPr>
          <p:spPr>
            <a:xfrm>
              <a:off x="4088733" y="4253453"/>
              <a:ext cx="785922" cy="785921"/>
            </a:xfrm>
            <a:custGeom>
              <a:avLst/>
              <a:gdLst>
                <a:gd name="connsiteX0" fmla="*/ 0 w 1414396"/>
                <a:gd name="connsiteY0" fmla="*/ 707187 h 1414395"/>
                <a:gd name="connsiteX1" fmla="*/ 707209 w 1414396"/>
                <a:gd name="connsiteY1" fmla="*/ 1414396 h 1414395"/>
                <a:gd name="connsiteX2" fmla="*/ 1414396 w 1414396"/>
                <a:gd name="connsiteY2" fmla="*/ 707187 h 1414395"/>
                <a:gd name="connsiteX3" fmla="*/ 1024162 w 1414396"/>
                <a:gd name="connsiteY3" fmla="*/ 74840 h 1414395"/>
                <a:gd name="connsiteX4" fmla="*/ 869875 w 1414396"/>
                <a:gd name="connsiteY4" fmla="*/ 18812 h 1414395"/>
                <a:gd name="connsiteX5" fmla="*/ 707209 w 1414396"/>
                <a:gd name="connsiteY5" fmla="*/ 0 h 1414395"/>
                <a:gd name="connsiteX6" fmla="*/ 0 w 1414396"/>
                <a:gd name="connsiteY6" fmla="*/ 707187 h 14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396" h="1414395">
                  <a:moveTo>
                    <a:pt x="0" y="707187"/>
                  </a:moveTo>
                  <a:cubicBezTo>
                    <a:pt x="0" y="1097782"/>
                    <a:pt x="316614" y="1414396"/>
                    <a:pt x="707209" y="1414396"/>
                  </a:cubicBezTo>
                  <a:cubicBezTo>
                    <a:pt x="1097782" y="1414396"/>
                    <a:pt x="1414396" y="1097782"/>
                    <a:pt x="1414396" y="707187"/>
                  </a:cubicBezTo>
                  <a:cubicBezTo>
                    <a:pt x="1414396" y="430568"/>
                    <a:pt x="1255570" y="191052"/>
                    <a:pt x="1024162" y="74840"/>
                  </a:cubicBezTo>
                  <a:cubicBezTo>
                    <a:pt x="975654" y="50473"/>
                    <a:pt x="923961" y="31503"/>
                    <a:pt x="869875" y="18812"/>
                  </a:cubicBezTo>
                  <a:cubicBezTo>
                    <a:pt x="817685" y="6504"/>
                    <a:pt x="763193" y="0"/>
                    <a:pt x="707209" y="0"/>
                  </a:cubicBezTo>
                  <a:cubicBezTo>
                    <a:pt x="316614" y="0"/>
                    <a:pt x="0" y="316614"/>
                    <a:pt x="0" y="707187"/>
                  </a:cubicBezTo>
                  <a:close/>
                </a:path>
              </a:pathLst>
            </a:custGeom>
            <a:solidFill>
              <a:srgbClr val="FFCB3E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5AFB635-4EC2-4272-BC56-37C14E1596D2}"/>
                </a:ext>
              </a:extLst>
            </p:cNvPr>
            <p:cNvSpPr/>
            <p:nvPr/>
          </p:nvSpPr>
          <p:spPr>
            <a:xfrm>
              <a:off x="4185620" y="4350340"/>
              <a:ext cx="592149" cy="592161"/>
            </a:xfrm>
            <a:custGeom>
              <a:avLst/>
              <a:gdLst>
                <a:gd name="connsiteX0" fmla="*/ 0 w 1065669"/>
                <a:gd name="connsiteY0" fmla="*/ 532846 h 1065691"/>
                <a:gd name="connsiteX1" fmla="*/ 532846 w 1065669"/>
                <a:gd name="connsiteY1" fmla="*/ 1065692 h 1065691"/>
                <a:gd name="connsiteX2" fmla="*/ 1065669 w 1065669"/>
                <a:gd name="connsiteY2" fmla="*/ 532846 h 1065691"/>
                <a:gd name="connsiteX3" fmla="*/ 771661 w 1065669"/>
                <a:gd name="connsiteY3" fmla="*/ 56412 h 1065691"/>
                <a:gd name="connsiteX4" fmla="*/ 655427 w 1065669"/>
                <a:gd name="connsiteY4" fmla="*/ 14182 h 1065691"/>
                <a:gd name="connsiteX5" fmla="*/ 532869 w 1065669"/>
                <a:gd name="connsiteY5" fmla="*/ 0 h 1065691"/>
                <a:gd name="connsiteX6" fmla="*/ 0 w 1065669"/>
                <a:gd name="connsiteY6" fmla="*/ 532846 h 106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5669" h="1065691">
                  <a:moveTo>
                    <a:pt x="0" y="532846"/>
                  </a:moveTo>
                  <a:cubicBezTo>
                    <a:pt x="0" y="827125"/>
                    <a:pt x="238544" y="1065692"/>
                    <a:pt x="532846" y="1065692"/>
                  </a:cubicBezTo>
                  <a:cubicBezTo>
                    <a:pt x="827125" y="1065692"/>
                    <a:pt x="1065669" y="827148"/>
                    <a:pt x="1065669" y="532846"/>
                  </a:cubicBezTo>
                  <a:cubicBezTo>
                    <a:pt x="1065669" y="324427"/>
                    <a:pt x="946002" y="143967"/>
                    <a:pt x="771661" y="56412"/>
                  </a:cubicBezTo>
                  <a:cubicBezTo>
                    <a:pt x="735122" y="38052"/>
                    <a:pt x="696166" y="23757"/>
                    <a:pt x="655427" y="14182"/>
                  </a:cubicBezTo>
                  <a:cubicBezTo>
                    <a:pt x="616087" y="4901"/>
                    <a:pt x="575031" y="0"/>
                    <a:pt x="532869" y="0"/>
                  </a:cubicBezTo>
                  <a:cubicBezTo>
                    <a:pt x="238567" y="0"/>
                    <a:pt x="0" y="238567"/>
                    <a:pt x="0" y="532846"/>
                  </a:cubicBezTo>
                  <a:close/>
                </a:path>
              </a:pathLst>
            </a:custGeom>
            <a:solidFill>
              <a:schemeClr val="bg1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DC8B2ABE-01F6-41AD-B626-9A022E3226DE}"/>
                </a:ext>
              </a:extLst>
            </p:cNvPr>
            <p:cNvSpPr/>
            <p:nvPr/>
          </p:nvSpPr>
          <p:spPr>
            <a:xfrm>
              <a:off x="4088733" y="5354325"/>
              <a:ext cx="785922" cy="785921"/>
            </a:xfrm>
            <a:custGeom>
              <a:avLst/>
              <a:gdLst>
                <a:gd name="connsiteX0" fmla="*/ 0 w 1414396"/>
                <a:gd name="connsiteY0" fmla="*/ 707187 h 1414395"/>
                <a:gd name="connsiteX1" fmla="*/ 707209 w 1414396"/>
                <a:gd name="connsiteY1" fmla="*/ 1414396 h 1414395"/>
                <a:gd name="connsiteX2" fmla="*/ 1414396 w 1414396"/>
                <a:gd name="connsiteY2" fmla="*/ 707187 h 1414395"/>
                <a:gd name="connsiteX3" fmla="*/ 1024162 w 1414396"/>
                <a:gd name="connsiteY3" fmla="*/ 74840 h 1414395"/>
                <a:gd name="connsiteX4" fmla="*/ 869875 w 1414396"/>
                <a:gd name="connsiteY4" fmla="*/ 18812 h 1414395"/>
                <a:gd name="connsiteX5" fmla="*/ 707209 w 1414396"/>
                <a:gd name="connsiteY5" fmla="*/ 0 h 1414395"/>
                <a:gd name="connsiteX6" fmla="*/ 0 w 1414396"/>
                <a:gd name="connsiteY6" fmla="*/ 707187 h 14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396" h="1414395">
                  <a:moveTo>
                    <a:pt x="0" y="707187"/>
                  </a:moveTo>
                  <a:cubicBezTo>
                    <a:pt x="0" y="1097782"/>
                    <a:pt x="316614" y="1414396"/>
                    <a:pt x="707209" y="1414396"/>
                  </a:cubicBezTo>
                  <a:cubicBezTo>
                    <a:pt x="1097782" y="1414396"/>
                    <a:pt x="1414396" y="1097782"/>
                    <a:pt x="1414396" y="707187"/>
                  </a:cubicBezTo>
                  <a:cubicBezTo>
                    <a:pt x="1414396" y="430568"/>
                    <a:pt x="1255570" y="191052"/>
                    <a:pt x="1024162" y="74840"/>
                  </a:cubicBezTo>
                  <a:cubicBezTo>
                    <a:pt x="975654" y="50473"/>
                    <a:pt x="923961" y="31503"/>
                    <a:pt x="869875" y="18812"/>
                  </a:cubicBezTo>
                  <a:cubicBezTo>
                    <a:pt x="817685" y="6504"/>
                    <a:pt x="763193" y="0"/>
                    <a:pt x="707209" y="0"/>
                  </a:cubicBezTo>
                  <a:cubicBezTo>
                    <a:pt x="316614" y="0"/>
                    <a:pt x="0" y="316614"/>
                    <a:pt x="0" y="707187"/>
                  </a:cubicBezTo>
                  <a:close/>
                </a:path>
              </a:pathLst>
            </a:custGeom>
            <a:solidFill>
              <a:srgbClr val="A1B4E3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8AA1E5D1-99AA-4573-A098-8A51921D12B9}"/>
                </a:ext>
              </a:extLst>
            </p:cNvPr>
            <p:cNvSpPr/>
            <p:nvPr/>
          </p:nvSpPr>
          <p:spPr>
            <a:xfrm>
              <a:off x="4185620" y="3260395"/>
              <a:ext cx="592149" cy="592161"/>
            </a:xfrm>
            <a:custGeom>
              <a:avLst/>
              <a:gdLst>
                <a:gd name="connsiteX0" fmla="*/ 0 w 1065669"/>
                <a:gd name="connsiteY0" fmla="*/ 532846 h 1065691"/>
                <a:gd name="connsiteX1" fmla="*/ 532846 w 1065669"/>
                <a:gd name="connsiteY1" fmla="*/ 1065692 h 1065691"/>
                <a:gd name="connsiteX2" fmla="*/ 1065669 w 1065669"/>
                <a:gd name="connsiteY2" fmla="*/ 532846 h 1065691"/>
                <a:gd name="connsiteX3" fmla="*/ 771661 w 1065669"/>
                <a:gd name="connsiteY3" fmla="*/ 56412 h 1065691"/>
                <a:gd name="connsiteX4" fmla="*/ 655427 w 1065669"/>
                <a:gd name="connsiteY4" fmla="*/ 14182 h 1065691"/>
                <a:gd name="connsiteX5" fmla="*/ 532869 w 1065669"/>
                <a:gd name="connsiteY5" fmla="*/ 0 h 1065691"/>
                <a:gd name="connsiteX6" fmla="*/ 0 w 1065669"/>
                <a:gd name="connsiteY6" fmla="*/ 532846 h 106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5669" h="1065691">
                  <a:moveTo>
                    <a:pt x="0" y="532846"/>
                  </a:moveTo>
                  <a:cubicBezTo>
                    <a:pt x="0" y="827125"/>
                    <a:pt x="238544" y="1065692"/>
                    <a:pt x="532846" y="1065692"/>
                  </a:cubicBezTo>
                  <a:cubicBezTo>
                    <a:pt x="827125" y="1065692"/>
                    <a:pt x="1065669" y="827148"/>
                    <a:pt x="1065669" y="532846"/>
                  </a:cubicBezTo>
                  <a:cubicBezTo>
                    <a:pt x="1065669" y="324427"/>
                    <a:pt x="946002" y="143967"/>
                    <a:pt x="771661" y="56412"/>
                  </a:cubicBezTo>
                  <a:cubicBezTo>
                    <a:pt x="735122" y="38052"/>
                    <a:pt x="696166" y="23757"/>
                    <a:pt x="655427" y="14182"/>
                  </a:cubicBezTo>
                  <a:cubicBezTo>
                    <a:pt x="616087" y="4901"/>
                    <a:pt x="575031" y="0"/>
                    <a:pt x="532869" y="0"/>
                  </a:cubicBezTo>
                  <a:cubicBezTo>
                    <a:pt x="238567" y="0"/>
                    <a:pt x="0" y="238567"/>
                    <a:pt x="0" y="532846"/>
                  </a:cubicBezTo>
                  <a:close/>
                </a:path>
              </a:pathLst>
            </a:custGeom>
            <a:solidFill>
              <a:schemeClr val="bg1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EC3AACFA-008B-4D24-81AB-51C931C82D47}"/>
                </a:ext>
              </a:extLst>
            </p:cNvPr>
            <p:cNvSpPr/>
            <p:nvPr/>
          </p:nvSpPr>
          <p:spPr>
            <a:xfrm>
              <a:off x="4204241" y="6017693"/>
              <a:ext cx="556536" cy="554528"/>
            </a:xfrm>
            <a:custGeom>
              <a:avLst/>
              <a:gdLst>
                <a:gd name="connsiteX0" fmla="*/ 1000133 w 1001578"/>
                <a:gd name="connsiteY0" fmla="*/ 0 h 997965"/>
                <a:gd name="connsiteX1" fmla="*/ 1001579 w 1001578"/>
                <a:gd name="connsiteY1" fmla="*/ 996520 h 997965"/>
                <a:gd name="connsiteX2" fmla="*/ 1445 w 1001578"/>
                <a:gd name="connsiteY2" fmla="*/ 997965 h 997965"/>
                <a:gd name="connsiteX3" fmla="*/ 0 w 1001578"/>
                <a:gd name="connsiteY3" fmla="*/ 1445 h 997965"/>
                <a:gd name="connsiteX4" fmla="*/ 1000133 w 1001578"/>
                <a:gd name="connsiteY4" fmla="*/ 0 h 99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578" h="997965">
                  <a:moveTo>
                    <a:pt x="1000133" y="0"/>
                  </a:moveTo>
                  <a:cubicBezTo>
                    <a:pt x="648313" y="352837"/>
                    <a:pt x="648742" y="644722"/>
                    <a:pt x="1001579" y="996520"/>
                  </a:cubicBezTo>
                  <a:lnTo>
                    <a:pt x="1445" y="997965"/>
                  </a:lnTo>
                  <a:cubicBezTo>
                    <a:pt x="353266" y="645129"/>
                    <a:pt x="352837" y="353243"/>
                    <a:pt x="0" y="1445"/>
                  </a:cubicBezTo>
                  <a:lnTo>
                    <a:pt x="1000133" y="0"/>
                  </a:lnTo>
                  <a:close/>
                </a:path>
              </a:pathLst>
            </a:custGeom>
            <a:solidFill>
              <a:srgbClr val="A1B4E3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384BD453-1557-4FA4-B748-3421D833C098}"/>
                </a:ext>
              </a:extLst>
            </p:cNvPr>
            <p:cNvSpPr/>
            <p:nvPr/>
          </p:nvSpPr>
          <p:spPr>
            <a:xfrm>
              <a:off x="4204241" y="7118564"/>
              <a:ext cx="556536" cy="554528"/>
            </a:xfrm>
            <a:custGeom>
              <a:avLst/>
              <a:gdLst>
                <a:gd name="connsiteX0" fmla="*/ 1000133 w 1001578"/>
                <a:gd name="connsiteY0" fmla="*/ 0 h 997965"/>
                <a:gd name="connsiteX1" fmla="*/ 1001579 w 1001578"/>
                <a:gd name="connsiteY1" fmla="*/ 996520 h 997965"/>
                <a:gd name="connsiteX2" fmla="*/ 1445 w 1001578"/>
                <a:gd name="connsiteY2" fmla="*/ 997965 h 997965"/>
                <a:gd name="connsiteX3" fmla="*/ 0 w 1001578"/>
                <a:gd name="connsiteY3" fmla="*/ 1445 h 997965"/>
                <a:gd name="connsiteX4" fmla="*/ 1000133 w 1001578"/>
                <a:gd name="connsiteY4" fmla="*/ 0 h 99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578" h="997965">
                  <a:moveTo>
                    <a:pt x="1000133" y="0"/>
                  </a:moveTo>
                  <a:cubicBezTo>
                    <a:pt x="648313" y="352837"/>
                    <a:pt x="648742" y="644722"/>
                    <a:pt x="1001579" y="996520"/>
                  </a:cubicBezTo>
                  <a:lnTo>
                    <a:pt x="1445" y="997965"/>
                  </a:lnTo>
                  <a:cubicBezTo>
                    <a:pt x="353266" y="645129"/>
                    <a:pt x="352837" y="353243"/>
                    <a:pt x="0" y="1445"/>
                  </a:cubicBezTo>
                  <a:lnTo>
                    <a:pt x="1000133" y="0"/>
                  </a:lnTo>
                  <a:close/>
                </a:path>
              </a:pathLst>
            </a:custGeom>
            <a:solidFill>
              <a:srgbClr val="FFCB3E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D22F46AB-82D9-4C2E-A241-9661FD1851AD}"/>
                </a:ext>
              </a:extLst>
            </p:cNvPr>
            <p:cNvSpPr/>
            <p:nvPr/>
          </p:nvSpPr>
          <p:spPr>
            <a:xfrm>
              <a:off x="4088733" y="6455195"/>
              <a:ext cx="785922" cy="785921"/>
            </a:xfrm>
            <a:custGeom>
              <a:avLst/>
              <a:gdLst>
                <a:gd name="connsiteX0" fmla="*/ 0 w 1414396"/>
                <a:gd name="connsiteY0" fmla="*/ 707187 h 1414395"/>
                <a:gd name="connsiteX1" fmla="*/ 707209 w 1414396"/>
                <a:gd name="connsiteY1" fmla="*/ 1414396 h 1414395"/>
                <a:gd name="connsiteX2" fmla="*/ 1414396 w 1414396"/>
                <a:gd name="connsiteY2" fmla="*/ 707187 h 1414395"/>
                <a:gd name="connsiteX3" fmla="*/ 1024162 w 1414396"/>
                <a:gd name="connsiteY3" fmla="*/ 74840 h 1414395"/>
                <a:gd name="connsiteX4" fmla="*/ 869875 w 1414396"/>
                <a:gd name="connsiteY4" fmla="*/ 18812 h 1414395"/>
                <a:gd name="connsiteX5" fmla="*/ 707209 w 1414396"/>
                <a:gd name="connsiteY5" fmla="*/ 0 h 1414395"/>
                <a:gd name="connsiteX6" fmla="*/ 0 w 1414396"/>
                <a:gd name="connsiteY6" fmla="*/ 707187 h 14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396" h="1414395">
                  <a:moveTo>
                    <a:pt x="0" y="707187"/>
                  </a:moveTo>
                  <a:cubicBezTo>
                    <a:pt x="0" y="1097782"/>
                    <a:pt x="316614" y="1414396"/>
                    <a:pt x="707209" y="1414396"/>
                  </a:cubicBezTo>
                  <a:cubicBezTo>
                    <a:pt x="1097782" y="1414396"/>
                    <a:pt x="1414396" y="1097782"/>
                    <a:pt x="1414396" y="707187"/>
                  </a:cubicBezTo>
                  <a:cubicBezTo>
                    <a:pt x="1414396" y="430568"/>
                    <a:pt x="1255570" y="191052"/>
                    <a:pt x="1024162" y="74840"/>
                  </a:cubicBezTo>
                  <a:cubicBezTo>
                    <a:pt x="975654" y="50473"/>
                    <a:pt x="923961" y="31503"/>
                    <a:pt x="869875" y="18812"/>
                  </a:cubicBezTo>
                  <a:cubicBezTo>
                    <a:pt x="817685" y="6504"/>
                    <a:pt x="763193" y="0"/>
                    <a:pt x="707209" y="0"/>
                  </a:cubicBezTo>
                  <a:cubicBezTo>
                    <a:pt x="316614" y="0"/>
                    <a:pt x="0" y="316614"/>
                    <a:pt x="0" y="707187"/>
                  </a:cubicBezTo>
                  <a:close/>
                </a:path>
              </a:pathLst>
            </a:custGeom>
            <a:solidFill>
              <a:srgbClr val="FFCB3E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DFFF4EC2-B6AE-42D3-89E0-1F997FD08D97}"/>
                </a:ext>
              </a:extLst>
            </p:cNvPr>
            <p:cNvSpPr/>
            <p:nvPr/>
          </p:nvSpPr>
          <p:spPr>
            <a:xfrm>
              <a:off x="4185620" y="6552082"/>
              <a:ext cx="592149" cy="592161"/>
            </a:xfrm>
            <a:custGeom>
              <a:avLst/>
              <a:gdLst>
                <a:gd name="connsiteX0" fmla="*/ 0 w 1065669"/>
                <a:gd name="connsiteY0" fmla="*/ 532846 h 1065691"/>
                <a:gd name="connsiteX1" fmla="*/ 532846 w 1065669"/>
                <a:gd name="connsiteY1" fmla="*/ 1065692 h 1065691"/>
                <a:gd name="connsiteX2" fmla="*/ 1065669 w 1065669"/>
                <a:gd name="connsiteY2" fmla="*/ 532846 h 1065691"/>
                <a:gd name="connsiteX3" fmla="*/ 771661 w 1065669"/>
                <a:gd name="connsiteY3" fmla="*/ 56412 h 1065691"/>
                <a:gd name="connsiteX4" fmla="*/ 655427 w 1065669"/>
                <a:gd name="connsiteY4" fmla="*/ 14182 h 1065691"/>
                <a:gd name="connsiteX5" fmla="*/ 532869 w 1065669"/>
                <a:gd name="connsiteY5" fmla="*/ 0 h 1065691"/>
                <a:gd name="connsiteX6" fmla="*/ 0 w 1065669"/>
                <a:gd name="connsiteY6" fmla="*/ 532846 h 106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5669" h="1065691">
                  <a:moveTo>
                    <a:pt x="0" y="532846"/>
                  </a:moveTo>
                  <a:cubicBezTo>
                    <a:pt x="0" y="827125"/>
                    <a:pt x="238544" y="1065692"/>
                    <a:pt x="532846" y="1065692"/>
                  </a:cubicBezTo>
                  <a:cubicBezTo>
                    <a:pt x="827125" y="1065692"/>
                    <a:pt x="1065669" y="827148"/>
                    <a:pt x="1065669" y="532846"/>
                  </a:cubicBezTo>
                  <a:cubicBezTo>
                    <a:pt x="1065669" y="324427"/>
                    <a:pt x="946002" y="143967"/>
                    <a:pt x="771661" y="56412"/>
                  </a:cubicBezTo>
                  <a:cubicBezTo>
                    <a:pt x="735122" y="38052"/>
                    <a:pt x="696166" y="23757"/>
                    <a:pt x="655427" y="14182"/>
                  </a:cubicBezTo>
                  <a:cubicBezTo>
                    <a:pt x="616087" y="4901"/>
                    <a:pt x="575031" y="0"/>
                    <a:pt x="532869" y="0"/>
                  </a:cubicBezTo>
                  <a:cubicBezTo>
                    <a:pt x="238567" y="0"/>
                    <a:pt x="0" y="238567"/>
                    <a:pt x="0" y="532846"/>
                  </a:cubicBezTo>
                  <a:close/>
                </a:path>
              </a:pathLst>
            </a:custGeom>
            <a:solidFill>
              <a:schemeClr val="bg1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63A90AC-207B-4CB1-87A0-BD0AD2F8F847}"/>
                </a:ext>
              </a:extLst>
            </p:cNvPr>
            <p:cNvSpPr/>
            <p:nvPr/>
          </p:nvSpPr>
          <p:spPr>
            <a:xfrm>
              <a:off x="4088733" y="7556067"/>
              <a:ext cx="785922" cy="785921"/>
            </a:xfrm>
            <a:custGeom>
              <a:avLst/>
              <a:gdLst>
                <a:gd name="connsiteX0" fmla="*/ 0 w 1414396"/>
                <a:gd name="connsiteY0" fmla="*/ 707187 h 1414395"/>
                <a:gd name="connsiteX1" fmla="*/ 707209 w 1414396"/>
                <a:gd name="connsiteY1" fmla="*/ 1414396 h 1414395"/>
                <a:gd name="connsiteX2" fmla="*/ 1414396 w 1414396"/>
                <a:gd name="connsiteY2" fmla="*/ 707187 h 1414395"/>
                <a:gd name="connsiteX3" fmla="*/ 1024162 w 1414396"/>
                <a:gd name="connsiteY3" fmla="*/ 74840 h 1414395"/>
                <a:gd name="connsiteX4" fmla="*/ 869875 w 1414396"/>
                <a:gd name="connsiteY4" fmla="*/ 18812 h 1414395"/>
                <a:gd name="connsiteX5" fmla="*/ 707209 w 1414396"/>
                <a:gd name="connsiteY5" fmla="*/ 0 h 1414395"/>
                <a:gd name="connsiteX6" fmla="*/ 0 w 1414396"/>
                <a:gd name="connsiteY6" fmla="*/ 707187 h 14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396" h="1414395">
                  <a:moveTo>
                    <a:pt x="0" y="707187"/>
                  </a:moveTo>
                  <a:cubicBezTo>
                    <a:pt x="0" y="1097782"/>
                    <a:pt x="316614" y="1414396"/>
                    <a:pt x="707209" y="1414396"/>
                  </a:cubicBezTo>
                  <a:cubicBezTo>
                    <a:pt x="1097782" y="1414396"/>
                    <a:pt x="1414396" y="1097782"/>
                    <a:pt x="1414396" y="707187"/>
                  </a:cubicBezTo>
                  <a:cubicBezTo>
                    <a:pt x="1414396" y="430568"/>
                    <a:pt x="1255570" y="191052"/>
                    <a:pt x="1024162" y="74840"/>
                  </a:cubicBezTo>
                  <a:cubicBezTo>
                    <a:pt x="975654" y="50473"/>
                    <a:pt x="923961" y="31503"/>
                    <a:pt x="869875" y="18812"/>
                  </a:cubicBezTo>
                  <a:cubicBezTo>
                    <a:pt x="817685" y="6504"/>
                    <a:pt x="763193" y="0"/>
                    <a:pt x="707209" y="0"/>
                  </a:cubicBezTo>
                  <a:cubicBezTo>
                    <a:pt x="316614" y="0"/>
                    <a:pt x="0" y="316614"/>
                    <a:pt x="0" y="707187"/>
                  </a:cubicBezTo>
                  <a:close/>
                </a:path>
              </a:pathLst>
            </a:custGeom>
            <a:solidFill>
              <a:srgbClr val="A1B4E3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12BF71B-65A4-4339-B1BF-20EFAE40E01B}"/>
                </a:ext>
              </a:extLst>
            </p:cNvPr>
            <p:cNvSpPr/>
            <p:nvPr/>
          </p:nvSpPr>
          <p:spPr>
            <a:xfrm>
              <a:off x="4185620" y="5451211"/>
              <a:ext cx="592149" cy="592161"/>
            </a:xfrm>
            <a:custGeom>
              <a:avLst/>
              <a:gdLst>
                <a:gd name="connsiteX0" fmla="*/ 0 w 1065669"/>
                <a:gd name="connsiteY0" fmla="*/ 532846 h 1065691"/>
                <a:gd name="connsiteX1" fmla="*/ 532846 w 1065669"/>
                <a:gd name="connsiteY1" fmla="*/ 1065692 h 1065691"/>
                <a:gd name="connsiteX2" fmla="*/ 1065669 w 1065669"/>
                <a:gd name="connsiteY2" fmla="*/ 532846 h 1065691"/>
                <a:gd name="connsiteX3" fmla="*/ 771661 w 1065669"/>
                <a:gd name="connsiteY3" fmla="*/ 56412 h 1065691"/>
                <a:gd name="connsiteX4" fmla="*/ 655427 w 1065669"/>
                <a:gd name="connsiteY4" fmla="*/ 14182 h 1065691"/>
                <a:gd name="connsiteX5" fmla="*/ 532869 w 1065669"/>
                <a:gd name="connsiteY5" fmla="*/ 0 h 1065691"/>
                <a:gd name="connsiteX6" fmla="*/ 0 w 1065669"/>
                <a:gd name="connsiteY6" fmla="*/ 532846 h 106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5669" h="1065691">
                  <a:moveTo>
                    <a:pt x="0" y="532846"/>
                  </a:moveTo>
                  <a:cubicBezTo>
                    <a:pt x="0" y="827125"/>
                    <a:pt x="238544" y="1065692"/>
                    <a:pt x="532846" y="1065692"/>
                  </a:cubicBezTo>
                  <a:cubicBezTo>
                    <a:pt x="827125" y="1065692"/>
                    <a:pt x="1065669" y="827148"/>
                    <a:pt x="1065669" y="532846"/>
                  </a:cubicBezTo>
                  <a:cubicBezTo>
                    <a:pt x="1065669" y="324427"/>
                    <a:pt x="946002" y="143967"/>
                    <a:pt x="771661" y="56412"/>
                  </a:cubicBezTo>
                  <a:cubicBezTo>
                    <a:pt x="735122" y="38052"/>
                    <a:pt x="696166" y="23757"/>
                    <a:pt x="655427" y="14182"/>
                  </a:cubicBezTo>
                  <a:cubicBezTo>
                    <a:pt x="616087" y="4901"/>
                    <a:pt x="575031" y="0"/>
                    <a:pt x="532869" y="0"/>
                  </a:cubicBezTo>
                  <a:cubicBezTo>
                    <a:pt x="238567" y="0"/>
                    <a:pt x="0" y="238567"/>
                    <a:pt x="0" y="532846"/>
                  </a:cubicBezTo>
                  <a:close/>
                </a:path>
              </a:pathLst>
            </a:custGeom>
            <a:solidFill>
              <a:schemeClr val="bg1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FA62F304-53A5-40CC-9D21-B071EB2D49D5}"/>
                </a:ext>
              </a:extLst>
            </p:cNvPr>
            <p:cNvSpPr/>
            <p:nvPr/>
          </p:nvSpPr>
          <p:spPr>
            <a:xfrm>
              <a:off x="4204241" y="8179958"/>
              <a:ext cx="556536" cy="554528"/>
            </a:xfrm>
            <a:custGeom>
              <a:avLst/>
              <a:gdLst>
                <a:gd name="connsiteX0" fmla="*/ 1000133 w 1001578"/>
                <a:gd name="connsiteY0" fmla="*/ 0 h 997965"/>
                <a:gd name="connsiteX1" fmla="*/ 1001579 w 1001578"/>
                <a:gd name="connsiteY1" fmla="*/ 996520 h 997965"/>
                <a:gd name="connsiteX2" fmla="*/ 1445 w 1001578"/>
                <a:gd name="connsiteY2" fmla="*/ 997965 h 997965"/>
                <a:gd name="connsiteX3" fmla="*/ 0 w 1001578"/>
                <a:gd name="connsiteY3" fmla="*/ 1445 h 997965"/>
                <a:gd name="connsiteX4" fmla="*/ 1000133 w 1001578"/>
                <a:gd name="connsiteY4" fmla="*/ 0 h 99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578" h="997965">
                  <a:moveTo>
                    <a:pt x="1000133" y="0"/>
                  </a:moveTo>
                  <a:cubicBezTo>
                    <a:pt x="648313" y="352837"/>
                    <a:pt x="648742" y="644722"/>
                    <a:pt x="1001579" y="996520"/>
                  </a:cubicBezTo>
                  <a:lnTo>
                    <a:pt x="1445" y="997965"/>
                  </a:lnTo>
                  <a:cubicBezTo>
                    <a:pt x="353266" y="645129"/>
                    <a:pt x="352837" y="353243"/>
                    <a:pt x="0" y="1445"/>
                  </a:cubicBezTo>
                  <a:lnTo>
                    <a:pt x="1000133" y="0"/>
                  </a:lnTo>
                  <a:close/>
                </a:path>
              </a:pathLst>
            </a:custGeom>
            <a:solidFill>
              <a:srgbClr val="A1B4E3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59C4ECE3-7A92-4C69-96E6-93F18484BB1E}"/>
                </a:ext>
              </a:extLst>
            </p:cNvPr>
            <p:cNvSpPr/>
            <p:nvPr/>
          </p:nvSpPr>
          <p:spPr>
            <a:xfrm>
              <a:off x="4088733" y="8617460"/>
              <a:ext cx="785922" cy="785921"/>
            </a:xfrm>
            <a:custGeom>
              <a:avLst/>
              <a:gdLst>
                <a:gd name="connsiteX0" fmla="*/ 0 w 1414396"/>
                <a:gd name="connsiteY0" fmla="*/ 707187 h 1414395"/>
                <a:gd name="connsiteX1" fmla="*/ 707209 w 1414396"/>
                <a:gd name="connsiteY1" fmla="*/ 1414396 h 1414395"/>
                <a:gd name="connsiteX2" fmla="*/ 1414396 w 1414396"/>
                <a:gd name="connsiteY2" fmla="*/ 707187 h 1414395"/>
                <a:gd name="connsiteX3" fmla="*/ 1024162 w 1414396"/>
                <a:gd name="connsiteY3" fmla="*/ 74840 h 1414395"/>
                <a:gd name="connsiteX4" fmla="*/ 869875 w 1414396"/>
                <a:gd name="connsiteY4" fmla="*/ 18812 h 1414395"/>
                <a:gd name="connsiteX5" fmla="*/ 707209 w 1414396"/>
                <a:gd name="connsiteY5" fmla="*/ 0 h 1414395"/>
                <a:gd name="connsiteX6" fmla="*/ 0 w 1414396"/>
                <a:gd name="connsiteY6" fmla="*/ 707187 h 14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396" h="1414395">
                  <a:moveTo>
                    <a:pt x="0" y="707187"/>
                  </a:moveTo>
                  <a:cubicBezTo>
                    <a:pt x="0" y="1097782"/>
                    <a:pt x="316614" y="1414396"/>
                    <a:pt x="707209" y="1414396"/>
                  </a:cubicBezTo>
                  <a:cubicBezTo>
                    <a:pt x="1097782" y="1414396"/>
                    <a:pt x="1414396" y="1097782"/>
                    <a:pt x="1414396" y="707187"/>
                  </a:cubicBezTo>
                  <a:cubicBezTo>
                    <a:pt x="1414396" y="430568"/>
                    <a:pt x="1255570" y="191052"/>
                    <a:pt x="1024162" y="74840"/>
                  </a:cubicBezTo>
                  <a:cubicBezTo>
                    <a:pt x="975654" y="50473"/>
                    <a:pt x="923961" y="31503"/>
                    <a:pt x="869875" y="18812"/>
                  </a:cubicBezTo>
                  <a:cubicBezTo>
                    <a:pt x="817685" y="6504"/>
                    <a:pt x="763193" y="0"/>
                    <a:pt x="707209" y="0"/>
                  </a:cubicBezTo>
                  <a:cubicBezTo>
                    <a:pt x="316614" y="0"/>
                    <a:pt x="0" y="316614"/>
                    <a:pt x="0" y="707187"/>
                  </a:cubicBezTo>
                  <a:close/>
                </a:path>
              </a:pathLst>
            </a:custGeom>
            <a:solidFill>
              <a:srgbClr val="FFCB3E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B30CB8FE-DBAC-46BE-B5A8-C11FA8F2CBED}"/>
                </a:ext>
              </a:extLst>
            </p:cNvPr>
            <p:cNvSpPr/>
            <p:nvPr/>
          </p:nvSpPr>
          <p:spPr>
            <a:xfrm>
              <a:off x="4185620" y="8700492"/>
              <a:ext cx="592149" cy="592161"/>
            </a:xfrm>
            <a:custGeom>
              <a:avLst/>
              <a:gdLst>
                <a:gd name="connsiteX0" fmla="*/ 0 w 1065669"/>
                <a:gd name="connsiteY0" fmla="*/ 532846 h 1065691"/>
                <a:gd name="connsiteX1" fmla="*/ 532846 w 1065669"/>
                <a:gd name="connsiteY1" fmla="*/ 1065692 h 1065691"/>
                <a:gd name="connsiteX2" fmla="*/ 1065669 w 1065669"/>
                <a:gd name="connsiteY2" fmla="*/ 532846 h 1065691"/>
                <a:gd name="connsiteX3" fmla="*/ 771661 w 1065669"/>
                <a:gd name="connsiteY3" fmla="*/ 56412 h 1065691"/>
                <a:gd name="connsiteX4" fmla="*/ 655427 w 1065669"/>
                <a:gd name="connsiteY4" fmla="*/ 14182 h 1065691"/>
                <a:gd name="connsiteX5" fmla="*/ 532869 w 1065669"/>
                <a:gd name="connsiteY5" fmla="*/ 0 h 1065691"/>
                <a:gd name="connsiteX6" fmla="*/ 0 w 1065669"/>
                <a:gd name="connsiteY6" fmla="*/ 532846 h 106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5669" h="1065691">
                  <a:moveTo>
                    <a:pt x="0" y="532846"/>
                  </a:moveTo>
                  <a:cubicBezTo>
                    <a:pt x="0" y="827125"/>
                    <a:pt x="238544" y="1065692"/>
                    <a:pt x="532846" y="1065692"/>
                  </a:cubicBezTo>
                  <a:cubicBezTo>
                    <a:pt x="827125" y="1065692"/>
                    <a:pt x="1065669" y="827148"/>
                    <a:pt x="1065669" y="532846"/>
                  </a:cubicBezTo>
                  <a:cubicBezTo>
                    <a:pt x="1065669" y="324427"/>
                    <a:pt x="946002" y="143967"/>
                    <a:pt x="771661" y="56412"/>
                  </a:cubicBezTo>
                  <a:cubicBezTo>
                    <a:pt x="735122" y="38052"/>
                    <a:pt x="696166" y="23757"/>
                    <a:pt x="655427" y="14182"/>
                  </a:cubicBezTo>
                  <a:cubicBezTo>
                    <a:pt x="616087" y="4901"/>
                    <a:pt x="575031" y="0"/>
                    <a:pt x="532869" y="0"/>
                  </a:cubicBezTo>
                  <a:cubicBezTo>
                    <a:pt x="238567" y="0"/>
                    <a:pt x="0" y="238567"/>
                    <a:pt x="0" y="532846"/>
                  </a:cubicBezTo>
                  <a:close/>
                </a:path>
              </a:pathLst>
            </a:custGeom>
            <a:solidFill>
              <a:schemeClr val="bg1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9410004B-9767-4A7F-BA31-DEF07DF9D102}"/>
                </a:ext>
              </a:extLst>
            </p:cNvPr>
            <p:cNvSpPr/>
            <p:nvPr/>
          </p:nvSpPr>
          <p:spPr>
            <a:xfrm>
              <a:off x="4185620" y="7652953"/>
              <a:ext cx="592149" cy="592161"/>
            </a:xfrm>
            <a:custGeom>
              <a:avLst/>
              <a:gdLst>
                <a:gd name="connsiteX0" fmla="*/ 0 w 1065669"/>
                <a:gd name="connsiteY0" fmla="*/ 532846 h 1065691"/>
                <a:gd name="connsiteX1" fmla="*/ 532846 w 1065669"/>
                <a:gd name="connsiteY1" fmla="*/ 1065692 h 1065691"/>
                <a:gd name="connsiteX2" fmla="*/ 1065669 w 1065669"/>
                <a:gd name="connsiteY2" fmla="*/ 532846 h 1065691"/>
                <a:gd name="connsiteX3" fmla="*/ 771661 w 1065669"/>
                <a:gd name="connsiteY3" fmla="*/ 56412 h 1065691"/>
                <a:gd name="connsiteX4" fmla="*/ 655427 w 1065669"/>
                <a:gd name="connsiteY4" fmla="*/ 14182 h 1065691"/>
                <a:gd name="connsiteX5" fmla="*/ 532869 w 1065669"/>
                <a:gd name="connsiteY5" fmla="*/ 0 h 1065691"/>
                <a:gd name="connsiteX6" fmla="*/ 0 w 1065669"/>
                <a:gd name="connsiteY6" fmla="*/ 532846 h 106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5669" h="1065691">
                  <a:moveTo>
                    <a:pt x="0" y="532846"/>
                  </a:moveTo>
                  <a:cubicBezTo>
                    <a:pt x="0" y="827125"/>
                    <a:pt x="238544" y="1065692"/>
                    <a:pt x="532846" y="1065692"/>
                  </a:cubicBezTo>
                  <a:cubicBezTo>
                    <a:pt x="827125" y="1065692"/>
                    <a:pt x="1065669" y="827148"/>
                    <a:pt x="1065669" y="532846"/>
                  </a:cubicBezTo>
                  <a:cubicBezTo>
                    <a:pt x="1065669" y="324427"/>
                    <a:pt x="946002" y="143967"/>
                    <a:pt x="771661" y="56412"/>
                  </a:cubicBezTo>
                  <a:cubicBezTo>
                    <a:pt x="735122" y="38052"/>
                    <a:pt x="696166" y="23757"/>
                    <a:pt x="655427" y="14182"/>
                  </a:cubicBezTo>
                  <a:cubicBezTo>
                    <a:pt x="616087" y="4901"/>
                    <a:pt x="575031" y="0"/>
                    <a:pt x="532869" y="0"/>
                  </a:cubicBezTo>
                  <a:cubicBezTo>
                    <a:pt x="238567" y="0"/>
                    <a:pt x="0" y="238567"/>
                    <a:pt x="0" y="532846"/>
                  </a:cubicBezTo>
                  <a:close/>
                </a:path>
              </a:pathLst>
            </a:custGeom>
            <a:solidFill>
              <a:schemeClr val="bg1"/>
            </a:solidFill>
            <a:ln w="22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EA04AEAB-218A-4725-9E66-FBF901A484E6}"/>
                </a:ext>
              </a:extLst>
            </p:cNvPr>
            <p:cNvSpPr txBox="1"/>
            <p:nvPr/>
          </p:nvSpPr>
          <p:spPr>
            <a:xfrm>
              <a:off x="5041900" y="1108195"/>
              <a:ext cx="1332000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IN" sz="16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Business owners</a:t>
              </a:r>
              <a:endPara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EEAD2EBF-AE5C-4C48-9DE6-4B45A95E7D04}"/>
                </a:ext>
              </a:extLst>
            </p:cNvPr>
            <p:cNvSpPr txBox="1"/>
            <p:nvPr/>
          </p:nvSpPr>
          <p:spPr>
            <a:xfrm>
              <a:off x="5041900" y="2332494"/>
              <a:ext cx="133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IN" sz="16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Investors </a:t>
              </a:r>
              <a:endPara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5AF4E956-1152-491E-BAED-B379D0E1AC98}"/>
                </a:ext>
              </a:extLst>
            </p:cNvPr>
            <p:cNvSpPr txBox="1"/>
            <p:nvPr/>
          </p:nvSpPr>
          <p:spPr>
            <a:xfrm>
              <a:off x="5041900" y="3310248"/>
              <a:ext cx="1332000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IN" sz="16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Startup Companies</a:t>
              </a:r>
              <a:endPara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22F1259-6CBD-463F-918C-5748118217B7}"/>
                </a:ext>
              </a:extLst>
            </p:cNvPr>
            <p:cNvSpPr txBox="1"/>
            <p:nvPr/>
          </p:nvSpPr>
          <p:spPr>
            <a:xfrm>
              <a:off x="5041900" y="4400192"/>
              <a:ext cx="1332000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IN" sz="16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Business founders</a:t>
              </a:r>
              <a:endPara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55503F2B-3C48-4B9A-8580-95713B24814F}"/>
                </a:ext>
              </a:extLst>
            </p:cNvPr>
            <p:cNvSpPr txBox="1"/>
            <p:nvPr/>
          </p:nvSpPr>
          <p:spPr>
            <a:xfrm>
              <a:off x="5041900" y="5359546"/>
              <a:ext cx="1332000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IN" sz="16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Mergers &amp; Acquisitions managers </a:t>
              </a:r>
              <a:endPara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E6F7898A-572B-4B5D-B9C5-FB06C84B425B}"/>
                </a:ext>
              </a:extLst>
            </p:cNvPr>
            <p:cNvSpPr txBox="1"/>
            <p:nvPr/>
          </p:nvSpPr>
          <p:spPr>
            <a:xfrm>
              <a:off x="5041900" y="6601934"/>
              <a:ext cx="1332000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IN" sz="160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Hospital Owners </a:t>
              </a:r>
              <a:endPara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E6AC7CA5-A54F-4C61-B46C-AA9B20B2ACD0}"/>
                </a:ext>
              </a:extLst>
            </p:cNvPr>
            <p:cNvSpPr txBox="1"/>
            <p:nvPr/>
          </p:nvSpPr>
          <p:spPr>
            <a:xfrm>
              <a:off x="5041900" y="7825917"/>
              <a:ext cx="133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IN" sz="160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Industrialists </a:t>
              </a:r>
              <a:endPara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F8FB4A5D-19A8-4827-A4C8-730CE513098E}"/>
                </a:ext>
              </a:extLst>
            </p:cNvPr>
            <p:cNvSpPr txBox="1"/>
            <p:nvPr/>
          </p:nvSpPr>
          <p:spPr>
            <a:xfrm>
              <a:off x="5041900" y="8764199"/>
              <a:ext cx="1332000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IN" sz="160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Venture Capitalists</a:t>
              </a:r>
              <a:endPara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149B766A-640A-4F04-8B58-BE100056290E}"/>
                </a:ext>
              </a:extLst>
            </p:cNvPr>
            <p:cNvSpPr/>
            <p:nvPr/>
          </p:nvSpPr>
          <p:spPr>
            <a:xfrm>
              <a:off x="4315291" y="1192240"/>
              <a:ext cx="364067" cy="306258"/>
            </a:xfrm>
            <a:custGeom>
              <a:avLst/>
              <a:gdLst>
                <a:gd name="connsiteX0" fmla="*/ 3147359 w 5432855"/>
                <a:gd name="connsiteY0" fmla="*/ 4387945 h 4570190"/>
                <a:gd name="connsiteX1" fmla="*/ 3292513 w 5432855"/>
                <a:gd name="connsiteY1" fmla="*/ 3752276 h 4570190"/>
                <a:gd name="connsiteX2" fmla="*/ 3536560 w 5432855"/>
                <a:gd name="connsiteY2" fmla="*/ 3446233 h 4570190"/>
                <a:gd name="connsiteX3" fmla="*/ 3821598 w 5432855"/>
                <a:gd name="connsiteY3" fmla="*/ 3308956 h 4570190"/>
                <a:gd name="connsiteX4" fmla="*/ 4187423 w 5432855"/>
                <a:gd name="connsiteY4" fmla="*/ 3416528 h 4570190"/>
                <a:gd name="connsiteX5" fmla="*/ 4553249 w 5432855"/>
                <a:gd name="connsiteY5" fmla="*/ 3308956 h 4570190"/>
                <a:gd name="connsiteX6" fmla="*/ 4838091 w 5432855"/>
                <a:gd name="connsiteY6" fmla="*/ 3446233 h 4570190"/>
                <a:gd name="connsiteX7" fmla="*/ 5082255 w 5432855"/>
                <a:gd name="connsiteY7" fmla="*/ 3752276 h 4570190"/>
                <a:gd name="connsiteX8" fmla="*/ 5227302 w 5432855"/>
                <a:gd name="connsiteY8" fmla="*/ 4387945 h 4570190"/>
                <a:gd name="connsiteX9" fmla="*/ 182057 w 5432855"/>
                <a:gd name="connsiteY9" fmla="*/ 1355141 h 4570190"/>
                <a:gd name="connsiteX10" fmla="*/ 1696304 w 5432855"/>
                <a:gd name="connsiteY10" fmla="*/ 1939756 h 4570190"/>
                <a:gd name="connsiteX11" fmla="*/ 1696304 w 5432855"/>
                <a:gd name="connsiteY11" fmla="*/ 2125677 h 4570190"/>
                <a:gd name="connsiteX12" fmla="*/ 1738285 w 5432855"/>
                <a:gd name="connsiteY12" fmla="*/ 2202368 h 4570190"/>
                <a:gd name="connsiteX13" fmla="*/ 2090139 w 5432855"/>
                <a:gd name="connsiteY13" fmla="*/ 2427438 h 4570190"/>
                <a:gd name="connsiteX14" fmla="*/ 2139243 w 5432855"/>
                <a:gd name="connsiteY14" fmla="*/ 2441830 h 4570190"/>
                <a:gd name="connsiteX15" fmla="*/ 2188307 w 5432855"/>
                <a:gd name="connsiteY15" fmla="*/ 2427438 h 4570190"/>
                <a:gd name="connsiteX16" fmla="*/ 2540200 w 5432855"/>
                <a:gd name="connsiteY16" fmla="*/ 2202368 h 4570190"/>
                <a:gd name="connsiteX17" fmla="*/ 2582299 w 5432855"/>
                <a:gd name="connsiteY17" fmla="*/ 2125677 h 4570190"/>
                <a:gd name="connsiteX18" fmla="*/ 2582299 w 5432855"/>
                <a:gd name="connsiteY18" fmla="*/ 1939756 h 4570190"/>
                <a:gd name="connsiteX19" fmla="*/ 4096545 w 5432855"/>
                <a:gd name="connsiteY19" fmla="*/ 1355141 h 4570190"/>
                <a:gd name="connsiteX20" fmla="*/ 4096545 w 5432855"/>
                <a:gd name="connsiteY20" fmla="*/ 2065894 h 4570190"/>
                <a:gd name="connsiteX21" fmla="*/ 3509060 w 5432855"/>
                <a:gd name="connsiteY21" fmla="*/ 2738066 h 4570190"/>
                <a:gd name="connsiteX22" fmla="*/ 3672397 w 5432855"/>
                <a:gd name="connsiteY22" fmla="*/ 3178781 h 4570190"/>
                <a:gd name="connsiteX23" fmla="*/ 3457820 w 5432855"/>
                <a:gd name="connsiteY23" fmla="*/ 3282072 h 4570190"/>
                <a:gd name="connsiteX24" fmla="*/ 3454489 w 5432855"/>
                <a:gd name="connsiteY24" fmla="*/ 3283758 h 4570190"/>
                <a:gd name="connsiteX25" fmla="*/ 182046 w 5432855"/>
                <a:gd name="connsiteY25" fmla="*/ 3283836 h 4570190"/>
                <a:gd name="connsiteX26" fmla="*/ 2399935 w 5432855"/>
                <a:gd name="connsiteY26" fmla="*/ 1766846 h 4570190"/>
                <a:gd name="connsiteX27" fmla="*/ 1878394 w 5432855"/>
                <a:gd name="connsiteY27" fmla="*/ 1766846 h 4570190"/>
                <a:gd name="connsiteX28" fmla="*/ 1878394 w 5432855"/>
                <a:gd name="connsiteY28" fmla="*/ 2075878 h 4570190"/>
                <a:gd name="connsiteX29" fmla="*/ 2139086 w 5432855"/>
                <a:gd name="connsiteY29" fmla="*/ 2242625 h 4570190"/>
                <a:gd name="connsiteX30" fmla="*/ 2399895 w 5432855"/>
                <a:gd name="connsiteY30" fmla="*/ 2075878 h 4570190"/>
                <a:gd name="connsiteX31" fmla="*/ 4096310 w 5432855"/>
                <a:gd name="connsiteY31" fmla="*/ 934432 h 4570190"/>
                <a:gd name="connsiteX32" fmla="*/ 182057 w 5432855"/>
                <a:gd name="connsiteY32" fmla="*/ 934432 h 4570190"/>
                <a:gd name="connsiteX33" fmla="*/ 182057 w 5432855"/>
                <a:gd name="connsiteY33" fmla="*/ 1159766 h 4570190"/>
                <a:gd name="connsiteX34" fmla="*/ 1696304 w 5432855"/>
                <a:gd name="connsiteY34" fmla="*/ 1744499 h 4570190"/>
                <a:gd name="connsiteX35" fmla="*/ 1696304 w 5432855"/>
                <a:gd name="connsiteY35" fmla="*/ 1675694 h 4570190"/>
                <a:gd name="connsiteX36" fmla="*/ 1787388 w 5432855"/>
                <a:gd name="connsiteY36" fmla="*/ 1584609 h 4570190"/>
                <a:gd name="connsiteX37" fmla="*/ 2491058 w 5432855"/>
                <a:gd name="connsiteY37" fmla="*/ 1584609 h 4570190"/>
                <a:gd name="connsiteX38" fmla="*/ 2582142 w 5432855"/>
                <a:gd name="connsiteY38" fmla="*/ 1675694 h 4570190"/>
                <a:gd name="connsiteX39" fmla="*/ 2582142 w 5432855"/>
                <a:gd name="connsiteY39" fmla="*/ 1744499 h 4570190"/>
                <a:gd name="connsiteX40" fmla="*/ 4096388 w 5432855"/>
                <a:gd name="connsiteY40" fmla="*/ 1159766 h 4570190"/>
                <a:gd name="connsiteX41" fmla="*/ 4096388 w 5432855"/>
                <a:gd name="connsiteY41" fmla="*/ 934432 h 4570190"/>
                <a:gd name="connsiteX42" fmla="*/ 2624975 w 5432855"/>
                <a:gd name="connsiteY42" fmla="*/ 752303 h 4570190"/>
                <a:gd name="connsiteX43" fmla="*/ 1653412 w 5432855"/>
                <a:gd name="connsiteY43" fmla="*/ 752303 h 4570190"/>
                <a:gd name="connsiteX44" fmla="*/ 1653412 w 5432855"/>
                <a:gd name="connsiteY44" fmla="*/ 516564 h 4570190"/>
                <a:gd name="connsiteX45" fmla="*/ 2625014 w 5432855"/>
                <a:gd name="connsiteY45" fmla="*/ 516564 h 4570190"/>
                <a:gd name="connsiteX46" fmla="*/ 1319016 w 5432855"/>
                <a:gd name="connsiteY46" fmla="*/ 467647 h 4570190"/>
                <a:gd name="connsiteX47" fmla="*/ 1319016 w 5432855"/>
                <a:gd name="connsiteY47" fmla="*/ 752303 h 4570190"/>
                <a:gd name="connsiteX48" fmla="*/ 1471214 w 5432855"/>
                <a:gd name="connsiteY48" fmla="*/ 752303 h 4570190"/>
                <a:gd name="connsiteX49" fmla="*/ 1471214 w 5432855"/>
                <a:gd name="connsiteY49" fmla="*/ 467647 h 4570190"/>
                <a:gd name="connsiteX50" fmla="*/ 1604700 w 5432855"/>
                <a:gd name="connsiteY50" fmla="*/ 334318 h 4570190"/>
                <a:gd name="connsiteX51" fmla="*/ 2673765 w 5432855"/>
                <a:gd name="connsiteY51" fmla="*/ 334318 h 4570190"/>
                <a:gd name="connsiteX52" fmla="*/ 2807212 w 5432855"/>
                <a:gd name="connsiteY52" fmla="*/ 467647 h 4570190"/>
                <a:gd name="connsiteX53" fmla="*/ 2807212 w 5432855"/>
                <a:gd name="connsiteY53" fmla="*/ 752303 h 4570190"/>
                <a:gd name="connsiteX54" fmla="*/ 2959293 w 5432855"/>
                <a:gd name="connsiteY54" fmla="*/ 752303 h 4570190"/>
                <a:gd name="connsiteX55" fmla="*/ 2959293 w 5432855"/>
                <a:gd name="connsiteY55" fmla="*/ 467647 h 4570190"/>
                <a:gd name="connsiteX56" fmla="*/ 2673794 w 5432855"/>
                <a:gd name="connsiteY56" fmla="*/ 182080 h 4570190"/>
                <a:gd name="connsiteX57" fmla="*/ 1604632 w 5432855"/>
                <a:gd name="connsiteY57" fmla="*/ 182080 h 4570190"/>
                <a:gd name="connsiteX58" fmla="*/ 1318986 w 5432855"/>
                <a:gd name="connsiteY58" fmla="*/ 467647 h 4570190"/>
                <a:gd name="connsiteX59" fmla="*/ 4683845 w 5432855"/>
                <a:gd name="connsiteY59" fmla="*/ 2738135 h 4570190"/>
                <a:gd name="connsiteX60" fmla="*/ 4187482 w 5432855"/>
                <a:gd name="connsiteY60" fmla="*/ 2241772 h 4570190"/>
                <a:gd name="connsiteX61" fmla="*/ 3691120 w 5432855"/>
                <a:gd name="connsiteY61" fmla="*/ 2738135 h 4570190"/>
                <a:gd name="connsiteX62" fmla="*/ 4187482 w 5432855"/>
                <a:gd name="connsiteY62" fmla="*/ 3234497 h 4570190"/>
                <a:gd name="connsiteX63" fmla="*/ 4683845 w 5432855"/>
                <a:gd name="connsiteY63" fmla="*/ 2738135 h 4570190"/>
                <a:gd name="connsiteX64" fmla="*/ 5430573 w 5432855"/>
                <a:gd name="connsiteY64" fmla="*/ 4458807 h 4570190"/>
                <a:gd name="connsiteX65" fmla="*/ 5260123 w 5432855"/>
                <a:gd name="connsiteY65" fmla="*/ 3711853 h 4570190"/>
                <a:gd name="connsiteX66" fmla="*/ 4917448 w 5432855"/>
                <a:gd name="connsiteY66" fmla="*/ 3282161 h 4570190"/>
                <a:gd name="connsiteX67" fmla="*/ 4702832 w 5432855"/>
                <a:gd name="connsiteY67" fmla="*/ 3178869 h 4570190"/>
                <a:gd name="connsiteX68" fmla="*/ 4866170 w 5432855"/>
                <a:gd name="connsiteY68" fmla="*/ 2738155 h 4570190"/>
                <a:gd name="connsiteX69" fmla="*/ 4278723 w 5432855"/>
                <a:gd name="connsiteY69" fmla="*/ 2065982 h 4570190"/>
                <a:gd name="connsiteX70" fmla="*/ 4278684 w 5432855"/>
                <a:gd name="connsiteY70" fmla="*/ 843397 h 4570190"/>
                <a:gd name="connsiteX71" fmla="*/ 4187600 w 5432855"/>
                <a:gd name="connsiteY71" fmla="*/ 752313 h 4570190"/>
                <a:gd name="connsiteX72" fmla="*/ 3141559 w 5432855"/>
                <a:gd name="connsiteY72" fmla="*/ 752352 h 4570190"/>
                <a:gd name="connsiteX73" fmla="*/ 3141559 w 5432855"/>
                <a:gd name="connsiteY73" fmla="*/ 467696 h 4570190"/>
                <a:gd name="connsiteX74" fmla="*/ 2673902 w 5432855"/>
                <a:gd name="connsiteY74" fmla="*/ 0 h 4570190"/>
                <a:gd name="connsiteX75" fmla="*/ 1604740 w 5432855"/>
                <a:gd name="connsiteY75" fmla="*/ 0 h 4570190"/>
                <a:gd name="connsiteX76" fmla="*/ 1136926 w 5432855"/>
                <a:gd name="connsiteY76" fmla="*/ 467696 h 4570190"/>
                <a:gd name="connsiteX77" fmla="*/ 1136926 w 5432855"/>
                <a:gd name="connsiteY77" fmla="*/ 752352 h 4570190"/>
                <a:gd name="connsiteX78" fmla="*/ 91083 w 5432855"/>
                <a:gd name="connsiteY78" fmla="*/ 752352 h 4570190"/>
                <a:gd name="connsiteX79" fmla="*/ 0 w 5432855"/>
                <a:gd name="connsiteY79" fmla="*/ 843436 h 4570190"/>
                <a:gd name="connsiteX80" fmla="*/ 0 w 5432855"/>
                <a:gd name="connsiteY80" fmla="*/ 3375018 h 4570190"/>
                <a:gd name="connsiteX81" fmla="*/ 91083 w 5432855"/>
                <a:gd name="connsiteY81" fmla="*/ 3466102 h 4570190"/>
                <a:gd name="connsiteX82" fmla="*/ 3228518 w 5432855"/>
                <a:gd name="connsiteY82" fmla="*/ 3466102 h 4570190"/>
                <a:gd name="connsiteX83" fmla="*/ 3115048 w 5432855"/>
                <a:gd name="connsiteY83" fmla="*/ 3711912 h 4570190"/>
                <a:gd name="connsiteX84" fmla="*/ 2944519 w 5432855"/>
                <a:gd name="connsiteY84" fmla="*/ 4458866 h 4570190"/>
                <a:gd name="connsiteX85" fmla="*/ 2962085 w 5432855"/>
                <a:gd name="connsiteY85" fmla="*/ 4535901 h 4570190"/>
                <a:gd name="connsiteX86" fmla="*/ 3033349 w 5432855"/>
                <a:gd name="connsiteY86" fmla="*/ 4570191 h 4570190"/>
                <a:gd name="connsiteX87" fmla="*/ 5341752 w 5432855"/>
                <a:gd name="connsiteY87" fmla="*/ 4570191 h 4570190"/>
                <a:gd name="connsiteX88" fmla="*/ 5413007 w 5432855"/>
                <a:gd name="connsiteY88" fmla="*/ 4535901 h 4570190"/>
                <a:gd name="connsiteX89" fmla="*/ 5430612 w 5432855"/>
                <a:gd name="connsiteY89" fmla="*/ 4458827 h 4570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5432855" h="4570190">
                  <a:moveTo>
                    <a:pt x="3147359" y="4387945"/>
                  </a:moveTo>
                  <a:lnTo>
                    <a:pt x="3292513" y="3752276"/>
                  </a:lnTo>
                  <a:cubicBezTo>
                    <a:pt x="3324168" y="3613735"/>
                    <a:pt x="3408511" y="3507955"/>
                    <a:pt x="3536560" y="3446233"/>
                  </a:cubicBezTo>
                  <a:lnTo>
                    <a:pt x="3821598" y="3308956"/>
                  </a:lnTo>
                  <a:cubicBezTo>
                    <a:pt x="3927260" y="3376889"/>
                    <a:pt x="4052752" y="3416528"/>
                    <a:pt x="4187423" y="3416528"/>
                  </a:cubicBezTo>
                  <a:cubicBezTo>
                    <a:pt x="4322056" y="3416528"/>
                    <a:pt x="4447547" y="3376879"/>
                    <a:pt x="4553249" y="3308956"/>
                  </a:cubicBezTo>
                  <a:lnTo>
                    <a:pt x="4838091" y="3446233"/>
                  </a:lnTo>
                  <a:cubicBezTo>
                    <a:pt x="4966139" y="3507965"/>
                    <a:pt x="5050572" y="3613745"/>
                    <a:pt x="5082255" y="3752276"/>
                  </a:cubicBezTo>
                  <a:lnTo>
                    <a:pt x="5227302" y="4387945"/>
                  </a:lnTo>
                  <a:close/>
                  <a:moveTo>
                    <a:pt x="182057" y="1355141"/>
                  </a:moveTo>
                  <a:lnTo>
                    <a:pt x="1696304" y="1939756"/>
                  </a:lnTo>
                  <a:lnTo>
                    <a:pt x="1696304" y="2125677"/>
                  </a:lnTo>
                  <a:cubicBezTo>
                    <a:pt x="1696304" y="2156714"/>
                    <a:pt x="1712146" y="2185684"/>
                    <a:pt x="1738285" y="2202368"/>
                  </a:cubicBezTo>
                  <a:lnTo>
                    <a:pt x="2090139" y="2427438"/>
                  </a:lnTo>
                  <a:cubicBezTo>
                    <a:pt x="2105070" y="2436971"/>
                    <a:pt x="2122176" y="2441830"/>
                    <a:pt x="2139243" y="2441830"/>
                  </a:cubicBezTo>
                  <a:cubicBezTo>
                    <a:pt x="2156348" y="2441830"/>
                    <a:pt x="2173415" y="2437010"/>
                    <a:pt x="2188307" y="2427438"/>
                  </a:cubicBezTo>
                  <a:lnTo>
                    <a:pt x="2540200" y="2202368"/>
                  </a:lnTo>
                  <a:cubicBezTo>
                    <a:pt x="2566418" y="2185645"/>
                    <a:pt x="2582299" y="2156714"/>
                    <a:pt x="2582299" y="2125677"/>
                  </a:cubicBezTo>
                  <a:lnTo>
                    <a:pt x="2582299" y="1939756"/>
                  </a:lnTo>
                  <a:lnTo>
                    <a:pt x="4096545" y="1355141"/>
                  </a:lnTo>
                  <a:lnTo>
                    <a:pt x="4096545" y="2065894"/>
                  </a:lnTo>
                  <a:cubicBezTo>
                    <a:pt x="3765314" y="2110520"/>
                    <a:pt x="3509060" y="2394863"/>
                    <a:pt x="3509060" y="2738066"/>
                  </a:cubicBezTo>
                  <a:cubicBezTo>
                    <a:pt x="3509060" y="2906185"/>
                    <a:pt x="3570713" y="3060069"/>
                    <a:pt x="3672397" y="3178781"/>
                  </a:cubicBezTo>
                  <a:lnTo>
                    <a:pt x="3457820" y="3282072"/>
                  </a:lnTo>
                  <a:cubicBezTo>
                    <a:pt x="3456596" y="3282611"/>
                    <a:pt x="3455636" y="3283219"/>
                    <a:pt x="3454489" y="3283758"/>
                  </a:cubicBezTo>
                  <a:lnTo>
                    <a:pt x="182046" y="3283836"/>
                  </a:lnTo>
                  <a:close/>
                  <a:moveTo>
                    <a:pt x="2399935" y="1766846"/>
                  </a:moveTo>
                  <a:lnTo>
                    <a:pt x="1878394" y="1766846"/>
                  </a:lnTo>
                  <a:lnTo>
                    <a:pt x="1878394" y="2075878"/>
                  </a:lnTo>
                  <a:lnTo>
                    <a:pt x="2139086" y="2242625"/>
                  </a:lnTo>
                  <a:lnTo>
                    <a:pt x="2399895" y="2075878"/>
                  </a:lnTo>
                  <a:close/>
                  <a:moveTo>
                    <a:pt x="4096310" y="934432"/>
                  </a:moveTo>
                  <a:lnTo>
                    <a:pt x="182057" y="934432"/>
                  </a:lnTo>
                  <a:lnTo>
                    <a:pt x="182057" y="1159766"/>
                  </a:lnTo>
                  <a:lnTo>
                    <a:pt x="1696304" y="1744499"/>
                  </a:lnTo>
                  <a:lnTo>
                    <a:pt x="1696304" y="1675694"/>
                  </a:lnTo>
                  <a:cubicBezTo>
                    <a:pt x="1696304" y="1625326"/>
                    <a:pt x="1737138" y="1584609"/>
                    <a:pt x="1787388" y="1584609"/>
                  </a:cubicBezTo>
                  <a:lnTo>
                    <a:pt x="2491058" y="1584609"/>
                  </a:lnTo>
                  <a:cubicBezTo>
                    <a:pt x="2541268" y="1584609"/>
                    <a:pt x="2582142" y="1625326"/>
                    <a:pt x="2582142" y="1675694"/>
                  </a:cubicBezTo>
                  <a:lnTo>
                    <a:pt x="2582142" y="1744499"/>
                  </a:lnTo>
                  <a:lnTo>
                    <a:pt x="4096388" y="1159766"/>
                  </a:lnTo>
                  <a:lnTo>
                    <a:pt x="4096388" y="934432"/>
                  </a:lnTo>
                  <a:close/>
                  <a:moveTo>
                    <a:pt x="2624975" y="752303"/>
                  </a:moveTo>
                  <a:lnTo>
                    <a:pt x="1653412" y="752303"/>
                  </a:lnTo>
                  <a:lnTo>
                    <a:pt x="1653412" y="516564"/>
                  </a:lnTo>
                  <a:lnTo>
                    <a:pt x="2625014" y="516564"/>
                  </a:lnTo>
                  <a:close/>
                  <a:moveTo>
                    <a:pt x="1319016" y="467647"/>
                  </a:moveTo>
                  <a:lnTo>
                    <a:pt x="1319016" y="752303"/>
                  </a:lnTo>
                  <a:lnTo>
                    <a:pt x="1471214" y="752303"/>
                  </a:lnTo>
                  <a:lnTo>
                    <a:pt x="1471214" y="467647"/>
                  </a:lnTo>
                  <a:cubicBezTo>
                    <a:pt x="1471214" y="394130"/>
                    <a:pt x="1531065" y="334318"/>
                    <a:pt x="1604700" y="334318"/>
                  </a:cubicBezTo>
                  <a:lnTo>
                    <a:pt x="2673765" y="334318"/>
                  </a:lnTo>
                  <a:cubicBezTo>
                    <a:pt x="2747283" y="334318"/>
                    <a:pt x="2807212" y="394134"/>
                    <a:pt x="2807212" y="467647"/>
                  </a:cubicBezTo>
                  <a:lnTo>
                    <a:pt x="2807212" y="752303"/>
                  </a:lnTo>
                  <a:lnTo>
                    <a:pt x="2959293" y="752303"/>
                  </a:lnTo>
                  <a:lnTo>
                    <a:pt x="2959293" y="467647"/>
                  </a:lnTo>
                  <a:cubicBezTo>
                    <a:pt x="2959293" y="310129"/>
                    <a:pt x="2831283" y="182080"/>
                    <a:pt x="2673794" y="182080"/>
                  </a:cubicBezTo>
                  <a:lnTo>
                    <a:pt x="1604632" y="182080"/>
                  </a:lnTo>
                  <a:cubicBezTo>
                    <a:pt x="1447153" y="182080"/>
                    <a:pt x="1318986" y="310129"/>
                    <a:pt x="1318986" y="467647"/>
                  </a:cubicBezTo>
                  <a:close/>
                  <a:moveTo>
                    <a:pt x="4683845" y="2738135"/>
                  </a:moveTo>
                  <a:cubicBezTo>
                    <a:pt x="4683845" y="2464462"/>
                    <a:pt x="4461155" y="2241772"/>
                    <a:pt x="4187482" y="2241772"/>
                  </a:cubicBezTo>
                  <a:cubicBezTo>
                    <a:pt x="3913809" y="2241772"/>
                    <a:pt x="3691120" y="2464462"/>
                    <a:pt x="3691120" y="2738135"/>
                  </a:cubicBezTo>
                  <a:cubicBezTo>
                    <a:pt x="3691120" y="3011809"/>
                    <a:pt x="3913809" y="3234497"/>
                    <a:pt x="4187482" y="3234497"/>
                  </a:cubicBezTo>
                  <a:cubicBezTo>
                    <a:pt x="4461155" y="3234458"/>
                    <a:pt x="4683845" y="3011769"/>
                    <a:pt x="4683845" y="2738135"/>
                  </a:cubicBezTo>
                  <a:close/>
                  <a:moveTo>
                    <a:pt x="5430573" y="4458807"/>
                  </a:moveTo>
                  <a:lnTo>
                    <a:pt x="5260123" y="3711853"/>
                  </a:lnTo>
                  <a:cubicBezTo>
                    <a:pt x="5215575" y="3517361"/>
                    <a:pt x="5097245" y="3368728"/>
                    <a:pt x="4917448" y="3282161"/>
                  </a:cubicBezTo>
                  <a:lnTo>
                    <a:pt x="4702832" y="3178869"/>
                  </a:lnTo>
                  <a:cubicBezTo>
                    <a:pt x="4804477" y="3060157"/>
                    <a:pt x="4866170" y="2906234"/>
                    <a:pt x="4866170" y="2738155"/>
                  </a:cubicBezTo>
                  <a:cubicBezTo>
                    <a:pt x="4866170" y="2394912"/>
                    <a:pt x="4609955" y="2110560"/>
                    <a:pt x="4278723" y="2065982"/>
                  </a:cubicBezTo>
                  <a:lnTo>
                    <a:pt x="4278684" y="843397"/>
                  </a:lnTo>
                  <a:cubicBezTo>
                    <a:pt x="4278684" y="793147"/>
                    <a:pt x="4237810" y="752313"/>
                    <a:pt x="4187600" y="752313"/>
                  </a:cubicBezTo>
                  <a:lnTo>
                    <a:pt x="3141559" y="752352"/>
                  </a:lnTo>
                  <a:lnTo>
                    <a:pt x="3141559" y="467696"/>
                  </a:lnTo>
                  <a:cubicBezTo>
                    <a:pt x="3141559" y="209796"/>
                    <a:pt x="2931763" y="0"/>
                    <a:pt x="2673902" y="0"/>
                  </a:cubicBezTo>
                  <a:lnTo>
                    <a:pt x="1604740" y="0"/>
                  </a:lnTo>
                  <a:cubicBezTo>
                    <a:pt x="1346761" y="0"/>
                    <a:pt x="1136926" y="209796"/>
                    <a:pt x="1136926" y="467696"/>
                  </a:cubicBezTo>
                  <a:lnTo>
                    <a:pt x="1136926" y="752352"/>
                  </a:lnTo>
                  <a:lnTo>
                    <a:pt x="91083" y="752352"/>
                  </a:lnTo>
                  <a:cubicBezTo>
                    <a:pt x="40834" y="752352"/>
                    <a:pt x="0" y="793187"/>
                    <a:pt x="0" y="843436"/>
                  </a:cubicBezTo>
                  <a:lnTo>
                    <a:pt x="0" y="3375018"/>
                  </a:lnTo>
                  <a:cubicBezTo>
                    <a:pt x="0" y="3425267"/>
                    <a:pt x="40834" y="3466102"/>
                    <a:pt x="91083" y="3466102"/>
                  </a:cubicBezTo>
                  <a:lnTo>
                    <a:pt x="3228518" y="3466102"/>
                  </a:lnTo>
                  <a:cubicBezTo>
                    <a:pt x="3174712" y="3536367"/>
                    <a:pt x="3136249" y="3618800"/>
                    <a:pt x="3115048" y="3711912"/>
                  </a:cubicBezTo>
                  <a:lnTo>
                    <a:pt x="2944519" y="4458866"/>
                  </a:lnTo>
                  <a:cubicBezTo>
                    <a:pt x="2938356" y="4485847"/>
                    <a:pt x="2944901" y="4514279"/>
                    <a:pt x="2962085" y="4535901"/>
                  </a:cubicBezTo>
                  <a:cubicBezTo>
                    <a:pt x="2979387" y="4557641"/>
                    <a:pt x="3005604" y="4570191"/>
                    <a:pt x="3033349" y="4570191"/>
                  </a:cubicBezTo>
                  <a:lnTo>
                    <a:pt x="5341752" y="4570191"/>
                  </a:lnTo>
                  <a:cubicBezTo>
                    <a:pt x="5369498" y="4570191"/>
                    <a:pt x="5395636" y="4557641"/>
                    <a:pt x="5413007" y="4535901"/>
                  </a:cubicBezTo>
                  <a:cubicBezTo>
                    <a:pt x="5430270" y="4514239"/>
                    <a:pt x="5436697" y="4485808"/>
                    <a:pt x="5430612" y="4458827"/>
                  </a:cubicBezTo>
                  <a:close/>
                </a:path>
              </a:pathLst>
            </a:custGeom>
            <a:solidFill>
              <a:srgbClr val="191925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3691C514-C572-4832-BFAE-90730E824FFA}"/>
                </a:ext>
              </a:extLst>
            </p:cNvPr>
            <p:cNvGrpSpPr/>
            <p:nvPr/>
          </p:nvGrpSpPr>
          <p:grpSpPr>
            <a:xfrm>
              <a:off x="4321509" y="2313183"/>
              <a:ext cx="339726" cy="335444"/>
              <a:chOff x="-6349248" y="2056783"/>
              <a:chExt cx="5320680" cy="5253637"/>
            </a:xfrm>
            <a:solidFill>
              <a:srgbClr val="191925"/>
            </a:solidFill>
          </p:grpSpPr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DAF1EE9D-0D7B-417B-A87A-1684FD6BED9A}"/>
                  </a:ext>
                </a:extLst>
              </p:cNvPr>
              <p:cNvSpPr/>
              <p:nvPr/>
            </p:nvSpPr>
            <p:spPr>
              <a:xfrm>
                <a:off x="-3872004" y="2755041"/>
                <a:ext cx="432259" cy="656674"/>
              </a:xfrm>
              <a:custGeom>
                <a:avLst/>
                <a:gdLst>
                  <a:gd name="connsiteX0" fmla="*/ 249377 w 432259"/>
                  <a:gd name="connsiteY0" fmla="*/ 282620 h 656674"/>
                  <a:gd name="connsiteX1" fmla="*/ 249377 w 432259"/>
                  <a:gd name="connsiteY1" fmla="*/ 132988 h 656674"/>
                  <a:gd name="connsiteX2" fmla="*/ 365757 w 432259"/>
                  <a:gd name="connsiteY2" fmla="*/ 182856 h 656674"/>
                  <a:gd name="connsiteX3" fmla="*/ 415624 w 432259"/>
                  <a:gd name="connsiteY3" fmla="*/ 108036 h 656674"/>
                  <a:gd name="connsiteX4" fmla="*/ 249377 w 432259"/>
                  <a:gd name="connsiteY4" fmla="*/ 49865 h 656674"/>
                  <a:gd name="connsiteX5" fmla="*/ 249377 w 432259"/>
                  <a:gd name="connsiteY5" fmla="*/ 0 h 656674"/>
                  <a:gd name="connsiteX6" fmla="*/ 199509 w 432259"/>
                  <a:gd name="connsiteY6" fmla="*/ 0 h 656674"/>
                  <a:gd name="connsiteX7" fmla="*/ 199509 w 432259"/>
                  <a:gd name="connsiteY7" fmla="*/ 41561 h 656674"/>
                  <a:gd name="connsiteX8" fmla="*/ 24963 w 432259"/>
                  <a:gd name="connsiteY8" fmla="*/ 199501 h 656674"/>
                  <a:gd name="connsiteX9" fmla="*/ 199509 w 432259"/>
                  <a:gd name="connsiteY9" fmla="*/ 357441 h 656674"/>
                  <a:gd name="connsiteX10" fmla="*/ 199509 w 432259"/>
                  <a:gd name="connsiteY10" fmla="*/ 515381 h 656674"/>
                  <a:gd name="connsiteX11" fmla="*/ 58175 w 432259"/>
                  <a:gd name="connsiteY11" fmla="*/ 448868 h 656674"/>
                  <a:gd name="connsiteX12" fmla="*/ 0 w 432259"/>
                  <a:gd name="connsiteY12" fmla="*/ 515381 h 656674"/>
                  <a:gd name="connsiteX13" fmla="*/ 199499 w 432259"/>
                  <a:gd name="connsiteY13" fmla="*/ 598500 h 656674"/>
                  <a:gd name="connsiteX14" fmla="*/ 199499 w 432259"/>
                  <a:gd name="connsiteY14" fmla="*/ 656675 h 656674"/>
                  <a:gd name="connsiteX15" fmla="*/ 249367 w 432259"/>
                  <a:gd name="connsiteY15" fmla="*/ 656675 h 656674"/>
                  <a:gd name="connsiteX16" fmla="*/ 249367 w 432259"/>
                  <a:gd name="connsiteY16" fmla="*/ 598500 h 656674"/>
                  <a:gd name="connsiteX17" fmla="*/ 432260 w 432259"/>
                  <a:gd name="connsiteY17" fmla="*/ 440560 h 656674"/>
                  <a:gd name="connsiteX18" fmla="*/ 249367 w 432259"/>
                  <a:gd name="connsiteY18" fmla="*/ 282620 h 656674"/>
                  <a:gd name="connsiteX19" fmla="*/ 199470 w 432259"/>
                  <a:gd name="connsiteY19" fmla="*/ 266014 h 656674"/>
                  <a:gd name="connsiteX20" fmla="*/ 124659 w 432259"/>
                  <a:gd name="connsiteY20" fmla="*/ 191193 h 656674"/>
                  <a:gd name="connsiteX21" fmla="*/ 199470 w 432259"/>
                  <a:gd name="connsiteY21" fmla="*/ 124679 h 656674"/>
                  <a:gd name="connsiteX22" fmla="*/ 249377 w 432259"/>
                  <a:gd name="connsiteY22" fmla="*/ 523689 h 656674"/>
                  <a:gd name="connsiteX23" fmla="*/ 249377 w 432259"/>
                  <a:gd name="connsiteY23" fmla="*/ 382355 h 656674"/>
                  <a:gd name="connsiteX24" fmla="*/ 332495 w 432259"/>
                  <a:gd name="connsiteY24" fmla="*/ 457166 h 656674"/>
                  <a:gd name="connsiteX25" fmla="*/ 249377 w 432259"/>
                  <a:gd name="connsiteY25" fmla="*/ 523679 h 656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32259" h="656674">
                    <a:moveTo>
                      <a:pt x="249377" y="282620"/>
                    </a:moveTo>
                    <a:lnTo>
                      <a:pt x="249377" y="132988"/>
                    </a:lnTo>
                    <a:cubicBezTo>
                      <a:pt x="290936" y="141293"/>
                      <a:pt x="332495" y="157941"/>
                      <a:pt x="365757" y="182856"/>
                    </a:cubicBezTo>
                    <a:lnTo>
                      <a:pt x="415624" y="108036"/>
                    </a:lnTo>
                    <a:cubicBezTo>
                      <a:pt x="365757" y="74780"/>
                      <a:pt x="307552" y="49865"/>
                      <a:pt x="249377" y="49865"/>
                    </a:cubicBezTo>
                    <a:lnTo>
                      <a:pt x="249377" y="0"/>
                    </a:lnTo>
                    <a:lnTo>
                      <a:pt x="199509" y="0"/>
                    </a:lnTo>
                    <a:lnTo>
                      <a:pt x="199509" y="41561"/>
                    </a:lnTo>
                    <a:cubicBezTo>
                      <a:pt x="99735" y="49866"/>
                      <a:pt x="24963" y="108075"/>
                      <a:pt x="24963" y="199501"/>
                    </a:cubicBezTo>
                    <a:cubicBezTo>
                      <a:pt x="24963" y="299275"/>
                      <a:pt x="91476" y="332488"/>
                      <a:pt x="199509" y="357441"/>
                    </a:cubicBezTo>
                    <a:lnTo>
                      <a:pt x="199509" y="515381"/>
                    </a:lnTo>
                    <a:cubicBezTo>
                      <a:pt x="149641" y="507073"/>
                      <a:pt x="108082" y="482119"/>
                      <a:pt x="58175" y="448868"/>
                    </a:cubicBezTo>
                    <a:lnTo>
                      <a:pt x="0" y="515381"/>
                    </a:lnTo>
                    <a:cubicBezTo>
                      <a:pt x="58175" y="565248"/>
                      <a:pt x="124698" y="598500"/>
                      <a:pt x="199499" y="598500"/>
                    </a:cubicBezTo>
                    <a:lnTo>
                      <a:pt x="199499" y="656675"/>
                    </a:lnTo>
                    <a:lnTo>
                      <a:pt x="249367" y="656675"/>
                    </a:lnTo>
                    <a:lnTo>
                      <a:pt x="249367" y="598500"/>
                    </a:lnTo>
                    <a:cubicBezTo>
                      <a:pt x="349141" y="590201"/>
                      <a:pt x="432260" y="540334"/>
                      <a:pt x="432260" y="440560"/>
                    </a:cubicBezTo>
                    <a:cubicBezTo>
                      <a:pt x="432221" y="340786"/>
                      <a:pt x="357409" y="307573"/>
                      <a:pt x="249367" y="282620"/>
                    </a:cubicBezTo>
                    <a:close/>
                    <a:moveTo>
                      <a:pt x="199470" y="266014"/>
                    </a:moveTo>
                    <a:cubicBezTo>
                      <a:pt x="157910" y="249398"/>
                      <a:pt x="124659" y="241061"/>
                      <a:pt x="124659" y="191193"/>
                    </a:cubicBezTo>
                    <a:cubicBezTo>
                      <a:pt x="124659" y="149632"/>
                      <a:pt x="157910" y="124679"/>
                      <a:pt x="199470" y="124679"/>
                    </a:cubicBezTo>
                    <a:close/>
                    <a:moveTo>
                      <a:pt x="249377" y="523689"/>
                    </a:moveTo>
                    <a:lnTo>
                      <a:pt x="249377" y="382355"/>
                    </a:lnTo>
                    <a:cubicBezTo>
                      <a:pt x="299244" y="398961"/>
                      <a:pt x="332495" y="407308"/>
                      <a:pt x="332495" y="457166"/>
                    </a:cubicBezTo>
                    <a:cubicBezTo>
                      <a:pt x="332495" y="498765"/>
                      <a:pt x="290936" y="515381"/>
                      <a:pt x="249377" y="523679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DA989022-11BE-4889-817C-4ECEC599E666}"/>
                  </a:ext>
                </a:extLst>
              </p:cNvPr>
              <p:cNvSpPr/>
              <p:nvPr/>
            </p:nvSpPr>
            <p:spPr>
              <a:xfrm>
                <a:off x="-4345912" y="2397595"/>
                <a:ext cx="1379947" cy="1379947"/>
              </a:xfrm>
              <a:custGeom>
                <a:avLst/>
                <a:gdLst>
                  <a:gd name="connsiteX0" fmla="*/ 689974 w 1379947"/>
                  <a:gd name="connsiteY0" fmla="*/ 0 h 1379947"/>
                  <a:gd name="connsiteX1" fmla="*/ 0 w 1379947"/>
                  <a:gd name="connsiteY1" fmla="*/ 689974 h 1379947"/>
                  <a:gd name="connsiteX2" fmla="*/ 689974 w 1379947"/>
                  <a:gd name="connsiteY2" fmla="*/ 1379947 h 1379947"/>
                  <a:gd name="connsiteX3" fmla="*/ 1379947 w 1379947"/>
                  <a:gd name="connsiteY3" fmla="*/ 689974 h 1379947"/>
                  <a:gd name="connsiteX4" fmla="*/ 689974 w 1379947"/>
                  <a:gd name="connsiteY4" fmla="*/ 0 h 1379947"/>
                  <a:gd name="connsiteX5" fmla="*/ 689974 w 1379947"/>
                  <a:gd name="connsiteY5" fmla="*/ 1213670 h 1379947"/>
                  <a:gd name="connsiteX6" fmla="*/ 166287 w 1379947"/>
                  <a:gd name="connsiteY6" fmla="*/ 689983 h 1379947"/>
                  <a:gd name="connsiteX7" fmla="*/ 689974 w 1379947"/>
                  <a:gd name="connsiteY7" fmla="*/ 166297 h 1379947"/>
                  <a:gd name="connsiteX8" fmla="*/ 1213660 w 1379947"/>
                  <a:gd name="connsiteY8" fmla="*/ 689983 h 1379947"/>
                  <a:gd name="connsiteX9" fmla="*/ 689974 w 1379947"/>
                  <a:gd name="connsiteY9" fmla="*/ 1213670 h 1379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79947" h="1379947">
                    <a:moveTo>
                      <a:pt x="689974" y="0"/>
                    </a:moveTo>
                    <a:cubicBezTo>
                      <a:pt x="307582" y="0"/>
                      <a:pt x="0" y="307581"/>
                      <a:pt x="0" y="689974"/>
                    </a:cubicBezTo>
                    <a:cubicBezTo>
                      <a:pt x="0" y="1072366"/>
                      <a:pt x="307582" y="1379947"/>
                      <a:pt x="689974" y="1379947"/>
                    </a:cubicBezTo>
                    <a:cubicBezTo>
                      <a:pt x="1072366" y="1379947"/>
                      <a:pt x="1379947" y="1072366"/>
                      <a:pt x="1379947" y="689974"/>
                    </a:cubicBezTo>
                    <a:cubicBezTo>
                      <a:pt x="1379908" y="315880"/>
                      <a:pt x="1072366" y="0"/>
                      <a:pt x="689974" y="0"/>
                    </a:cubicBezTo>
                    <a:close/>
                    <a:moveTo>
                      <a:pt x="689974" y="1213670"/>
                    </a:moveTo>
                    <a:cubicBezTo>
                      <a:pt x="399048" y="1213670"/>
                      <a:pt x="166287" y="980910"/>
                      <a:pt x="166287" y="689983"/>
                    </a:cubicBezTo>
                    <a:cubicBezTo>
                      <a:pt x="166287" y="399057"/>
                      <a:pt x="399048" y="166297"/>
                      <a:pt x="689974" y="166297"/>
                    </a:cubicBezTo>
                    <a:cubicBezTo>
                      <a:pt x="980900" y="166297"/>
                      <a:pt x="1213660" y="399057"/>
                      <a:pt x="1213660" y="689983"/>
                    </a:cubicBezTo>
                    <a:cubicBezTo>
                      <a:pt x="1213660" y="980910"/>
                      <a:pt x="980900" y="1213670"/>
                      <a:pt x="689974" y="121367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6F2B5DB0-31D6-4906-A80F-251738544FDA}"/>
                  </a:ext>
                </a:extLst>
              </p:cNvPr>
              <p:cNvSpPr/>
              <p:nvPr/>
            </p:nvSpPr>
            <p:spPr>
              <a:xfrm>
                <a:off x="-2808035" y="2788256"/>
                <a:ext cx="598546" cy="598546"/>
              </a:xfrm>
              <a:custGeom>
                <a:avLst/>
                <a:gdLst>
                  <a:gd name="connsiteX0" fmla="*/ 598547 w 598546"/>
                  <a:gd name="connsiteY0" fmla="*/ 299273 h 598546"/>
                  <a:gd name="connsiteX1" fmla="*/ 299273 w 598546"/>
                  <a:gd name="connsiteY1" fmla="*/ 0 h 598546"/>
                  <a:gd name="connsiteX2" fmla="*/ 0 w 598546"/>
                  <a:gd name="connsiteY2" fmla="*/ 299273 h 598546"/>
                  <a:gd name="connsiteX3" fmla="*/ 299273 w 598546"/>
                  <a:gd name="connsiteY3" fmla="*/ 598547 h 598546"/>
                  <a:gd name="connsiteX4" fmla="*/ 598547 w 598546"/>
                  <a:gd name="connsiteY4" fmla="*/ 299273 h 598546"/>
                  <a:gd name="connsiteX5" fmla="*/ 299273 w 598546"/>
                  <a:gd name="connsiteY5" fmla="*/ 432299 h 598546"/>
                  <a:gd name="connsiteX6" fmla="*/ 166287 w 598546"/>
                  <a:gd name="connsiteY6" fmla="*/ 299313 h 598546"/>
                  <a:gd name="connsiteX7" fmla="*/ 299273 w 598546"/>
                  <a:gd name="connsiteY7" fmla="*/ 166326 h 598546"/>
                  <a:gd name="connsiteX8" fmla="*/ 432260 w 598546"/>
                  <a:gd name="connsiteY8" fmla="*/ 299313 h 598546"/>
                  <a:gd name="connsiteX9" fmla="*/ 299273 w 598546"/>
                  <a:gd name="connsiteY9" fmla="*/ 432299 h 598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8546" h="598546">
                    <a:moveTo>
                      <a:pt x="598547" y="299273"/>
                    </a:moveTo>
                    <a:cubicBezTo>
                      <a:pt x="598547" y="133026"/>
                      <a:pt x="465560" y="0"/>
                      <a:pt x="299273" y="0"/>
                    </a:cubicBezTo>
                    <a:cubicBezTo>
                      <a:pt x="133026" y="0"/>
                      <a:pt x="0" y="132986"/>
                      <a:pt x="0" y="299273"/>
                    </a:cubicBezTo>
                    <a:cubicBezTo>
                      <a:pt x="0" y="465521"/>
                      <a:pt x="132986" y="598547"/>
                      <a:pt x="299273" y="598547"/>
                    </a:cubicBezTo>
                    <a:cubicBezTo>
                      <a:pt x="465521" y="598547"/>
                      <a:pt x="598547" y="465560"/>
                      <a:pt x="598547" y="299273"/>
                    </a:cubicBezTo>
                    <a:close/>
                    <a:moveTo>
                      <a:pt x="299273" y="432299"/>
                    </a:moveTo>
                    <a:cubicBezTo>
                      <a:pt x="224453" y="432299"/>
                      <a:pt x="166287" y="374124"/>
                      <a:pt x="166287" y="299313"/>
                    </a:cubicBezTo>
                    <a:cubicBezTo>
                      <a:pt x="166287" y="224492"/>
                      <a:pt x="224453" y="166326"/>
                      <a:pt x="299273" y="166326"/>
                    </a:cubicBezTo>
                    <a:cubicBezTo>
                      <a:pt x="374094" y="166326"/>
                      <a:pt x="432260" y="224492"/>
                      <a:pt x="432260" y="299313"/>
                    </a:cubicBezTo>
                    <a:cubicBezTo>
                      <a:pt x="432299" y="374094"/>
                      <a:pt x="374094" y="432299"/>
                      <a:pt x="299273" y="432299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1BB7DD90-C4B5-451E-B9B7-466127C8AE3B}"/>
                  </a:ext>
                </a:extLst>
              </p:cNvPr>
              <p:cNvSpPr/>
              <p:nvPr/>
            </p:nvSpPr>
            <p:spPr>
              <a:xfrm>
                <a:off x="-5102359" y="2788295"/>
                <a:ext cx="598546" cy="598546"/>
              </a:xfrm>
              <a:custGeom>
                <a:avLst/>
                <a:gdLst>
                  <a:gd name="connsiteX0" fmla="*/ 299273 w 598546"/>
                  <a:gd name="connsiteY0" fmla="*/ 0 h 598546"/>
                  <a:gd name="connsiteX1" fmla="*/ 0 w 598546"/>
                  <a:gd name="connsiteY1" fmla="*/ 299273 h 598546"/>
                  <a:gd name="connsiteX2" fmla="*/ 299273 w 598546"/>
                  <a:gd name="connsiteY2" fmla="*/ 598547 h 598546"/>
                  <a:gd name="connsiteX3" fmla="*/ 598546 w 598546"/>
                  <a:gd name="connsiteY3" fmla="*/ 299273 h 598546"/>
                  <a:gd name="connsiteX4" fmla="*/ 299273 w 598546"/>
                  <a:gd name="connsiteY4" fmla="*/ 0 h 598546"/>
                  <a:gd name="connsiteX5" fmla="*/ 299273 w 598546"/>
                  <a:gd name="connsiteY5" fmla="*/ 432260 h 598546"/>
                  <a:gd name="connsiteX6" fmla="*/ 166287 w 598546"/>
                  <a:gd name="connsiteY6" fmla="*/ 299273 h 598546"/>
                  <a:gd name="connsiteX7" fmla="*/ 299273 w 598546"/>
                  <a:gd name="connsiteY7" fmla="*/ 166287 h 598546"/>
                  <a:gd name="connsiteX8" fmla="*/ 432260 w 598546"/>
                  <a:gd name="connsiteY8" fmla="*/ 299273 h 598546"/>
                  <a:gd name="connsiteX9" fmla="*/ 299273 w 598546"/>
                  <a:gd name="connsiteY9" fmla="*/ 432260 h 598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8546" h="598546">
                    <a:moveTo>
                      <a:pt x="299273" y="0"/>
                    </a:moveTo>
                    <a:cubicBezTo>
                      <a:pt x="133025" y="0"/>
                      <a:pt x="0" y="132986"/>
                      <a:pt x="0" y="299273"/>
                    </a:cubicBezTo>
                    <a:cubicBezTo>
                      <a:pt x="0" y="465521"/>
                      <a:pt x="132986" y="598547"/>
                      <a:pt x="299273" y="598547"/>
                    </a:cubicBezTo>
                    <a:cubicBezTo>
                      <a:pt x="465521" y="598547"/>
                      <a:pt x="598546" y="465560"/>
                      <a:pt x="598546" y="299273"/>
                    </a:cubicBezTo>
                    <a:cubicBezTo>
                      <a:pt x="598507" y="132986"/>
                      <a:pt x="465521" y="0"/>
                      <a:pt x="299273" y="0"/>
                    </a:cubicBezTo>
                    <a:close/>
                    <a:moveTo>
                      <a:pt x="299273" y="432260"/>
                    </a:moveTo>
                    <a:cubicBezTo>
                      <a:pt x="224452" y="432260"/>
                      <a:pt x="166287" y="374084"/>
                      <a:pt x="166287" y="299273"/>
                    </a:cubicBezTo>
                    <a:cubicBezTo>
                      <a:pt x="166287" y="224453"/>
                      <a:pt x="224452" y="166287"/>
                      <a:pt x="299273" y="166287"/>
                    </a:cubicBezTo>
                    <a:cubicBezTo>
                      <a:pt x="374094" y="166287"/>
                      <a:pt x="432260" y="224453"/>
                      <a:pt x="432260" y="299273"/>
                    </a:cubicBezTo>
                    <a:cubicBezTo>
                      <a:pt x="432260" y="374055"/>
                      <a:pt x="374055" y="432260"/>
                      <a:pt x="299273" y="43226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69A4F65A-F88E-44F8-8B75-B860A57F1550}"/>
                  </a:ext>
                </a:extLst>
              </p:cNvPr>
              <p:cNvSpPr/>
              <p:nvPr/>
            </p:nvSpPr>
            <p:spPr>
              <a:xfrm>
                <a:off x="-5742377" y="2056783"/>
                <a:ext cx="4098125" cy="2061503"/>
              </a:xfrm>
              <a:custGeom>
                <a:avLst/>
                <a:gdLst>
                  <a:gd name="connsiteX0" fmla="*/ 4015006 w 4098125"/>
                  <a:gd name="connsiteY0" fmla="*/ 2061503 h 2061503"/>
                  <a:gd name="connsiteX1" fmla="*/ 4098125 w 4098125"/>
                  <a:gd name="connsiteY1" fmla="*/ 1978384 h 2061503"/>
                  <a:gd name="connsiteX2" fmla="*/ 4098125 w 4098125"/>
                  <a:gd name="connsiteY2" fmla="*/ 83123 h 2061503"/>
                  <a:gd name="connsiteX3" fmla="*/ 4015006 w 4098125"/>
                  <a:gd name="connsiteY3" fmla="*/ 0 h 2061503"/>
                  <a:gd name="connsiteX4" fmla="*/ 83119 w 4098125"/>
                  <a:gd name="connsiteY4" fmla="*/ 0 h 2061503"/>
                  <a:gd name="connsiteX5" fmla="*/ 0 w 4098125"/>
                  <a:gd name="connsiteY5" fmla="*/ 83123 h 2061503"/>
                  <a:gd name="connsiteX6" fmla="*/ 0 w 4098125"/>
                  <a:gd name="connsiteY6" fmla="*/ 1978384 h 2061503"/>
                  <a:gd name="connsiteX7" fmla="*/ 83119 w 4098125"/>
                  <a:gd name="connsiteY7" fmla="*/ 2061503 h 2061503"/>
                  <a:gd name="connsiteX8" fmla="*/ 4015006 w 4098125"/>
                  <a:gd name="connsiteY8" fmla="*/ 2061503 h 2061503"/>
                  <a:gd name="connsiteX9" fmla="*/ 174526 w 4098125"/>
                  <a:gd name="connsiteY9" fmla="*/ 1471304 h 2061503"/>
                  <a:gd name="connsiteX10" fmla="*/ 174526 w 4098125"/>
                  <a:gd name="connsiteY10" fmla="*/ 590139 h 2061503"/>
                  <a:gd name="connsiteX11" fmla="*/ 598478 w 4098125"/>
                  <a:gd name="connsiteY11" fmla="*/ 166187 h 2061503"/>
                  <a:gd name="connsiteX12" fmla="*/ 3516263 w 4098125"/>
                  <a:gd name="connsiteY12" fmla="*/ 166187 h 2061503"/>
                  <a:gd name="connsiteX13" fmla="*/ 3931917 w 4098125"/>
                  <a:gd name="connsiteY13" fmla="*/ 590139 h 2061503"/>
                  <a:gd name="connsiteX14" fmla="*/ 3931917 w 4098125"/>
                  <a:gd name="connsiteY14" fmla="*/ 1471274 h 2061503"/>
                  <a:gd name="connsiteX15" fmla="*/ 3507965 w 4098125"/>
                  <a:gd name="connsiteY15" fmla="*/ 1895226 h 2061503"/>
                  <a:gd name="connsiteX16" fmla="*/ 598508 w 4098125"/>
                  <a:gd name="connsiteY16" fmla="*/ 1895226 h 2061503"/>
                  <a:gd name="connsiteX17" fmla="*/ 174556 w 4098125"/>
                  <a:gd name="connsiteY17" fmla="*/ 1471304 h 2061503"/>
                  <a:gd name="connsiteX18" fmla="*/ 3931927 w 4098125"/>
                  <a:gd name="connsiteY18" fmla="*/ 1895226 h 2061503"/>
                  <a:gd name="connsiteX19" fmla="*/ 3674213 w 4098125"/>
                  <a:gd name="connsiteY19" fmla="*/ 1895226 h 2061503"/>
                  <a:gd name="connsiteX20" fmla="*/ 3931927 w 4098125"/>
                  <a:gd name="connsiteY20" fmla="*/ 1637512 h 2061503"/>
                  <a:gd name="connsiteX21" fmla="*/ 3931927 w 4098125"/>
                  <a:gd name="connsiteY21" fmla="*/ 166226 h 2061503"/>
                  <a:gd name="connsiteX22" fmla="*/ 3931927 w 4098125"/>
                  <a:gd name="connsiteY22" fmla="*/ 423940 h 2061503"/>
                  <a:gd name="connsiteX23" fmla="*/ 3674213 w 4098125"/>
                  <a:gd name="connsiteY23" fmla="*/ 166226 h 2061503"/>
                  <a:gd name="connsiteX24" fmla="*/ 174526 w 4098125"/>
                  <a:gd name="connsiteY24" fmla="*/ 166226 h 2061503"/>
                  <a:gd name="connsiteX25" fmla="*/ 432240 w 4098125"/>
                  <a:gd name="connsiteY25" fmla="*/ 166226 h 2061503"/>
                  <a:gd name="connsiteX26" fmla="*/ 174526 w 4098125"/>
                  <a:gd name="connsiteY26" fmla="*/ 423940 h 2061503"/>
                  <a:gd name="connsiteX27" fmla="*/ 174526 w 4098125"/>
                  <a:gd name="connsiteY27" fmla="*/ 1895226 h 2061503"/>
                  <a:gd name="connsiteX28" fmla="*/ 174526 w 4098125"/>
                  <a:gd name="connsiteY28" fmla="*/ 1637512 h 2061503"/>
                  <a:gd name="connsiteX29" fmla="*/ 340774 w 4098125"/>
                  <a:gd name="connsiteY29" fmla="*/ 1728939 h 2061503"/>
                  <a:gd name="connsiteX30" fmla="*/ 432201 w 4098125"/>
                  <a:gd name="connsiteY30" fmla="*/ 1895187 h 2061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098125" h="2061503">
                    <a:moveTo>
                      <a:pt x="4015006" y="2061503"/>
                    </a:moveTo>
                    <a:cubicBezTo>
                      <a:pt x="4064874" y="2061503"/>
                      <a:pt x="4098125" y="2028252"/>
                      <a:pt x="4098125" y="1978384"/>
                    </a:cubicBezTo>
                    <a:lnTo>
                      <a:pt x="4098125" y="83123"/>
                    </a:lnTo>
                    <a:cubicBezTo>
                      <a:pt x="4098125" y="33257"/>
                      <a:pt x="4064874" y="0"/>
                      <a:pt x="4015006" y="0"/>
                    </a:cubicBezTo>
                    <a:lnTo>
                      <a:pt x="83119" y="0"/>
                    </a:lnTo>
                    <a:cubicBezTo>
                      <a:pt x="33252" y="0"/>
                      <a:pt x="0" y="33256"/>
                      <a:pt x="0" y="83123"/>
                    </a:cubicBezTo>
                    <a:lnTo>
                      <a:pt x="0" y="1978384"/>
                    </a:lnTo>
                    <a:cubicBezTo>
                      <a:pt x="0" y="2028242"/>
                      <a:pt x="33252" y="2061503"/>
                      <a:pt x="83119" y="2061503"/>
                    </a:cubicBezTo>
                    <a:lnTo>
                      <a:pt x="4015006" y="2061503"/>
                    </a:lnTo>
                    <a:close/>
                    <a:moveTo>
                      <a:pt x="174526" y="1471304"/>
                    </a:moveTo>
                    <a:lnTo>
                      <a:pt x="174526" y="590139"/>
                    </a:lnTo>
                    <a:cubicBezTo>
                      <a:pt x="390671" y="556882"/>
                      <a:pt x="556919" y="390640"/>
                      <a:pt x="598478" y="166187"/>
                    </a:cubicBezTo>
                    <a:lnTo>
                      <a:pt x="3516263" y="166187"/>
                    </a:lnTo>
                    <a:cubicBezTo>
                      <a:pt x="3549525" y="390640"/>
                      <a:pt x="3715762" y="556887"/>
                      <a:pt x="3931917" y="590139"/>
                    </a:cubicBezTo>
                    <a:lnTo>
                      <a:pt x="3931917" y="1471274"/>
                    </a:lnTo>
                    <a:cubicBezTo>
                      <a:pt x="3715773" y="1504526"/>
                      <a:pt x="3541217" y="1679081"/>
                      <a:pt x="3507965" y="1895226"/>
                    </a:cubicBezTo>
                    <a:lnTo>
                      <a:pt x="598508" y="1895226"/>
                    </a:lnTo>
                    <a:cubicBezTo>
                      <a:pt x="556948" y="1679111"/>
                      <a:pt x="390700" y="1504526"/>
                      <a:pt x="174556" y="1471304"/>
                    </a:cubicBezTo>
                    <a:close/>
                    <a:moveTo>
                      <a:pt x="3931927" y="1895226"/>
                    </a:moveTo>
                    <a:lnTo>
                      <a:pt x="3674213" y="1895226"/>
                    </a:lnTo>
                    <a:cubicBezTo>
                      <a:pt x="3707464" y="1770538"/>
                      <a:pt x="3807199" y="1670773"/>
                      <a:pt x="3931927" y="1637512"/>
                    </a:cubicBezTo>
                    <a:close/>
                    <a:moveTo>
                      <a:pt x="3931927" y="166226"/>
                    </a:moveTo>
                    <a:lnTo>
                      <a:pt x="3931927" y="423940"/>
                    </a:lnTo>
                    <a:cubicBezTo>
                      <a:pt x="3807239" y="390684"/>
                      <a:pt x="3707474" y="290954"/>
                      <a:pt x="3674213" y="166226"/>
                    </a:cubicBezTo>
                    <a:close/>
                    <a:moveTo>
                      <a:pt x="174526" y="166226"/>
                    </a:moveTo>
                    <a:lnTo>
                      <a:pt x="432240" y="166226"/>
                    </a:lnTo>
                    <a:cubicBezTo>
                      <a:pt x="398979" y="290914"/>
                      <a:pt x="299254" y="390679"/>
                      <a:pt x="174526" y="423940"/>
                    </a:cubicBezTo>
                    <a:close/>
                    <a:moveTo>
                      <a:pt x="174526" y="1895226"/>
                    </a:moveTo>
                    <a:lnTo>
                      <a:pt x="174526" y="1637512"/>
                    </a:lnTo>
                    <a:cubicBezTo>
                      <a:pt x="232702" y="1654118"/>
                      <a:pt x="290907" y="1687380"/>
                      <a:pt x="340774" y="1728939"/>
                    </a:cubicBezTo>
                    <a:cubicBezTo>
                      <a:pt x="382334" y="1770499"/>
                      <a:pt x="415595" y="1828713"/>
                      <a:pt x="432201" y="1895187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5BFDC54B-CAA2-432B-9114-67B65869D48E}"/>
                  </a:ext>
                </a:extLst>
              </p:cNvPr>
              <p:cNvSpPr/>
              <p:nvPr/>
            </p:nvSpPr>
            <p:spPr>
              <a:xfrm>
                <a:off x="-2259322" y="4267926"/>
                <a:ext cx="664998" cy="1221960"/>
              </a:xfrm>
              <a:custGeom>
                <a:avLst/>
                <a:gdLst>
                  <a:gd name="connsiteX0" fmla="*/ 332481 w 664998"/>
                  <a:gd name="connsiteY0" fmla="*/ 1221961 h 1221960"/>
                  <a:gd name="connsiteX1" fmla="*/ 415600 w 664998"/>
                  <a:gd name="connsiteY1" fmla="*/ 1138842 h 1221960"/>
                  <a:gd name="connsiteX2" fmla="*/ 415600 w 664998"/>
                  <a:gd name="connsiteY2" fmla="*/ 282621 h 1221960"/>
                  <a:gd name="connsiteX3" fmla="*/ 523672 w 664998"/>
                  <a:gd name="connsiteY3" fmla="*/ 390693 h 1221960"/>
                  <a:gd name="connsiteX4" fmla="*/ 640052 w 664998"/>
                  <a:gd name="connsiteY4" fmla="*/ 390693 h 1221960"/>
                  <a:gd name="connsiteX5" fmla="*/ 640052 w 664998"/>
                  <a:gd name="connsiteY5" fmla="*/ 274313 h 1221960"/>
                  <a:gd name="connsiteX6" fmla="*/ 390685 w 664998"/>
                  <a:gd name="connsiteY6" fmla="*/ 24946 h 1221960"/>
                  <a:gd name="connsiteX7" fmla="*/ 274305 w 664998"/>
                  <a:gd name="connsiteY7" fmla="*/ 24946 h 1221960"/>
                  <a:gd name="connsiteX8" fmla="*/ 24939 w 664998"/>
                  <a:gd name="connsiteY8" fmla="*/ 274313 h 1221960"/>
                  <a:gd name="connsiteX9" fmla="*/ 24939 w 664998"/>
                  <a:gd name="connsiteY9" fmla="*/ 390693 h 1221960"/>
                  <a:gd name="connsiteX10" fmla="*/ 141319 w 664998"/>
                  <a:gd name="connsiteY10" fmla="*/ 390693 h 1221960"/>
                  <a:gd name="connsiteX11" fmla="*/ 249391 w 664998"/>
                  <a:gd name="connsiteY11" fmla="*/ 282621 h 1221960"/>
                  <a:gd name="connsiteX12" fmla="*/ 249391 w 664998"/>
                  <a:gd name="connsiteY12" fmla="*/ 1138842 h 1221960"/>
                  <a:gd name="connsiteX13" fmla="*/ 332481 w 664998"/>
                  <a:gd name="connsiteY13" fmla="*/ 1221961 h 122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64998" h="1221960">
                    <a:moveTo>
                      <a:pt x="332481" y="1221961"/>
                    </a:moveTo>
                    <a:cubicBezTo>
                      <a:pt x="382348" y="1221961"/>
                      <a:pt x="415600" y="1188700"/>
                      <a:pt x="415600" y="1138842"/>
                    </a:cubicBezTo>
                    <a:lnTo>
                      <a:pt x="415600" y="282621"/>
                    </a:lnTo>
                    <a:lnTo>
                      <a:pt x="523672" y="390693"/>
                    </a:lnTo>
                    <a:cubicBezTo>
                      <a:pt x="556933" y="423944"/>
                      <a:pt x="606801" y="423944"/>
                      <a:pt x="640052" y="390693"/>
                    </a:cubicBezTo>
                    <a:cubicBezTo>
                      <a:pt x="673314" y="357432"/>
                      <a:pt x="673314" y="307564"/>
                      <a:pt x="640052" y="274313"/>
                    </a:cubicBezTo>
                    <a:lnTo>
                      <a:pt x="390685" y="24946"/>
                    </a:lnTo>
                    <a:cubicBezTo>
                      <a:pt x="357434" y="-8315"/>
                      <a:pt x="307566" y="-8315"/>
                      <a:pt x="274305" y="24946"/>
                    </a:cubicBezTo>
                    <a:lnTo>
                      <a:pt x="24939" y="274313"/>
                    </a:lnTo>
                    <a:cubicBezTo>
                      <a:pt x="-8313" y="307564"/>
                      <a:pt x="-8313" y="357432"/>
                      <a:pt x="24939" y="390693"/>
                    </a:cubicBezTo>
                    <a:cubicBezTo>
                      <a:pt x="58200" y="423944"/>
                      <a:pt x="108067" y="423944"/>
                      <a:pt x="141319" y="390693"/>
                    </a:cubicBezTo>
                    <a:lnTo>
                      <a:pt x="249391" y="282621"/>
                    </a:lnTo>
                    <a:lnTo>
                      <a:pt x="249391" y="1138842"/>
                    </a:lnTo>
                    <a:cubicBezTo>
                      <a:pt x="249362" y="1180402"/>
                      <a:pt x="282613" y="1221961"/>
                      <a:pt x="332481" y="1221961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18428B10-6E61-4872-9193-B8A5E8953B64}"/>
                  </a:ext>
                </a:extLst>
              </p:cNvPr>
              <p:cNvSpPr/>
              <p:nvPr/>
            </p:nvSpPr>
            <p:spPr>
              <a:xfrm>
                <a:off x="-5783941" y="4267926"/>
                <a:ext cx="664998" cy="1221960"/>
              </a:xfrm>
              <a:custGeom>
                <a:avLst/>
                <a:gdLst>
                  <a:gd name="connsiteX0" fmla="*/ 332481 w 664998"/>
                  <a:gd name="connsiteY0" fmla="*/ 1221961 h 1221960"/>
                  <a:gd name="connsiteX1" fmla="*/ 415600 w 664998"/>
                  <a:gd name="connsiteY1" fmla="*/ 1138842 h 1221960"/>
                  <a:gd name="connsiteX2" fmla="*/ 415600 w 664998"/>
                  <a:gd name="connsiteY2" fmla="*/ 282621 h 1221960"/>
                  <a:gd name="connsiteX3" fmla="*/ 523672 w 664998"/>
                  <a:gd name="connsiteY3" fmla="*/ 390693 h 1221960"/>
                  <a:gd name="connsiteX4" fmla="*/ 640052 w 664998"/>
                  <a:gd name="connsiteY4" fmla="*/ 390693 h 1221960"/>
                  <a:gd name="connsiteX5" fmla="*/ 640052 w 664998"/>
                  <a:gd name="connsiteY5" fmla="*/ 274313 h 1221960"/>
                  <a:gd name="connsiteX6" fmla="*/ 390686 w 664998"/>
                  <a:gd name="connsiteY6" fmla="*/ 24946 h 1221960"/>
                  <a:gd name="connsiteX7" fmla="*/ 274305 w 664998"/>
                  <a:gd name="connsiteY7" fmla="*/ 24946 h 1221960"/>
                  <a:gd name="connsiteX8" fmla="*/ 24939 w 664998"/>
                  <a:gd name="connsiteY8" fmla="*/ 274313 h 1221960"/>
                  <a:gd name="connsiteX9" fmla="*/ 24939 w 664998"/>
                  <a:gd name="connsiteY9" fmla="*/ 390693 h 1221960"/>
                  <a:gd name="connsiteX10" fmla="*/ 141319 w 664998"/>
                  <a:gd name="connsiteY10" fmla="*/ 390693 h 1221960"/>
                  <a:gd name="connsiteX11" fmla="*/ 249391 w 664998"/>
                  <a:gd name="connsiteY11" fmla="*/ 282621 h 1221960"/>
                  <a:gd name="connsiteX12" fmla="*/ 249391 w 664998"/>
                  <a:gd name="connsiteY12" fmla="*/ 1138842 h 1221960"/>
                  <a:gd name="connsiteX13" fmla="*/ 332481 w 664998"/>
                  <a:gd name="connsiteY13" fmla="*/ 1221961 h 122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64998" h="1221960">
                    <a:moveTo>
                      <a:pt x="332481" y="1221961"/>
                    </a:moveTo>
                    <a:cubicBezTo>
                      <a:pt x="382348" y="1221961"/>
                      <a:pt x="415600" y="1188700"/>
                      <a:pt x="415600" y="1138842"/>
                    </a:cubicBezTo>
                    <a:lnTo>
                      <a:pt x="415600" y="282621"/>
                    </a:lnTo>
                    <a:lnTo>
                      <a:pt x="523672" y="390693"/>
                    </a:lnTo>
                    <a:cubicBezTo>
                      <a:pt x="556933" y="423944"/>
                      <a:pt x="606801" y="423944"/>
                      <a:pt x="640052" y="390693"/>
                    </a:cubicBezTo>
                    <a:cubicBezTo>
                      <a:pt x="673313" y="357432"/>
                      <a:pt x="673313" y="307564"/>
                      <a:pt x="640052" y="274313"/>
                    </a:cubicBezTo>
                    <a:lnTo>
                      <a:pt x="390686" y="24946"/>
                    </a:lnTo>
                    <a:cubicBezTo>
                      <a:pt x="357434" y="-8315"/>
                      <a:pt x="307567" y="-8315"/>
                      <a:pt x="274305" y="24946"/>
                    </a:cubicBezTo>
                    <a:lnTo>
                      <a:pt x="24939" y="274313"/>
                    </a:lnTo>
                    <a:cubicBezTo>
                      <a:pt x="-8313" y="307564"/>
                      <a:pt x="-8313" y="357432"/>
                      <a:pt x="24939" y="390693"/>
                    </a:cubicBezTo>
                    <a:cubicBezTo>
                      <a:pt x="58200" y="423944"/>
                      <a:pt x="108067" y="423944"/>
                      <a:pt x="141319" y="390693"/>
                    </a:cubicBezTo>
                    <a:lnTo>
                      <a:pt x="249391" y="282621"/>
                    </a:lnTo>
                    <a:lnTo>
                      <a:pt x="249391" y="1138842"/>
                    </a:lnTo>
                    <a:cubicBezTo>
                      <a:pt x="249352" y="1180402"/>
                      <a:pt x="290921" y="1221961"/>
                      <a:pt x="332481" y="1221961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1DC727CC-3645-4270-BF49-76BFAFC0D68A}"/>
                  </a:ext>
                </a:extLst>
              </p:cNvPr>
              <p:cNvSpPr/>
              <p:nvPr/>
            </p:nvSpPr>
            <p:spPr>
              <a:xfrm>
                <a:off x="-4977671" y="4417491"/>
                <a:ext cx="2577040" cy="2577040"/>
              </a:xfrm>
              <a:custGeom>
                <a:avLst/>
                <a:gdLst>
                  <a:gd name="connsiteX0" fmla="*/ 1288520 w 2577040"/>
                  <a:gd name="connsiteY0" fmla="*/ 2577041 h 2577040"/>
                  <a:gd name="connsiteX1" fmla="*/ 2577041 w 2577040"/>
                  <a:gd name="connsiteY1" fmla="*/ 1288520 h 2577040"/>
                  <a:gd name="connsiteX2" fmla="*/ 1288520 w 2577040"/>
                  <a:gd name="connsiteY2" fmla="*/ 0 h 2577040"/>
                  <a:gd name="connsiteX3" fmla="*/ 0 w 2577040"/>
                  <a:gd name="connsiteY3" fmla="*/ 1288520 h 2577040"/>
                  <a:gd name="connsiteX4" fmla="*/ 1288520 w 2577040"/>
                  <a:gd name="connsiteY4" fmla="*/ 2577041 h 2577040"/>
                  <a:gd name="connsiteX5" fmla="*/ 631808 w 2577040"/>
                  <a:gd name="connsiteY5" fmla="*/ 2194648 h 2577040"/>
                  <a:gd name="connsiteX6" fmla="*/ 1288520 w 2577040"/>
                  <a:gd name="connsiteY6" fmla="*/ 1604449 h 2577040"/>
                  <a:gd name="connsiteX7" fmla="*/ 1945233 w 2577040"/>
                  <a:gd name="connsiteY7" fmla="*/ 2194648 h 2577040"/>
                  <a:gd name="connsiteX8" fmla="*/ 1288520 w 2577040"/>
                  <a:gd name="connsiteY8" fmla="*/ 2410793 h 2577040"/>
                  <a:gd name="connsiteX9" fmla="*/ 631808 w 2577040"/>
                  <a:gd name="connsiteY9" fmla="*/ 2194648 h 2577040"/>
                  <a:gd name="connsiteX10" fmla="*/ 1288520 w 2577040"/>
                  <a:gd name="connsiteY10" fmla="*/ 1438201 h 2577040"/>
                  <a:gd name="connsiteX11" fmla="*/ 1014200 w 2577040"/>
                  <a:gd name="connsiteY11" fmla="*/ 1163881 h 2577040"/>
                  <a:gd name="connsiteX12" fmla="*/ 1288520 w 2577040"/>
                  <a:gd name="connsiteY12" fmla="*/ 889561 h 2577040"/>
                  <a:gd name="connsiteX13" fmla="*/ 1562840 w 2577040"/>
                  <a:gd name="connsiteY13" fmla="*/ 1163881 h 2577040"/>
                  <a:gd name="connsiteX14" fmla="*/ 1288520 w 2577040"/>
                  <a:gd name="connsiteY14" fmla="*/ 1438201 h 2577040"/>
                  <a:gd name="connsiteX15" fmla="*/ 1288520 w 2577040"/>
                  <a:gd name="connsiteY15" fmla="*/ 174663 h 2577040"/>
                  <a:gd name="connsiteX16" fmla="*/ 2410783 w 2577040"/>
                  <a:gd name="connsiteY16" fmla="*/ 1296926 h 2577040"/>
                  <a:gd name="connsiteX17" fmla="*/ 2094904 w 2577040"/>
                  <a:gd name="connsiteY17" fmla="*/ 2078327 h 2577040"/>
                  <a:gd name="connsiteX18" fmla="*/ 1579525 w 2577040"/>
                  <a:gd name="connsiteY18" fmla="*/ 1504733 h 2577040"/>
                  <a:gd name="connsiteX19" fmla="*/ 1729157 w 2577040"/>
                  <a:gd name="connsiteY19" fmla="*/ 1180546 h 2577040"/>
                  <a:gd name="connsiteX20" fmla="*/ 1288589 w 2577040"/>
                  <a:gd name="connsiteY20" fmla="*/ 739978 h 2577040"/>
                  <a:gd name="connsiteX21" fmla="*/ 848021 w 2577040"/>
                  <a:gd name="connsiteY21" fmla="*/ 1180546 h 2577040"/>
                  <a:gd name="connsiteX22" fmla="*/ 997653 w 2577040"/>
                  <a:gd name="connsiteY22" fmla="*/ 1504733 h 2577040"/>
                  <a:gd name="connsiteX23" fmla="*/ 482274 w 2577040"/>
                  <a:gd name="connsiteY23" fmla="*/ 2078327 h 2577040"/>
                  <a:gd name="connsiteX24" fmla="*/ 166395 w 2577040"/>
                  <a:gd name="connsiteY24" fmla="*/ 1296926 h 2577040"/>
                  <a:gd name="connsiteX25" fmla="*/ 1288559 w 2577040"/>
                  <a:gd name="connsiteY25" fmla="*/ 174663 h 2577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577040" h="2577040">
                    <a:moveTo>
                      <a:pt x="1288520" y="2577041"/>
                    </a:moveTo>
                    <a:cubicBezTo>
                      <a:pt x="1986792" y="2577041"/>
                      <a:pt x="2577041" y="2011794"/>
                      <a:pt x="2577041" y="1288520"/>
                    </a:cubicBezTo>
                    <a:cubicBezTo>
                      <a:pt x="2577041" y="581941"/>
                      <a:pt x="2003447" y="0"/>
                      <a:pt x="1288520" y="0"/>
                    </a:cubicBezTo>
                    <a:cubicBezTo>
                      <a:pt x="581941" y="0"/>
                      <a:pt x="0" y="573593"/>
                      <a:pt x="0" y="1288520"/>
                    </a:cubicBezTo>
                    <a:cubicBezTo>
                      <a:pt x="0" y="2020054"/>
                      <a:pt x="590199" y="2577041"/>
                      <a:pt x="1288520" y="2577041"/>
                    </a:cubicBezTo>
                    <a:close/>
                    <a:moveTo>
                      <a:pt x="631808" y="2194648"/>
                    </a:moveTo>
                    <a:cubicBezTo>
                      <a:pt x="665060" y="1862153"/>
                      <a:pt x="947687" y="1604449"/>
                      <a:pt x="1288520" y="1604449"/>
                    </a:cubicBezTo>
                    <a:cubicBezTo>
                      <a:pt x="1629353" y="1604449"/>
                      <a:pt x="1911981" y="1862163"/>
                      <a:pt x="1945233" y="2194648"/>
                    </a:cubicBezTo>
                    <a:cubicBezTo>
                      <a:pt x="1745733" y="2335982"/>
                      <a:pt x="1512973" y="2410793"/>
                      <a:pt x="1288520" y="2410793"/>
                    </a:cubicBezTo>
                    <a:cubicBezTo>
                      <a:pt x="1064068" y="2410793"/>
                      <a:pt x="822999" y="2344280"/>
                      <a:pt x="631808" y="2194648"/>
                    </a:cubicBezTo>
                    <a:close/>
                    <a:moveTo>
                      <a:pt x="1288520" y="1438201"/>
                    </a:moveTo>
                    <a:cubicBezTo>
                      <a:pt x="1138888" y="1438201"/>
                      <a:pt x="1014200" y="1313513"/>
                      <a:pt x="1014200" y="1163881"/>
                    </a:cubicBezTo>
                    <a:cubicBezTo>
                      <a:pt x="1014200" y="1014249"/>
                      <a:pt x="1138888" y="889561"/>
                      <a:pt x="1288520" y="889561"/>
                    </a:cubicBezTo>
                    <a:cubicBezTo>
                      <a:pt x="1438152" y="889561"/>
                      <a:pt x="1562840" y="1014249"/>
                      <a:pt x="1562840" y="1163881"/>
                    </a:cubicBezTo>
                    <a:cubicBezTo>
                      <a:pt x="1562840" y="1321821"/>
                      <a:pt x="1438152" y="1438201"/>
                      <a:pt x="1288520" y="1438201"/>
                    </a:cubicBezTo>
                    <a:close/>
                    <a:moveTo>
                      <a:pt x="1288520" y="174663"/>
                    </a:moveTo>
                    <a:cubicBezTo>
                      <a:pt x="1903673" y="174663"/>
                      <a:pt x="2410783" y="673436"/>
                      <a:pt x="2410783" y="1296926"/>
                    </a:cubicBezTo>
                    <a:cubicBezTo>
                      <a:pt x="2410783" y="1587852"/>
                      <a:pt x="2294403" y="1870520"/>
                      <a:pt x="2094904" y="2078327"/>
                    </a:cubicBezTo>
                    <a:cubicBezTo>
                      <a:pt x="2028391" y="1812315"/>
                      <a:pt x="1837190" y="1596200"/>
                      <a:pt x="1579525" y="1504733"/>
                    </a:cubicBezTo>
                    <a:cubicBezTo>
                      <a:pt x="1670952" y="1421615"/>
                      <a:pt x="1729157" y="1305234"/>
                      <a:pt x="1729157" y="1180546"/>
                    </a:cubicBezTo>
                    <a:cubicBezTo>
                      <a:pt x="1729157" y="939487"/>
                      <a:pt x="1529657" y="739978"/>
                      <a:pt x="1288589" y="739978"/>
                    </a:cubicBezTo>
                    <a:cubicBezTo>
                      <a:pt x="1047530" y="739978"/>
                      <a:pt x="848021" y="939478"/>
                      <a:pt x="848021" y="1180546"/>
                    </a:cubicBezTo>
                    <a:cubicBezTo>
                      <a:pt x="848021" y="1313532"/>
                      <a:pt x="906187" y="1429913"/>
                      <a:pt x="997653" y="1504733"/>
                    </a:cubicBezTo>
                    <a:cubicBezTo>
                      <a:pt x="748286" y="1596160"/>
                      <a:pt x="548787" y="1812315"/>
                      <a:pt x="482274" y="2078327"/>
                    </a:cubicBezTo>
                    <a:cubicBezTo>
                      <a:pt x="282775" y="1870520"/>
                      <a:pt x="166395" y="1596200"/>
                      <a:pt x="166395" y="1296926"/>
                    </a:cubicBezTo>
                    <a:cubicBezTo>
                      <a:pt x="166316" y="673426"/>
                      <a:pt x="673397" y="174663"/>
                      <a:pt x="1288559" y="174663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0CD4D71C-69AF-4570-A1DF-179C62B739FE}"/>
                  </a:ext>
                </a:extLst>
              </p:cNvPr>
              <p:cNvSpPr/>
              <p:nvPr/>
            </p:nvSpPr>
            <p:spPr>
              <a:xfrm>
                <a:off x="-2525359" y="5739351"/>
                <a:ext cx="1496791" cy="1571069"/>
              </a:xfrm>
              <a:custGeom>
                <a:avLst/>
                <a:gdLst>
                  <a:gd name="connsiteX0" fmla="*/ 1039095 w 1496791"/>
                  <a:gd name="connsiteY0" fmla="*/ 773063 h 1571069"/>
                  <a:gd name="connsiteX1" fmla="*/ 1188726 w 1496791"/>
                  <a:gd name="connsiteY1" fmla="*/ 440568 h 1571069"/>
                  <a:gd name="connsiteX2" fmla="*/ 748159 w 1496791"/>
                  <a:gd name="connsiteY2" fmla="*/ 0 h 1571069"/>
                  <a:gd name="connsiteX3" fmla="*/ 307591 w 1496791"/>
                  <a:gd name="connsiteY3" fmla="*/ 440568 h 1571069"/>
                  <a:gd name="connsiteX4" fmla="*/ 457223 w 1496791"/>
                  <a:gd name="connsiteY4" fmla="*/ 773063 h 1571069"/>
                  <a:gd name="connsiteX5" fmla="*/ 10 w 1496791"/>
                  <a:gd name="connsiteY5" fmla="*/ 1487951 h 1571069"/>
                  <a:gd name="connsiteX6" fmla="*/ 83129 w 1496791"/>
                  <a:gd name="connsiteY6" fmla="*/ 1571070 h 1571069"/>
                  <a:gd name="connsiteX7" fmla="*/ 1413189 w 1496791"/>
                  <a:gd name="connsiteY7" fmla="*/ 1571070 h 1571069"/>
                  <a:gd name="connsiteX8" fmla="*/ 1496318 w 1496791"/>
                  <a:gd name="connsiteY8" fmla="*/ 1487951 h 1571069"/>
                  <a:gd name="connsiteX9" fmla="*/ 1039105 w 1496791"/>
                  <a:gd name="connsiteY9" fmla="*/ 773063 h 1571069"/>
                  <a:gd name="connsiteX10" fmla="*/ 482147 w 1496791"/>
                  <a:gd name="connsiteY10" fmla="*/ 440538 h 1571069"/>
                  <a:gd name="connsiteX11" fmla="*/ 756467 w 1496791"/>
                  <a:gd name="connsiteY11" fmla="*/ 166218 h 1571069"/>
                  <a:gd name="connsiteX12" fmla="*/ 1030787 w 1496791"/>
                  <a:gd name="connsiteY12" fmla="*/ 440538 h 1571069"/>
                  <a:gd name="connsiteX13" fmla="*/ 756467 w 1496791"/>
                  <a:gd name="connsiteY13" fmla="*/ 714858 h 1571069"/>
                  <a:gd name="connsiteX14" fmla="*/ 482147 w 1496791"/>
                  <a:gd name="connsiteY14" fmla="*/ 440538 h 1571069"/>
                  <a:gd name="connsiteX15" fmla="*/ 174565 w 1496791"/>
                  <a:gd name="connsiteY15" fmla="*/ 1404832 h 1571069"/>
                  <a:gd name="connsiteX16" fmla="*/ 748159 w 1496791"/>
                  <a:gd name="connsiteY16" fmla="*/ 881145 h 1571069"/>
                  <a:gd name="connsiteX17" fmla="*/ 1321752 w 1496791"/>
                  <a:gd name="connsiteY17" fmla="*/ 1404832 h 1571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96791" h="1571069">
                    <a:moveTo>
                      <a:pt x="1039095" y="773063"/>
                    </a:moveTo>
                    <a:cubicBezTo>
                      <a:pt x="1130522" y="689944"/>
                      <a:pt x="1188726" y="573564"/>
                      <a:pt x="1188726" y="440568"/>
                    </a:cubicBezTo>
                    <a:cubicBezTo>
                      <a:pt x="1188726" y="199509"/>
                      <a:pt x="989227" y="0"/>
                      <a:pt x="748159" y="0"/>
                    </a:cubicBezTo>
                    <a:cubicBezTo>
                      <a:pt x="507100" y="0"/>
                      <a:pt x="307591" y="199499"/>
                      <a:pt x="307591" y="440568"/>
                    </a:cubicBezTo>
                    <a:cubicBezTo>
                      <a:pt x="307591" y="573554"/>
                      <a:pt x="365757" y="689934"/>
                      <a:pt x="457223" y="773063"/>
                    </a:cubicBezTo>
                    <a:cubicBezTo>
                      <a:pt x="-8298" y="972562"/>
                      <a:pt x="10" y="1479643"/>
                      <a:pt x="10" y="1487951"/>
                    </a:cubicBezTo>
                    <a:cubicBezTo>
                      <a:pt x="10" y="1537818"/>
                      <a:pt x="33271" y="1571070"/>
                      <a:pt x="83129" y="1571070"/>
                    </a:cubicBezTo>
                    <a:lnTo>
                      <a:pt x="1413189" y="1571070"/>
                    </a:lnTo>
                    <a:cubicBezTo>
                      <a:pt x="1463057" y="1571070"/>
                      <a:pt x="1496318" y="1537818"/>
                      <a:pt x="1496318" y="1487951"/>
                    </a:cubicBezTo>
                    <a:cubicBezTo>
                      <a:pt x="1496318" y="1479643"/>
                      <a:pt x="1529569" y="972572"/>
                      <a:pt x="1039105" y="773063"/>
                    </a:cubicBezTo>
                    <a:close/>
                    <a:moveTo>
                      <a:pt x="482147" y="440538"/>
                    </a:moveTo>
                    <a:cubicBezTo>
                      <a:pt x="482147" y="290907"/>
                      <a:pt x="606835" y="166218"/>
                      <a:pt x="756467" y="166218"/>
                    </a:cubicBezTo>
                    <a:cubicBezTo>
                      <a:pt x="906099" y="166218"/>
                      <a:pt x="1030787" y="290907"/>
                      <a:pt x="1030787" y="440538"/>
                    </a:cubicBezTo>
                    <a:cubicBezTo>
                      <a:pt x="1030787" y="590170"/>
                      <a:pt x="906099" y="714858"/>
                      <a:pt x="756467" y="714858"/>
                    </a:cubicBezTo>
                    <a:cubicBezTo>
                      <a:pt x="598527" y="714858"/>
                      <a:pt x="482147" y="590170"/>
                      <a:pt x="482147" y="440538"/>
                    </a:cubicBezTo>
                    <a:close/>
                    <a:moveTo>
                      <a:pt x="174565" y="1404832"/>
                    </a:moveTo>
                    <a:cubicBezTo>
                      <a:pt x="199519" y="1113906"/>
                      <a:pt x="448885" y="881145"/>
                      <a:pt x="748159" y="881145"/>
                    </a:cubicBezTo>
                    <a:cubicBezTo>
                      <a:pt x="1047432" y="881145"/>
                      <a:pt x="1296799" y="1113906"/>
                      <a:pt x="1321752" y="140483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110755C0-5BF7-48AF-A239-A9672BE672BC}"/>
                  </a:ext>
                </a:extLst>
              </p:cNvPr>
              <p:cNvSpPr/>
              <p:nvPr/>
            </p:nvSpPr>
            <p:spPr>
              <a:xfrm>
                <a:off x="-6349248" y="5739322"/>
                <a:ext cx="1488470" cy="1571069"/>
              </a:xfrm>
              <a:custGeom>
                <a:avLst/>
                <a:gdLst>
                  <a:gd name="connsiteX0" fmla="*/ 83145 w 1488470"/>
                  <a:gd name="connsiteY0" fmla="*/ 1571070 h 1571069"/>
                  <a:gd name="connsiteX1" fmla="*/ 1404877 w 1488470"/>
                  <a:gd name="connsiteY1" fmla="*/ 1571070 h 1571069"/>
                  <a:gd name="connsiteX2" fmla="*/ 1487996 w 1488470"/>
                  <a:gd name="connsiteY2" fmla="*/ 1487951 h 1571069"/>
                  <a:gd name="connsiteX3" fmla="*/ 1030783 w 1488470"/>
                  <a:gd name="connsiteY3" fmla="*/ 773063 h 1571069"/>
                  <a:gd name="connsiteX4" fmla="*/ 1180415 w 1488470"/>
                  <a:gd name="connsiteY4" fmla="*/ 440568 h 1571069"/>
                  <a:gd name="connsiteX5" fmla="*/ 739847 w 1488470"/>
                  <a:gd name="connsiteY5" fmla="*/ 0 h 1571069"/>
                  <a:gd name="connsiteX6" fmla="*/ 299280 w 1488470"/>
                  <a:gd name="connsiteY6" fmla="*/ 440568 h 1571069"/>
                  <a:gd name="connsiteX7" fmla="*/ 448911 w 1488470"/>
                  <a:gd name="connsiteY7" fmla="*/ 773063 h 1571069"/>
                  <a:gd name="connsiteX8" fmla="*/ 10 w 1488470"/>
                  <a:gd name="connsiteY8" fmla="*/ 1487951 h 1571069"/>
                  <a:gd name="connsiteX9" fmla="*/ 83133 w 1488470"/>
                  <a:gd name="connsiteY9" fmla="*/ 1571070 h 1571069"/>
                  <a:gd name="connsiteX10" fmla="*/ 473845 w 1488470"/>
                  <a:gd name="connsiteY10" fmla="*/ 440578 h 1571069"/>
                  <a:gd name="connsiteX11" fmla="*/ 748165 w 1488470"/>
                  <a:gd name="connsiteY11" fmla="*/ 166258 h 1571069"/>
                  <a:gd name="connsiteX12" fmla="*/ 1022485 w 1488470"/>
                  <a:gd name="connsiteY12" fmla="*/ 440578 h 1571069"/>
                  <a:gd name="connsiteX13" fmla="*/ 748165 w 1488470"/>
                  <a:gd name="connsiteY13" fmla="*/ 714898 h 1571069"/>
                  <a:gd name="connsiteX14" fmla="*/ 473845 w 1488470"/>
                  <a:gd name="connsiteY14" fmla="*/ 440578 h 1571069"/>
                  <a:gd name="connsiteX15" fmla="*/ 739857 w 1488470"/>
                  <a:gd name="connsiteY15" fmla="*/ 881145 h 1571069"/>
                  <a:gd name="connsiteX16" fmla="*/ 1313451 w 1488470"/>
                  <a:gd name="connsiteY16" fmla="*/ 1404832 h 1571069"/>
                  <a:gd name="connsiteX17" fmla="*/ 166303 w 1488470"/>
                  <a:gd name="connsiteY17" fmla="*/ 1404871 h 1571069"/>
                  <a:gd name="connsiteX18" fmla="*/ 739896 w 1488470"/>
                  <a:gd name="connsiteY18" fmla="*/ 881145 h 1571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88470" h="1571069">
                    <a:moveTo>
                      <a:pt x="83145" y="1571070"/>
                    </a:moveTo>
                    <a:lnTo>
                      <a:pt x="1404877" y="1571070"/>
                    </a:lnTo>
                    <a:cubicBezTo>
                      <a:pt x="1454745" y="1571070"/>
                      <a:pt x="1487996" y="1537818"/>
                      <a:pt x="1487996" y="1487951"/>
                    </a:cubicBezTo>
                    <a:cubicBezTo>
                      <a:pt x="1487996" y="1479643"/>
                      <a:pt x="1521258" y="980870"/>
                      <a:pt x="1030783" y="773063"/>
                    </a:cubicBezTo>
                    <a:cubicBezTo>
                      <a:pt x="1122210" y="689934"/>
                      <a:pt x="1180415" y="573564"/>
                      <a:pt x="1180415" y="440568"/>
                    </a:cubicBezTo>
                    <a:cubicBezTo>
                      <a:pt x="1180415" y="199509"/>
                      <a:pt x="980916" y="0"/>
                      <a:pt x="739847" y="0"/>
                    </a:cubicBezTo>
                    <a:cubicBezTo>
                      <a:pt x="498779" y="0"/>
                      <a:pt x="299280" y="199499"/>
                      <a:pt x="299280" y="440568"/>
                    </a:cubicBezTo>
                    <a:cubicBezTo>
                      <a:pt x="299280" y="573554"/>
                      <a:pt x="357455" y="689934"/>
                      <a:pt x="448911" y="773063"/>
                    </a:cubicBezTo>
                    <a:cubicBezTo>
                      <a:pt x="-8298" y="964264"/>
                      <a:pt x="10" y="1479643"/>
                      <a:pt x="10" y="1487951"/>
                    </a:cubicBezTo>
                    <a:cubicBezTo>
                      <a:pt x="10" y="1529510"/>
                      <a:pt x="33267" y="1571070"/>
                      <a:pt x="83133" y="1571070"/>
                    </a:cubicBezTo>
                    <a:close/>
                    <a:moveTo>
                      <a:pt x="473845" y="440578"/>
                    </a:moveTo>
                    <a:cubicBezTo>
                      <a:pt x="473845" y="290946"/>
                      <a:pt x="598533" y="166258"/>
                      <a:pt x="748165" y="166258"/>
                    </a:cubicBezTo>
                    <a:cubicBezTo>
                      <a:pt x="897797" y="166258"/>
                      <a:pt x="1022485" y="290946"/>
                      <a:pt x="1022485" y="440578"/>
                    </a:cubicBezTo>
                    <a:cubicBezTo>
                      <a:pt x="1022485" y="590209"/>
                      <a:pt x="897797" y="714898"/>
                      <a:pt x="748165" y="714898"/>
                    </a:cubicBezTo>
                    <a:cubicBezTo>
                      <a:pt x="590225" y="714898"/>
                      <a:pt x="473845" y="590209"/>
                      <a:pt x="473845" y="440578"/>
                    </a:cubicBezTo>
                    <a:close/>
                    <a:moveTo>
                      <a:pt x="739857" y="881145"/>
                    </a:moveTo>
                    <a:cubicBezTo>
                      <a:pt x="1039130" y="881145"/>
                      <a:pt x="1288497" y="1113906"/>
                      <a:pt x="1313451" y="1404832"/>
                    </a:cubicBezTo>
                    <a:lnTo>
                      <a:pt x="166303" y="1404871"/>
                    </a:lnTo>
                    <a:cubicBezTo>
                      <a:pt x="199559" y="1105598"/>
                      <a:pt x="440623" y="881145"/>
                      <a:pt x="739896" y="881145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6E4B0BCD-3805-45B0-A721-D072E8D6CC98}"/>
                </a:ext>
              </a:extLst>
            </p:cNvPr>
            <p:cNvSpPr/>
            <p:nvPr/>
          </p:nvSpPr>
          <p:spPr>
            <a:xfrm>
              <a:off x="4287443" y="3439736"/>
              <a:ext cx="384476" cy="246450"/>
            </a:xfrm>
            <a:custGeom>
              <a:avLst/>
              <a:gdLst>
                <a:gd name="connsiteX0" fmla="*/ 5218127 w 5370864"/>
                <a:gd name="connsiteY0" fmla="*/ 0 h 3442764"/>
                <a:gd name="connsiteX1" fmla="*/ 152808 w 5370864"/>
                <a:gd name="connsiteY1" fmla="*/ 0 h 3442764"/>
                <a:gd name="connsiteX2" fmla="*/ 44814 w 5370864"/>
                <a:gd name="connsiteY2" fmla="*/ 44812 h 3442764"/>
                <a:gd name="connsiteX3" fmla="*/ 0 w 5370864"/>
                <a:gd name="connsiteY3" fmla="*/ 152806 h 3442764"/>
                <a:gd name="connsiteX4" fmla="*/ 0 w 5370864"/>
                <a:gd name="connsiteY4" fmla="*/ 376151 h 3442764"/>
                <a:gd name="connsiteX5" fmla="*/ 0 w 5370864"/>
                <a:gd name="connsiteY5" fmla="*/ 376112 h 3442764"/>
                <a:gd name="connsiteX6" fmla="*/ 44814 w 5370864"/>
                <a:gd name="connsiteY6" fmla="*/ 484106 h 3442764"/>
                <a:gd name="connsiteX7" fmla="*/ 152808 w 5370864"/>
                <a:gd name="connsiteY7" fmla="*/ 528918 h 3442764"/>
                <a:gd name="connsiteX8" fmla="*/ 220278 w 5370864"/>
                <a:gd name="connsiteY8" fmla="*/ 528918 h 3442764"/>
                <a:gd name="connsiteX9" fmla="*/ 220278 w 5370864"/>
                <a:gd name="connsiteY9" fmla="*/ 3369012 h 3442764"/>
                <a:gd name="connsiteX10" fmla="*/ 241825 w 5370864"/>
                <a:gd name="connsiteY10" fmla="*/ 3421182 h 3442764"/>
                <a:gd name="connsiteX11" fmla="*/ 293946 w 5370864"/>
                <a:gd name="connsiteY11" fmla="*/ 3442765 h 3442764"/>
                <a:gd name="connsiteX12" fmla="*/ 5076911 w 5370864"/>
                <a:gd name="connsiteY12" fmla="*/ 3442765 h 3442764"/>
                <a:gd name="connsiteX13" fmla="*/ 5129042 w 5370864"/>
                <a:gd name="connsiteY13" fmla="*/ 3421182 h 3442764"/>
                <a:gd name="connsiteX14" fmla="*/ 5150586 w 5370864"/>
                <a:gd name="connsiteY14" fmla="*/ 3369012 h 3442764"/>
                <a:gd name="connsiteX15" fmla="*/ 5150586 w 5370864"/>
                <a:gd name="connsiteY15" fmla="*/ 528918 h 3442764"/>
                <a:gd name="connsiteX16" fmla="*/ 5218049 w 5370864"/>
                <a:gd name="connsiteY16" fmla="*/ 528918 h 3442764"/>
                <a:gd name="connsiteX17" fmla="*/ 5326043 w 5370864"/>
                <a:gd name="connsiteY17" fmla="*/ 484106 h 3442764"/>
                <a:gd name="connsiteX18" fmla="*/ 5370864 w 5370864"/>
                <a:gd name="connsiteY18" fmla="*/ 376112 h 3442764"/>
                <a:gd name="connsiteX19" fmla="*/ 5370864 w 5370864"/>
                <a:gd name="connsiteY19" fmla="*/ 152806 h 3442764"/>
                <a:gd name="connsiteX20" fmla="*/ 5326043 w 5370864"/>
                <a:gd name="connsiteY20" fmla="*/ 44812 h 3442764"/>
                <a:gd name="connsiteX21" fmla="*/ 5218049 w 5370864"/>
                <a:gd name="connsiteY21" fmla="*/ 0 h 3442764"/>
                <a:gd name="connsiteX22" fmla="*/ 5003236 w 5370864"/>
                <a:gd name="connsiteY22" fmla="*/ 3295367 h 3442764"/>
                <a:gd name="connsiteX23" fmla="*/ 367718 w 5370864"/>
                <a:gd name="connsiteY23" fmla="*/ 3295367 h 3442764"/>
                <a:gd name="connsiteX24" fmla="*/ 367718 w 5370864"/>
                <a:gd name="connsiteY24" fmla="*/ 529046 h 3442764"/>
                <a:gd name="connsiteX25" fmla="*/ 5003236 w 5370864"/>
                <a:gd name="connsiteY25" fmla="*/ 529046 h 3442764"/>
                <a:gd name="connsiteX26" fmla="*/ 5223515 w 5370864"/>
                <a:gd name="connsiteY26" fmla="*/ 376112 h 3442764"/>
                <a:gd name="connsiteX27" fmla="*/ 5223477 w 5370864"/>
                <a:gd name="connsiteY27" fmla="*/ 376112 h 3442764"/>
                <a:gd name="connsiteX28" fmla="*/ 5218117 w 5370864"/>
                <a:gd name="connsiteY28" fmla="*/ 381471 h 3442764"/>
                <a:gd name="connsiteX29" fmla="*/ 152800 w 5370864"/>
                <a:gd name="connsiteY29" fmla="*/ 381471 h 3442764"/>
                <a:gd name="connsiteX30" fmla="*/ 147442 w 5370864"/>
                <a:gd name="connsiteY30" fmla="*/ 376112 h 3442764"/>
                <a:gd name="connsiteX31" fmla="*/ 147442 w 5370864"/>
                <a:gd name="connsiteY31" fmla="*/ 152806 h 3442764"/>
                <a:gd name="connsiteX32" fmla="*/ 152800 w 5370864"/>
                <a:gd name="connsiteY32" fmla="*/ 147408 h 3442764"/>
                <a:gd name="connsiteX33" fmla="*/ 5218117 w 5370864"/>
                <a:gd name="connsiteY33" fmla="*/ 147408 h 3442764"/>
                <a:gd name="connsiteX34" fmla="*/ 5223477 w 5370864"/>
                <a:gd name="connsiteY34" fmla="*/ 152806 h 3442764"/>
                <a:gd name="connsiteX35" fmla="*/ 1368732 w 5370864"/>
                <a:gd name="connsiteY35" fmla="*/ 1963935 h 3442764"/>
                <a:gd name="connsiteX36" fmla="*/ 1595751 w 5370864"/>
                <a:gd name="connsiteY36" fmla="*/ 1869941 h 3442764"/>
                <a:gd name="connsiteX37" fmla="*/ 1689823 w 5370864"/>
                <a:gd name="connsiteY37" fmla="*/ 1642922 h 3442764"/>
                <a:gd name="connsiteX38" fmla="*/ 1595790 w 5370864"/>
                <a:gd name="connsiteY38" fmla="*/ 1415903 h 3442764"/>
                <a:gd name="connsiteX39" fmla="*/ 1368810 w 5370864"/>
                <a:gd name="connsiteY39" fmla="*/ 1321840 h 3442764"/>
                <a:gd name="connsiteX40" fmla="*/ 1141751 w 5370864"/>
                <a:gd name="connsiteY40" fmla="*/ 1415863 h 3442764"/>
                <a:gd name="connsiteX41" fmla="*/ 1047718 w 5370864"/>
                <a:gd name="connsiteY41" fmla="*/ 1642883 h 3442764"/>
                <a:gd name="connsiteX42" fmla="*/ 1141830 w 5370864"/>
                <a:gd name="connsiteY42" fmla="*/ 1869785 h 3442764"/>
                <a:gd name="connsiteX43" fmla="*/ 1368732 w 5370864"/>
                <a:gd name="connsiteY43" fmla="*/ 1963935 h 3442764"/>
                <a:gd name="connsiteX44" fmla="*/ 1368732 w 5370864"/>
                <a:gd name="connsiteY44" fmla="*/ 1469336 h 3442764"/>
                <a:gd name="connsiteX45" fmla="*/ 1491617 w 5370864"/>
                <a:gd name="connsiteY45" fmla="*/ 1520007 h 3442764"/>
                <a:gd name="connsiteX46" fmla="*/ 1542670 w 5370864"/>
                <a:gd name="connsiteY46" fmla="*/ 1642736 h 3442764"/>
                <a:gd name="connsiteX47" fmla="*/ 1491921 w 5370864"/>
                <a:gd name="connsiteY47" fmla="*/ 1765622 h 3442764"/>
                <a:gd name="connsiteX48" fmla="*/ 1369153 w 5370864"/>
                <a:gd name="connsiteY48" fmla="*/ 1816557 h 3442764"/>
                <a:gd name="connsiteX49" fmla="*/ 1246306 w 5370864"/>
                <a:gd name="connsiteY49" fmla="*/ 1765700 h 3442764"/>
                <a:gd name="connsiteX50" fmla="*/ 1195449 w 5370864"/>
                <a:gd name="connsiteY50" fmla="*/ 1642893 h 3442764"/>
                <a:gd name="connsiteX51" fmla="*/ 1246306 w 5370864"/>
                <a:gd name="connsiteY51" fmla="*/ 1520428 h 3442764"/>
                <a:gd name="connsiteX52" fmla="*/ 1368732 w 5370864"/>
                <a:gd name="connsiteY52" fmla="*/ 1469493 h 3442764"/>
                <a:gd name="connsiteX53" fmla="*/ 625873 w 5370864"/>
                <a:gd name="connsiteY53" fmla="*/ 2352265 h 3442764"/>
                <a:gd name="connsiteX54" fmla="*/ 693042 w 5370864"/>
                <a:gd name="connsiteY54" fmla="*/ 2768986 h 3442764"/>
                <a:gd name="connsiteX55" fmla="*/ 756028 w 5370864"/>
                <a:gd name="connsiteY55" fmla="*/ 2830218 h 3442764"/>
                <a:gd name="connsiteX56" fmla="*/ 765786 w 5370864"/>
                <a:gd name="connsiteY56" fmla="*/ 2830835 h 3442764"/>
                <a:gd name="connsiteX57" fmla="*/ 832955 w 5370864"/>
                <a:gd name="connsiteY57" fmla="*/ 2787552 h 3442764"/>
                <a:gd name="connsiteX58" fmla="*/ 956644 w 5370864"/>
                <a:gd name="connsiteY58" fmla="*/ 2514378 h 3442764"/>
                <a:gd name="connsiteX59" fmla="*/ 1030926 w 5370864"/>
                <a:gd name="connsiteY59" fmla="*/ 2498458 h 3442764"/>
                <a:gd name="connsiteX60" fmla="*/ 1054723 w 5370864"/>
                <a:gd name="connsiteY60" fmla="*/ 2535804 h 3442764"/>
                <a:gd name="connsiteX61" fmla="*/ 1116230 w 5370864"/>
                <a:gd name="connsiteY61" fmla="*/ 2568870 h 3442764"/>
                <a:gd name="connsiteX62" fmla="*/ 1138881 w 5370864"/>
                <a:gd name="connsiteY62" fmla="*/ 2568870 h 3442764"/>
                <a:gd name="connsiteX63" fmla="*/ 1320628 w 5370864"/>
                <a:gd name="connsiteY63" fmla="*/ 2922596 h 3442764"/>
                <a:gd name="connsiteX64" fmla="*/ 1416875 w 5370864"/>
                <a:gd name="connsiteY64" fmla="*/ 2922596 h 3442764"/>
                <a:gd name="connsiteX65" fmla="*/ 1598621 w 5370864"/>
                <a:gd name="connsiteY65" fmla="*/ 2569291 h 3442764"/>
                <a:gd name="connsiteX66" fmla="*/ 1621282 w 5370864"/>
                <a:gd name="connsiteY66" fmla="*/ 2569291 h 3442764"/>
                <a:gd name="connsiteX67" fmla="*/ 1682779 w 5370864"/>
                <a:gd name="connsiteY67" fmla="*/ 2536187 h 3442764"/>
                <a:gd name="connsiteX68" fmla="*/ 1706586 w 5370864"/>
                <a:gd name="connsiteY68" fmla="*/ 2498840 h 3442764"/>
                <a:gd name="connsiteX69" fmla="*/ 1780868 w 5370864"/>
                <a:gd name="connsiteY69" fmla="*/ 2514760 h 3442764"/>
                <a:gd name="connsiteX70" fmla="*/ 1904557 w 5370864"/>
                <a:gd name="connsiteY70" fmla="*/ 2787934 h 3442764"/>
                <a:gd name="connsiteX71" fmla="*/ 1971716 w 5370864"/>
                <a:gd name="connsiteY71" fmla="*/ 2831257 h 3442764"/>
                <a:gd name="connsiteX72" fmla="*/ 1981484 w 5370864"/>
                <a:gd name="connsiteY72" fmla="*/ 2830600 h 3442764"/>
                <a:gd name="connsiteX73" fmla="*/ 2044431 w 5370864"/>
                <a:gd name="connsiteY73" fmla="*/ 2768986 h 3442764"/>
                <a:gd name="connsiteX74" fmla="*/ 2111600 w 5370864"/>
                <a:gd name="connsiteY74" fmla="*/ 2352265 h 3442764"/>
                <a:gd name="connsiteX75" fmla="*/ 2091702 w 5370864"/>
                <a:gd name="connsiteY75" fmla="*/ 2289200 h 3442764"/>
                <a:gd name="connsiteX76" fmla="*/ 1878996 w 5370864"/>
                <a:gd name="connsiteY76" fmla="*/ 2069754 h 3442764"/>
                <a:gd name="connsiteX77" fmla="*/ 1419873 w 5370864"/>
                <a:gd name="connsiteY77" fmla="*/ 831297 h 3442764"/>
                <a:gd name="connsiteX78" fmla="*/ 1419912 w 5370864"/>
                <a:gd name="connsiteY78" fmla="*/ 831268 h 3442764"/>
                <a:gd name="connsiteX79" fmla="*/ 1317502 w 5370864"/>
                <a:gd name="connsiteY79" fmla="*/ 831268 h 3442764"/>
                <a:gd name="connsiteX80" fmla="*/ 858379 w 5370864"/>
                <a:gd name="connsiteY80" fmla="*/ 2069725 h 3442764"/>
                <a:gd name="connsiteX81" fmla="*/ 645673 w 5370864"/>
                <a:gd name="connsiteY81" fmla="*/ 2289161 h 3442764"/>
                <a:gd name="connsiteX82" fmla="*/ 645673 w 5370864"/>
                <a:gd name="connsiteY82" fmla="*/ 2289200 h 3442764"/>
                <a:gd name="connsiteX83" fmla="*/ 625883 w 5370864"/>
                <a:gd name="connsiteY83" fmla="*/ 2352265 h 3442764"/>
                <a:gd name="connsiteX84" fmla="*/ 1368732 w 5370864"/>
                <a:gd name="connsiteY84" fmla="*/ 2763323 h 3442764"/>
                <a:gd name="connsiteX85" fmla="*/ 1286181 w 5370864"/>
                <a:gd name="connsiteY85" fmla="*/ 2568987 h 3442764"/>
                <a:gd name="connsiteX86" fmla="*/ 1451312 w 5370864"/>
                <a:gd name="connsiteY86" fmla="*/ 2568987 h 3442764"/>
                <a:gd name="connsiteX87" fmla="*/ 1368732 w 5370864"/>
                <a:gd name="connsiteY87" fmla="*/ 2763323 h 3442764"/>
                <a:gd name="connsiteX88" fmla="*/ 1580898 w 5370864"/>
                <a:gd name="connsiteY88" fmla="*/ 2421531 h 3442764"/>
                <a:gd name="connsiteX89" fmla="*/ 1156594 w 5370864"/>
                <a:gd name="connsiteY89" fmla="*/ 2421570 h 3442764"/>
                <a:gd name="connsiteX90" fmla="*/ 1113467 w 5370864"/>
                <a:gd name="connsiteY90" fmla="*/ 2346484 h 3442764"/>
                <a:gd name="connsiteX91" fmla="*/ 1624065 w 5370864"/>
                <a:gd name="connsiteY91" fmla="*/ 2346484 h 3442764"/>
                <a:gd name="connsiteX92" fmla="*/ 1580889 w 5370864"/>
                <a:gd name="connsiteY92" fmla="*/ 2421570 h 3442764"/>
                <a:gd name="connsiteX93" fmla="*/ 1960195 w 5370864"/>
                <a:gd name="connsiteY93" fmla="*/ 2365275 h 3442764"/>
                <a:gd name="connsiteX94" fmla="*/ 1937848 w 5370864"/>
                <a:gd name="connsiteY94" fmla="*/ 2503885 h 3442764"/>
                <a:gd name="connsiteX95" fmla="*/ 1900030 w 5370864"/>
                <a:gd name="connsiteY95" fmla="*/ 2419806 h 3442764"/>
                <a:gd name="connsiteX96" fmla="*/ 1848066 w 5370864"/>
                <a:gd name="connsiteY96" fmla="*/ 2378168 h 3442764"/>
                <a:gd name="connsiteX97" fmla="*/ 1780329 w 5370864"/>
                <a:gd name="connsiteY97" fmla="*/ 2363620 h 3442764"/>
                <a:gd name="connsiteX98" fmla="*/ 1833557 w 5370864"/>
                <a:gd name="connsiteY98" fmla="*/ 2234875 h 3442764"/>
                <a:gd name="connsiteX99" fmla="*/ 1368732 w 5370864"/>
                <a:gd name="connsiteY99" fmla="*/ 988875 h 3442764"/>
                <a:gd name="connsiteX100" fmla="*/ 1690587 w 5370864"/>
                <a:gd name="connsiteY100" fmla="*/ 2198920 h 3442764"/>
                <a:gd name="connsiteX101" fmla="*/ 1046925 w 5370864"/>
                <a:gd name="connsiteY101" fmla="*/ 2198920 h 3442764"/>
                <a:gd name="connsiteX102" fmla="*/ 1368741 w 5370864"/>
                <a:gd name="connsiteY102" fmla="*/ 988875 h 3442764"/>
                <a:gd name="connsiteX103" fmla="*/ 903749 w 5370864"/>
                <a:gd name="connsiteY103" fmla="*/ 2234973 h 3442764"/>
                <a:gd name="connsiteX104" fmla="*/ 957056 w 5370864"/>
                <a:gd name="connsiteY104" fmla="*/ 2363639 h 3442764"/>
                <a:gd name="connsiteX105" fmla="*/ 889318 w 5370864"/>
                <a:gd name="connsiteY105" fmla="*/ 2378178 h 3442764"/>
                <a:gd name="connsiteX106" fmla="*/ 837354 w 5370864"/>
                <a:gd name="connsiteY106" fmla="*/ 2419816 h 3442764"/>
                <a:gd name="connsiteX107" fmla="*/ 799351 w 5370864"/>
                <a:gd name="connsiteY107" fmla="*/ 2503778 h 3442764"/>
                <a:gd name="connsiteX108" fmla="*/ 777004 w 5370864"/>
                <a:gd name="connsiteY108" fmla="*/ 2365177 h 3442764"/>
                <a:gd name="connsiteX109" fmla="*/ 2436316 w 5370864"/>
                <a:gd name="connsiteY109" fmla="*/ 1216560 h 3442764"/>
                <a:gd name="connsiteX110" fmla="*/ 2457900 w 5370864"/>
                <a:gd name="connsiteY110" fmla="*/ 1164430 h 3442764"/>
                <a:gd name="connsiteX111" fmla="*/ 2510020 w 5370864"/>
                <a:gd name="connsiteY111" fmla="*/ 1142807 h 3442764"/>
                <a:gd name="connsiteX112" fmla="*/ 3319352 w 5370864"/>
                <a:gd name="connsiteY112" fmla="*/ 1142807 h 3442764"/>
                <a:gd name="connsiteX113" fmla="*/ 3372815 w 5370864"/>
                <a:gd name="connsiteY113" fmla="*/ 1163666 h 3442764"/>
                <a:gd name="connsiteX114" fmla="*/ 3395173 w 5370864"/>
                <a:gd name="connsiteY114" fmla="*/ 1216560 h 3442764"/>
                <a:gd name="connsiteX115" fmla="*/ 3372815 w 5370864"/>
                <a:gd name="connsiteY115" fmla="*/ 1269406 h 3442764"/>
                <a:gd name="connsiteX116" fmla="*/ 3319352 w 5370864"/>
                <a:gd name="connsiteY116" fmla="*/ 1290264 h 3442764"/>
                <a:gd name="connsiteX117" fmla="*/ 2510020 w 5370864"/>
                <a:gd name="connsiteY117" fmla="*/ 1290264 h 3442764"/>
                <a:gd name="connsiteX118" fmla="*/ 2436316 w 5370864"/>
                <a:gd name="connsiteY118" fmla="*/ 1216560 h 3442764"/>
                <a:gd name="connsiteX119" fmla="*/ 2436316 w 5370864"/>
                <a:gd name="connsiteY119" fmla="*/ 1490577 h 3442764"/>
                <a:gd name="connsiteX120" fmla="*/ 2436316 w 5370864"/>
                <a:gd name="connsiteY120" fmla="*/ 1490616 h 3442764"/>
                <a:gd name="connsiteX121" fmla="*/ 2510020 w 5370864"/>
                <a:gd name="connsiteY121" fmla="*/ 1416902 h 3442764"/>
                <a:gd name="connsiteX122" fmla="*/ 4091867 w 5370864"/>
                <a:gd name="connsiteY122" fmla="*/ 1416902 h 3442764"/>
                <a:gd name="connsiteX123" fmla="*/ 4145369 w 5370864"/>
                <a:gd name="connsiteY123" fmla="*/ 1437760 h 3442764"/>
                <a:gd name="connsiteX124" fmla="*/ 4167687 w 5370864"/>
                <a:gd name="connsiteY124" fmla="*/ 1490655 h 3442764"/>
                <a:gd name="connsiteX125" fmla="*/ 4145369 w 5370864"/>
                <a:gd name="connsiteY125" fmla="*/ 1543501 h 3442764"/>
                <a:gd name="connsiteX126" fmla="*/ 4091867 w 5370864"/>
                <a:gd name="connsiteY126" fmla="*/ 1564359 h 3442764"/>
                <a:gd name="connsiteX127" fmla="*/ 2510020 w 5370864"/>
                <a:gd name="connsiteY127" fmla="*/ 1564359 h 3442764"/>
                <a:gd name="connsiteX128" fmla="*/ 2457821 w 5370864"/>
                <a:gd name="connsiteY128" fmla="*/ 1542658 h 3442764"/>
                <a:gd name="connsiteX129" fmla="*/ 2436316 w 5370864"/>
                <a:gd name="connsiteY129" fmla="*/ 1490381 h 3442764"/>
                <a:gd name="connsiteX130" fmla="*/ 2436316 w 5370864"/>
                <a:gd name="connsiteY130" fmla="*/ 1764593 h 3442764"/>
                <a:gd name="connsiteX131" fmla="*/ 2436316 w 5370864"/>
                <a:gd name="connsiteY131" fmla="*/ 1764632 h 3442764"/>
                <a:gd name="connsiteX132" fmla="*/ 2510020 w 5370864"/>
                <a:gd name="connsiteY132" fmla="*/ 1690958 h 3442764"/>
                <a:gd name="connsiteX133" fmla="*/ 2688172 w 5370864"/>
                <a:gd name="connsiteY133" fmla="*/ 1690958 h 3442764"/>
                <a:gd name="connsiteX134" fmla="*/ 2759896 w 5370864"/>
                <a:gd name="connsiteY134" fmla="*/ 1764671 h 3442764"/>
                <a:gd name="connsiteX135" fmla="*/ 2688172 w 5370864"/>
                <a:gd name="connsiteY135" fmla="*/ 1838375 h 3442764"/>
                <a:gd name="connsiteX136" fmla="*/ 2510020 w 5370864"/>
                <a:gd name="connsiteY136" fmla="*/ 1838375 h 3442764"/>
                <a:gd name="connsiteX137" fmla="*/ 2457900 w 5370864"/>
                <a:gd name="connsiteY137" fmla="*/ 1816792 h 3442764"/>
                <a:gd name="connsiteX138" fmla="*/ 2436316 w 5370864"/>
                <a:gd name="connsiteY138" fmla="*/ 1764632 h 3442764"/>
                <a:gd name="connsiteX139" fmla="*/ 2957858 w 5370864"/>
                <a:gd name="connsiteY139" fmla="*/ 1690879 h 3442764"/>
                <a:gd name="connsiteX140" fmla="*/ 4542056 w 5370864"/>
                <a:gd name="connsiteY140" fmla="*/ 1690958 h 3442764"/>
                <a:gd name="connsiteX141" fmla="*/ 4613731 w 5370864"/>
                <a:gd name="connsiteY141" fmla="*/ 1764671 h 3442764"/>
                <a:gd name="connsiteX142" fmla="*/ 4542056 w 5370864"/>
                <a:gd name="connsiteY142" fmla="*/ 1838375 h 3442764"/>
                <a:gd name="connsiteX143" fmla="*/ 2957858 w 5370864"/>
                <a:gd name="connsiteY143" fmla="*/ 1838375 h 3442764"/>
                <a:gd name="connsiteX144" fmla="*/ 2904355 w 5370864"/>
                <a:gd name="connsiteY144" fmla="*/ 1817556 h 3442764"/>
                <a:gd name="connsiteX145" fmla="*/ 2882047 w 5370864"/>
                <a:gd name="connsiteY145" fmla="*/ 1764671 h 3442764"/>
                <a:gd name="connsiteX146" fmla="*/ 2904355 w 5370864"/>
                <a:gd name="connsiteY146" fmla="*/ 1711776 h 3442764"/>
                <a:gd name="connsiteX147" fmla="*/ 2957858 w 5370864"/>
                <a:gd name="connsiteY147" fmla="*/ 1690958 h 3442764"/>
                <a:gd name="connsiteX148" fmla="*/ 4615730 w 5370864"/>
                <a:gd name="connsiteY148" fmla="*/ 2039021 h 3442764"/>
                <a:gd name="connsiteX149" fmla="*/ 4542056 w 5370864"/>
                <a:gd name="connsiteY149" fmla="*/ 2112695 h 3442764"/>
                <a:gd name="connsiteX150" fmla="*/ 2957858 w 5370864"/>
                <a:gd name="connsiteY150" fmla="*/ 2112695 h 3442764"/>
                <a:gd name="connsiteX151" fmla="*/ 2904365 w 5370864"/>
                <a:gd name="connsiteY151" fmla="*/ 2091876 h 3442764"/>
                <a:gd name="connsiteX152" fmla="*/ 2882047 w 5370864"/>
                <a:gd name="connsiteY152" fmla="*/ 2038991 h 3442764"/>
                <a:gd name="connsiteX153" fmla="*/ 2904365 w 5370864"/>
                <a:gd name="connsiteY153" fmla="*/ 1986096 h 3442764"/>
                <a:gd name="connsiteX154" fmla="*/ 2957858 w 5370864"/>
                <a:gd name="connsiteY154" fmla="*/ 1965278 h 3442764"/>
                <a:gd name="connsiteX155" fmla="*/ 4542056 w 5370864"/>
                <a:gd name="connsiteY155" fmla="*/ 1965278 h 3442764"/>
                <a:gd name="connsiteX156" fmla="*/ 4594186 w 5370864"/>
                <a:gd name="connsiteY156" fmla="*/ 1986861 h 3442764"/>
                <a:gd name="connsiteX157" fmla="*/ 4615730 w 5370864"/>
                <a:gd name="connsiteY157" fmla="*/ 2039021 h 3442764"/>
                <a:gd name="connsiteX158" fmla="*/ 2436257 w 5370864"/>
                <a:gd name="connsiteY158" fmla="*/ 2039021 h 3442764"/>
                <a:gd name="connsiteX159" fmla="*/ 2457841 w 5370864"/>
                <a:gd name="connsiteY159" fmla="*/ 1986861 h 3442764"/>
                <a:gd name="connsiteX160" fmla="*/ 2509961 w 5370864"/>
                <a:gd name="connsiteY160" fmla="*/ 1965278 h 3442764"/>
                <a:gd name="connsiteX161" fmla="*/ 2688113 w 5370864"/>
                <a:gd name="connsiteY161" fmla="*/ 1965278 h 3442764"/>
                <a:gd name="connsiteX162" fmla="*/ 2759838 w 5370864"/>
                <a:gd name="connsiteY162" fmla="*/ 2038991 h 3442764"/>
                <a:gd name="connsiteX163" fmla="*/ 2688113 w 5370864"/>
                <a:gd name="connsiteY163" fmla="*/ 2112695 h 3442764"/>
                <a:gd name="connsiteX164" fmla="*/ 2509961 w 5370864"/>
                <a:gd name="connsiteY164" fmla="*/ 2112695 h 3442764"/>
                <a:gd name="connsiteX165" fmla="*/ 2436257 w 5370864"/>
                <a:gd name="connsiteY165" fmla="*/ 2039021 h 3442764"/>
                <a:gd name="connsiteX166" fmla="*/ 2436257 w 5370864"/>
                <a:gd name="connsiteY166" fmla="*/ 2313037 h 3442764"/>
                <a:gd name="connsiteX167" fmla="*/ 2457841 w 5370864"/>
                <a:gd name="connsiteY167" fmla="*/ 2260916 h 3442764"/>
                <a:gd name="connsiteX168" fmla="*/ 2509961 w 5370864"/>
                <a:gd name="connsiteY168" fmla="*/ 2239294 h 3442764"/>
                <a:gd name="connsiteX169" fmla="*/ 2688113 w 5370864"/>
                <a:gd name="connsiteY169" fmla="*/ 2239294 h 3442764"/>
                <a:gd name="connsiteX170" fmla="*/ 2759838 w 5370864"/>
                <a:gd name="connsiteY170" fmla="*/ 2312998 h 3442764"/>
                <a:gd name="connsiteX171" fmla="*/ 2688113 w 5370864"/>
                <a:gd name="connsiteY171" fmla="*/ 2386751 h 3442764"/>
                <a:gd name="connsiteX172" fmla="*/ 2509961 w 5370864"/>
                <a:gd name="connsiteY172" fmla="*/ 2386751 h 3442764"/>
                <a:gd name="connsiteX173" fmla="*/ 2457762 w 5370864"/>
                <a:gd name="connsiteY173" fmla="*/ 2365050 h 3442764"/>
                <a:gd name="connsiteX174" fmla="*/ 2436257 w 5370864"/>
                <a:gd name="connsiteY174" fmla="*/ 2312772 h 3442764"/>
                <a:gd name="connsiteX175" fmla="*/ 4615730 w 5370864"/>
                <a:gd name="connsiteY175" fmla="*/ 2313037 h 3442764"/>
                <a:gd name="connsiteX176" fmla="*/ 4542056 w 5370864"/>
                <a:gd name="connsiteY176" fmla="*/ 2386751 h 3442764"/>
                <a:gd name="connsiteX177" fmla="*/ 2957858 w 5370864"/>
                <a:gd name="connsiteY177" fmla="*/ 2386751 h 3442764"/>
                <a:gd name="connsiteX178" fmla="*/ 2904365 w 5370864"/>
                <a:gd name="connsiteY178" fmla="*/ 2365892 h 3442764"/>
                <a:gd name="connsiteX179" fmla="*/ 2882047 w 5370864"/>
                <a:gd name="connsiteY179" fmla="*/ 2312998 h 3442764"/>
                <a:gd name="connsiteX180" fmla="*/ 2904365 w 5370864"/>
                <a:gd name="connsiteY180" fmla="*/ 2260152 h 3442764"/>
                <a:gd name="connsiteX181" fmla="*/ 2957858 w 5370864"/>
                <a:gd name="connsiteY181" fmla="*/ 2239294 h 3442764"/>
                <a:gd name="connsiteX182" fmla="*/ 4542056 w 5370864"/>
                <a:gd name="connsiteY182" fmla="*/ 2239294 h 3442764"/>
                <a:gd name="connsiteX183" fmla="*/ 4615730 w 5370864"/>
                <a:gd name="connsiteY183" fmla="*/ 2312772 h 3442764"/>
                <a:gd name="connsiteX184" fmla="*/ 2436257 w 5370864"/>
                <a:gd name="connsiteY184" fmla="*/ 2586779 h 3442764"/>
                <a:gd name="connsiteX185" fmla="*/ 2509961 w 5370864"/>
                <a:gd name="connsiteY185" fmla="*/ 2513114 h 3442764"/>
                <a:gd name="connsiteX186" fmla="*/ 2688113 w 5370864"/>
                <a:gd name="connsiteY186" fmla="*/ 2513114 h 3442764"/>
                <a:gd name="connsiteX187" fmla="*/ 2759838 w 5370864"/>
                <a:gd name="connsiteY187" fmla="*/ 2586818 h 3442764"/>
                <a:gd name="connsiteX188" fmla="*/ 2688113 w 5370864"/>
                <a:gd name="connsiteY188" fmla="*/ 2660532 h 3442764"/>
                <a:gd name="connsiteX189" fmla="*/ 2509961 w 5370864"/>
                <a:gd name="connsiteY189" fmla="*/ 2660532 h 3442764"/>
                <a:gd name="connsiteX190" fmla="*/ 2457841 w 5370864"/>
                <a:gd name="connsiteY190" fmla="*/ 2638949 h 3442764"/>
                <a:gd name="connsiteX191" fmla="*/ 2436257 w 5370864"/>
                <a:gd name="connsiteY191" fmla="*/ 2586779 h 3442764"/>
                <a:gd name="connsiteX192" fmla="*/ 4615730 w 5370864"/>
                <a:gd name="connsiteY192" fmla="*/ 2586779 h 3442764"/>
                <a:gd name="connsiteX193" fmla="*/ 4594186 w 5370864"/>
                <a:gd name="connsiteY193" fmla="*/ 2638949 h 3442764"/>
                <a:gd name="connsiteX194" fmla="*/ 4542056 w 5370864"/>
                <a:gd name="connsiteY194" fmla="*/ 2660532 h 3442764"/>
                <a:gd name="connsiteX195" fmla="*/ 2957858 w 5370864"/>
                <a:gd name="connsiteY195" fmla="*/ 2660532 h 3442764"/>
                <a:gd name="connsiteX196" fmla="*/ 2904365 w 5370864"/>
                <a:gd name="connsiteY196" fmla="*/ 2639674 h 3442764"/>
                <a:gd name="connsiteX197" fmla="*/ 2882047 w 5370864"/>
                <a:gd name="connsiteY197" fmla="*/ 2586818 h 3442764"/>
                <a:gd name="connsiteX198" fmla="*/ 2904365 w 5370864"/>
                <a:gd name="connsiteY198" fmla="*/ 2533933 h 3442764"/>
                <a:gd name="connsiteX199" fmla="*/ 2957858 w 5370864"/>
                <a:gd name="connsiteY199" fmla="*/ 2513114 h 3442764"/>
                <a:gd name="connsiteX200" fmla="*/ 4542056 w 5370864"/>
                <a:gd name="connsiteY200" fmla="*/ 2513114 h 3442764"/>
                <a:gd name="connsiteX201" fmla="*/ 4615730 w 5370864"/>
                <a:gd name="connsiteY201" fmla="*/ 2586779 h 3442764"/>
                <a:gd name="connsiteX202" fmla="*/ 2436257 w 5370864"/>
                <a:gd name="connsiteY202" fmla="*/ 2860834 h 3442764"/>
                <a:gd name="connsiteX203" fmla="*/ 2509961 w 5370864"/>
                <a:gd name="connsiteY203" fmla="*/ 2787130 h 3442764"/>
                <a:gd name="connsiteX204" fmla="*/ 2688113 w 5370864"/>
                <a:gd name="connsiteY204" fmla="*/ 2787130 h 3442764"/>
                <a:gd name="connsiteX205" fmla="*/ 2759838 w 5370864"/>
                <a:gd name="connsiteY205" fmla="*/ 2860834 h 3442764"/>
                <a:gd name="connsiteX206" fmla="*/ 2688113 w 5370864"/>
                <a:gd name="connsiteY206" fmla="*/ 2934587 h 3442764"/>
                <a:gd name="connsiteX207" fmla="*/ 2509961 w 5370864"/>
                <a:gd name="connsiteY207" fmla="*/ 2934587 h 3442764"/>
                <a:gd name="connsiteX208" fmla="*/ 2457841 w 5370864"/>
                <a:gd name="connsiteY208" fmla="*/ 2912965 h 3442764"/>
                <a:gd name="connsiteX209" fmla="*/ 2436257 w 5370864"/>
                <a:gd name="connsiteY209" fmla="*/ 2860834 h 3442764"/>
                <a:gd name="connsiteX210" fmla="*/ 4615730 w 5370864"/>
                <a:gd name="connsiteY210" fmla="*/ 2860834 h 3442764"/>
                <a:gd name="connsiteX211" fmla="*/ 4594186 w 5370864"/>
                <a:gd name="connsiteY211" fmla="*/ 2912965 h 3442764"/>
                <a:gd name="connsiteX212" fmla="*/ 4542056 w 5370864"/>
                <a:gd name="connsiteY212" fmla="*/ 2934587 h 3442764"/>
                <a:gd name="connsiteX213" fmla="*/ 2957858 w 5370864"/>
                <a:gd name="connsiteY213" fmla="*/ 2934587 h 3442764"/>
                <a:gd name="connsiteX214" fmla="*/ 2904365 w 5370864"/>
                <a:gd name="connsiteY214" fmla="*/ 2913729 h 3442764"/>
                <a:gd name="connsiteX215" fmla="*/ 2882047 w 5370864"/>
                <a:gd name="connsiteY215" fmla="*/ 2860834 h 3442764"/>
                <a:gd name="connsiteX216" fmla="*/ 2904365 w 5370864"/>
                <a:gd name="connsiteY216" fmla="*/ 2807989 h 3442764"/>
                <a:gd name="connsiteX217" fmla="*/ 2957858 w 5370864"/>
                <a:gd name="connsiteY217" fmla="*/ 2787130 h 3442764"/>
                <a:gd name="connsiteX218" fmla="*/ 4542056 w 5370864"/>
                <a:gd name="connsiteY218" fmla="*/ 2787130 h 3442764"/>
                <a:gd name="connsiteX219" fmla="*/ 4615730 w 5370864"/>
                <a:gd name="connsiteY219" fmla="*/ 2860834 h 3442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5370864" h="3442764">
                  <a:moveTo>
                    <a:pt x="5218127" y="0"/>
                  </a:moveTo>
                  <a:lnTo>
                    <a:pt x="152808" y="0"/>
                  </a:lnTo>
                  <a:cubicBezTo>
                    <a:pt x="112280" y="39"/>
                    <a:pt x="73435" y="16146"/>
                    <a:pt x="44814" y="44812"/>
                  </a:cubicBezTo>
                  <a:cubicBezTo>
                    <a:pt x="16150" y="73439"/>
                    <a:pt x="38" y="112285"/>
                    <a:pt x="0" y="152806"/>
                  </a:cubicBezTo>
                  <a:lnTo>
                    <a:pt x="0" y="376151"/>
                  </a:lnTo>
                  <a:lnTo>
                    <a:pt x="0" y="376112"/>
                  </a:lnTo>
                  <a:cubicBezTo>
                    <a:pt x="38" y="416643"/>
                    <a:pt x="16150" y="455489"/>
                    <a:pt x="44814" y="484106"/>
                  </a:cubicBezTo>
                  <a:cubicBezTo>
                    <a:pt x="73440" y="512773"/>
                    <a:pt x="112284" y="528889"/>
                    <a:pt x="152808" y="528918"/>
                  </a:cubicBezTo>
                  <a:lnTo>
                    <a:pt x="220278" y="528918"/>
                  </a:lnTo>
                  <a:lnTo>
                    <a:pt x="220278" y="3369012"/>
                  </a:lnTo>
                  <a:cubicBezTo>
                    <a:pt x="220240" y="3388577"/>
                    <a:pt x="228009" y="3407329"/>
                    <a:pt x="241825" y="3421182"/>
                  </a:cubicBezTo>
                  <a:cubicBezTo>
                    <a:pt x="255639" y="3434996"/>
                    <a:pt x="274391" y="3442765"/>
                    <a:pt x="293946" y="3442765"/>
                  </a:cubicBezTo>
                  <a:lnTo>
                    <a:pt x="5076911" y="3442765"/>
                  </a:lnTo>
                  <a:cubicBezTo>
                    <a:pt x="5096466" y="3442765"/>
                    <a:pt x="5115218" y="3434996"/>
                    <a:pt x="5129042" y="3421182"/>
                  </a:cubicBezTo>
                  <a:cubicBezTo>
                    <a:pt x="5142856" y="3407329"/>
                    <a:pt x="5150625" y="3388577"/>
                    <a:pt x="5150586" y="3369012"/>
                  </a:cubicBezTo>
                  <a:lnTo>
                    <a:pt x="5150586" y="528918"/>
                  </a:lnTo>
                  <a:lnTo>
                    <a:pt x="5218049" y="528918"/>
                  </a:lnTo>
                  <a:cubicBezTo>
                    <a:pt x="5258579" y="528889"/>
                    <a:pt x="5297425" y="512773"/>
                    <a:pt x="5326043" y="484106"/>
                  </a:cubicBezTo>
                  <a:cubicBezTo>
                    <a:pt x="5354709" y="455479"/>
                    <a:pt x="5370825" y="416643"/>
                    <a:pt x="5370864" y="376112"/>
                  </a:cubicBezTo>
                  <a:lnTo>
                    <a:pt x="5370864" y="152806"/>
                  </a:lnTo>
                  <a:cubicBezTo>
                    <a:pt x="5370825" y="112285"/>
                    <a:pt x="5354709" y="73439"/>
                    <a:pt x="5326043" y="44812"/>
                  </a:cubicBezTo>
                  <a:cubicBezTo>
                    <a:pt x="5297425" y="16146"/>
                    <a:pt x="5258579" y="39"/>
                    <a:pt x="5218049" y="0"/>
                  </a:cubicBezTo>
                  <a:close/>
                  <a:moveTo>
                    <a:pt x="5003236" y="3295367"/>
                  </a:moveTo>
                  <a:lnTo>
                    <a:pt x="367718" y="3295367"/>
                  </a:lnTo>
                  <a:lnTo>
                    <a:pt x="367718" y="529046"/>
                  </a:lnTo>
                  <a:lnTo>
                    <a:pt x="5003236" y="529046"/>
                  </a:lnTo>
                  <a:close/>
                  <a:moveTo>
                    <a:pt x="5223515" y="376112"/>
                  </a:moveTo>
                  <a:lnTo>
                    <a:pt x="5223477" y="376112"/>
                  </a:lnTo>
                  <a:cubicBezTo>
                    <a:pt x="5223290" y="378983"/>
                    <a:pt x="5220988" y="381275"/>
                    <a:pt x="5218117" y="381471"/>
                  </a:cubicBezTo>
                  <a:lnTo>
                    <a:pt x="152800" y="381471"/>
                  </a:lnTo>
                  <a:cubicBezTo>
                    <a:pt x="149930" y="381275"/>
                    <a:pt x="147634" y="378983"/>
                    <a:pt x="147442" y="376112"/>
                  </a:cubicBezTo>
                  <a:lnTo>
                    <a:pt x="147442" y="152806"/>
                  </a:lnTo>
                  <a:cubicBezTo>
                    <a:pt x="147634" y="149896"/>
                    <a:pt x="149930" y="147604"/>
                    <a:pt x="152800" y="147408"/>
                  </a:cubicBezTo>
                  <a:lnTo>
                    <a:pt x="5218117" y="147408"/>
                  </a:lnTo>
                  <a:cubicBezTo>
                    <a:pt x="5220988" y="147604"/>
                    <a:pt x="5223290" y="149896"/>
                    <a:pt x="5223477" y="152806"/>
                  </a:cubicBezTo>
                  <a:close/>
                  <a:moveTo>
                    <a:pt x="1368732" y="1963935"/>
                  </a:moveTo>
                  <a:cubicBezTo>
                    <a:pt x="1453878" y="1963935"/>
                    <a:pt x="1535547" y="1930145"/>
                    <a:pt x="1595751" y="1869941"/>
                  </a:cubicBezTo>
                  <a:cubicBezTo>
                    <a:pt x="1655984" y="1809748"/>
                    <a:pt x="1689823" y="1728079"/>
                    <a:pt x="1689823" y="1642922"/>
                  </a:cubicBezTo>
                  <a:cubicBezTo>
                    <a:pt x="1689823" y="1557775"/>
                    <a:pt x="1656023" y="1476106"/>
                    <a:pt x="1595790" y="1415903"/>
                  </a:cubicBezTo>
                  <a:cubicBezTo>
                    <a:pt x="1535587" y="1355709"/>
                    <a:pt x="1453957" y="1321880"/>
                    <a:pt x="1368810" y="1321840"/>
                  </a:cubicBezTo>
                  <a:cubicBezTo>
                    <a:pt x="1283663" y="1321840"/>
                    <a:pt x="1201994" y="1355670"/>
                    <a:pt x="1141751" y="1415863"/>
                  </a:cubicBezTo>
                  <a:cubicBezTo>
                    <a:pt x="1081548" y="1476067"/>
                    <a:pt x="1047718" y="1557726"/>
                    <a:pt x="1047718" y="1642883"/>
                  </a:cubicBezTo>
                  <a:cubicBezTo>
                    <a:pt x="1047836" y="1728001"/>
                    <a:pt x="1081665" y="1809591"/>
                    <a:pt x="1141830" y="1869785"/>
                  </a:cubicBezTo>
                  <a:cubicBezTo>
                    <a:pt x="1202023" y="1929949"/>
                    <a:pt x="1283624" y="1963818"/>
                    <a:pt x="1368732" y="1963935"/>
                  </a:cubicBezTo>
                  <a:close/>
                  <a:moveTo>
                    <a:pt x="1368732" y="1469336"/>
                  </a:moveTo>
                  <a:cubicBezTo>
                    <a:pt x="1414768" y="1469258"/>
                    <a:pt x="1459012" y="1487481"/>
                    <a:pt x="1491617" y="1520007"/>
                  </a:cubicBezTo>
                  <a:cubicBezTo>
                    <a:pt x="1524261" y="1552534"/>
                    <a:pt x="1542591" y="1596660"/>
                    <a:pt x="1542670" y="1642736"/>
                  </a:cubicBezTo>
                  <a:cubicBezTo>
                    <a:pt x="1542709" y="1688812"/>
                    <a:pt x="1524457" y="1733017"/>
                    <a:pt x="1491921" y="1765622"/>
                  </a:cubicBezTo>
                  <a:cubicBezTo>
                    <a:pt x="1459355" y="1798187"/>
                    <a:pt x="1415189" y="1816518"/>
                    <a:pt x="1369153" y="1816557"/>
                  </a:cubicBezTo>
                  <a:cubicBezTo>
                    <a:pt x="1323077" y="1816557"/>
                    <a:pt x="1278872" y="1798305"/>
                    <a:pt x="1246306" y="1765700"/>
                  </a:cubicBezTo>
                  <a:cubicBezTo>
                    <a:pt x="1213741" y="1733134"/>
                    <a:pt x="1195449" y="1688969"/>
                    <a:pt x="1195449" y="1642893"/>
                  </a:cubicBezTo>
                  <a:cubicBezTo>
                    <a:pt x="1195567" y="1596964"/>
                    <a:pt x="1213819" y="1552916"/>
                    <a:pt x="1246306" y="1520428"/>
                  </a:cubicBezTo>
                  <a:cubicBezTo>
                    <a:pt x="1278764" y="1487931"/>
                    <a:pt x="1322773" y="1469601"/>
                    <a:pt x="1368732" y="1469493"/>
                  </a:cubicBezTo>
                  <a:close/>
                  <a:moveTo>
                    <a:pt x="625873" y="2352265"/>
                  </a:moveTo>
                  <a:lnTo>
                    <a:pt x="693042" y="2768986"/>
                  </a:lnTo>
                  <a:cubicBezTo>
                    <a:pt x="698244" y="2801052"/>
                    <a:pt x="723844" y="2825937"/>
                    <a:pt x="756028" y="2830218"/>
                  </a:cubicBezTo>
                  <a:cubicBezTo>
                    <a:pt x="759281" y="2830640"/>
                    <a:pt x="762533" y="2830835"/>
                    <a:pt x="765786" y="2830835"/>
                  </a:cubicBezTo>
                  <a:cubicBezTo>
                    <a:pt x="794756" y="2830835"/>
                    <a:pt x="821012" y="2813916"/>
                    <a:pt x="832955" y="2787552"/>
                  </a:cubicBezTo>
                  <a:lnTo>
                    <a:pt x="956644" y="2514378"/>
                  </a:lnTo>
                  <a:lnTo>
                    <a:pt x="1030926" y="2498458"/>
                  </a:lnTo>
                  <a:cubicBezTo>
                    <a:pt x="1038656" y="2510930"/>
                    <a:pt x="1046503" y="2523401"/>
                    <a:pt x="1054723" y="2535804"/>
                  </a:cubicBezTo>
                  <a:cubicBezTo>
                    <a:pt x="1068390" y="2556437"/>
                    <a:pt x="1091462" y="2568870"/>
                    <a:pt x="1116230" y="2568870"/>
                  </a:cubicBezTo>
                  <a:lnTo>
                    <a:pt x="1138881" y="2568870"/>
                  </a:lnTo>
                  <a:cubicBezTo>
                    <a:pt x="1143672" y="2707979"/>
                    <a:pt x="1210292" y="2837713"/>
                    <a:pt x="1320628" y="2922596"/>
                  </a:cubicBezTo>
                  <a:cubicBezTo>
                    <a:pt x="1348265" y="2946471"/>
                    <a:pt x="1389208" y="2946471"/>
                    <a:pt x="1416875" y="2922596"/>
                  </a:cubicBezTo>
                  <a:cubicBezTo>
                    <a:pt x="1527093" y="2837791"/>
                    <a:pt x="1593723" y="2708244"/>
                    <a:pt x="1598621" y="2569291"/>
                  </a:cubicBezTo>
                  <a:lnTo>
                    <a:pt x="1621282" y="2569291"/>
                  </a:lnTo>
                  <a:cubicBezTo>
                    <a:pt x="1646040" y="2569252"/>
                    <a:pt x="1669122" y="2556858"/>
                    <a:pt x="1682779" y="2536187"/>
                  </a:cubicBezTo>
                  <a:cubicBezTo>
                    <a:pt x="1690969" y="2523793"/>
                    <a:pt x="1698856" y="2511312"/>
                    <a:pt x="1706586" y="2498840"/>
                  </a:cubicBezTo>
                  <a:lnTo>
                    <a:pt x="1780868" y="2514760"/>
                  </a:lnTo>
                  <a:lnTo>
                    <a:pt x="1904557" y="2787934"/>
                  </a:lnTo>
                  <a:cubicBezTo>
                    <a:pt x="1916499" y="2814298"/>
                    <a:pt x="1942746" y="2831257"/>
                    <a:pt x="1971716" y="2831257"/>
                  </a:cubicBezTo>
                  <a:cubicBezTo>
                    <a:pt x="1974979" y="2831257"/>
                    <a:pt x="1978231" y="2831022"/>
                    <a:pt x="1981484" y="2830600"/>
                  </a:cubicBezTo>
                  <a:cubicBezTo>
                    <a:pt x="2013775" y="2826241"/>
                    <a:pt x="2039385" y="2801209"/>
                    <a:pt x="2044431" y="2768986"/>
                  </a:cubicBezTo>
                  <a:lnTo>
                    <a:pt x="2111600" y="2352265"/>
                  </a:lnTo>
                  <a:cubicBezTo>
                    <a:pt x="2115274" y="2329261"/>
                    <a:pt x="2107887" y="2305924"/>
                    <a:pt x="2091702" y="2289200"/>
                  </a:cubicBezTo>
                  <a:lnTo>
                    <a:pt x="1878996" y="2069754"/>
                  </a:lnTo>
                  <a:cubicBezTo>
                    <a:pt x="1963839" y="1644117"/>
                    <a:pt x="1806703" y="1204627"/>
                    <a:pt x="1419873" y="831297"/>
                  </a:cubicBezTo>
                  <a:lnTo>
                    <a:pt x="1419912" y="831268"/>
                  </a:lnTo>
                  <a:cubicBezTo>
                    <a:pt x="1391324" y="803709"/>
                    <a:pt x="1346080" y="803709"/>
                    <a:pt x="1317502" y="831268"/>
                  </a:cubicBezTo>
                  <a:cubicBezTo>
                    <a:pt x="930554" y="1204588"/>
                    <a:pt x="773535" y="1644049"/>
                    <a:pt x="858379" y="2069725"/>
                  </a:cubicBezTo>
                  <a:lnTo>
                    <a:pt x="645673" y="2289161"/>
                  </a:lnTo>
                  <a:lnTo>
                    <a:pt x="645673" y="2289200"/>
                  </a:lnTo>
                  <a:cubicBezTo>
                    <a:pt x="629517" y="2305924"/>
                    <a:pt x="622170" y="2329300"/>
                    <a:pt x="625883" y="2352265"/>
                  </a:cubicBezTo>
                  <a:close/>
                  <a:moveTo>
                    <a:pt x="1368732" y="2763323"/>
                  </a:moveTo>
                  <a:cubicBezTo>
                    <a:pt x="1317835" y="2711203"/>
                    <a:pt x="1288366" y="2641819"/>
                    <a:pt x="1286181" y="2568987"/>
                  </a:cubicBezTo>
                  <a:lnTo>
                    <a:pt x="1451312" y="2568987"/>
                  </a:lnTo>
                  <a:cubicBezTo>
                    <a:pt x="1449137" y="2641858"/>
                    <a:pt x="1419667" y="2711203"/>
                    <a:pt x="1368732" y="2763323"/>
                  </a:cubicBezTo>
                  <a:close/>
                  <a:moveTo>
                    <a:pt x="1580898" y="2421531"/>
                  </a:moveTo>
                  <a:lnTo>
                    <a:pt x="1156594" y="2421570"/>
                  </a:lnTo>
                  <a:cubicBezTo>
                    <a:pt x="1141056" y="2396616"/>
                    <a:pt x="1126860" y="2371545"/>
                    <a:pt x="1113467" y="2346484"/>
                  </a:cubicBezTo>
                  <a:lnTo>
                    <a:pt x="1624065" y="2346484"/>
                  </a:lnTo>
                  <a:cubicBezTo>
                    <a:pt x="1610633" y="2371545"/>
                    <a:pt x="1596427" y="2396616"/>
                    <a:pt x="1580889" y="2421570"/>
                  </a:cubicBezTo>
                  <a:close/>
                  <a:moveTo>
                    <a:pt x="1960195" y="2365275"/>
                  </a:moveTo>
                  <a:lnTo>
                    <a:pt x="1937848" y="2503885"/>
                  </a:lnTo>
                  <a:lnTo>
                    <a:pt x="1900030" y="2419806"/>
                  </a:lnTo>
                  <a:cubicBezTo>
                    <a:pt x="1890351" y="2398448"/>
                    <a:pt x="1871031" y="2382949"/>
                    <a:pt x="1848066" y="2378168"/>
                  </a:cubicBezTo>
                  <a:lnTo>
                    <a:pt x="1780329" y="2363620"/>
                  </a:lnTo>
                  <a:cubicBezTo>
                    <a:pt x="1800384" y="2321717"/>
                    <a:pt x="1818136" y="2278737"/>
                    <a:pt x="1833557" y="2234875"/>
                  </a:cubicBezTo>
                  <a:close/>
                  <a:moveTo>
                    <a:pt x="1368732" y="988875"/>
                  </a:moveTo>
                  <a:cubicBezTo>
                    <a:pt x="1729844" y="1364262"/>
                    <a:pt x="1840905" y="1791633"/>
                    <a:pt x="1690587" y="2198920"/>
                  </a:cubicBezTo>
                  <a:lnTo>
                    <a:pt x="1046925" y="2198920"/>
                  </a:lnTo>
                  <a:cubicBezTo>
                    <a:pt x="896597" y="1791417"/>
                    <a:pt x="1007658" y="1364291"/>
                    <a:pt x="1368741" y="988875"/>
                  </a:cubicBezTo>
                  <a:close/>
                  <a:moveTo>
                    <a:pt x="903749" y="2234973"/>
                  </a:moveTo>
                  <a:cubicBezTo>
                    <a:pt x="919209" y="2278786"/>
                    <a:pt x="937001" y="2321727"/>
                    <a:pt x="957056" y="2363639"/>
                  </a:cubicBezTo>
                  <a:lnTo>
                    <a:pt x="889318" y="2378178"/>
                  </a:lnTo>
                  <a:cubicBezTo>
                    <a:pt x="866354" y="2383037"/>
                    <a:pt x="847073" y="2398497"/>
                    <a:pt x="837354" y="2419816"/>
                  </a:cubicBezTo>
                  <a:lnTo>
                    <a:pt x="799351" y="2503778"/>
                  </a:lnTo>
                  <a:lnTo>
                    <a:pt x="777004" y="2365177"/>
                  </a:lnTo>
                  <a:close/>
                  <a:moveTo>
                    <a:pt x="2436316" y="1216560"/>
                  </a:moveTo>
                  <a:cubicBezTo>
                    <a:pt x="2436316" y="1197005"/>
                    <a:pt x="2444086" y="1178253"/>
                    <a:pt x="2457900" y="1164430"/>
                  </a:cubicBezTo>
                  <a:cubicBezTo>
                    <a:pt x="2471714" y="1150577"/>
                    <a:pt x="2490465" y="1142807"/>
                    <a:pt x="2510020" y="1142807"/>
                  </a:cubicBezTo>
                  <a:lnTo>
                    <a:pt x="3319352" y="1142807"/>
                  </a:lnTo>
                  <a:cubicBezTo>
                    <a:pt x="3339260" y="1142278"/>
                    <a:pt x="3358541" y="1149773"/>
                    <a:pt x="3372815" y="1163666"/>
                  </a:cubicBezTo>
                  <a:cubicBezTo>
                    <a:pt x="3387090" y="1177558"/>
                    <a:pt x="3395173" y="1196623"/>
                    <a:pt x="3395173" y="1216560"/>
                  </a:cubicBezTo>
                  <a:cubicBezTo>
                    <a:pt x="3395173" y="1236458"/>
                    <a:pt x="3387090" y="1255514"/>
                    <a:pt x="3372815" y="1269406"/>
                  </a:cubicBezTo>
                  <a:cubicBezTo>
                    <a:pt x="3358541" y="1283298"/>
                    <a:pt x="3339260" y="1290803"/>
                    <a:pt x="3319352" y="1290264"/>
                  </a:cubicBezTo>
                  <a:lnTo>
                    <a:pt x="2510020" y="1290264"/>
                  </a:lnTo>
                  <a:cubicBezTo>
                    <a:pt x="2469343" y="1290264"/>
                    <a:pt x="2436316" y="1257277"/>
                    <a:pt x="2436316" y="1216560"/>
                  </a:cubicBezTo>
                  <a:close/>
                  <a:moveTo>
                    <a:pt x="2436316" y="1490577"/>
                  </a:moveTo>
                  <a:lnTo>
                    <a:pt x="2436316" y="1490616"/>
                  </a:lnTo>
                  <a:cubicBezTo>
                    <a:pt x="2436316" y="1449899"/>
                    <a:pt x="2469343" y="1416902"/>
                    <a:pt x="2510020" y="1416902"/>
                  </a:cubicBezTo>
                  <a:lnTo>
                    <a:pt x="4091867" y="1416902"/>
                  </a:lnTo>
                  <a:cubicBezTo>
                    <a:pt x="4111814" y="1416373"/>
                    <a:pt x="4131095" y="1423868"/>
                    <a:pt x="4145369" y="1437760"/>
                  </a:cubicBezTo>
                  <a:cubicBezTo>
                    <a:pt x="4159644" y="1451652"/>
                    <a:pt x="4167687" y="1470718"/>
                    <a:pt x="4167687" y="1490655"/>
                  </a:cubicBezTo>
                  <a:cubicBezTo>
                    <a:pt x="4167687" y="1510553"/>
                    <a:pt x="4159644" y="1529608"/>
                    <a:pt x="4145369" y="1543501"/>
                  </a:cubicBezTo>
                  <a:cubicBezTo>
                    <a:pt x="4131095" y="1557393"/>
                    <a:pt x="4111804" y="1564898"/>
                    <a:pt x="4091867" y="1564359"/>
                  </a:cubicBezTo>
                  <a:lnTo>
                    <a:pt x="2510020" y="1564359"/>
                  </a:lnTo>
                  <a:cubicBezTo>
                    <a:pt x="2490426" y="1564359"/>
                    <a:pt x="2471635" y="1556551"/>
                    <a:pt x="2457821" y="1542658"/>
                  </a:cubicBezTo>
                  <a:cubicBezTo>
                    <a:pt x="2443968" y="1528766"/>
                    <a:pt x="2436238" y="1509975"/>
                    <a:pt x="2436316" y="1490381"/>
                  </a:cubicBezTo>
                  <a:close/>
                  <a:moveTo>
                    <a:pt x="2436316" y="1764593"/>
                  </a:moveTo>
                  <a:lnTo>
                    <a:pt x="2436316" y="1764632"/>
                  </a:lnTo>
                  <a:cubicBezTo>
                    <a:pt x="2436316" y="1723945"/>
                    <a:pt x="2469343" y="1690958"/>
                    <a:pt x="2510020" y="1690958"/>
                  </a:cubicBezTo>
                  <a:lnTo>
                    <a:pt x="2688172" y="1690958"/>
                  </a:lnTo>
                  <a:cubicBezTo>
                    <a:pt x="2728095" y="1692065"/>
                    <a:pt x="2759896" y="1724748"/>
                    <a:pt x="2759896" y="1764671"/>
                  </a:cubicBezTo>
                  <a:cubicBezTo>
                    <a:pt x="2759896" y="1804585"/>
                    <a:pt x="2728095" y="1837268"/>
                    <a:pt x="2688172" y="1838375"/>
                  </a:cubicBezTo>
                  <a:lnTo>
                    <a:pt x="2510020" y="1838375"/>
                  </a:lnTo>
                  <a:cubicBezTo>
                    <a:pt x="2490465" y="1838375"/>
                    <a:pt x="2471714" y="1830606"/>
                    <a:pt x="2457900" y="1816792"/>
                  </a:cubicBezTo>
                  <a:cubicBezTo>
                    <a:pt x="2444086" y="1802939"/>
                    <a:pt x="2436316" y="1784187"/>
                    <a:pt x="2436316" y="1764632"/>
                  </a:cubicBezTo>
                  <a:close/>
                  <a:moveTo>
                    <a:pt x="2957858" y="1690879"/>
                  </a:moveTo>
                  <a:lnTo>
                    <a:pt x="4542056" y="1690958"/>
                  </a:lnTo>
                  <a:cubicBezTo>
                    <a:pt x="4581930" y="1692065"/>
                    <a:pt x="4613731" y="1724748"/>
                    <a:pt x="4613731" y="1764671"/>
                  </a:cubicBezTo>
                  <a:cubicBezTo>
                    <a:pt x="4613731" y="1804585"/>
                    <a:pt x="4581930" y="1837268"/>
                    <a:pt x="4542056" y="1838375"/>
                  </a:cubicBezTo>
                  <a:lnTo>
                    <a:pt x="2957858" y="1838375"/>
                  </a:lnTo>
                  <a:cubicBezTo>
                    <a:pt x="2937920" y="1838953"/>
                    <a:pt x="2918630" y="1831409"/>
                    <a:pt x="2904355" y="1817556"/>
                  </a:cubicBezTo>
                  <a:cubicBezTo>
                    <a:pt x="2890081" y="1803664"/>
                    <a:pt x="2882047" y="1784569"/>
                    <a:pt x="2882047" y="1764671"/>
                  </a:cubicBezTo>
                  <a:cubicBezTo>
                    <a:pt x="2882047" y="1744763"/>
                    <a:pt x="2890081" y="1725669"/>
                    <a:pt x="2904355" y="1711776"/>
                  </a:cubicBezTo>
                  <a:cubicBezTo>
                    <a:pt x="2918630" y="1697923"/>
                    <a:pt x="2937920" y="1690389"/>
                    <a:pt x="2957858" y="1690958"/>
                  </a:cubicBezTo>
                  <a:close/>
                  <a:moveTo>
                    <a:pt x="4615730" y="2039021"/>
                  </a:moveTo>
                  <a:cubicBezTo>
                    <a:pt x="4615730" y="2079708"/>
                    <a:pt x="4582743" y="2112695"/>
                    <a:pt x="4542056" y="2112695"/>
                  </a:cubicBezTo>
                  <a:lnTo>
                    <a:pt x="2957858" y="2112695"/>
                  </a:lnTo>
                  <a:cubicBezTo>
                    <a:pt x="2937920" y="2113273"/>
                    <a:pt x="2918639" y="2105729"/>
                    <a:pt x="2904365" y="2091876"/>
                  </a:cubicBezTo>
                  <a:cubicBezTo>
                    <a:pt x="2890091" y="2077984"/>
                    <a:pt x="2882047" y="2058889"/>
                    <a:pt x="2882047" y="2038991"/>
                  </a:cubicBezTo>
                  <a:cubicBezTo>
                    <a:pt x="2882047" y="2019083"/>
                    <a:pt x="2890091" y="1999989"/>
                    <a:pt x="2904365" y="1986096"/>
                  </a:cubicBezTo>
                  <a:cubicBezTo>
                    <a:pt x="2918639" y="1972243"/>
                    <a:pt x="2937920" y="1964709"/>
                    <a:pt x="2957858" y="1965278"/>
                  </a:cubicBezTo>
                  <a:lnTo>
                    <a:pt x="4542056" y="1965278"/>
                  </a:lnTo>
                  <a:cubicBezTo>
                    <a:pt x="4561581" y="1965278"/>
                    <a:pt x="4580333" y="1973047"/>
                    <a:pt x="4594186" y="1986861"/>
                  </a:cubicBezTo>
                  <a:cubicBezTo>
                    <a:pt x="4608000" y="2000714"/>
                    <a:pt x="4615730" y="2019466"/>
                    <a:pt x="4615730" y="2039021"/>
                  </a:cubicBezTo>
                  <a:close/>
                  <a:moveTo>
                    <a:pt x="2436257" y="2039021"/>
                  </a:moveTo>
                  <a:cubicBezTo>
                    <a:pt x="2436257" y="2019466"/>
                    <a:pt x="2444027" y="2000714"/>
                    <a:pt x="2457841" y="1986861"/>
                  </a:cubicBezTo>
                  <a:cubicBezTo>
                    <a:pt x="2471655" y="1973047"/>
                    <a:pt x="2490406" y="1965278"/>
                    <a:pt x="2509961" y="1965278"/>
                  </a:cubicBezTo>
                  <a:lnTo>
                    <a:pt x="2688113" y="1965278"/>
                  </a:lnTo>
                  <a:cubicBezTo>
                    <a:pt x="2728036" y="1966385"/>
                    <a:pt x="2759838" y="1999068"/>
                    <a:pt x="2759838" y="2038991"/>
                  </a:cubicBezTo>
                  <a:cubicBezTo>
                    <a:pt x="2759838" y="2078905"/>
                    <a:pt x="2728036" y="2111588"/>
                    <a:pt x="2688113" y="2112695"/>
                  </a:cubicBezTo>
                  <a:lnTo>
                    <a:pt x="2509961" y="2112695"/>
                  </a:lnTo>
                  <a:cubicBezTo>
                    <a:pt x="2469284" y="2112695"/>
                    <a:pt x="2436257" y="2079708"/>
                    <a:pt x="2436257" y="2039021"/>
                  </a:cubicBezTo>
                  <a:close/>
                  <a:moveTo>
                    <a:pt x="2436257" y="2313037"/>
                  </a:moveTo>
                  <a:cubicBezTo>
                    <a:pt x="2436257" y="2293482"/>
                    <a:pt x="2444027" y="2274730"/>
                    <a:pt x="2457841" y="2260916"/>
                  </a:cubicBezTo>
                  <a:cubicBezTo>
                    <a:pt x="2471655" y="2247063"/>
                    <a:pt x="2490406" y="2239294"/>
                    <a:pt x="2509961" y="2239294"/>
                  </a:cubicBezTo>
                  <a:lnTo>
                    <a:pt x="2688113" y="2239294"/>
                  </a:lnTo>
                  <a:cubicBezTo>
                    <a:pt x="2728036" y="2240401"/>
                    <a:pt x="2759838" y="2273084"/>
                    <a:pt x="2759838" y="2312998"/>
                  </a:cubicBezTo>
                  <a:cubicBezTo>
                    <a:pt x="2759838" y="2352960"/>
                    <a:pt x="2728036" y="2385643"/>
                    <a:pt x="2688113" y="2386751"/>
                  </a:cubicBezTo>
                  <a:lnTo>
                    <a:pt x="2509961" y="2386751"/>
                  </a:lnTo>
                  <a:cubicBezTo>
                    <a:pt x="2490367" y="2386751"/>
                    <a:pt x="2471576" y="2378942"/>
                    <a:pt x="2457762" y="2365050"/>
                  </a:cubicBezTo>
                  <a:cubicBezTo>
                    <a:pt x="2443909" y="2351158"/>
                    <a:pt x="2436179" y="2332367"/>
                    <a:pt x="2436257" y="2312772"/>
                  </a:cubicBezTo>
                  <a:close/>
                  <a:moveTo>
                    <a:pt x="4615730" y="2313037"/>
                  </a:moveTo>
                  <a:cubicBezTo>
                    <a:pt x="4615730" y="2353764"/>
                    <a:pt x="4582743" y="2386751"/>
                    <a:pt x="4542056" y="2386751"/>
                  </a:cubicBezTo>
                  <a:lnTo>
                    <a:pt x="2957858" y="2386751"/>
                  </a:lnTo>
                  <a:cubicBezTo>
                    <a:pt x="2937920" y="2387280"/>
                    <a:pt x="2918639" y="2379785"/>
                    <a:pt x="2904365" y="2365892"/>
                  </a:cubicBezTo>
                  <a:cubicBezTo>
                    <a:pt x="2890091" y="2352000"/>
                    <a:pt x="2882047" y="2332945"/>
                    <a:pt x="2882047" y="2312998"/>
                  </a:cubicBezTo>
                  <a:cubicBezTo>
                    <a:pt x="2882047" y="2293100"/>
                    <a:pt x="2890091" y="2274044"/>
                    <a:pt x="2904365" y="2260152"/>
                  </a:cubicBezTo>
                  <a:cubicBezTo>
                    <a:pt x="2918639" y="2246260"/>
                    <a:pt x="2937920" y="2238755"/>
                    <a:pt x="2957858" y="2239294"/>
                  </a:cubicBezTo>
                  <a:lnTo>
                    <a:pt x="4542056" y="2239294"/>
                  </a:lnTo>
                  <a:cubicBezTo>
                    <a:pt x="4582665" y="2239294"/>
                    <a:pt x="4615612" y="2272173"/>
                    <a:pt x="4615730" y="2312772"/>
                  </a:cubicBezTo>
                  <a:close/>
                  <a:moveTo>
                    <a:pt x="2436257" y="2586779"/>
                  </a:moveTo>
                  <a:cubicBezTo>
                    <a:pt x="2436257" y="2546101"/>
                    <a:pt x="2469284" y="2513114"/>
                    <a:pt x="2509961" y="2513114"/>
                  </a:cubicBezTo>
                  <a:lnTo>
                    <a:pt x="2688113" y="2513114"/>
                  </a:lnTo>
                  <a:cubicBezTo>
                    <a:pt x="2728036" y="2514221"/>
                    <a:pt x="2759838" y="2546905"/>
                    <a:pt x="2759838" y="2586818"/>
                  </a:cubicBezTo>
                  <a:cubicBezTo>
                    <a:pt x="2759838" y="2626741"/>
                    <a:pt x="2728036" y="2659425"/>
                    <a:pt x="2688113" y="2660532"/>
                  </a:cubicBezTo>
                  <a:lnTo>
                    <a:pt x="2509961" y="2660532"/>
                  </a:lnTo>
                  <a:cubicBezTo>
                    <a:pt x="2490406" y="2660532"/>
                    <a:pt x="2471655" y="2652763"/>
                    <a:pt x="2457841" y="2638949"/>
                  </a:cubicBezTo>
                  <a:cubicBezTo>
                    <a:pt x="2444027" y="2625095"/>
                    <a:pt x="2436257" y="2606344"/>
                    <a:pt x="2436257" y="2586779"/>
                  </a:cubicBezTo>
                  <a:close/>
                  <a:moveTo>
                    <a:pt x="4615730" y="2586779"/>
                  </a:moveTo>
                  <a:cubicBezTo>
                    <a:pt x="4615730" y="2606344"/>
                    <a:pt x="4608000" y="2625095"/>
                    <a:pt x="4594186" y="2638949"/>
                  </a:cubicBezTo>
                  <a:cubicBezTo>
                    <a:pt x="4580333" y="2652763"/>
                    <a:pt x="4561581" y="2660532"/>
                    <a:pt x="4542056" y="2660532"/>
                  </a:cubicBezTo>
                  <a:lnTo>
                    <a:pt x="2957858" y="2660532"/>
                  </a:lnTo>
                  <a:cubicBezTo>
                    <a:pt x="2937920" y="2661100"/>
                    <a:pt x="2918639" y="2653566"/>
                    <a:pt x="2904365" y="2639674"/>
                  </a:cubicBezTo>
                  <a:cubicBezTo>
                    <a:pt x="2890091" y="2625821"/>
                    <a:pt x="2882047" y="2606726"/>
                    <a:pt x="2882047" y="2586818"/>
                  </a:cubicBezTo>
                  <a:cubicBezTo>
                    <a:pt x="2882047" y="2566881"/>
                    <a:pt x="2890091" y="2547825"/>
                    <a:pt x="2904365" y="2533933"/>
                  </a:cubicBezTo>
                  <a:cubicBezTo>
                    <a:pt x="2918639" y="2520080"/>
                    <a:pt x="2937920" y="2512536"/>
                    <a:pt x="2957858" y="2513114"/>
                  </a:cubicBezTo>
                  <a:lnTo>
                    <a:pt x="4542056" y="2513114"/>
                  </a:lnTo>
                  <a:cubicBezTo>
                    <a:pt x="4582743" y="2513114"/>
                    <a:pt x="4615730" y="2546101"/>
                    <a:pt x="4615730" y="2586779"/>
                  </a:cubicBezTo>
                  <a:close/>
                  <a:moveTo>
                    <a:pt x="2436257" y="2860834"/>
                  </a:moveTo>
                  <a:cubicBezTo>
                    <a:pt x="2436257" y="2820117"/>
                    <a:pt x="2469284" y="2787130"/>
                    <a:pt x="2509961" y="2787130"/>
                  </a:cubicBezTo>
                  <a:lnTo>
                    <a:pt x="2688113" y="2787130"/>
                  </a:lnTo>
                  <a:cubicBezTo>
                    <a:pt x="2728036" y="2788238"/>
                    <a:pt x="2759838" y="2820921"/>
                    <a:pt x="2759838" y="2860834"/>
                  </a:cubicBezTo>
                  <a:cubicBezTo>
                    <a:pt x="2759838" y="2900787"/>
                    <a:pt x="2728036" y="2933441"/>
                    <a:pt x="2688113" y="2934587"/>
                  </a:cubicBezTo>
                  <a:lnTo>
                    <a:pt x="2509961" y="2934587"/>
                  </a:lnTo>
                  <a:cubicBezTo>
                    <a:pt x="2490406" y="2934587"/>
                    <a:pt x="2471655" y="2926818"/>
                    <a:pt x="2457841" y="2912965"/>
                  </a:cubicBezTo>
                  <a:cubicBezTo>
                    <a:pt x="2444027" y="2899141"/>
                    <a:pt x="2436257" y="2880390"/>
                    <a:pt x="2436257" y="2860834"/>
                  </a:cubicBezTo>
                  <a:close/>
                  <a:moveTo>
                    <a:pt x="4615730" y="2860834"/>
                  </a:moveTo>
                  <a:cubicBezTo>
                    <a:pt x="4615730" y="2880390"/>
                    <a:pt x="4608000" y="2899151"/>
                    <a:pt x="4594186" y="2912965"/>
                  </a:cubicBezTo>
                  <a:cubicBezTo>
                    <a:pt x="4580333" y="2926818"/>
                    <a:pt x="4561581" y="2934587"/>
                    <a:pt x="4542056" y="2934587"/>
                  </a:cubicBezTo>
                  <a:lnTo>
                    <a:pt x="2957858" y="2934587"/>
                  </a:lnTo>
                  <a:cubicBezTo>
                    <a:pt x="2937920" y="2935116"/>
                    <a:pt x="2918639" y="2927621"/>
                    <a:pt x="2904365" y="2913729"/>
                  </a:cubicBezTo>
                  <a:cubicBezTo>
                    <a:pt x="2890091" y="2899837"/>
                    <a:pt x="2882047" y="2880772"/>
                    <a:pt x="2882047" y="2860834"/>
                  </a:cubicBezTo>
                  <a:cubicBezTo>
                    <a:pt x="2882047" y="2840936"/>
                    <a:pt x="2890091" y="2821881"/>
                    <a:pt x="2904365" y="2807989"/>
                  </a:cubicBezTo>
                  <a:cubicBezTo>
                    <a:pt x="2918639" y="2794096"/>
                    <a:pt x="2937920" y="2786553"/>
                    <a:pt x="2957858" y="2787130"/>
                  </a:cubicBezTo>
                  <a:lnTo>
                    <a:pt x="4542056" y="2787130"/>
                  </a:lnTo>
                  <a:cubicBezTo>
                    <a:pt x="4582743" y="2787130"/>
                    <a:pt x="4615730" y="2820117"/>
                    <a:pt x="4615730" y="2860834"/>
                  </a:cubicBezTo>
                  <a:close/>
                </a:path>
              </a:pathLst>
            </a:custGeom>
            <a:solidFill>
              <a:srgbClr val="191925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5BEC3F0B-4335-4823-B6E7-C12727DD3F48}"/>
                </a:ext>
              </a:extLst>
            </p:cNvPr>
            <p:cNvSpPr/>
            <p:nvPr/>
          </p:nvSpPr>
          <p:spPr>
            <a:xfrm>
              <a:off x="4317751" y="4472992"/>
              <a:ext cx="323860" cy="345917"/>
            </a:xfrm>
            <a:custGeom>
              <a:avLst/>
              <a:gdLst>
                <a:gd name="connsiteX0" fmla="*/ 2413987 w 4827943"/>
                <a:gd name="connsiteY0" fmla="*/ 2321344 h 5156754"/>
                <a:gd name="connsiteX1" fmla="*/ 2409588 w 4827943"/>
                <a:gd name="connsiteY1" fmla="*/ 2321344 h 5156754"/>
                <a:gd name="connsiteX2" fmla="*/ 1955020 w 4827943"/>
                <a:gd name="connsiteY2" fmla="*/ 2509253 h 5156754"/>
                <a:gd name="connsiteX3" fmla="*/ 1765318 w 4827943"/>
                <a:gd name="connsiteY3" fmla="*/ 2963096 h 5156754"/>
                <a:gd name="connsiteX4" fmla="*/ 1950925 w 4827943"/>
                <a:gd name="connsiteY4" fmla="*/ 3418624 h 5156754"/>
                <a:gd name="connsiteX5" fmla="*/ 2405767 w 4827943"/>
                <a:gd name="connsiteY5" fmla="*/ 3610628 h 5156754"/>
                <a:gd name="connsiteX6" fmla="*/ 2410166 w 4827943"/>
                <a:gd name="connsiteY6" fmla="*/ 3610628 h 5156754"/>
                <a:gd name="connsiteX7" fmla="*/ 2947745 w 4827943"/>
                <a:gd name="connsiteY7" fmla="*/ 3282502 h 5156754"/>
                <a:gd name="connsiteX8" fmla="*/ 2949616 w 4827943"/>
                <a:gd name="connsiteY8" fmla="*/ 2652693 h 5156754"/>
                <a:gd name="connsiteX9" fmla="*/ 2413987 w 4827943"/>
                <a:gd name="connsiteY9" fmla="*/ 2321354 h 5156754"/>
                <a:gd name="connsiteX10" fmla="*/ 2786504 w 4827943"/>
                <a:gd name="connsiteY10" fmla="*/ 3346223 h 5156754"/>
                <a:gd name="connsiteX11" fmla="*/ 2303308 w 4827943"/>
                <a:gd name="connsiteY11" fmla="*/ 3490231 h 5156754"/>
                <a:gd name="connsiteX12" fmla="*/ 1914715 w 4827943"/>
                <a:gd name="connsiteY12" fmla="*/ 3168953 h 5156754"/>
                <a:gd name="connsiteX13" fmla="*/ 1965268 w 4827943"/>
                <a:gd name="connsiteY13" fmla="*/ 2667271 h 5156754"/>
                <a:gd name="connsiteX14" fmla="*/ 2410156 w 4827943"/>
                <a:gd name="connsiteY14" fmla="*/ 2429994 h 5156754"/>
                <a:gd name="connsiteX15" fmla="*/ 2413987 w 4827943"/>
                <a:gd name="connsiteY15" fmla="*/ 2429994 h 5156754"/>
                <a:gd name="connsiteX16" fmla="*/ 2791863 w 4827943"/>
                <a:gd name="connsiteY16" fmla="*/ 2588933 h 5156754"/>
                <a:gd name="connsiteX17" fmla="*/ 2946246 w 4827943"/>
                <a:gd name="connsiteY17" fmla="*/ 2968690 h 5156754"/>
                <a:gd name="connsiteX18" fmla="*/ 2786504 w 4827943"/>
                <a:gd name="connsiteY18" fmla="*/ 3346223 h 5156754"/>
                <a:gd name="connsiteX19" fmla="*/ 3291821 w 4827943"/>
                <a:gd name="connsiteY19" fmla="*/ 4224067 h 5156754"/>
                <a:gd name="connsiteX20" fmla="*/ 3648417 w 4827943"/>
                <a:gd name="connsiteY20" fmla="*/ 5101910 h 5156754"/>
                <a:gd name="connsiteX21" fmla="*/ 3632340 w 4827943"/>
                <a:gd name="connsiteY21" fmla="*/ 5140677 h 5156754"/>
                <a:gd name="connsiteX22" fmla="*/ 3593533 w 4827943"/>
                <a:gd name="connsiteY22" fmla="*/ 5156755 h 5156754"/>
                <a:gd name="connsiteX23" fmla="*/ 3538699 w 4827943"/>
                <a:gd name="connsiteY23" fmla="*/ 5101910 h 5156754"/>
                <a:gd name="connsiteX24" fmla="*/ 3214012 w 4827943"/>
                <a:gd name="connsiteY24" fmla="*/ 4300994 h 5156754"/>
                <a:gd name="connsiteX25" fmla="*/ 2417269 w 4827943"/>
                <a:gd name="connsiteY25" fmla="*/ 3966206 h 5156754"/>
                <a:gd name="connsiteX26" fmla="*/ 2410146 w 4827943"/>
                <a:gd name="connsiteY26" fmla="*/ 3966206 h 5156754"/>
                <a:gd name="connsiteX27" fmla="*/ 1616578 w 4827943"/>
                <a:gd name="connsiteY27" fmla="*/ 4293411 h 5156754"/>
                <a:gd name="connsiteX28" fmla="*/ 1284317 w 4827943"/>
                <a:gd name="connsiteY28" fmla="*/ 5084873 h 5156754"/>
                <a:gd name="connsiteX29" fmla="*/ 1268250 w 4827943"/>
                <a:gd name="connsiteY29" fmla="*/ 5123679 h 5156754"/>
                <a:gd name="connsiteX30" fmla="*/ 1229483 w 4827943"/>
                <a:gd name="connsiteY30" fmla="*/ 5139747 h 5156754"/>
                <a:gd name="connsiteX31" fmla="*/ 1174599 w 4827943"/>
                <a:gd name="connsiteY31" fmla="*/ 5084873 h 5156754"/>
                <a:gd name="connsiteX32" fmla="*/ 1539004 w 4827943"/>
                <a:gd name="connsiteY32" fmla="*/ 4215837 h 5156754"/>
                <a:gd name="connsiteX33" fmla="*/ 2410146 w 4827943"/>
                <a:gd name="connsiteY33" fmla="*/ 3856478 h 5156754"/>
                <a:gd name="connsiteX34" fmla="*/ 2417837 w 4827943"/>
                <a:gd name="connsiteY34" fmla="*/ 3856478 h 5156754"/>
                <a:gd name="connsiteX35" fmla="*/ 2417798 w 4827943"/>
                <a:gd name="connsiteY35" fmla="*/ 3856478 h 5156754"/>
                <a:gd name="connsiteX36" fmla="*/ 3291811 w 4827943"/>
                <a:gd name="connsiteY36" fmla="*/ 4224067 h 5156754"/>
                <a:gd name="connsiteX37" fmla="*/ 990276 w 4827943"/>
                <a:gd name="connsiteY37" fmla="*/ 3316606 h 5156754"/>
                <a:gd name="connsiteX38" fmla="*/ 993567 w 4827943"/>
                <a:gd name="connsiteY38" fmla="*/ 3316606 h 5156754"/>
                <a:gd name="connsiteX39" fmla="*/ 1450859 w 4827943"/>
                <a:gd name="connsiteY39" fmla="*/ 3054190 h 5156754"/>
                <a:gd name="connsiteX40" fmla="*/ 1452240 w 4827943"/>
                <a:gd name="connsiteY40" fmla="*/ 2526947 h 5156754"/>
                <a:gd name="connsiteX41" fmla="*/ 996330 w 4827943"/>
                <a:gd name="connsiteY41" fmla="*/ 2262120 h 5156754"/>
                <a:gd name="connsiteX42" fmla="*/ 993038 w 4827943"/>
                <a:gd name="connsiteY42" fmla="*/ 2262120 h 5156754"/>
                <a:gd name="connsiteX43" fmla="*/ 535747 w 4827943"/>
                <a:gd name="connsiteY43" fmla="*/ 2524576 h 5156754"/>
                <a:gd name="connsiteX44" fmla="*/ 534366 w 4827943"/>
                <a:gd name="connsiteY44" fmla="*/ 3051819 h 5156754"/>
                <a:gd name="connsiteX45" fmla="*/ 990276 w 4827943"/>
                <a:gd name="connsiteY45" fmla="*/ 3316606 h 5156754"/>
                <a:gd name="connsiteX46" fmla="*/ 700035 w 4827943"/>
                <a:gd name="connsiteY46" fmla="*/ 2493646 h 5156754"/>
                <a:gd name="connsiteX47" fmla="*/ 993029 w 4827943"/>
                <a:gd name="connsiteY47" fmla="*/ 2372945 h 5156754"/>
                <a:gd name="connsiteX48" fmla="*/ 1354602 w 4827943"/>
                <a:gd name="connsiteY48" fmla="*/ 2581713 h 5156754"/>
                <a:gd name="connsiteX49" fmla="*/ 1354602 w 4827943"/>
                <a:gd name="connsiteY49" fmla="*/ 2999237 h 5156754"/>
                <a:gd name="connsiteX50" fmla="*/ 993029 w 4827943"/>
                <a:gd name="connsiteY50" fmla="*/ 3208005 h 5156754"/>
                <a:gd name="connsiteX51" fmla="*/ 990276 w 4827943"/>
                <a:gd name="connsiteY51" fmla="*/ 3208005 h 5156754"/>
                <a:gd name="connsiteX52" fmla="*/ 695636 w 4827943"/>
                <a:gd name="connsiteY52" fmla="*/ 3083356 h 5156754"/>
                <a:gd name="connsiteX53" fmla="*/ 576043 w 4827943"/>
                <a:gd name="connsiteY53" fmla="*/ 2786649 h 5156754"/>
                <a:gd name="connsiteX54" fmla="*/ 700035 w 4827943"/>
                <a:gd name="connsiteY54" fmla="*/ 2492578 h 5156754"/>
                <a:gd name="connsiteX55" fmla="*/ 1607496 w 4827943"/>
                <a:gd name="connsiteY55" fmla="*/ 3821355 h 5156754"/>
                <a:gd name="connsiteX56" fmla="*/ 1000151 w 4827943"/>
                <a:gd name="connsiteY56" fmla="*/ 3575584 h 5156754"/>
                <a:gd name="connsiteX57" fmla="*/ 994675 w 4827943"/>
                <a:gd name="connsiteY57" fmla="*/ 3575584 h 5156754"/>
                <a:gd name="connsiteX58" fmla="*/ 371067 w 4827943"/>
                <a:gd name="connsiteY58" fmla="*/ 3834209 h 5156754"/>
                <a:gd name="connsiteX59" fmla="*/ 109718 w 4827943"/>
                <a:gd name="connsiteY59" fmla="*/ 4456670 h 5156754"/>
                <a:gd name="connsiteX60" fmla="*/ 93651 w 4827943"/>
                <a:gd name="connsiteY60" fmla="*/ 4495477 h 5156754"/>
                <a:gd name="connsiteX61" fmla="*/ 54844 w 4827943"/>
                <a:gd name="connsiteY61" fmla="*/ 4511544 h 5156754"/>
                <a:gd name="connsiteX62" fmla="*/ 0 w 4827943"/>
                <a:gd name="connsiteY62" fmla="*/ 4456670 h 5156754"/>
                <a:gd name="connsiteX63" fmla="*/ 289819 w 4827943"/>
                <a:gd name="connsiteY63" fmla="*/ 3761533 h 5156754"/>
                <a:gd name="connsiteX64" fmla="*/ 983388 w 4827943"/>
                <a:gd name="connsiteY64" fmla="*/ 3467845 h 5156754"/>
                <a:gd name="connsiteX65" fmla="*/ 1684305 w 4827943"/>
                <a:gd name="connsiteY65" fmla="*/ 3743468 h 5156754"/>
                <a:gd name="connsiteX66" fmla="*/ 1700529 w 4827943"/>
                <a:gd name="connsiteY66" fmla="*/ 3782421 h 5156754"/>
                <a:gd name="connsiteX67" fmla="*/ 1684305 w 4827943"/>
                <a:gd name="connsiteY67" fmla="*/ 3821345 h 5156754"/>
                <a:gd name="connsiteX68" fmla="*/ 1607496 w 4827943"/>
                <a:gd name="connsiteY68" fmla="*/ 3821345 h 5156754"/>
                <a:gd name="connsiteX69" fmla="*/ 3834386 w 4827943"/>
                <a:gd name="connsiteY69" fmla="*/ 3316606 h 5156754"/>
                <a:gd name="connsiteX70" fmla="*/ 3840431 w 4827943"/>
                <a:gd name="connsiteY70" fmla="*/ 3316606 h 5156754"/>
                <a:gd name="connsiteX71" fmla="*/ 4297027 w 4827943"/>
                <a:gd name="connsiteY71" fmla="*/ 3053004 h 5156754"/>
                <a:gd name="connsiteX72" fmla="*/ 4297027 w 4827943"/>
                <a:gd name="connsiteY72" fmla="*/ 2525761 h 5156754"/>
                <a:gd name="connsiteX73" fmla="*/ 3840431 w 4827943"/>
                <a:gd name="connsiteY73" fmla="*/ 2262120 h 5156754"/>
                <a:gd name="connsiteX74" fmla="*/ 3837139 w 4827943"/>
                <a:gd name="connsiteY74" fmla="*/ 2262120 h 5156754"/>
                <a:gd name="connsiteX75" fmla="*/ 3380504 w 4827943"/>
                <a:gd name="connsiteY75" fmla="*/ 2525761 h 5156754"/>
                <a:gd name="connsiteX76" fmla="*/ 3380504 w 4827943"/>
                <a:gd name="connsiteY76" fmla="*/ 3053004 h 5156754"/>
                <a:gd name="connsiteX77" fmla="*/ 3837139 w 4827943"/>
                <a:gd name="connsiteY77" fmla="*/ 3316606 h 5156754"/>
                <a:gd name="connsiteX78" fmla="*/ 3537562 w 4827943"/>
                <a:gd name="connsiteY78" fmla="*/ 2493646 h 5156754"/>
                <a:gd name="connsiteX79" fmla="*/ 3832202 w 4827943"/>
                <a:gd name="connsiteY79" fmla="*/ 2369654 h 5156754"/>
                <a:gd name="connsiteX80" fmla="*/ 3834955 w 4827943"/>
                <a:gd name="connsiteY80" fmla="*/ 2369654 h 5156754"/>
                <a:gd name="connsiteX81" fmla="*/ 3834915 w 4827943"/>
                <a:gd name="connsiteY81" fmla="*/ 2369654 h 5156754"/>
                <a:gd name="connsiteX82" fmla="*/ 4165148 w 4827943"/>
                <a:gd name="connsiteY82" fmla="*/ 2532874 h 5156754"/>
                <a:gd name="connsiteX83" fmla="*/ 4237137 w 4827943"/>
                <a:gd name="connsiteY83" fmla="*/ 2894144 h 5156754"/>
                <a:gd name="connsiteX84" fmla="*/ 3994736 w 4827943"/>
                <a:gd name="connsiteY84" fmla="*/ 3171491 h 5156754"/>
                <a:gd name="connsiteX85" fmla="*/ 3627118 w 4827943"/>
                <a:gd name="connsiteY85" fmla="*/ 3148487 h 5156754"/>
                <a:gd name="connsiteX86" fmla="*/ 3421153 w 4827943"/>
                <a:gd name="connsiteY86" fmla="*/ 2843130 h 5156754"/>
                <a:gd name="connsiteX87" fmla="*/ 3537572 w 4827943"/>
                <a:gd name="connsiteY87" fmla="*/ 2493646 h 5156754"/>
                <a:gd name="connsiteX88" fmla="*/ 4827944 w 4827943"/>
                <a:gd name="connsiteY88" fmla="*/ 4456112 h 5156754"/>
                <a:gd name="connsiteX89" fmla="*/ 4811906 w 4827943"/>
                <a:gd name="connsiteY89" fmla="*/ 4494918 h 5156754"/>
                <a:gd name="connsiteX90" fmla="*/ 4773100 w 4827943"/>
                <a:gd name="connsiteY90" fmla="*/ 4510996 h 5156754"/>
                <a:gd name="connsiteX91" fmla="*/ 4718226 w 4827943"/>
                <a:gd name="connsiteY91" fmla="*/ 4456112 h 5156754"/>
                <a:gd name="connsiteX92" fmla="*/ 4456691 w 4827943"/>
                <a:gd name="connsiteY92" fmla="*/ 3833993 h 5156754"/>
                <a:gd name="connsiteX93" fmla="*/ 3833270 w 4827943"/>
                <a:gd name="connsiteY93" fmla="*/ 3575555 h 5156754"/>
                <a:gd name="connsiteX94" fmla="*/ 3827793 w 4827943"/>
                <a:gd name="connsiteY94" fmla="*/ 3575555 h 5156754"/>
                <a:gd name="connsiteX95" fmla="*/ 3220448 w 4827943"/>
                <a:gd name="connsiteY95" fmla="*/ 3821326 h 5156754"/>
                <a:gd name="connsiteX96" fmla="*/ 3143110 w 4827943"/>
                <a:gd name="connsiteY96" fmla="*/ 3821326 h 5156754"/>
                <a:gd name="connsiteX97" fmla="*/ 3126846 w 4827943"/>
                <a:gd name="connsiteY97" fmla="*/ 3782401 h 5156754"/>
                <a:gd name="connsiteX98" fmla="*/ 3143110 w 4827943"/>
                <a:gd name="connsiteY98" fmla="*/ 3743448 h 5156754"/>
                <a:gd name="connsiteX99" fmla="*/ 3825040 w 4827943"/>
                <a:gd name="connsiteY99" fmla="*/ 3469128 h 5156754"/>
                <a:gd name="connsiteX100" fmla="*/ 3831624 w 4827943"/>
                <a:gd name="connsiteY100" fmla="*/ 3469128 h 5156754"/>
                <a:gd name="connsiteX101" fmla="*/ 4532541 w 4827943"/>
                <a:gd name="connsiteY101" fmla="*/ 3757948 h 5156754"/>
                <a:gd name="connsiteX102" fmla="*/ 4827944 w 4827943"/>
                <a:gd name="connsiteY102" fmla="*/ 4456112 h 5156754"/>
                <a:gd name="connsiteX103" fmla="*/ 1920152 w 4827943"/>
                <a:gd name="connsiteY103" fmla="*/ 1538425 h 5156754"/>
                <a:gd name="connsiteX104" fmla="*/ 1920152 w 4827943"/>
                <a:gd name="connsiteY104" fmla="*/ 1735935 h 5156754"/>
                <a:gd name="connsiteX105" fmla="*/ 1920191 w 4827943"/>
                <a:gd name="connsiteY105" fmla="*/ 1735935 h 5156754"/>
                <a:gd name="connsiteX106" fmla="*/ 2028920 w 4827943"/>
                <a:gd name="connsiteY106" fmla="*/ 1998773 h 5156754"/>
                <a:gd name="connsiteX107" fmla="*/ 2291601 w 4827943"/>
                <a:gd name="connsiteY107" fmla="*/ 2107923 h 5156754"/>
                <a:gd name="connsiteX108" fmla="*/ 2529720 w 4827943"/>
                <a:gd name="connsiteY108" fmla="*/ 2107923 h 5156754"/>
                <a:gd name="connsiteX109" fmla="*/ 2792401 w 4827943"/>
                <a:gd name="connsiteY109" fmla="*/ 1998773 h 5156754"/>
                <a:gd name="connsiteX110" fmla="*/ 2901130 w 4827943"/>
                <a:gd name="connsiteY110" fmla="*/ 1735935 h 5156754"/>
                <a:gd name="connsiteX111" fmla="*/ 2901130 w 4827943"/>
                <a:gd name="connsiteY111" fmla="*/ 1538425 h 5156754"/>
                <a:gd name="connsiteX112" fmla="*/ 3002658 w 4827943"/>
                <a:gd name="connsiteY112" fmla="*/ 1273441 h 5156754"/>
                <a:gd name="connsiteX113" fmla="*/ 3182034 w 4827943"/>
                <a:gd name="connsiteY113" fmla="*/ 785690 h 5156754"/>
                <a:gd name="connsiteX114" fmla="*/ 2949430 w 4827943"/>
                <a:gd name="connsiteY114" fmla="*/ 237050 h 5156754"/>
                <a:gd name="connsiteX115" fmla="*/ 2392022 w 4827943"/>
                <a:gd name="connsiteY115" fmla="*/ 18721 h 5156754"/>
                <a:gd name="connsiteX116" fmla="*/ 1879660 w 4827943"/>
                <a:gd name="connsiteY116" fmla="*/ 248729 h 5156754"/>
                <a:gd name="connsiteX117" fmla="*/ 1645871 w 4827943"/>
                <a:gd name="connsiteY117" fmla="*/ 759366 h 5156754"/>
                <a:gd name="connsiteX118" fmla="*/ 1822523 w 4827943"/>
                <a:gd name="connsiteY118" fmla="*/ 1275626 h 5156754"/>
                <a:gd name="connsiteX119" fmla="*/ 1923483 w 4827943"/>
                <a:gd name="connsiteY119" fmla="*/ 1538425 h 5156754"/>
                <a:gd name="connsiteX120" fmla="*/ 2529681 w 4827943"/>
                <a:gd name="connsiteY120" fmla="*/ 1998205 h 5156754"/>
                <a:gd name="connsiteX121" fmla="*/ 2294893 w 4827943"/>
                <a:gd name="connsiteY121" fmla="*/ 1998205 h 5156754"/>
                <a:gd name="connsiteX122" fmla="*/ 2109815 w 4827943"/>
                <a:gd name="connsiteY122" fmla="*/ 1921209 h 5156754"/>
                <a:gd name="connsiteX123" fmla="*/ 2033201 w 4827943"/>
                <a:gd name="connsiteY123" fmla="*/ 1735945 h 5156754"/>
                <a:gd name="connsiteX124" fmla="*/ 2033201 w 4827943"/>
                <a:gd name="connsiteY124" fmla="*/ 1660781 h 5156754"/>
                <a:gd name="connsiteX125" fmla="*/ 2794704 w 4827943"/>
                <a:gd name="connsiteY125" fmla="*/ 1660781 h 5156754"/>
                <a:gd name="connsiteX126" fmla="*/ 2794704 w 4827943"/>
                <a:gd name="connsiteY126" fmla="*/ 1735945 h 5156754"/>
                <a:gd name="connsiteX127" fmla="*/ 2718080 w 4827943"/>
                <a:gd name="connsiteY127" fmla="*/ 1921209 h 5156754"/>
                <a:gd name="connsiteX128" fmla="*/ 2533003 w 4827943"/>
                <a:gd name="connsiteY128" fmla="*/ 1998205 h 5156754"/>
                <a:gd name="connsiteX129" fmla="*/ 2395313 w 4827943"/>
                <a:gd name="connsiteY129" fmla="*/ 128420 h 5156754"/>
                <a:gd name="connsiteX130" fmla="*/ 2413948 w 4827943"/>
                <a:gd name="connsiteY130" fmla="*/ 128420 h 5156754"/>
                <a:gd name="connsiteX131" fmla="*/ 2864773 w 4827943"/>
                <a:gd name="connsiteY131" fmla="*/ 306757 h 5156754"/>
                <a:gd name="connsiteX132" fmla="*/ 3071277 w 4827943"/>
                <a:gd name="connsiteY132" fmla="*/ 745405 h 5156754"/>
                <a:gd name="connsiteX133" fmla="*/ 2921449 w 4827943"/>
                <a:gd name="connsiteY133" fmla="*/ 1206478 h 5156754"/>
                <a:gd name="connsiteX134" fmla="*/ 2794694 w 4827943"/>
                <a:gd name="connsiteY134" fmla="*/ 1541148 h 5156754"/>
                <a:gd name="connsiteX135" fmla="*/ 2794694 w 4827943"/>
                <a:gd name="connsiteY135" fmla="*/ 1553777 h 5156754"/>
                <a:gd name="connsiteX136" fmla="*/ 2468821 w 4827943"/>
                <a:gd name="connsiteY136" fmla="*/ 1553777 h 5156754"/>
                <a:gd name="connsiteX137" fmla="*/ 2468821 w 4827943"/>
                <a:gd name="connsiteY137" fmla="*/ 1125269 h 5156754"/>
                <a:gd name="connsiteX138" fmla="*/ 2688258 w 4827943"/>
                <a:gd name="connsiteY138" fmla="*/ 905833 h 5156754"/>
                <a:gd name="connsiteX139" fmla="*/ 2688258 w 4827943"/>
                <a:gd name="connsiteY139" fmla="*/ 828455 h 5156754"/>
                <a:gd name="connsiteX140" fmla="*/ 2649304 w 4827943"/>
                <a:gd name="connsiteY140" fmla="*/ 812226 h 5156754"/>
                <a:gd name="connsiteX141" fmla="*/ 2610341 w 4827943"/>
                <a:gd name="connsiteY141" fmla="*/ 828455 h 5156754"/>
                <a:gd name="connsiteX142" fmla="*/ 2413938 w 4827943"/>
                <a:gd name="connsiteY142" fmla="*/ 1024898 h 5156754"/>
                <a:gd name="connsiteX143" fmla="*/ 2215320 w 4827943"/>
                <a:gd name="connsiteY143" fmla="*/ 826280 h 5156754"/>
                <a:gd name="connsiteX144" fmla="*/ 2176396 w 4827943"/>
                <a:gd name="connsiteY144" fmla="*/ 810051 h 5156754"/>
                <a:gd name="connsiteX145" fmla="*/ 2137443 w 4827943"/>
                <a:gd name="connsiteY145" fmla="*/ 826280 h 5156754"/>
                <a:gd name="connsiteX146" fmla="*/ 2137443 w 4827943"/>
                <a:gd name="connsiteY146" fmla="*/ 903658 h 5156754"/>
                <a:gd name="connsiteX147" fmla="*/ 2356879 w 4827943"/>
                <a:gd name="connsiteY147" fmla="*/ 1123094 h 5156754"/>
                <a:gd name="connsiteX148" fmla="*/ 2356879 w 4827943"/>
                <a:gd name="connsiteY148" fmla="*/ 1548849 h 5156754"/>
                <a:gd name="connsiteX149" fmla="*/ 2033191 w 4827943"/>
                <a:gd name="connsiteY149" fmla="*/ 1548849 h 5156754"/>
                <a:gd name="connsiteX150" fmla="*/ 2033191 w 4827943"/>
                <a:gd name="connsiteY150" fmla="*/ 1536220 h 5156754"/>
                <a:gd name="connsiteX151" fmla="*/ 1908082 w 4827943"/>
                <a:gd name="connsiteY151" fmla="*/ 1206488 h 5156754"/>
                <a:gd name="connsiteX152" fmla="*/ 1755579 w 4827943"/>
                <a:gd name="connsiteY152" fmla="*/ 763206 h 5156754"/>
                <a:gd name="connsiteX153" fmla="*/ 2395303 w 4827943"/>
                <a:gd name="connsiteY153" fmla="*/ 128420 h 5156754"/>
                <a:gd name="connsiteX154" fmla="*/ 475073 w 4827943"/>
                <a:gd name="connsiteY154" fmla="*/ 685828 h 5156754"/>
                <a:gd name="connsiteX155" fmla="*/ 529918 w 4827943"/>
                <a:gd name="connsiteY155" fmla="*/ 630987 h 5156754"/>
                <a:gd name="connsiteX156" fmla="*/ 968839 w 4827943"/>
                <a:gd name="connsiteY156" fmla="*/ 630987 h 5156754"/>
                <a:gd name="connsiteX157" fmla="*/ 1023713 w 4827943"/>
                <a:gd name="connsiteY157" fmla="*/ 685828 h 5156754"/>
                <a:gd name="connsiteX158" fmla="*/ 968839 w 4827943"/>
                <a:gd name="connsiteY158" fmla="*/ 740708 h 5156754"/>
                <a:gd name="connsiteX159" fmla="*/ 529918 w 4827943"/>
                <a:gd name="connsiteY159" fmla="*/ 740708 h 5156754"/>
                <a:gd name="connsiteX160" fmla="*/ 489348 w 4827943"/>
                <a:gd name="connsiteY160" fmla="*/ 725629 h 5156754"/>
                <a:gd name="connsiteX161" fmla="*/ 472320 w 4827943"/>
                <a:gd name="connsiteY161" fmla="*/ 685828 h 5156754"/>
                <a:gd name="connsiteX162" fmla="*/ 734051 w 4827943"/>
                <a:gd name="connsiteY162" fmla="*/ 27470 h 5156754"/>
                <a:gd name="connsiteX163" fmla="*/ 734012 w 4827943"/>
                <a:gd name="connsiteY163" fmla="*/ 27470 h 5156754"/>
                <a:gd name="connsiteX164" fmla="*/ 808637 w 4827943"/>
                <a:gd name="connsiteY164" fmla="*/ 7187 h 5156754"/>
                <a:gd name="connsiteX165" fmla="*/ 1247558 w 4827943"/>
                <a:gd name="connsiteY165" fmla="*/ 258464 h 5156754"/>
                <a:gd name="connsiteX166" fmla="*/ 1247558 w 4827943"/>
                <a:gd name="connsiteY166" fmla="*/ 258426 h 5156754"/>
                <a:gd name="connsiteX167" fmla="*/ 1273354 w 4827943"/>
                <a:gd name="connsiteY167" fmla="*/ 291797 h 5156754"/>
                <a:gd name="connsiteX168" fmla="*/ 1267848 w 4827943"/>
                <a:gd name="connsiteY168" fmla="*/ 333588 h 5156754"/>
                <a:gd name="connsiteX169" fmla="*/ 1220117 w 4827943"/>
                <a:gd name="connsiteY169" fmla="*/ 361027 h 5156754"/>
                <a:gd name="connsiteX170" fmla="*/ 1193214 w 4827943"/>
                <a:gd name="connsiteY170" fmla="*/ 353909 h 5156754"/>
                <a:gd name="connsiteX171" fmla="*/ 754292 w 4827943"/>
                <a:gd name="connsiteY171" fmla="*/ 102632 h 5156754"/>
                <a:gd name="connsiteX172" fmla="*/ 754331 w 4827943"/>
                <a:gd name="connsiteY172" fmla="*/ 102632 h 5156754"/>
                <a:gd name="connsiteX173" fmla="*/ 731259 w 4827943"/>
                <a:gd name="connsiteY173" fmla="*/ 29651 h 5156754"/>
                <a:gd name="connsiteX174" fmla="*/ 1269524 w 4827943"/>
                <a:gd name="connsiteY174" fmla="*/ 1033637 h 5156754"/>
                <a:gd name="connsiteX175" fmla="*/ 1269484 w 4827943"/>
                <a:gd name="connsiteY175" fmla="*/ 1033637 h 5156754"/>
                <a:gd name="connsiteX176" fmla="*/ 1249204 w 4827943"/>
                <a:gd name="connsiteY176" fmla="*/ 1108261 h 5156754"/>
                <a:gd name="connsiteX177" fmla="*/ 810283 w 4827943"/>
                <a:gd name="connsiteY177" fmla="*/ 1360077 h 5156754"/>
                <a:gd name="connsiteX178" fmla="*/ 783380 w 4827943"/>
                <a:gd name="connsiteY178" fmla="*/ 1367200 h 5156754"/>
                <a:gd name="connsiteX179" fmla="*/ 729985 w 4827943"/>
                <a:gd name="connsiteY179" fmla="*/ 1326512 h 5156754"/>
                <a:gd name="connsiteX180" fmla="*/ 755977 w 4827943"/>
                <a:gd name="connsiteY180" fmla="*/ 1264634 h 5156754"/>
                <a:gd name="connsiteX181" fmla="*/ 1194899 w 4827943"/>
                <a:gd name="connsiteY181" fmla="*/ 1013356 h 5156754"/>
                <a:gd name="connsiteX182" fmla="*/ 1194860 w 4827943"/>
                <a:gd name="connsiteY182" fmla="*/ 1013356 h 5156754"/>
                <a:gd name="connsiteX183" fmla="*/ 1266731 w 4827943"/>
                <a:gd name="connsiteY183" fmla="*/ 1035861 h 5156754"/>
                <a:gd name="connsiteX184" fmla="*/ 3862926 w 4827943"/>
                <a:gd name="connsiteY184" fmla="*/ 628740 h 5156754"/>
                <a:gd name="connsiteX185" fmla="*/ 4301847 w 4827943"/>
                <a:gd name="connsiteY185" fmla="*/ 628740 h 5156754"/>
                <a:gd name="connsiteX186" fmla="*/ 4301808 w 4827943"/>
                <a:gd name="connsiteY186" fmla="*/ 628740 h 5156754"/>
                <a:gd name="connsiteX187" fmla="*/ 4356692 w 4827943"/>
                <a:gd name="connsiteY187" fmla="*/ 683620 h 5156754"/>
                <a:gd name="connsiteX188" fmla="*/ 4301808 w 4827943"/>
                <a:gd name="connsiteY188" fmla="*/ 738461 h 5156754"/>
                <a:gd name="connsiteX189" fmla="*/ 3862886 w 4827943"/>
                <a:gd name="connsiteY189" fmla="*/ 738461 h 5156754"/>
                <a:gd name="connsiteX190" fmla="*/ 3808042 w 4827943"/>
                <a:gd name="connsiteY190" fmla="*/ 683620 h 5156754"/>
                <a:gd name="connsiteX191" fmla="*/ 3862886 w 4827943"/>
                <a:gd name="connsiteY191" fmla="*/ 628740 h 5156754"/>
                <a:gd name="connsiteX192" fmla="*/ 3561163 w 4827943"/>
                <a:gd name="connsiteY192" fmla="*/ 335786 h 5156754"/>
                <a:gd name="connsiteX193" fmla="*/ 3555648 w 4827943"/>
                <a:gd name="connsiteY193" fmla="*/ 293957 h 5156754"/>
                <a:gd name="connsiteX194" fmla="*/ 3581444 w 4827943"/>
                <a:gd name="connsiteY194" fmla="*/ 260624 h 5156754"/>
                <a:gd name="connsiteX195" fmla="*/ 4020365 w 4827943"/>
                <a:gd name="connsiteY195" fmla="*/ 9347 h 5156754"/>
                <a:gd name="connsiteX196" fmla="*/ 4094990 w 4827943"/>
                <a:gd name="connsiteY196" fmla="*/ 29630 h 5156754"/>
                <a:gd name="connsiteX197" fmla="*/ 4100467 w 4827943"/>
                <a:gd name="connsiteY197" fmla="*/ 71459 h 5156754"/>
                <a:gd name="connsiteX198" fmla="*/ 4074671 w 4827943"/>
                <a:gd name="connsiteY198" fmla="*/ 104792 h 5156754"/>
                <a:gd name="connsiteX199" fmla="*/ 3635749 w 4827943"/>
                <a:gd name="connsiteY199" fmla="*/ 356069 h 5156754"/>
                <a:gd name="connsiteX200" fmla="*/ 3608885 w 4827943"/>
                <a:gd name="connsiteY200" fmla="*/ 363226 h 5156754"/>
                <a:gd name="connsiteX201" fmla="*/ 3561163 w 4827943"/>
                <a:gd name="connsiteY201" fmla="*/ 335786 h 5156754"/>
                <a:gd name="connsiteX202" fmla="*/ 3561163 w 4827943"/>
                <a:gd name="connsiteY202" fmla="*/ 1035861 h 5156754"/>
                <a:gd name="connsiteX203" fmla="*/ 3635749 w 4827943"/>
                <a:gd name="connsiteY203" fmla="*/ 1015541 h 5156754"/>
                <a:gd name="connsiteX204" fmla="*/ 4074671 w 4827943"/>
                <a:gd name="connsiteY204" fmla="*/ 1266818 h 5156754"/>
                <a:gd name="connsiteX205" fmla="*/ 4104102 w 4827943"/>
                <a:gd name="connsiteY205" fmla="*/ 1329383 h 5156754"/>
                <a:gd name="connsiteX206" fmla="*/ 4048885 w 4827943"/>
                <a:gd name="connsiteY206" fmla="*/ 1371060 h 5156754"/>
                <a:gd name="connsiteX207" fmla="*/ 4022012 w 4827943"/>
                <a:gd name="connsiteY207" fmla="*/ 1363908 h 5156754"/>
                <a:gd name="connsiteX208" fmla="*/ 3583090 w 4827943"/>
                <a:gd name="connsiteY208" fmla="*/ 1112092 h 5156754"/>
                <a:gd name="connsiteX209" fmla="*/ 3555804 w 4827943"/>
                <a:gd name="connsiteY209" fmla="*/ 1078684 h 5156754"/>
                <a:gd name="connsiteX210" fmla="*/ 3561163 w 4827943"/>
                <a:gd name="connsiteY210" fmla="*/ 1035861 h 5156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</a:cxnLst>
              <a:rect l="l" t="t" r="r" b="b"/>
              <a:pathLst>
                <a:path w="4827943" h="5156754">
                  <a:moveTo>
                    <a:pt x="2413987" y="2321344"/>
                  </a:moveTo>
                  <a:lnTo>
                    <a:pt x="2409588" y="2321344"/>
                  </a:lnTo>
                  <a:cubicBezTo>
                    <a:pt x="2239206" y="2321422"/>
                    <a:pt x="2075760" y="2389003"/>
                    <a:pt x="1955020" y="2509253"/>
                  </a:cubicBezTo>
                  <a:cubicBezTo>
                    <a:pt x="1834280" y="2629493"/>
                    <a:pt x="1766082" y="2792684"/>
                    <a:pt x="1765318" y="2963096"/>
                  </a:cubicBezTo>
                  <a:cubicBezTo>
                    <a:pt x="1764554" y="3133517"/>
                    <a:pt x="1831292" y="3297267"/>
                    <a:pt x="1950925" y="3418624"/>
                  </a:cubicBezTo>
                  <a:cubicBezTo>
                    <a:pt x="2070714" y="3540931"/>
                    <a:pt x="2234542" y="3610129"/>
                    <a:pt x="2405767" y="3610628"/>
                  </a:cubicBezTo>
                  <a:lnTo>
                    <a:pt x="2410166" y="3610628"/>
                  </a:lnTo>
                  <a:cubicBezTo>
                    <a:pt x="2634197" y="3602095"/>
                    <a:pt x="2837723" y="3477828"/>
                    <a:pt x="2947745" y="3282502"/>
                  </a:cubicBezTo>
                  <a:cubicBezTo>
                    <a:pt x="3057738" y="3087137"/>
                    <a:pt x="3058463" y="2848675"/>
                    <a:pt x="2949616" y="2652693"/>
                  </a:cubicBezTo>
                  <a:cubicBezTo>
                    <a:pt x="2840780" y="2456672"/>
                    <a:pt x="2637979" y="2331229"/>
                    <a:pt x="2413987" y="2321354"/>
                  </a:cubicBezTo>
                  <a:close/>
                  <a:moveTo>
                    <a:pt x="2786504" y="3346223"/>
                  </a:moveTo>
                  <a:cubicBezTo>
                    <a:pt x="2659523" y="3471783"/>
                    <a:pt x="2478315" y="3525785"/>
                    <a:pt x="2303308" y="3490231"/>
                  </a:cubicBezTo>
                  <a:cubicBezTo>
                    <a:pt x="2128302" y="3454638"/>
                    <a:pt x="1982569" y="3334123"/>
                    <a:pt x="1914715" y="3168953"/>
                  </a:cubicBezTo>
                  <a:cubicBezTo>
                    <a:pt x="1846820" y="3003744"/>
                    <a:pt x="1865807" y="2815609"/>
                    <a:pt x="1965268" y="2667271"/>
                  </a:cubicBezTo>
                  <a:cubicBezTo>
                    <a:pt x="2064689" y="2518933"/>
                    <a:pt x="2231554" y="2429955"/>
                    <a:pt x="2410156" y="2429994"/>
                  </a:cubicBezTo>
                  <a:lnTo>
                    <a:pt x="2413987" y="2429994"/>
                  </a:lnTo>
                  <a:cubicBezTo>
                    <a:pt x="2556045" y="2430719"/>
                    <a:pt x="2692020" y="2487895"/>
                    <a:pt x="2791863" y="2588933"/>
                  </a:cubicBezTo>
                  <a:cubicBezTo>
                    <a:pt x="2891705" y="2690000"/>
                    <a:pt x="2947275" y="2826631"/>
                    <a:pt x="2946246" y="2968690"/>
                  </a:cubicBezTo>
                  <a:cubicBezTo>
                    <a:pt x="2945247" y="3110788"/>
                    <a:pt x="2887767" y="3246605"/>
                    <a:pt x="2786504" y="3346223"/>
                  </a:cubicBezTo>
                  <a:close/>
                  <a:moveTo>
                    <a:pt x="3291821" y="4224067"/>
                  </a:moveTo>
                  <a:cubicBezTo>
                    <a:pt x="3523239" y="4457248"/>
                    <a:pt x="3651670" y="4773392"/>
                    <a:pt x="3648417" y="5101910"/>
                  </a:cubicBezTo>
                  <a:cubicBezTo>
                    <a:pt x="3648417" y="5116449"/>
                    <a:pt x="3642637" y="5130381"/>
                    <a:pt x="3632340" y="5140677"/>
                  </a:cubicBezTo>
                  <a:cubicBezTo>
                    <a:pt x="3622053" y="5150974"/>
                    <a:pt x="3608121" y="5156755"/>
                    <a:pt x="3593533" y="5156755"/>
                  </a:cubicBezTo>
                  <a:cubicBezTo>
                    <a:pt x="3563270" y="5156755"/>
                    <a:pt x="3538699" y="5132183"/>
                    <a:pt x="3538699" y="5101910"/>
                  </a:cubicBezTo>
                  <a:cubicBezTo>
                    <a:pt x="3541334" y="4802372"/>
                    <a:pt x="3424464" y="4514121"/>
                    <a:pt x="3214012" y="4300994"/>
                  </a:cubicBezTo>
                  <a:cubicBezTo>
                    <a:pt x="3003530" y="4087827"/>
                    <a:pt x="2716807" y="3967352"/>
                    <a:pt x="2417269" y="3966206"/>
                  </a:cubicBezTo>
                  <a:lnTo>
                    <a:pt x="2410146" y="3966206"/>
                  </a:lnTo>
                  <a:cubicBezTo>
                    <a:pt x="2112784" y="3966206"/>
                    <a:pt x="1827481" y="4083850"/>
                    <a:pt x="1616578" y="4293411"/>
                  </a:cubicBezTo>
                  <a:cubicBezTo>
                    <a:pt x="1405635" y="4503021"/>
                    <a:pt x="1286189" y="4787559"/>
                    <a:pt x="1284317" y="5084873"/>
                  </a:cubicBezTo>
                  <a:cubicBezTo>
                    <a:pt x="1284317" y="5099412"/>
                    <a:pt x="1278537" y="5113383"/>
                    <a:pt x="1268250" y="5123679"/>
                  </a:cubicBezTo>
                  <a:cubicBezTo>
                    <a:pt x="1257953" y="5133976"/>
                    <a:pt x="1244022" y="5139747"/>
                    <a:pt x="1229483" y="5139747"/>
                  </a:cubicBezTo>
                  <a:cubicBezTo>
                    <a:pt x="1199170" y="5139747"/>
                    <a:pt x="1174599" y="5115185"/>
                    <a:pt x="1174599" y="5084873"/>
                  </a:cubicBezTo>
                  <a:cubicBezTo>
                    <a:pt x="1176470" y="4758432"/>
                    <a:pt x="1307468" y="4445991"/>
                    <a:pt x="1539004" y="4215837"/>
                  </a:cubicBezTo>
                  <a:cubicBezTo>
                    <a:pt x="1770501" y="3985682"/>
                    <a:pt x="2083666" y="3856478"/>
                    <a:pt x="2410146" y="3856478"/>
                  </a:cubicBezTo>
                  <a:lnTo>
                    <a:pt x="2417837" y="3856478"/>
                  </a:lnTo>
                  <a:lnTo>
                    <a:pt x="2417798" y="3856478"/>
                  </a:lnTo>
                  <a:cubicBezTo>
                    <a:pt x="2746649" y="3856860"/>
                    <a:pt x="3061539" y="3989317"/>
                    <a:pt x="3291811" y="4224067"/>
                  </a:cubicBezTo>
                  <a:close/>
                  <a:moveTo>
                    <a:pt x="990276" y="3316606"/>
                  </a:moveTo>
                  <a:lnTo>
                    <a:pt x="993567" y="3316606"/>
                  </a:lnTo>
                  <a:cubicBezTo>
                    <a:pt x="1181937" y="3317106"/>
                    <a:pt x="1356258" y="3217067"/>
                    <a:pt x="1450859" y="3054190"/>
                  </a:cubicBezTo>
                  <a:cubicBezTo>
                    <a:pt x="1545460" y="2891312"/>
                    <a:pt x="1545999" y="2690314"/>
                    <a:pt x="1452240" y="2526947"/>
                  </a:cubicBezTo>
                  <a:cubicBezTo>
                    <a:pt x="1358472" y="2363569"/>
                    <a:pt x="1184690" y="2262620"/>
                    <a:pt x="996330" y="2262120"/>
                  </a:cubicBezTo>
                  <a:lnTo>
                    <a:pt x="993038" y="2262120"/>
                  </a:lnTo>
                  <a:cubicBezTo>
                    <a:pt x="804669" y="2261660"/>
                    <a:pt x="630348" y="2361698"/>
                    <a:pt x="535747" y="2524576"/>
                  </a:cubicBezTo>
                  <a:cubicBezTo>
                    <a:pt x="441146" y="2687453"/>
                    <a:pt x="440607" y="2888451"/>
                    <a:pt x="534366" y="3051819"/>
                  </a:cubicBezTo>
                  <a:cubicBezTo>
                    <a:pt x="628124" y="3215196"/>
                    <a:pt x="801916" y="3316116"/>
                    <a:pt x="990276" y="3316606"/>
                  </a:cubicBezTo>
                  <a:close/>
                  <a:moveTo>
                    <a:pt x="700035" y="2493646"/>
                  </a:moveTo>
                  <a:cubicBezTo>
                    <a:pt x="777795" y="2416151"/>
                    <a:pt x="883193" y="2372710"/>
                    <a:pt x="993029" y="2372945"/>
                  </a:cubicBezTo>
                  <a:cubicBezTo>
                    <a:pt x="1142171" y="2372945"/>
                    <a:pt x="1280016" y="2452547"/>
                    <a:pt x="1354602" y="2581713"/>
                  </a:cubicBezTo>
                  <a:cubicBezTo>
                    <a:pt x="1429188" y="2710917"/>
                    <a:pt x="1429188" y="2870042"/>
                    <a:pt x="1354602" y="2999237"/>
                  </a:cubicBezTo>
                  <a:cubicBezTo>
                    <a:pt x="1280016" y="3128403"/>
                    <a:pt x="1142161" y="3208005"/>
                    <a:pt x="993029" y="3208005"/>
                  </a:cubicBezTo>
                  <a:lnTo>
                    <a:pt x="990276" y="3208005"/>
                  </a:lnTo>
                  <a:cubicBezTo>
                    <a:pt x="879411" y="3207280"/>
                    <a:pt x="773396" y="3162429"/>
                    <a:pt x="695636" y="3083356"/>
                  </a:cubicBezTo>
                  <a:cubicBezTo>
                    <a:pt x="617906" y="3004293"/>
                    <a:pt x="574896" y="2897514"/>
                    <a:pt x="576043" y="2786649"/>
                  </a:cubicBezTo>
                  <a:cubicBezTo>
                    <a:pt x="576190" y="2675932"/>
                    <a:pt x="620894" y="2569966"/>
                    <a:pt x="700035" y="2492578"/>
                  </a:cubicBezTo>
                  <a:close/>
                  <a:moveTo>
                    <a:pt x="1607496" y="3821355"/>
                  </a:moveTo>
                  <a:cubicBezTo>
                    <a:pt x="1443972" y="3664757"/>
                    <a:pt x="1226593" y="3576769"/>
                    <a:pt x="1000151" y="3575584"/>
                  </a:cubicBezTo>
                  <a:lnTo>
                    <a:pt x="994675" y="3575584"/>
                  </a:lnTo>
                  <a:cubicBezTo>
                    <a:pt x="760846" y="3576309"/>
                    <a:pt x="536737" y="3669235"/>
                    <a:pt x="371067" y="3834209"/>
                  </a:cubicBezTo>
                  <a:cubicBezTo>
                    <a:pt x="205358" y="3999193"/>
                    <a:pt x="111443" y="4222881"/>
                    <a:pt x="109718" y="4456670"/>
                  </a:cubicBezTo>
                  <a:cubicBezTo>
                    <a:pt x="109718" y="4471248"/>
                    <a:pt x="103948" y="4485180"/>
                    <a:pt x="93651" y="4495477"/>
                  </a:cubicBezTo>
                  <a:cubicBezTo>
                    <a:pt x="83354" y="4505774"/>
                    <a:pt x="69383" y="4511544"/>
                    <a:pt x="54844" y="4511544"/>
                  </a:cubicBezTo>
                  <a:cubicBezTo>
                    <a:pt x="24532" y="4511544"/>
                    <a:pt x="0" y="4486983"/>
                    <a:pt x="0" y="4456670"/>
                  </a:cubicBezTo>
                  <a:cubicBezTo>
                    <a:pt x="1920" y="4195978"/>
                    <a:pt x="105966" y="3946376"/>
                    <a:pt x="289819" y="3761533"/>
                  </a:cubicBezTo>
                  <a:cubicBezTo>
                    <a:pt x="473672" y="3576652"/>
                    <a:pt x="722696" y="3471215"/>
                    <a:pt x="983388" y="3467845"/>
                  </a:cubicBezTo>
                  <a:cubicBezTo>
                    <a:pt x="1244081" y="3464435"/>
                    <a:pt x="1495749" y="3563406"/>
                    <a:pt x="1684305" y="3743468"/>
                  </a:cubicBezTo>
                  <a:cubicBezTo>
                    <a:pt x="1694720" y="3753764"/>
                    <a:pt x="1700529" y="3767765"/>
                    <a:pt x="1700529" y="3782421"/>
                  </a:cubicBezTo>
                  <a:cubicBezTo>
                    <a:pt x="1700529" y="3797048"/>
                    <a:pt x="1694720" y="3811048"/>
                    <a:pt x="1684305" y="3821345"/>
                  </a:cubicBezTo>
                  <a:cubicBezTo>
                    <a:pt x="1662987" y="3842281"/>
                    <a:pt x="1628853" y="3842281"/>
                    <a:pt x="1607496" y="3821345"/>
                  </a:cubicBezTo>
                  <a:close/>
                  <a:moveTo>
                    <a:pt x="3834386" y="3316606"/>
                  </a:moveTo>
                  <a:lnTo>
                    <a:pt x="3840431" y="3316606"/>
                  </a:lnTo>
                  <a:cubicBezTo>
                    <a:pt x="4028801" y="3316606"/>
                    <a:pt x="4202847" y="3216107"/>
                    <a:pt x="4297027" y="3053004"/>
                  </a:cubicBezTo>
                  <a:cubicBezTo>
                    <a:pt x="4391207" y="2889862"/>
                    <a:pt x="4391207" y="2688864"/>
                    <a:pt x="4297027" y="2525761"/>
                  </a:cubicBezTo>
                  <a:cubicBezTo>
                    <a:pt x="4202847" y="2362619"/>
                    <a:pt x="4028791" y="2262120"/>
                    <a:pt x="3840431" y="2262120"/>
                  </a:cubicBezTo>
                  <a:lnTo>
                    <a:pt x="3837139" y="2262120"/>
                  </a:lnTo>
                  <a:cubicBezTo>
                    <a:pt x="3648770" y="2262120"/>
                    <a:pt x="3474684" y="2362619"/>
                    <a:pt x="3380504" y="2525761"/>
                  </a:cubicBezTo>
                  <a:cubicBezTo>
                    <a:pt x="3286324" y="2688864"/>
                    <a:pt x="3286324" y="2889862"/>
                    <a:pt x="3380504" y="3053004"/>
                  </a:cubicBezTo>
                  <a:cubicBezTo>
                    <a:pt x="3474694" y="3216107"/>
                    <a:pt x="3648780" y="3316606"/>
                    <a:pt x="3837139" y="3316606"/>
                  </a:cubicBezTo>
                  <a:close/>
                  <a:moveTo>
                    <a:pt x="3537562" y="2493646"/>
                  </a:moveTo>
                  <a:cubicBezTo>
                    <a:pt x="3615361" y="2414769"/>
                    <a:pt x="3721416" y="2370153"/>
                    <a:pt x="3832202" y="2369654"/>
                  </a:cubicBezTo>
                  <a:lnTo>
                    <a:pt x="3834955" y="2369654"/>
                  </a:lnTo>
                  <a:lnTo>
                    <a:pt x="3834915" y="2369654"/>
                  </a:lnTo>
                  <a:cubicBezTo>
                    <a:pt x="3964345" y="2369879"/>
                    <a:pt x="4086349" y="2430200"/>
                    <a:pt x="4165148" y="2532874"/>
                  </a:cubicBezTo>
                  <a:cubicBezTo>
                    <a:pt x="4243907" y="2635587"/>
                    <a:pt x="4270506" y="2769073"/>
                    <a:pt x="4237137" y="2894144"/>
                  </a:cubicBezTo>
                  <a:cubicBezTo>
                    <a:pt x="4203768" y="3019214"/>
                    <a:pt x="4114213" y="3121663"/>
                    <a:pt x="3994736" y="3171491"/>
                  </a:cubicBezTo>
                  <a:cubicBezTo>
                    <a:pt x="3875260" y="3221280"/>
                    <a:pt x="3739432" y="3212825"/>
                    <a:pt x="3627118" y="3148487"/>
                  </a:cubicBezTo>
                  <a:cubicBezTo>
                    <a:pt x="3514794" y="3084198"/>
                    <a:pt x="3438680" y="2971374"/>
                    <a:pt x="3421153" y="2843130"/>
                  </a:cubicBezTo>
                  <a:cubicBezTo>
                    <a:pt x="3403626" y="2714885"/>
                    <a:pt x="3446645" y="2585759"/>
                    <a:pt x="3537572" y="2493646"/>
                  </a:cubicBezTo>
                  <a:close/>
                  <a:moveTo>
                    <a:pt x="4827944" y="4456112"/>
                  </a:moveTo>
                  <a:cubicBezTo>
                    <a:pt x="4827944" y="4470651"/>
                    <a:pt x="4822164" y="4484621"/>
                    <a:pt x="4811906" y="4494918"/>
                  </a:cubicBezTo>
                  <a:cubicBezTo>
                    <a:pt x="4801609" y="4505215"/>
                    <a:pt x="4787649" y="4510996"/>
                    <a:pt x="4773100" y="4510996"/>
                  </a:cubicBezTo>
                  <a:cubicBezTo>
                    <a:pt x="4742797" y="4510996"/>
                    <a:pt x="4718226" y="4486424"/>
                    <a:pt x="4718226" y="4456112"/>
                  </a:cubicBezTo>
                  <a:cubicBezTo>
                    <a:pt x="4716345" y="4222401"/>
                    <a:pt x="4622400" y="3998860"/>
                    <a:pt x="4456691" y="3833993"/>
                  </a:cubicBezTo>
                  <a:cubicBezTo>
                    <a:pt x="4291022" y="3669127"/>
                    <a:pt x="4067029" y="3576279"/>
                    <a:pt x="3833270" y="3575555"/>
                  </a:cubicBezTo>
                  <a:lnTo>
                    <a:pt x="3827793" y="3575555"/>
                  </a:lnTo>
                  <a:cubicBezTo>
                    <a:pt x="3601352" y="3576740"/>
                    <a:pt x="3383972" y="3664718"/>
                    <a:pt x="3220448" y="3821326"/>
                  </a:cubicBezTo>
                  <a:cubicBezTo>
                    <a:pt x="3199061" y="3842605"/>
                    <a:pt x="3164497" y="3842605"/>
                    <a:pt x="3143110" y="3821326"/>
                  </a:cubicBezTo>
                  <a:cubicBezTo>
                    <a:pt x="3132695" y="3811029"/>
                    <a:pt x="3126846" y="3797019"/>
                    <a:pt x="3126846" y="3782401"/>
                  </a:cubicBezTo>
                  <a:cubicBezTo>
                    <a:pt x="3126846" y="3767745"/>
                    <a:pt x="3132695" y="3753735"/>
                    <a:pt x="3143110" y="3743448"/>
                  </a:cubicBezTo>
                  <a:cubicBezTo>
                    <a:pt x="3327002" y="3568167"/>
                    <a:pt x="3571010" y="3470010"/>
                    <a:pt x="3825040" y="3469128"/>
                  </a:cubicBezTo>
                  <a:lnTo>
                    <a:pt x="3831624" y="3469128"/>
                  </a:lnTo>
                  <a:cubicBezTo>
                    <a:pt x="4094197" y="3469392"/>
                    <a:pt x="4346052" y="3573184"/>
                    <a:pt x="4532541" y="3757948"/>
                  </a:cubicBezTo>
                  <a:cubicBezTo>
                    <a:pt x="4719069" y="3942712"/>
                    <a:pt x="4825230" y="4193578"/>
                    <a:pt x="4827944" y="4456112"/>
                  </a:cubicBezTo>
                  <a:close/>
                  <a:moveTo>
                    <a:pt x="1920152" y="1538425"/>
                  </a:moveTo>
                  <a:lnTo>
                    <a:pt x="1920152" y="1735935"/>
                  </a:lnTo>
                  <a:lnTo>
                    <a:pt x="1920191" y="1735935"/>
                  </a:lnTo>
                  <a:cubicBezTo>
                    <a:pt x="1920191" y="1834514"/>
                    <a:pt x="1959301" y="1929046"/>
                    <a:pt x="2028920" y="1998773"/>
                  </a:cubicBezTo>
                  <a:cubicBezTo>
                    <a:pt x="2098568" y="2068538"/>
                    <a:pt x="2193061" y="2107766"/>
                    <a:pt x="2291601" y="2107923"/>
                  </a:cubicBezTo>
                  <a:lnTo>
                    <a:pt x="2529720" y="2107923"/>
                  </a:lnTo>
                  <a:cubicBezTo>
                    <a:pt x="2628270" y="2107766"/>
                    <a:pt x="2722753" y="2068538"/>
                    <a:pt x="2792401" y="1998773"/>
                  </a:cubicBezTo>
                  <a:cubicBezTo>
                    <a:pt x="2862010" y="1929046"/>
                    <a:pt x="2901130" y="1834514"/>
                    <a:pt x="2901130" y="1735935"/>
                  </a:cubicBezTo>
                  <a:lnTo>
                    <a:pt x="2901130" y="1538425"/>
                  </a:lnTo>
                  <a:cubicBezTo>
                    <a:pt x="2902962" y="1440953"/>
                    <a:pt x="2938859" y="1347184"/>
                    <a:pt x="3002658" y="1273441"/>
                  </a:cubicBezTo>
                  <a:cubicBezTo>
                    <a:pt x="3117314" y="1136624"/>
                    <a:pt x="3180731" y="964185"/>
                    <a:pt x="3182034" y="785690"/>
                  </a:cubicBezTo>
                  <a:cubicBezTo>
                    <a:pt x="3182377" y="578804"/>
                    <a:pt x="3098376" y="380677"/>
                    <a:pt x="2949430" y="237050"/>
                  </a:cubicBezTo>
                  <a:cubicBezTo>
                    <a:pt x="2800788" y="91896"/>
                    <a:pt x="2599721" y="13098"/>
                    <a:pt x="2392022" y="18721"/>
                  </a:cubicBezTo>
                  <a:cubicBezTo>
                    <a:pt x="2198988" y="30738"/>
                    <a:pt x="2016899" y="112483"/>
                    <a:pt x="1879660" y="248729"/>
                  </a:cubicBezTo>
                  <a:cubicBezTo>
                    <a:pt x="1742383" y="384968"/>
                    <a:pt x="1659303" y="566450"/>
                    <a:pt x="1645871" y="759366"/>
                  </a:cubicBezTo>
                  <a:cubicBezTo>
                    <a:pt x="1639209" y="947353"/>
                    <a:pt x="1702126" y="1131157"/>
                    <a:pt x="1822523" y="1275626"/>
                  </a:cubicBezTo>
                  <a:cubicBezTo>
                    <a:pt x="1885940" y="1348683"/>
                    <a:pt x="1921680" y="1441717"/>
                    <a:pt x="1923483" y="1538425"/>
                  </a:cubicBezTo>
                  <a:close/>
                  <a:moveTo>
                    <a:pt x="2529681" y="1998205"/>
                  </a:moveTo>
                  <a:lnTo>
                    <a:pt x="2294893" y="1998205"/>
                  </a:lnTo>
                  <a:cubicBezTo>
                    <a:pt x="2225431" y="1998048"/>
                    <a:pt x="2158879" y="1970341"/>
                    <a:pt x="2109815" y="1921209"/>
                  </a:cubicBezTo>
                  <a:cubicBezTo>
                    <a:pt x="2060751" y="1872027"/>
                    <a:pt x="2033201" y="1805407"/>
                    <a:pt x="2033201" y="1735945"/>
                  </a:cubicBezTo>
                  <a:lnTo>
                    <a:pt x="2033201" y="1660781"/>
                  </a:lnTo>
                  <a:lnTo>
                    <a:pt x="2794704" y="1660781"/>
                  </a:lnTo>
                  <a:lnTo>
                    <a:pt x="2794704" y="1735945"/>
                  </a:lnTo>
                  <a:cubicBezTo>
                    <a:pt x="2794704" y="1805397"/>
                    <a:pt x="2767144" y="1872037"/>
                    <a:pt x="2718080" y="1921209"/>
                  </a:cubicBezTo>
                  <a:cubicBezTo>
                    <a:pt x="2669026" y="1970341"/>
                    <a:pt x="2602464" y="1998048"/>
                    <a:pt x="2533003" y="1998205"/>
                  </a:cubicBezTo>
                  <a:close/>
                  <a:moveTo>
                    <a:pt x="2395313" y="128420"/>
                  </a:moveTo>
                  <a:lnTo>
                    <a:pt x="2413948" y="128420"/>
                  </a:lnTo>
                  <a:cubicBezTo>
                    <a:pt x="2581459" y="128343"/>
                    <a:pt x="2742651" y="192139"/>
                    <a:pt x="2864773" y="306757"/>
                  </a:cubicBezTo>
                  <a:cubicBezTo>
                    <a:pt x="2986894" y="421374"/>
                    <a:pt x="3060755" y="578246"/>
                    <a:pt x="3071277" y="745405"/>
                  </a:cubicBezTo>
                  <a:cubicBezTo>
                    <a:pt x="3081799" y="912564"/>
                    <a:pt x="3028229" y="1077440"/>
                    <a:pt x="2921449" y="1206478"/>
                  </a:cubicBezTo>
                  <a:cubicBezTo>
                    <a:pt x="2841279" y="1299737"/>
                    <a:pt x="2796418" y="1418184"/>
                    <a:pt x="2794694" y="1541148"/>
                  </a:cubicBezTo>
                  <a:lnTo>
                    <a:pt x="2794694" y="1553777"/>
                  </a:lnTo>
                  <a:lnTo>
                    <a:pt x="2468821" y="1553777"/>
                  </a:lnTo>
                  <a:lnTo>
                    <a:pt x="2468821" y="1125269"/>
                  </a:lnTo>
                  <a:lnTo>
                    <a:pt x="2688258" y="905833"/>
                  </a:lnTo>
                  <a:cubicBezTo>
                    <a:pt x="2709537" y="884436"/>
                    <a:pt x="2709537" y="849881"/>
                    <a:pt x="2688258" y="828455"/>
                  </a:cubicBezTo>
                  <a:cubicBezTo>
                    <a:pt x="2677961" y="818080"/>
                    <a:pt x="2663922" y="812226"/>
                    <a:pt x="2649304" y="812226"/>
                  </a:cubicBezTo>
                  <a:cubicBezTo>
                    <a:pt x="2634677" y="812226"/>
                    <a:pt x="2620638" y="818080"/>
                    <a:pt x="2610341" y="828455"/>
                  </a:cubicBezTo>
                  <a:lnTo>
                    <a:pt x="2413938" y="1024898"/>
                  </a:lnTo>
                  <a:lnTo>
                    <a:pt x="2215320" y="826280"/>
                  </a:lnTo>
                  <a:cubicBezTo>
                    <a:pt x="2205023" y="815905"/>
                    <a:pt x="2191023" y="810051"/>
                    <a:pt x="2176396" y="810051"/>
                  </a:cubicBezTo>
                  <a:cubicBezTo>
                    <a:pt x="2161740" y="810051"/>
                    <a:pt x="2147740" y="815905"/>
                    <a:pt x="2137443" y="826280"/>
                  </a:cubicBezTo>
                  <a:cubicBezTo>
                    <a:pt x="2116164" y="847667"/>
                    <a:pt x="2116164" y="882232"/>
                    <a:pt x="2137443" y="903658"/>
                  </a:cubicBezTo>
                  <a:lnTo>
                    <a:pt x="2356879" y="1123094"/>
                  </a:lnTo>
                  <a:lnTo>
                    <a:pt x="2356879" y="1548849"/>
                  </a:lnTo>
                  <a:lnTo>
                    <a:pt x="2033191" y="1548849"/>
                  </a:lnTo>
                  <a:lnTo>
                    <a:pt x="2033191" y="1536220"/>
                  </a:lnTo>
                  <a:cubicBezTo>
                    <a:pt x="2030781" y="1415177"/>
                    <a:pt x="1986616" y="1298679"/>
                    <a:pt x="1908082" y="1206488"/>
                  </a:cubicBezTo>
                  <a:cubicBezTo>
                    <a:pt x="1804565" y="1082456"/>
                    <a:pt x="1750299" y="924663"/>
                    <a:pt x="1755579" y="763206"/>
                  </a:cubicBezTo>
                  <a:cubicBezTo>
                    <a:pt x="1767101" y="438411"/>
                    <a:pt x="2071576" y="137188"/>
                    <a:pt x="2395303" y="128420"/>
                  </a:cubicBezTo>
                  <a:close/>
                  <a:moveTo>
                    <a:pt x="475073" y="685828"/>
                  </a:moveTo>
                  <a:cubicBezTo>
                    <a:pt x="475073" y="655518"/>
                    <a:pt x="499605" y="630987"/>
                    <a:pt x="529918" y="630987"/>
                  </a:cubicBezTo>
                  <a:lnTo>
                    <a:pt x="968839" y="630987"/>
                  </a:lnTo>
                  <a:cubicBezTo>
                    <a:pt x="999152" y="630987"/>
                    <a:pt x="1023713" y="655518"/>
                    <a:pt x="1023713" y="685828"/>
                  </a:cubicBezTo>
                  <a:cubicBezTo>
                    <a:pt x="1023713" y="716139"/>
                    <a:pt x="999152" y="740708"/>
                    <a:pt x="968839" y="740708"/>
                  </a:cubicBezTo>
                  <a:lnTo>
                    <a:pt x="529918" y="740708"/>
                  </a:lnTo>
                  <a:cubicBezTo>
                    <a:pt x="514918" y="741435"/>
                    <a:pt x="500223" y="736000"/>
                    <a:pt x="489348" y="725629"/>
                  </a:cubicBezTo>
                  <a:cubicBezTo>
                    <a:pt x="478444" y="715258"/>
                    <a:pt x="472281" y="700869"/>
                    <a:pt x="472320" y="685828"/>
                  </a:cubicBezTo>
                  <a:close/>
                  <a:moveTo>
                    <a:pt x="734051" y="27470"/>
                  </a:moveTo>
                  <a:lnTo>
                    <a:pt x="734012" y="27470"/>
                  </a:lnTo>
                  <a:cubicBezTo>
                    <a:pt x="749090" y="1331"/>
                    <a:pt x="782419" y="-7739"/>
                    <a:pt x="808637" y="7187"/>
                  </a:cubicBezTo>
                  <a:lnTo>
                    <a:pt x="1247558" y="258464"/>
                  </a:lnTo>
                  <a:lnTo>
                    <a:pt x="1247558" y="258426"/>
                  </a:lnTo>
                  <a:cubicBezTo>
                    <a:pt x="1260226" y="265697"/>
                    <a:pt x="1269524" y="277675"/>
                    <a:pt x="1273354" y="291797"/>
                  </a:cubicBezTo>
                  <a:cubicBezTo>
                    <a:pt x="1277146" y="305919"/>
                    <a:pt x="1275196" y="320959"/>
                    <a:pt x="1267848" y="333588"/>
                  </a:cubicBezTo>
                  <a:cubicBezTo>
                    <a:pt x="1258012" y="350656"/>
                    <a:pt x="1239789" y="361104"/>
                    <a:pt x="1220117" y="361027"/>
                  </a:cubicBezTo>
                  <a:cubicBezTo>
                    <a:pt x="1210711" y="360989"/>
                    <a:pt x="1201443" y="358540"/>
                    <a:pt x="1193214" y="353909"/>
                  </a:cubicBezTo>
                  <a:lnTo>
                    <a:pt x="754292" y="102632"/>
                  </a:lnTo>
                  <a:lnTo>
                    <a:pt x="754331" y="102632"/>
                  </a:lnTo>
                  <a:cubicBezTo>
                    <a:pt x="728153" y="88548"/>
                    <a:pt x="717935" y="56210"/>
                    <a:pt x="731259" y="29651"/>
                  </a:cubicBezTo>
                  <a:close/>
                  <a:moveTo>
                    <a:pt x="1269524" y="1033637"/>
                  </a:moveTo>
                  <a:lnTo>
                    <a:pt x="1269484" y="1033637"/>
                  </a:lnTo>
                  <a:cubicBezTo>
                    <a:pt x="1284376" y="1059854"/>
                    <a:pt x="1275304" y="1093184"/>
                    <a:pt x="1249204" y="1108261"/>
                  </a:cubicBezTo>
                  <a:lnTo>
                    <a:pt x="810283" y="1360077"/>
                  </a:lnTo>
                  <a:cubicBezTo>
                    <a:pt x="802092" y="1364751"/>
                    <a:pt x="792834" y="1367200"/>
                    <a:pt x="783380" y="1367200"/>
                  </a:cubicBezTo>
                  <a:cubicBezTo>
                    <a:pt x="758426" y="1367386"/>
                    <a:pt x="736461" y="1350662"/>
                    <a:pt x="729985" y="1326512"/>
                  </a:cubicBezTo>
                  <a:cubicBezTo>
                    <a:pt x="723558" y="1302372"/>
                    <a:pt x="734237" y="1276919"/>
                    <a:pt x="755977" y="1264634"/>
                  </a:cubicBezTo>
                  <a:lnTo>
                    <a:pt x="1194899" y="1013356"/>
                  </a:lnTo>
                  <a:lnTo>
                    <a:pt x="1194860" y="1013356"/>
                  </a:lnTo>
                  <a:cubicBezTo>
                    <a:pt x="1220998" y="1000610"/>
                    <a:pt x="1252535" y="1010486"/>
                    <a:pt x="1266731" y="1035861"/>
                  </a:cubicBezTo>
                  <a:close/>
                  <a:moveTo>
                    <a:pt x="3862926" y="628740"/>
                  </a:moveTo>
                  <a:lnTo>
                    <a:pt x="4301847" y="628740"/>
                  </a:lnTo>
                  <a:lnTo>
                    <a:pt x="4301808" y="628740"/>
                  </a:lnTo>
                  <a:cubicBezTo>
                    <a:pt x="4332120" y="628740"/>
                    <a:pt x="4356692" y="653310"/>
                    <a:pt x="4356692" y="683620"/>
                  </a:cubicBezTo>
                  <a:cubicBezTo>
                    <a:pt x="4356692" y="713930"/>
                    <a:pt x="4332120" y="738461"/>
                    <a:pt x="4301808" y="738461"/>
                  </a:cubicBezTo>
                  <a:lnTo>
                    <a:pt x="3862886" y="738461"/>
                  </a:lnTo>
                  <a:cubicBezTo>
                    <a:pt x="3832613" y="738461"/>
                    <a:pt x="3808042" y="713930"/>
                    <a:pt x="3808042" y="683620"/>
                  </a:cubicBezTo>
                  <a:cubicBezTo>
                    <a:pt x="3808042" y="653310"/>
                    <a:pt x="3832613" y="628740"/>
                    <a:pt x="3862886" y="628740"/>
                  </a:cubicBezTo>
                  <a:close/>
                  <a:moveTo>
                    <a:pt x="3561163" y="335786"/>
                  </a:moveTo>
                  <a:cubicBezTo>
                    <a:pt x="3553816" y="323118"/>
                    <a:pt x="3551827" y="308079"/>
                    <a:pt x="3555648" y="293957"/>
                  </a:cubicBezTo>
                  <a:cubicBezTo>
                    <a:pt x="3559478" y="279874"/>
                    <a:pt x="3568737" y="267857"/>
                    <a:pt x="3581444" y="260624"/>
                  </a:cubicBezTo>
                  <a:lnTo>
                    <a:pt x="4020365" y="9347"/>
                  </a:lnTo>
                  <a:cubicBezTo>
                    <a:pt x="4046583" y="-5540"/>
                    <a:pt x="4079912" y="3530"/>
                    <a:pt x="4094990" y="29630"/>
                  </a:cubicBezTo>
                  <a:cubicBezTo>
                    <a:pt x="4102309" y="42298"/>
                    <a:pt x="4104298" y="57338"/>
                    <a:pt x="4100467" y="71459"/>
                  </a:cubicBezTo>
                  <a:cubicBezTo>
                    <a:pt x="4096636" y="85543"/>
                    <a:pt x="4087378" y="97560"/>
                    <a:pt x="4074671" y="104792"/>
                  </a:cubicBezTo>
                  <a:lnTo>
                    <a:pt x="3635749" y="356069"/>
                  </a:lnTo>
                  <a:cubicBezTo>
                    <a:pt x="3627559" y="360738"/>
                    <a:pt x="3618300" y="363188"/>
                    <a:pt x="3608885" y="363226"/>
                  </a:cubicBezTo>
                  <a:cubicBezTo>
                    <a:pt x="3589213" y="363302"/>
                    <a:pt x="3571000" y="352816"/>
                    <a:pt x="3561163" y="335786"/>
                  </a:cubicBezTo>
                  <a:close/>
                  <a:moveTo>
                    <a:pt x="3561163" y="1035861"/>
                  </a:moveTo>
                  <a:cubicBezTo>
                    <a:pt x="3576202" y="1009722"/>
                    <a:pt x="3609532" y="1000650"/>
                    <a:pt x="3635749" y="1015541"/>
                  </a:cubicBezTo>
                  <a:lnTo>
                    <a:pt x="4074671" y="1266818"/>
                  </a:lnTo>
                  <a:cubicBezTo>
                    <a:pt x="4098057" y="1278105"/>
                    <a:pt x="4110343" y="1304204"/>
                    <a:pt x="4104102" y="1329383"/>
                  </a:cubicBezTo>
                  <a:cubicBezTo>
                    <a:pt x="4097861" y="1354611"/>
                    <a:pt x="4074828" y="1371981"/>
                    <a:pt x="4048885" y="1371060"/>
                  </a:cubicBezTo>
                  <a:cubicBezTo>
                    <a:pt x="4039470" y="1371021"/>
                    <a:pt x="4030202" y="1368571"/>
                    <a:pt x="4022012" y="1363908"/>
                  </a:cubicBezTo>
                  <a:lnTo>
                    <a:pt x="3583090" y="1112092"/>
                  </a:lnTo>
                  <a:cubicBezTo>
                    <a:pt x="3569815" y="1105166"/>
                    <a:pt x="3559939" y="1093076"/>
                    <a:pt x="3555804" y="1078684"/>
                  </a:cubicBezTo>
                  <a:cubicBezTo>
                    <a:pt x="3551670" y="1064253"/>
                    <a:pt x="3553590" y="1048793"/>
                    <a:pt x="3561163" y="1035861"/>
                  </a:cubicBezTo>
                  <a:close/>
                </a:path>
              </a:pathLst>
            </a:custGeom>
            <a:solidFill>
              <a:srgbClr val="191925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4FE76BC1-8945-460F-A7D8-8A4F9ADF272F}"/>
                </a:ext>
              </a:extLst>
            </p:cNvPr>
            <p:cNvSpPr/>
            <p:nvPr/>
          </p:nvSpPr>
          <p:spPr>
            <a:xfrm>
              <a:off x="4293428" y="5540122"/>
              <a:ext cx="403498" cy="312971"/>
            </a:xfrm>
            <a:custGeom>
              <a:avLst/>
              <a:gdLst>
                <a:gd name="connsiteX0" fmla="*/ 4512846 w 5229330"/>
                <a:gd name="connsiteY0" fmla="*/ 2102481 h 4056099"/>
                <a:gd name="connsiteX1" fmla="*/ 4512846 w 5229330"/>
                <a:gd name="connsiteY1" fmla="*/ 2188548 h 4056099"/>
                <a:gd name="connsiteX2" fmla="*/ 4340710 w 5229330"/>
                <a:gd name="connsiteY2" fmla="*/ 2188548 h 4056099"/>
                <a:gd name="connsiteX3" fmla="*/ 4340710 w 5229330"/>
                <a:gd name="connsiteY3" fmla="*/ 1845384 h 4056099"/>
                <a:gd name="connsiteX4" fmla="*/ 4211624 w 5229330"/>
                <a:gd name="connsiteY4" fmla="*/ 1716297 h 4056099"/>
                <a:gd name="connsiteX5" fmla="*/ 3543576 w 5229330"/>
                <a:gd name="connsiteY5" fmla="*/ 1716297 h 4056099"/>
                <a:gd name="connsiteX6" fmla="*/ 3543576 w 5229330"/>
                <a:gd name="connsiteY6" fmla="*/ 1544161 h 4056099"/>
                <a:gd name="connsiteX7" fmla="*/ 4211624 w 5229330"/>
                <a:gd name="connsiteY7" fmla="*/ 1544161 h 4056099"/>
                <a:gd name="connsiteX8" fmla="*/ 4511778 w 5229330"/>
                <a:gd name="connsiteY8" fmla="*/ 1845384 h 4056099"/>
                <a:gd name="connsiteX9" fmla="*/ 4511778 w 5229330"/>
                <a:gd name="connsiteY9" fmla="*/ 2102481 h 4056099"/>
                <a:gd name="connsiteX10" fmla="*/ 2481800 w 5229330"/>
                <a:gd name="connsiteY10" fmla="*/ 1913122 h 4056099"/>
                <a:gd name="connsiteX11" fmla="*/ 2826043 w 5229330"/>
                <a:gd name="connsiteY11" fmla="*/ 1913122 h 4056099"/>
                <a:gd name="connsiteX12" fmla="*/ 2840014 w 5229330"/>
                <a:gd name="connsiteY12" fmla="*/ 2119665 h 4056099"/>
                <a:gd name="connsiteX13" fmla="*/ 3072392 w 5229330"/>
                <a:gd name="connsiteY13" fmla="*/ 2253072 h 4056099"/>
                <a:gd name="connsiteX14" fmla="*/ 3257431 w 5229330"/>
                <a:gd name="connsiteY14" fmla="*/ 2161646 h 4056099"/>
                <a:gd name="connsiteX15" fmla="*/ 3469372 w 5229330"/>
                <a:gd name="connsiteY15" fmla="*/ 2529577 h 4056099"/>
                <a:gd name="connsiteX16" fmla="*/ 3297236 w 5229330"/>
                <a:gd name="connsiteY16" fmla="*/ 2644694 h 4056099"/>
                <a:gd name="connsiteX17" fmla="*/ 3297236 w 5229330"/>
                <a:gd name="connsiteY17" fmla="*/ 2912548 h 4056099"/>
                <a:gd name="connsiteX18" fmla="*/ 3469372 w 5229330"/>
                <a:gd name="connsiteY18" fmla="*/ 3027664 h 4056099"/>
                <a:gd name="connsiteX19" fmla="*/ 3257431 w 5229330"/>
                <a:gd name="connsiteY19" fmla="*/ 3395596 h 4056099"/>
                <a:gd name="connsiteX20" fmla="*/ 3072392 w 5229330"/>
                <a:gd name="connsiteY20" fmla="*/ 3304169 h 4056099"/>
                <a:gd name="connsiteX21" fmla="*/ 2840014 w 5229330"/>
                <a:gd name="connsiteY21" fmla="*/ 3438654 h 4056099"/>
                <a:gd name="connsiteX22" fmla="*/ 2827111 w 5229330"/>
                <a:gd name="connsiteY22" fmla="*/ 3645197 h 4056099"/>
                <a:gd name="connsiteX23" fmla="*/ 2402199 w 5229330"/>
                <a:gd name="connsiteY23" fmla="*/ 3645197 h 4056099"/>
                <a:gd name="connsiteX24" fmla="*/ 2388238 w 5229330"/>
                <a:gd name="connsiteY24" fmla="*/ 3438654 h 4056099"/>
                <a:gd name="connsiteX25" fmla="*/ 2156937 w 5229330"/>
                <a:gd name="connsiteY25" fmla="*/ 3304169 h 4056099"/>
                <a:gd name="connsiteX26" fmla="*/ 1970830 w 5229330"/>
                <a:gd name="connsiteY26" fmla="*/ 3395596 h 4056099"/>
                <a:gd name="connsiteX27" fmla="*/ 1757860 w 5229330"/>
                <a:gd name="connsiteY27" fmla="*/ 3028703 h 4056099"/>
                <a:gd name="connsiteX28" fmla="*/ 1929996 w 5229330"/>
                <a:gd name="connsiteY28" fmla="*/ 2913586 h 4056099"/>
                <a:gd name="connsiteX29" fmla="*/ 1929996 w 5229330"/>
                <a:gd name="connsiteY29" fmla="*/ 2645732 h 4056099"/>
                <a:gd name="connsiteX30" fmla="*/ 1757860 w 5229330"/>
                <a:gd name="connsiteY30" fmla="*/ 2530616 h 4056099"/>
                <a:gd name="connsiteX31" fmla="*/ 1970870 w 5229330"/>
                <a:gd name="connsiteY31" fmla="*/ 2162684 h 4056099"/>
                <a:gd name="connsiteX32" fmla="*/ 2155909 w 5229330"/>
                <a:gd name="connsiteY32" fmla="*/ 2254111 h 4056099"/>
                <a:gd name="connsiteX33" fmla="*/ 2387209 w 5229330"/>
                <a:gd name="connsiteY33" fmla="*/ 2120703 h 4056099"/>
                <a:gd name="connsiteX34" fmla="*/ 2401170 w 5229330"/>
                <a:gd name="connsiteY34" fmla="*/ 1914160 h 4056099"/>
                <a:gd name="connsiteX35" fmla="*/ 2481810 w 5229330"/>
                <a:gd name="connsiteY35" fmla="*/ 1914199 h 4056099"/>
                <a:gd name="connsiteX36" fmla="*/ 2665761 w 5229330"/>
                <a:gd name="connsiteY36" fmla="*/ 2086335 h 4056099"/>
                <a:gd name="connsiteX37" fmla="*/ 2562470 w 5229330"/>
                <a:gd name="connsiteY37" fmla="*/ 2086335 h 4056099"/>
                <a:gd name="connsiteX38" fmla="*/ 2551713 w 5229330"/>
                <a:gd name="connsiteY38" fmla="*/ 2254150 h 4056099"/>
                <a:gd name="connsiteX39" fmla="*/ 2352713 w 5229330"/>
                <a:gd name="connsiteY39" fmla="*/ 2324072 h 4056099"/>
                <a:gd name="connsiteX40" fmla="*/ 2191364 w 5229330"/>
                <a:gd name="connsiteY40" fmla="*/ 2461771 h 4056099"/>
                <a:gd name="connsiteX41" fmla="*/ 2039704 w 5229330"/>
                <a:gd name="connsiteY41" fmla="*/ 2387528 h 4056099"/>
                <a:gd name="connsiteX42" fmla="*/ 1988083 w 5229330"/>
                <a:gd name="connsiteY42" fmla="*/ 2476810 h 4056099"/>
                <a:gd name="connsiteX43" fmla="*/ 2128996 w 5229330"/>
                <a:gd name="connsiteY43" fmla="*/ 2570421 h 4056099"/>
                <a:gd name="connsiteX44" fmla="*/ 2090267 w 5229330"/>
                <a:gd name="connsiteY44" fmla="*/ 2779111 h 4056099"/>
                <a:gd name="connsiteX45" fmla="*/ 2128996 w 5229330"/>
                <a:gd name="connsiteY45" fmla="*/ 2987800 h 4056099"/>
                <a:gd name="connsiteX46" fmla="*/ 1989161 w 5229330"/>
                <a:gd name="connsiteY46" fmla="*/ 3081401 h 4056099"/>
                <a:gd name="connsiteX47" fmla="*/ 2040782 w 5229330"/>
                <a:gd name="connsiteY47" fmla="*/ 3170693 h 4056099"/>
                <a:gd name="connsiteX48" fmla="*/ 2192442 w 5229330"/>
                <a:gd name="connsiteY48" fmla="*/ 3096440 h 4056099"/>
                <a:gd name="connsiteX49" fmla="*/ 2353791 w 5229330"/>
                <a:gd name="connsiteY49" fmla="*/ 3234149 h 4056099"/>
                <a:gd name="connsiteX50" fmla="*/ 2553868 w 5229330"/>
                <a:gd name="connsiteY50" fmla="*/ 3304061 h 4056099"/>
                <a:gd name="connsiteX51" fmla="*/ 2564626 w 5229330"/>
                <a:gd name="connsiteY51" fmla="*/ 3472944 h 4056099"/>
                <a:gd name="connsiteX52" fmla="*/ 2667917 w 5229330"/>
                <a:gd name="connsiteY52" fmla="*/ 3472944 h 4056099"/>
                <a:gd name="connsiteX53" fmla="*/ 2678674 w 5229330"/>
                <a:gd name="connsiteY53" fmla="*/ 3304061 h 4056099"/>
                <a:gd name="connsiteX54" fmla="*/ 2877674 w 5229330"/>
                <a:gd name="connsiteY54" fmla="*/ 3234149 h 4056099"/>
                <a:gd name="connsiteX55" fmla="*/ 3039023 w 5229330"/>
                <a:gd name="connsiteY55" fmla="*/ 3096440 h 4056099"/>
                <a:gd name="connsiteX56" fmla="*/ 3190683 w 5229330"/>
                <a:gd name="connsiteY56" fmla="*/ 3170693 h 4056099"/>
                <a:gd name="connsiteX57" fmla="*/ 3242304 w 5229330"/>
                <a:gd name="connsiteY57" fmla="*/ 3081401 h 4056099"/>
                <a:gd name="connsiteX58" fmla="*/ 3101391 w 5229330"/>
                <a:gd name="connsiteY58" fmla="*/ 2986722 h 4056099"/>
                <a:gd name="connsiteX59" fmla="*/ 3140120 w 5229330"/>
                <a:gd name="connsiteY59" fmla="*/ 2778033 h 4056099"/>
                <a:gd name="connsiteX60" fmla="*/ 3101391 w 5229330"/>
                <a:gd name="connsiteY60" fmla="*/ 2569344 h 4056099"/>
                <a:gd name="connsiteX61" fmla="*/ 3242304 w 5229330"/>
                <a:gd name="connsiteY61" fmla="*/ 2475732 h 4056099"/>
                <a:gd name="connsiteX62" fmla="*/ 3190683 w 5229330"/>
                <a:gd name="connsiteY62" fmla="*/ 2386451 h 4056099"/>
                <a:gd name="connsiteX63" fmla="*/ 3039023 w 5229330"/>
                <a:gd name="connsiteY63" fmla="*/ 2460694 h 4056099"/>
                <a:gd name="connsiteX64" fmla="*/ 2877674 w 5229330"/>
                <a:gd name="connsiteY64" fmla="*/ 2322995 h 4056099"/>
                <a:gd name="connsiteX65" fmla="*/ 2678674 w 5229330"/>
                <a:gd name="connsiteY65" fmla="*/ 2253082 h 4056099"/>
                <a:gd name="connsiteX66" fmla="*/ 2614131 w 5229330"/>
                <a:gd name="connsiteY66" fmla="*/ 2349898 h 4056099"/>
                <a:gd name="connsiteX67" fmla="*/ 3044441 w 5229330"/>
                <a:gd name="connsiteY67" fmla="*/ 2780208 h 4056099"/>
                <a:gd name="connsiteX68" fmla="*/ 2614131 w 5229330"/>
                <a:gd name="connsiteY68" fmla="*/ 3210518 h 4056099"/>
                <a:gd name="connsiteX69" fmla="*/ 2183830 w 5229330"/>
                <a:gd name="connsiteY69" fmla="*/ 2780208 h 4056099"/>
                <a:gd name="connsiteX70" fmla="*/ 2614131 w 5229330"/>
                <a:gd name="connsiteY70" fmla="*/ 2349898 h 4056099"/>
                <a:gd name="connsiteX71" fmla="*/ 2797024 w 5229330"/>
                <a:gd name="connsiteY71" fmla="*/ 2597315 h 4056099"/>
                <a:gd name="connsiteX72" fmla="*/ 2357034 w 5229330"/>
                <a:gd name="connsiteY72" fmla="*/ 2780208 h 4056099"/>
                <a:gd name="connsiteX73" fmla="*/ 2797024 w 5229330"/>
                <a:gd name="connsiteY73" fmla="*/ 2963101 h 4056099"/>
                <a:gd name="connsiteX74" fmla="*/ 2797024 w 5229330"/>
                <a:gd name="connsiteY74" fmla="*/ 2597315 h 4056099"/>
                <a:gd name="connsiteX75" fmla="*/ 3644712 w 5229330"/>
                <a:gd name="connsiteY75" fmla="*/ 3566585 h 4056099"/>
                <a:gd name="connsiteX76" fmla="*/ 4068556 w 5229330"/>
                <a:gd name="connsiteY76" fmla="*/ 3317023 h 4056099"/>
                <a:gd name="connsiteX77" fmla="*/ 4035216 w 5229330"/>
                <a:gd name="connsiteY77" fmla="*/ 2501606 h 4056099"/>
                <a:gd name="connsiteX78" fmla="*/ 4819448 w 5229330"/>
                <a:gd name="connsiteY78" fmla="*/ 2501606 h 4056099"/>
                <a:gd name="connsiteX79" fmla="*/ 4786118 w 5229330"/>
                <a:gd name="connsiteY79" fmla="*/ 3317023 h 4056099"/>
                <a:gd name="connsiteX80" fmla="*/ 5209962 w 5229330"/>
                <a:gd name="connsiteY80" fmla="*/ 3566585 h 4056099"/>
                <a:gd name="connsiteX81" fmla="*/ 5229331 w 5229330"/>
                <a:gd name="connsiteY81" fmla="*/ 3590236 h 4056099"/>
                <a:gd name="connsiteX82" fmla="*/ 5229331 w 5229330"/>
                <a:gd name="connsiteY82" fmla="*/ 4056060 h 4056099"/>
                <a:gd name="connsiteX83" fmla="*/ 3625333 w 5229330"/>
                <a:gd name="connsiteY83" fmla="*/ 4056060 h 4056099"/>
                <a:gd name="connsiteX84" fmla="*/ 3625333 w 5229330"/>
                <a:gd name="connsiteY84" fmla="*/ 3590236 h 4056099"/>
                <a:gd name="connsiteX85" fmla="*/ 3962080 w 5229330"/>
                <a:gd name="connsiteY85" fmla="*/ 3530003 h 4056099"/>
                <a:gd name="connsiteX86" fmla="*/ 3797488 w 5229330"/>
                <a:gd name="connsiteY86" fmla="*/ 3652663 h 4056099"/>
                <a:gd name="connsiteX87" fmla="*/ 3797488 w 5229330"/>
                <a:gd name="connsiteY87" fmla="*/ 3885042 h 4056099"/>
                <a:gd name="connsiteX88" fmla="*/ 5056127 w 5229330"/>
                <a:gd name="connsiteY88" fmla="*/ 3885042 h 4056099"/>
                <a:gd name="connsiteX89" fmla="*/ 5056127 w 5229330"/>
                <a:gd name="connsiteY89" fmla="*/ 3652663 h 4056099"/>
                <a:gd name="connsiteX90" fmla="*/ 4891516 w 5229330"/>
                <a:gd name="connsiteY90" fmla="*/ 3530003 h 4056099"/>
                <a:gd name="connsiteX91" fmla="*/ 4665613 w 5229330"/>
                <a:gd name="connsiteY91" fmla="*/ 3479440 h 4056099"/>
                <a:gd name="connsiteX92" fmla="*/ 4187953 w 5229330"/>
                <a:gd name="connsiteY92" fmla="*/ 3479440 h 4056099"/>
                <a:gd name="connsiteX93" fmla="*/ 3962080 w 5229330"/>
                <a:gd name="connsiteY93" fmla="*/ 3530003 h 4056099"/>
                <a:gd name="connsiteX94" fmla="*/ 4426808 w 5229330"/>
                <a:gd name="connsiteY94" fmla="*/ 2511296 h 4056099"/>
                <a:gd name="connsiteX95" fmla="*/ 4044915 w 5229330"/>
                <a:gd name="connsiteY95" fmla="*/ 2894266 h 4056099"/>
                <a:gd name="connsiteX96" fmla="*/ 4426808 w 5229330"/>
                <a:gd name="connsiteY96" fmla="*/ 3276159 h 4056099"/>
                <a:gd name="connsiteX97" fmla="*/ 4809768 w 5229330"/>
                <a:gd name="connsiteY97" fmla="*/ 2894266 h 4056099"/>
                <a:gd name="connsiteX98" fmla="*/ 4426808 w 5229330"/>
                <a:gd name="connsiteY98" fmla="*/ 2511296 h 4056099"/>
                <a:gd name="connsiteX99" fmla="*/ 3243411 w 5229330"/>
                <a:gd name="connsiteY99" fmla="*/ 1313987 h 4056099"/>
                <a:gd name="connsiteX100" fmla="*/ 2852897 w 5229330"/>
                <a:gd name="connsiteY100" fmla="*/ 1140773 h 4056099"/>
                <a:gd name="connsiteX101" fmla="*/ 2375257 w 5229330"/>
                <a:gd name="connsiteY101" fmla="*/ 1140773 h 4056099"/>
                <a:gd name="connsiteX102" fmla="*/ 2149344 w 5229330"/>
                <a:gd name="connsiteY102" fmla="*/ 1191327 h 4056099"/>
                <a:gd name="connsiteX103" fmla="*/ 1984733 w 5229330"/>
                <a:gd name="connsiteY103" fmla="*/ 1313987 h 4056099"/>
                <a:gd name="connsiteX104" fmla="*/ 1984733 w 5229330"/>
                <a:gd name="connsiteY104" fmla="*/ 1545288 h 4056099"/>
                <a:gd name="connsiteX105" fmla="*/ 3243372 w 5229330"/>
                <a:gd name="connsiteY105" fmla="*/ 1545288 h 4056099"/>
                <a:gd name="connsiteX106" fmla="*/ 3153052 w 5229330"/>
                <a:gd name="connsiteY106" fmla="*/ 1036454 h 4056099"/>
                <a:gd name="connsiteX107" fmla="*/ 3396178 w 5229330"/>
                <a:gd name="connsiteY107" fmla="*/ 1227958 h 4056099"/>
                <a:gd name="connsiteX108" fmla="*/ 3415537 w 5229330"/>
                <a:gd name="connsiteY108" fmla="*/ 1251609 h 4056099"/>
                <a:gd name="connsiteX109" fmla="*/ 3415537 w 5229330"/>
                <a:gd name="connsiteY109" fmla="*/ 1717433 h 4056099"/>
                <a:gd name="connsiteX110" fmla="*/ 1812626 w 5229330"/>
                <a:gd name="connsiteY110" fmla="*/ 1717433 h 4056099"/>
                <a:gd name="connsiteX111" fmla="*/ 1812626 w 5229330"/>
                <a:gd name="connsiteY111" fmla="*/ 1251609 h 4056099"/>
                <a:gd name="connsiteX112" fmla="*/ 1831995 w 5229330"/>
                <a:gd name="connsiteY112" fmla="*/ 1227958 h 4056099"/>
                <a:gd name="connsiteX113" fmla="*/ 2255839 w 5229330"/>
                <a:gd name="connsiteY113" fmla="*/ 978396 h 4056099"/>
                <a:gd name="connsiteX114" fmla="*/ 2222509 w 5229330"/>
                <a:gd name="connsiteY114" fmla="*/ 162975 h 4056099"/>
                <a:gd name="connsiteX115" fmla="*/ 3006741 w 5229330"/>
                <a:gd name="connsiteY115" fmla="*/ 162975 h 4056099"/>
                <a:gd name="connsiteX116" fmla="*/ 2973402 w 5229330"/>
                <a:gd name="connsiteY116" fmla="*/ 978396 h 4056099"/>
                <a:gd name="connsiteX117" fmla="*/ 3153042 w 5229330"/>
                <a:gd name="connsiteY117" fmla="*/ 1036444 h 4056099"/>
                <a:gd name="connsiteX118" fmla="*/ 2885198 w 5229330"/>
                <a:gd name="connsiteY118" fmla="*/ 284484 h 4056099"/>
                <a:gd name="connsiteX119" fmla="*/ 2344102 w 5229330"/>
                <a:gd name="connsiteY119" fmla="*/ 284484 h 4056099"/>
                <a:gd name="connsiteX120" fmla="*/ 2344102 w 5229330"/>
                <a:gd name="connsiteY120" fmla="*/ 825580 h 4056099"/>
                <a:gd name="connsiteX121" fmla="*/ 2885198 w 5229330"/>
                <a:gd name="connsiteY121" fmla="*/ 825580 h 4056099"/>
                <a:gd name="connsiteX122" fmla="*/ 2885198 w 5229330"/>
                <a:gd name="connsiteY122" fmla="*/ 284484 h 4056099"/>
                <a:gd name="connsiteX123" fmla="*/ 19336 w 5229330"/>
                <a:gd name="connsiteY123" fmla="*/ 3566625 h 4056099"/>
                <a:gd name="connsiteX124" fmla="*/ 443182 w 5229330"/>
                <a:gd name="connsiteY124" fmla="*/ 3317062 h 4056099"/>
                <a:gd name="connsiteX125" fmla="*/ 408735 w 5229330"/>
                <a:gd name="connsiteY125" fmla="*/ 2501646 h 4056099"/>
                <a:gd name="connsiteX126" fmla="*/ 1192967 w 5229330"/>
                <a:gd name="connsiteY126" fmla="*/ 2501646 h 4056099"/>
                <a:gd name="connsiteX127" fmla="*/ 1158530 w 5229330"/>
                <a:gd name="connsiteY127" fmla="*/ 3317062 h 4056099"/>
                <a:gd name="connsiteX128" fmla="*/ 1582374 w 5229330"/>
                <a:gd name="connsiteY128" fmla="*/ 3566625 h 4056099"/>
                <a:gd name="connsiteX129" fmla="*/ 1601733 w 5229330"/>
                <a:gd name="connsiteY129" fmla="*/ 3590275 h 4056099"/>
                <a:gd name="connsiteX130" fmla="*/ 1601733 w 5229330"/>
                <a:gd name="connsiteY130" fmla="*/ 4056100 h 4056099"/>
                <a:gd name="connsiteX131" fmla="*/ 0 w 5229330"/>
                <a:gd name="connsiteY131" fmla="*/ 4056100 h 4056099"/>
                <a:gd name="connsiteX132" fmla="*/ 0 w 5229330"/>
                <a:gd name="connsiteY132" fmla="*/ 3590275 h 4056099"/>
                <a:gd name="connsiteX133" fmla="*/ 336716 w 5229330"/>
                <a:gd name="connsiteY133" fmla="*/ 3530032 h 4056099"/>
                <a:gd name="connsiteX134" fmla="*/ 172114 w 5229330"/>
                <a:gd name="connsiteY134" fmla="*/ 3652692 h 4056099"/>
                <a:gd name="connsiteX135" fmla="*/ 172114 w 5229330"/>
                <a:gd name="connsiteY135" fmla="*/ 3885071 h 4056099"/>
                <a:gd name="connsiteX136" fmla="*/ 1430753 w 5229330"/>
                <a:gd name="connsiteY136" fmla="*/ 3885071 h 4056099"/>
                <a:gd name="connsiteX137" fmla="*/ 1430753 w 5229330"/>
                <a:gd name="connsiteY137" fmla="*/ 3652692 h 4056099"/>
                <a:gd name="connsiteX138" fmla="*/ 1266151 w 5229330"/>
                <a:gd name="connsiteY138" fmla="*/ 3530032 h 4056099"/>
                <a:gd name="connsiteX139" fmla="*/ 1040239 w 5229330"/>
                <a:gd name="connsiteY139" fmla="*/ 3479479 h 4056099"/>
                <a:gd name="connsiteX140" fmla="*/ 562628 w 5229330"/>
                <a:gd name="connsiteY140" fmla="*/ 3479479 h 4056099"/>
                <a:gd name="connsiteX141" fmla="*/ 336716 w 5229330"/>
                <a:gd name="connsiteY141" fmla="*/ 3530032 h 4056099"/>
                <a:gd name="connsiteX142" fmla="*/ 801434 w 5229330"/>
                <a:gd name="connsiteY142" fmla="*/ 2511325 h 4056099"/>
                <a:gd name="connsiteX143" fmla="*/ 419541 w 5229330"/>
                <a:gd name="connsiteY143" fmla="*/ 2894296 h 4056099"/>
                <a:gd name="connsiteX144" fmla="*/ 801434 w 5229330"/>
                <a:gd name="connsiteY144" fmla="*/ 3276188 h 4056099"/>
                <a:gd name="connsiteX145" fmla="*/ 1184404 w 5229330"/>
                <a:gd name="connsiteY145" fmla="*/ 2894296 h 4056099"/>
                <a:gd name="connsiteX146" fmla="*/ 801434 w 5229330"/>
                <a:gd name="connsiteY146" fmla="*/ 2511325 h 4056099"/>
                <a:gd name="connsiteX147" fmla="*/ 1598559 w 5229330"/>
                <a:gd name="connsiteY147" fmla="*/ 1545307 h 4056099"/>
                <a:gd name="connsiteX148" fmla="*/ 1684627 w 5229330"/>
                <a:gd name="connsiteY148" fmla="*/ 1545307 h 4056099"/>
                <a:gd name="connsiteX149" fmla="*/ 1684627 w 5229330"/>
                <a:gd name="connsiteY149" fmla="*/ 1717443 h 4056099"/>
                <a:gd name="connsiteX150" fmla="*/ 1016579 w 5229330"/>
                <a:gd name="connsiteY150" fmla="*/ 1717443 h 4056099"/>
                <a:gd name="connsiteX151" fmla="*/ 887492 w 5229330"/>
                <a:gd name="connsiteY151" fmla="*/ 1846530 h 4056099"/>
                <a:gd name="connsiteX152" fmla="*/ 887492 w 5229330"/>
                <a:gd name="connsiteY152" fmla="*/ 2189695 h 4056099"/>
                <a:gd name="connsiteX153" fmla="*/ 715356 w 5229330"/>
                <a:gd name="connsiteY153" fmla="*/ 2189695 h 4056099"/>
                <a:gd name="connsiteX154" fmla="*/ 715356 w 5229330"/>
                <a:gd name="connsiteY154" fmla="*/ 1846530 h 4056099"/>
                <a:gd name="connsiteX155" fmla="*/ 1016579 w 5229330"/>
                <a:gd name="connsiteY155" fmla="*/ 1545307 h 4056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5229330" h="4056099">
                  <a:moveTo>
                    <a:pt x="4512846" y="2102481"/>
                  </a:moveTo>
                  <a:lnTo>
                    <a:pt x="4512846" y="2188548"/>
                  </a:lnTo>
                  <a:lnTo>
                    <a:pt x="4340710" y="2188548"/>
                  </a:lnTo>
                  <a:lnTo>
                    <a:pt x="4340710" y="1845384"/>
                  </a:lnTo>
                  <a:cubicBezTo>
                    <a:pt x="4340710" y="1774394"/>
                    <a:pt x="4282613" y="1716297"/>
                    <a:pt x="4211624" y="1716297"/>
                  </a:cubicBezTo>
                  <a:lnTo>
                    <a:pt x="3543576" y="1716297"/>
                  </a:lnTo>
                  <a:lnTo>
                    <a:pt x="3543576" y="1544161"/>
                  </a:lnTo>
                  <a:lnTo>
                    <a:pt x="4211624" y="1544161"/>
                  </a:lnTo>
                  <a:cubicBezTo>
                    <a:pt x="4377293" y="1544161"/>
                    <a:pt x="4511778" y="1679714"/>
                    <a:pt x="4511778" y="1845384"/>
                  </a:cubicBezTo>
                  <a:lnTo>
                    <a:pt x="4511778" y="2102481"/>
                  </a:lnTo>
                  <a:close/>
                  <a:moveTo>
                    <a:pt x="2481800" y="1913122"/>
                  </a:moveTo>
                  <a:lnTo>
                    <a:pt x="2826043" y="1913122"/>
                  </a:lnTo>
                  <a:lnTo>
                    <a:pt x="2840014" y="2119665"/>
                  </a:lnTo>
                  <a:cubicBezTo>
                    <a:pt x="2926082" y="2148714"/>
                    <a:pt x="3004615" y="2193907"/>
                    <a:pt x="3072392" y="2253072"/>
                  </a:cubicBezTo>
                  <a:lnTo>
                    <a:pt x="3257431" y="2161646"/>
                  </a:lnTo>
                  <a:lnTo>
                    <a:pt x="3469372" y="2529577"/>
                  </a:lnTo>
                  <a:lnTo>
                    <a:pt x="3297236" y="2644694"/>
                  </a:lnTo>
                  <a:cubicBezTo>
                    <a:pt x="3314460" y="2732907"/>
                    <a:pt x="3314460" y="2823266"/>
                    <a:pt x="3297236" y="2912548"/>
                  </a:cubicBezTo>
                  <a:lnTo>
                    <a:pt x="3469372" y="3027664"/>
                  </a:lnTo>
                  <a:lnTo>
                    <a:pt x="3257431" y="3395596"/>
                  </a:lnTo>
                  <a:lnTo>
                    <a:pt x="3072392" y="3304169"/>
                  </a:lnTo>
                  <a:cubicBezTo>
                    <a:pt x="3004615" y="3363334"/>
                    <a:pt x="2926082" y="3409606"/>
                    <a:pt x="2840014" y="3438654"/>
                  </a:cubicBezTo>
                  <a:lnTo>
                    <a:pt x="2827111" y="3645197"/>
                  </a:lnTo>
                  <a:lnTo>
                    <a:pt x="2402199" y="3645197"/>
                  </a:lnTo>
                  <a:lnTo>
                    <a:pt x="2388238" y="3438654"/>
                  </a:lnTo>
                  <a:cubicBezTo>
                    <a:pt x="2303238" y="3409606"/>
                    <a:pt x="2223636" y="3363334"/>
                    <a:pt x="2156937" y="3304169"/>
                  </a:cubicBezTo>
                  <a:lnTo>
                    <a:pt x="1970830" y="3395596"/>
                  </a:lnTo>
                  <a:lnTo>
                    <a:pt x="1757860" y="3028703"/>
                  </a:lnTo>
                  <a:lnTo>
                    <a:pt x="1929996" y="2913586"/>
                  </a:lnTo>
                  <a:cubicBezTo>
                    <a:pt x="1912773" y="2824305"/>
                    <a:pt x="1912773" y="2733946"/>
                    <a:pt x="1929996" y="2645732"/>
                  </a:cubicBezTo>
                  <a:lnTo>
                    <a:pt x="1757860" y="2530616"/>
                  </a:lnTo>
                  <a:lnTo>
                    <a:pt x="1970870" y="2162684"/>
                  </a:lnTo>
                  <a:lnTo>
                    <a:pt x="2155909" y="2254111"/>
                  </a:lnTo>
                  <a:cubicBezTo>
                    <a:pt x="2223685" y="2194946"/>
                    <a:pt x="2302219" y="2149752"/>
                    <a:pt x="2387209" y="2120703"/>
                  </a:cubicBezTo>
                  <a:lnTo>
                    <a:pt x="2401170" y="1914160"/>
                  </a:lnTo>
                  <a:lnTo>
                    <a:pt x="2481810" y="1914199"/>
                  </a:lnTo>
                  <a:close/>
                  <a:moveTo>
                    <a:pt x="2665761" y="2086335"/>
                  </a:moveTo>
                  <a:lnTo>
                    <a:pt x="2562470" y="2086335"/>
                  </a:lnTo>
                  <a:lnTo>
                    <a:pt x="2551713" y="2254150"/>
                  </a:lnTo>
                  <a:cubicBezTo>
                    <a:pt x="2474257" y="2272442"/>
                    <a:pt x="2424771" y="2282131"/>
                    <a:pt x="2352713" y="2324072"/>
                  </a:cubicBezTo>
                  <a:cubicBezTo>
                    <a:pt x="2279578" y="2366014"/>
                    <a:pt x="2246209" y="2404742"/>
                    <a:pt x="2191364" y="2461771"/>
                  </a:cubicBezTo>
                  <a:lnTo>
                    <a:pt x="2039704" y="2387528"/>
                  </a:lnTo>
                  <a:lnTo>
                    <a:pt x="1988083" y="2476810"/>
                  </a:lnTo>
                  <a:lnTo>
                    <a:pt x="2128996" y="2570421"/>
                  </a:lnTo>
                  <a:cubicBezTo>
                    <a:pt x="2106413" y="2646800"/>
                    <a:pt x="2090267" y="2694150"/>
                    <a:pt x="2090267" y="2779111"/>
                  </a:cubicBezTo>
                  <a:cubicBezTo>
                    <a:pt x="2090267" y="2864101"/>
                    <a:pt x="2106413" y="2911450"/>
                    <a:pt x="2128996" y="2987800"/>
                  </a:cubicBezTo>
                  <a:lnTo>
                    <a:pt x="1989161" y="3081401"/>
                  </a:lnTo>
                  <a:lnTo>
                    <a:pt x="2040782" y="3170693"/>
                  </a:lnTo>
                  <a:lnTo>
                    <a:pt x="2192442" y="3096440"/>
                  </a:lnTo>
                  <a:cubicBezTo>
                    <a:pt x="2247326" y="3153469"/>
                    <a:pt x="2280656" y="3192197"/>
                    <a:pt x="2353791" y="3234149"/>
                  </a:cubicBezTo>
                  <a:cubicBezTo>
                    <a:pt x="2426927" y="3276090"/>
                    <a:pt x="2476451" y="3285770"/>
                    <a:pt x="2553868" y="3304061"/>
                  </a:cubicBezTo>
                  <a:lnTo>
                    <a:pt x="2564626" y="3472944"/>
                  </a:lnTo>
                  <a:lnTo>
                    <a:pt x="2667917" y="3472944"/>
                  </a:lnTo>
                  <a:lnTo>
                    <a:pt x="2678674" y="3304061"/>
                  </a:lnTo>
                  <a:cubicBezTo>
                    <a:pt x="2756130" y="3285770"/>
                    <a:pt x="2805616" y="3276090"/>
                    <a:pt x="2877674" y="3234149"/>
                  </a:cubicBezTo>
                  <a:cubicBezTo>
                    <a:pt x="2950809" y="3192197"/>
                    <a:pt x="2984179" y="3153469"/>
                    <a:pt x="3039023" y="3096440"/>
                  </a:cubicBezTo>
                  <a:lnTo>
                    <a:pt x="3190683" y="3170693"/>
                  </a:lnTo>
                  <a:lnTo>
                    <a:pt x="3242304" y="3081401"/>
                  </a:lnTo>
                  <a:lnTo>
                    <a:pt x="3101391" y="2986722"/>
                  </a:lnTo>
                  <a:cubicBezTo>
                    <a:pt x="3123974" y="2910333"/>
                    <a:pt x="3140120" y="2862994"/>
                    <a:pt x="3140120" y="2778033"/>
                  </a:cubicBezTo>
                  <a:cubicBezTo>
                    <a:pt x="3140120" y="2693033"/>
                    <a:pt x="3123974" y="2645693"/>
                    <a:pt x="3101391" y="2569344"/>
                  </a:cubicBezTo>
                  <a:lnTo>
                    <a:pt x="3242304" y="2475732"/>
                  </a:lnTo>
                  <a:lnTo>
                    <a:pt x="3190683" y="2386451"/>
                  </a:lnTo>
                  <a:lnTo>
                    <a:pt x="3039023" y="2460694"/>
                  </a:lnTo>
                  <a:cubicBezTo>
                    <a:pt x="2984139" y="2403674"/>
                    <a:pt x="2950809" y="2364946"/>
                    <a:pt x="2877674" y="2322995"/>
                  </a:cubicBezTo>
                  <a:cubicBezTo>
                    <a:pt x="2805606" y="2281053"/>
                    <a:pt x="2755014" y="2271374"/>
                    <a:pt x="2678674" y="2253082"/>
                  </a:cubicBezTo>
                  <a:close/>
                  <a:moveTo>
                    <a:pt x="2614131" y="2349898"/>
                  </a:moveTo>
                  <a:cubicBezTo>
                    <a:pt x="2851868" y="2349898"/>
                    <a:pt x="3044441" y="2542470"/>
                    <a:pt x="3044441" y="2780208"/>
                  </a:cubicBezTo>
                  <a:cubicBezTo>
                    <a:pt x="3044441" y="3017945"/>
                    <a:pt x="2851868" y="3210518"/>
                    <a:pt x="2614131" y="3210518"/>
                  </a:cubicBezTo>
                  <a:cubicBezTo>
                    <a:pt x="2376403" y="3210518"/>
                    <a:pt x="2183830" y="3017945"/>
                    <a:pt x="2183830" y="2780208"/>
                  </a:cubicBezTo>
                  <a:cubicBezTo>
                    <a:pt x="2183830" y="2542431"/>
                    <a:pt x="2376403" y="2349898"/>
                    <a:pt x="2614131" y="2349898"/>
                  </a:cubicBezTo>
                  <a:close/>
                  <a:moveTo>
                    <a:pt x="2797024" y="2597315"/>
                  </a:moveTo>
                  <a:cubicBezTo>
                    <a:pt x="2634567" y="2434859"/>
                    <a:pt x="2357034" y="2551043"/>
                    <a:pt x="2357034" y="2780208"/>
                  </a:cubicBezTo>
                  <a:cubicBezTo>
                    <a:pt x="2357034" y="3009334"/>
                    <a:pt x="2635655" y="3124450"/>
                    <a:pt x="2797024" y="2963101"/>
                  </a:cubicBezTo>
                  <a:cubicBezTo>
                    <a:pt x="2897062" y="2860877"/>
                    <a:pt x="2897062" y="2698421"/>
                    <a:pt x="2797024" y="2597315"/>
                  </a:cubicBezTo>
                  <a:close/>
                  <a:moveTo>
                    <a:pt x="3644712" y="3566585"/>
                  </a:moveTo>
                  <a:cubicBezTo>
                    <a:pt x="3751216" y="3435353"/>
                    <a:pt x="3901808" y="3346032"/>
                    <a:pt x="4068556" y="3317023"/>
                  </a:cubicBezTo>
                  <a:cubicBezTo>
                    <a:pt x="3821138" y="3107266"/>
                    <a:pt x="3804983" y="2730722"/>
                    <a:pt x="4035216" y="2501606"/>
                  </a:cubicBezTo>
                  <a:cubicBezTo>
                    <a:pt x="4251439" y="2284306"/>
                    <a:pt x="4603225" y="2284306"/>
                    <a:pt x="4819448" y="2501606"/>
                  </a:cubicBezTo>
                  <a:cubicBezTo>
                    <a:pt x="5048574" y="2730732"/>
                    <a:pt x="5033535" y="3107266"/>
                    <a:pt x="4786118" y="3317023"/>
                  </a:cubicBezTo>
                  <a:cubicBezTo>
                    <a:pt x="4952866" y="3346071"/>
                    <a:pt x="5103457" y="3435353"/>
                    <a:pt x="5209962" y="3566585"/>
                  </a:cubicBezTo>
                  <a:lnTo>
                    <a:pt x="5229331" y="3590236"/>
                  </a:lnTo>
                  <a:lnTo>
                    <a:pt x="5229331" y="4056060"/>
                  </a:lnTo>
                  <a:lnTo>
                    <a:pt x="3625333" y="4056060"/>
                  </a:lnTo>
                  <a:lnTo>
                    <a:pt x="3625333" y="3590236"/>
                  </a:lnTo>
                  <a:close/>
                  <a:moveTo>
                    <a:pt x="3962080" y="3530003"/>
                  </a:moveTo>
                  <a:cubicBezTo>
                    <a:pt x="3899702" y="3560119"/>
                    <a:pt x="3843750" y="3602061"/>
                    <a:pt x="3797488" y="3652663"/>
                  </a:cubicBezTo>
                  <a:lnTo>
                    <a:pt x="3797488" y="3885042"/>
                  </a:lnTo>
                  <a:lnTo>
                    <a:pt x="5056127" y="3885042"/>
                  </a:lnTo>
                  <a:lnTo>
                    <a:pt x="5056127" y="3652663"/>
                  </a:lnTo>
                  <a:cubicBezTo>
                    <a:pt x="5009856" y="3602100"/>
                    <a:pt x="4953943" y="3560158"/>
                    <a:pt x="4891516" y="3530003"/>
                  </a:cubicBezTo>
                  <a:cubicBezTo>
                    <a:pt x="4823749" y="3497741"/>
                    <a:pt x="4747361" y="3479440"/>
                    <a:pt x="4665613" y="3479440"/>
                  </a:cubicBezTo>
                  <a:lnTo>
                    <a:pt x="4187953" y="3479440"/>
                  </a:lnTo>
                  <a:cubicBezTo>
                    <a:pt x="4106216" y="3478372"/>
                    <a:pt x="4029857" y="3496663"/>
                    <a:pt x="3962080" y="3530003"/>
                  </a:cubicBezTo>
                  <a:close/>
                  <a:moveTo>
                    <a:pt x="4426808" y="2511296"/>
                  </a:moveTo>
                  <a:cubicBezTo>
                    <a:pt x="4215944" y="2511296"/>
                    <a:pt x="4044915" y="2682325"/>
                    <a:pt x="4044915" y="2894266"/>
                  </a:cubicBezTo>
                  <a:cubicBezTo>
                    <a:pt x="4044915" y="3105130"/>
                    <a:pt x="4215944" y="3276159"/>
                    <a:pt x="4426808" y="3276159"/>
                  </a:cubicBezTo>
                  <a:cubicBezTo>
                    <a:pt x="4637672" y="3276159"/>
                    <a:pt x="4809768" y="3105130"/>
                    <a:pt x="4809768" y="2894266"/>
                  </a:cubicBezTo>
                  <a:cubicBezTo>
                    <a:pt x="4809768" y="2682364"/>
                    <a:pt x="4637681" y="2511296"/>
                    <a:pt x="4426808" y="2511296"/>
                  </a:cubicBezTo>
                  <a:close/>
                  <a:moveTo>
                    <a:pt x="3243411" y="1313987"/>
                  </a:moveTo>
                  <a:cubicBezTo>
                    <a:pt x="3143372" y="1204269"/>
                    <a:pt x="3004605" y="1140773"/>
                    <a:pt x="2852897" y="1140773"/>
                  </a:cubicBezTo>
                  <a:lnTo>
                    <a:pt x="2375257" y="1140773"/>
                  </a:lnTo>
                  <a:cubicBezTo>
                    <a:pt x="2293509" y="1140773"/>
                    <a:pt x="2217121" y="1159065"/>
                    <a:pt x="2149344" y="1191327"/>
                  </a:cubicBezTo>
                  <a:cubicBezTo>
                    <a:pt x="2086956" y="1220375"/>
                    <a:pt x="2031014" y="1262317"/>
                    <a:pt x="1984733" y="1313987"/>
                  </a:cubicBezTo>
                  <a:lnTo>
                    <a:pt x="1984733" y="1545288"/>
                  </a:lnTo>
                  <a:lnTo>
                    <a:pt x="3243372" y="1545288"/>
                  </a:lnTo>
                  <a:close/>
                  <a:moveTo>
                    <a:pt x="3153052" y="1036454"/>
                  </a:moveTo>
                  <a:cubicBezTo>
                    <a:pt x="3247731" y="1081648"/>
                    <a:pt x="3330547" y="1147249"/>
                    <a:pt x="3396178" y="1227958"/>
                  </a:cubicBezTo>
                  <a:lnTo>
                    <a:pt x="3415537" y="1251609"/>
                  </a:lnTo>
                  <a:lnTo>
                    <a:pt x="3415537" y="1717433"/>
                  </a:lnTo>
                  <a:lnTo>
                    <a:pt x="1812626" y="1717433"/>
                  </a:lnTo>
                  <a:lnTo>
                    <a:pt x="1812626" y="1251609"/>
                  </a:lnTo>
                  <a:lnTo>
                    <a:pt x="1831995" y="1227958"/>
                  </a:lnTo>
                  <a:cubicBezTo>
                    <a:pt x="1938500" y="1097803"/>
                    <a:pt x="2089092" y="1007405"/>
                    <a:pt x="2255839" y="978396"/>
                  </a:cubicBezTo>
                  <a:cubicBezTo>
                    <a:pt x="2008422" y="768639"/>
                    <a:pt x="1992276" y="392095"/>
                    <a:pt x="2222509" y="162975"/>
                  </a:cubicBezTo>
                  <a:cubicBezTo>
                    <a:pt x="2438732" y="-54325"/>
                    <a:pt x="2790518" y="-54325"/>
                    <a:pt x="3006741" y="162975"/>
                  </a:cubicBezTo>
                  <a:cubicBezTo>
                    <a:pt x="3235867" y="392105"/>
                    <a:pt x="3219751" y="768639"/>
                    <a:pt x="2973402" y="978396"/>
                  </a:cubicBezTo>
                  <a:cubicBezTo>
                    <a:pt x="3035790" y="990182"/>
                    <a:pt x="3096023" y="1009541"/>
                    <a:pt x="3153042" y="1036444"/>
                  </a:cubicBezTo>
                  <a:close/>
                  <a:moveTo>
                    <a:pt x="2885198" y="284484"/>
                  </a:moveTo>
                  <a:cubicBezTo>
                    <a:pt x="2735674" y="134956"/>
                    <a:pt x="2493616" y="134956"/>
                    <a:pt x="2344102" y="284484"/>
                  </a:cubicBezTo>
                  <a:cubicBezTo>
                    <a:pt x="2194578" y="434008"/>
                    <a:pt x="2194578" y="676066"/>
                    <a:pt x="2344102" y="825580"/>
                  </a:cubicBezTo>
                  <a:cubicBezTo>
                    <a:pt x="2493626" y="975104"/>
                    <a:pt x="2735684" y="975104"/>
                    <a:pt x="2885198" y="825580"/>
                  </a:cubicBezTo>
                  <a:cubicBezTo>
                    <a:pt x="3033644" y="676056"/>
                    <a:pt x="3033644" y="433998"/>
                    <a:pt x="2885198" y="284484"/>
                  </a:cubicBezTo>
                  <a:close/>
                  <a:moveTo>
                    <a:pt x="19336" y="3566625"/>
                  </a:moveTo>
                  <a:cubicBezTo>
                    <a:pt x="125840" y="3435392"/>
                    <a:pt x="276434" y="3346071"/>
                    <a:pt x="443182" y="3317062"/>
                  </a:cubicBezTo>
                  <a:cubicBezTo>
                    <a:pt x="195765" y="3107305"/>
                    <a:pt x="179619" y="2730762"/>
                    <a:pt x="408735" y="2501646"/>
                  </a:cubicBezTo>
                  <a:cubicBezTo>
                    <a:pt x="626035" y="2284345"/>
                    <a:pt x="976744" y="2284345"/>
                    <a:pt x="1192967" y="2501646"/>
                  </a:cubicBezTo>
                  <a:cubicBezTo>
                    <a:pt x="1422093" y="2730771"/>
                    <a:pt x="1405976" y="3107305"/>
                    <a:pt x="1158530" y="3317062"/>
                  </a:cubicBezTo>
                  <a:cubicBezTo>
                    <a:pt x="1325277" y="3346101"/>
                    <a:pt x="1475869" y="3435392"/>
                    <a:pt x="1582374" y="3566625"/>
                  </a:cubicBezTo>
                  <a:lnTo>
                    <a:pt x="1601733" y="3590275"/>
                  </a:lnTo>
                  <a:lnTo>
                    <a:pt x="1601733" y="4056100"/>
                  </a:lnTo>
                  <a:lnTo>
                    <a:pt x="0" y="4056100"/>
                  </a:lnTo>
                  <a:lnTo>
                    <a:pt x="0" y="3590275"/>
                  </a:lnTo>
                  <a:close/>
                  <a:moveTo>
                    <a:pt x="336716" y="3530032"/>
                  </a:moveTo>
                  <a:cubicBezTo>
                    <a:pt x="274338" y="3560148"/>
                    <a:pt x="218386" y="3602100"/>
                    <a:pt x="172114" y="3652692"/>
                  </a:cubicBezTo>
                  <a:lnTo>
                    <a:pt x="172114" y="3885071"/>
                  </a:lnTo>
                  <a:lnTo>
                    <a:pt x="1430753" y="3885071"/>
                  </a:lnTo>
                  <a:lnTo>
                    <a:pt x="1430753" y="3652692"/>
                  </a:lnTo>
                  <a:cubicBezTo>
                    <a:pt x="1384481" y="3602139"/>
                    <a:pt x="1328569" y="3560198"/>
                    <a:pt x="1266151" y="3530032"/>
                  </a:cubicBezTo>
                  <a:cubicBezTo>
                    <a:pt x="1198375" y="3497770"/>
                    <a:pt x="1120919" y="3479479"/>
                    <a:pt x="1040239" y="3479479"/>
                  </a:cubicBezTo>
                  <a:lnTo>
                    <a:pt x="562628" y="3479479"/>
                  </a:lnTo>
                  <a:cubicBezTo>
                    <a:pt x="480842" y="3478411"/>
                    <a:pt x="404453" y="3496702"/>
                    <a:pt x="336716" y="3530032"/>
                  </a:cubicBezTo>
                  <a:close/>
                  <a:moveTo>
                    <a:pt x="801434" y="2511325"/>
                  </a:moveTo>
                  <a:cubicBezTo>
                    <a:pt x="590570" y="2511325"/>
                    <a:pt x="419541" y="2682354"/>
                    <a:pt x="419541" y="2894296"/>
                  </a:cubicBezTo>
                  <a:cubicBezTo>
                    <a:pt x="419541" y="3105160"/>
                    <a:pt x="590570" y="3276188"/>
                    <a:pt x="801434" y="3276188"/>
                  </a:cubicBezTo>
                  <a:cubicBezTo>
                    <a:pt x="1012298" y="3276188"/>
                    <a:pt x="1184404" y="3105160"/>
                    <a:pt x="1184404" y="2894296"/>
                  </a:cubicBezTo>
                  <a:cubicBezTo>
                    <a:pt x="1184404" y="2682393"/>
                    <a:pt x="1012307" y="2511325"/>
                    <a:pt x="801434" y="2511325"/>
                  </a:cubicBezTo>
                  <a:close/>
                  <a:moveTo>
                    <a:pt x="1598559" y="1545307"/>
                  </a:moveTo>
                  <a:lnTo>
                    <a:pt x="1684627" y="1545307"/>
                  </a:lnTo>
                  <a:lnTo>
                    <a:pt x="1684627" y="1717443"/>
                  </a:lnTo>
                  <a:lnTo>
                    <a:pt x="1016579" y="1717443"/>
                  </a:lnTo>
                  <a:cubicBezTo>
                    <a:pt x="945589" y="1717443"/>
                    <a:pt x="887492" y="1775540"/>
                    <a:pt x="887492" y="1846530"/>
                  </a:cubicBezTo>
                  <a:lnTo>
                    <a:pt x="887492" y="2189695"/>
                  </a:lnTo>
                  <a:lnTo>
                    <a:pt x="715356" y="2189695"/>
                  </a:lnTo>
                  <a:lnTo>
                    <a:pt x="715356" y="1846530"/>
                  </a:lnTo>
                  <a:cubicBezTo>
                    <a:pt x="715356" y="1680861"/>
                    <a:pt x="850909" y="1545307"/>
                    <a:pt x="1016579" y="1545307"/>
                  </a:cubicBezTo>
                  <a:close/>
                </a:path>
              </a:pathLst>
            </a:custGeom>
            <a:solidFill>
              <a:srgbClr val="191925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BC84C60C-FD24-4D79-B27D-805FD66B6EAA}"/>
                </a:ext>
              </a:extLst>
            </p:cNvPr>
            <p:cNvGrpSpPr/>
            <p:nvPr/>
          </p:nvGrpSpPr>
          <p:grpSpPr>
            <a:xfrm>
              <a:off x="4291547" y="6647112"/>
              <a:ext cx="353992" cy="342186"/>
              <a:chOff x="-8919005" y="1994432"/>
              <a:chExt cx="5143500" cy="4971975"/>
            </a:xfrm>
            <a:solidFill>
              <a:srgbClr val="191925"/>
            </a:solidFill>
          </p:grpSpPr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EAB7FFE1-14A1-4783-8AFE-49192F9711B6}"/>
                  </a:ext>
                </a:extLst>
              </p:cNvPr>
              <p:cNvSpPr/>
              <p:nvPr/>
            </p:nvSpPr>
            <p:spPr>
              <a:xfrm>
                <a:off x="-8918993" y="1994432"/>
                <a:ext cx="5143488" cy="4629074"/>
              </a:xfrm>
              <a:custGeom>
                <a:avLst/>
                <a:gdLst>
                  <a:gd name="connsiteX0" fmla="*/ 85713 w 5143488"/>
                  <a:gd name="connsiteY0" fmla="*/ 4629074 h 4629074"/>
                  <a:gd name="connsiteX1" fmla="*/ 5057764 w 5143488"/>
                  <a:gd name="connsiteY1" fmla="*/ 4629074 h 4629074"/>
                  <a:gd name="connsiteX2" fmla="*/ 5143489 w 5143488"/>
                  <a:gd name="connsiteY2" fmla="*/ 4543349 h 4629074"/>
                  <a:gd name="connsiteX3" fmla="*/ 5057764 w 5143488"/>
                  <a:gd name="connsiteY3" fmla="*/ 4457624 h 4629074"/>
                  <a:gd name="connsiteX4" fmla="*/ 4371964 w 5143488"/>
                  <a:gd name="connsiteY4" fmla="*/ 4457624 h 4629074"/>
                  <a:gd name="connsiteX5" fmla="*/ 4371964 w 5143488"/>
                  <a:gd name="connsiteY5" fmla="*/ 3771824 h 4629074"/>
                  <a:gd name="connsiteX6" fmla="*/ 4286239 w 5143488"/>
                  <a:gd name="connsiteY6" fmla="*/ 3686099 h 4629074"/>
                  <a:gd name="connsiteX7" fmla="*/ 4200514 w 5143488"/>
                  <a:gd name="connsiteY7" fmla="*/ 3771824 h 4629074"/>
                  <a:gd name="connsiteX8" fmla="*/ 4200514 w 5143488"/>
                  <a:gd name="connsiteY8" fmla="*/ 4457624 h 4629074"/>
                  <a:gd name="connsiteX9" fmla="*/ 3623246 w 5143488"/>
                  <a:gd name="connsiteY9" fmla="*/ 4457624 h 4629074"/>
                  <a:gd name="connsiteX10" fmla="*/ 4011076 w 5143488"/>
                  <a:gd name="connsiteY10" fmla="*/ 2828849 h 4629074"/>
                  <a:gd name="connsiteX11" fmla="*/ 4114788 w 5143488"/>
                  <a:gd name="connsiteY11" fmla="*/ 2828849 h 4629074"/>
                  <a:gd name="connsiteX12" fmla="*/ 4599483 w 5143488"/>
                  <a:gd name="connsiteY12" fmla="*/ 3029955 h 4629074"/>
                  <a:gd name="connsiteX13" fmla="*/ 4800589 w 5143488"/>
                  <a:gd name="connsiteY13" fmla="*/ 3514649 h 4629074"/>
                  <a:gd name="connsiteX14" fmla="*/ 4800589 w 5143488"/>
                  <a:gd name="connsiteY14" fmla="*/ 4200449 h 4629074"/>
                  <a:gd name="connsiteX15" fmla="*/ 4886314 w 5143488"/>
                  <a:gd name="connsiteY15" fmla="*/ 4286174 h 4629074"/>
                  <a:gd name="connsiteX16" fmla="*/ 4972039 w 5143488"/>
                  <a:gd name="connsiteY16" fmla="*/ 4200449 h 4629074"/>
                  <a:gd name="connsiteX17" fmla="*/ 4972039 w 5143488"/>
                  <a:gd name="connsiteY17" fmla="*/ 3514649 h 4629074"/>
                  <a:gd name="connsiteX18" fmla="*/ 4720683 w 5143488"/>
                  <a:gd name="connsiteY18" fmla="*/ 2908755 h 4629074"/>
                  <a:gd name="connsiteX19" fmla="*/ 4114788 w 5143488"/>
                  <a:gd name="connsiteY19" fmla="*/ 2657399 h 4629074"/>
                  <a:gd name="connsiteX20" fmla="*/ 3686163 w 5143488"/>
                  <a:gd name="connsiteY20" fmla="*/ 2657399 h 4629074"/>
                  <a:gd name="connsiteX21" fmla="*/ 3686163 w 5143488"/>
                  <a:gd name="connsiteY21" fmla="*/ 2503780 h 4629074"/>
                  <a:gd name="connsiteX22" fmla="*/ 4110850 w 5143488"/>
                  <a:gd name="connsiteY22" fmla="*/ 1792262 h 4629074"/>
                  <a:gd name="connsiteX23" fmla="*/ 4359678 w 5143488"/>
                  <a:gd name="connsiteY23" fmla="*/ 1644041 h 4629074"/>
                  <a:gd name="connsiteX24" fmla="*/ 4457689 w 5143488"/>
                  <a:gd name="connsiteY24" fmla="*/ 1371524 h 4629074"/>
                  <a:gd name="connsiteX25" fmla="*/ 4420831 w 5143488"/>
                  <a:gd name="connsiteY25" fmla="*/ 1239988 h 4629074"/>
                  <a:gd name="connsiteX26" fmla="*/ 4321635 w 5143488"/>
                  <a:gd name="connsiteY26" fmla="*/ 1146072 h 4629074"/>
                  <a:gd name="connsiteX27" fmla="*/ 4239928 w 5143488"/>
                  <a:gd name="connsiteY27" fmla="*/ 401373 h 4629074"/>
                  <a:gd name="connsiteX28" fmla="*/ 4121715 w 5143488"/>
                  <a:gd name="connsiteY28" fmla="*/ 374469 h 4629074"/>
                  <a:gd name="connsiteX29" fmla="*/ 4094812 w 5143488"/>
                  <a:gd name="connsiteY29" fmla="*/ 492681 h 4629074"/>
                  <a:gd name="connsiteX30" fmla="*/ 4149078 w 5143488"/>
                  <a:gd name="connsiteY30" fmla="*/ 1114339 h 4629074"/>
                  <a:gd name="connsiteX31" fmla="*/ 4044406 w 5143488"/>
                  <a:gd name="connsiteY31" fmla="*/ 1114339 h 4629074"/>
                  <a:gd name="connsiteX32" fmla="*/ 3238591 w 5143488"/>
                  <a:gd name="connsiteY32" fmla="*/ 546683 h 4629074"/>
                  <a:gd name="connsiteX33" fmla="*/ 3170011 w 5143488"/>
                  <a:gd name="connsiteY33" fmla="*/ 516908 h 4629074"/>
                  <a:gd name="connsiteX34" fmla="*/ 3101431 w 5143488"/>
                  <a:gd name="connsiteY34" fmla="*/ 551734 h 4629074"/>
                  <a:gd name="connsiteX35" fmla="*/ 2849233 w 5143488"/>
                  <a:gd name="connsiteY35" fmla="*/ 807042 h 4629074"/>
                  <a:gd name="connsiteX36" fmla="*/ 2842502 w 5143488"/>
                  <a:gd name="connsiteY36" fmla="*/ 922962 h 4629074"/>
                  <a:gd name="connsiteX37" fmla="*/ 2957501 w 5143488"/>
                  <a:gd name="connsiteY37" fmla="*/ 939225 h 4629074"/>
                  <a:gd name="connsiteX38" fmla="*/ 3171813 w 5143488"/>
                  <a:gd name="connsiteY38" fmla="*/ 733142 h 4629074"/>
                  <a:gd name="connsiteX39" fmla="*/ 3874758 w 5143488"/>
                  <a:gd name="connsiteY39" fmla="*/ 1233061 h 4629074"/>
                  <a:gd name="connsiteX40" fmla="*/ 3765883 w 5143488"/>
                  <a:gd name="connsiteY40" fmla="*/ 1341937 h 4629074"/>
                  <a:gd name="connsiteX41" fmla="*/ 3686163 w 5143488"/>
                  <a:gd name="connsiteY41" fmla="*/ 1285789 h 4629074"/>
                  <a:gd name="connsiteX42" fmla="*/ 3343263 w 5143488"/>
                  <a:gd name="connsiteY42" fmla="*/ 1285789 h 4629074"/>
                  <a:gd name="connsiteX43" fmla="*/ 3257538 w 5143488"/>
                  <a:gd name="connsiteY43" fmla="*/ 1371514 h 4629074"/>
                  <a:gd name="connsiteX44" fmla="*/ 3257538 w 5143488"/>
                  <a:gd name="connsiteY44" fmla="*/ 1399221 h 4629074"/>
                  <a:gd name="connsiteX45" fmla="*/ 3086088 w 5143488"/>
                  <a:gd name="connsiteY45" fmla="*/ 1399221 h 4629074"/>
                  <a:gd name="connsiteX46" fmla="*/ 3086088 w 5143488"/>
                  <a:gd name="connsiteY46" fmla="*/ 1371514 h 4629074"/>
                  <a:gd name="connsiteX47" fmla="*/ 3060988 w 5143488"/>
                  <a:gd name="connsiteY47" fmla="*/ 1310899 h 4629074"/>
                  <a:gd name="connsiteX48" fmla="*/ 3000363 w 5143488"/>
                  <a:gd name="connsiteY48" fmla="*/ 1285789 h 4629074"/>
                  <a:gd name="connsiteX49" fmla="*/ 2657463 w 5143488"/>
                  <a:gd name="connsiteY49" fmla="*/ 1285789 h 4629074"/>
                  <a:gd name="connsiteX50" fmla="*/ 2577754 w 5143488"/>
                  <a:gd name="connsiteY50" fmla="*/ 1341937 h 4629074"/>
                  <a:gd name="connsiteX51" fmla="*/ 2468114 w 5143488"/>
                  <a:gd name="connsiteY51" fmla="*/ 1232366 h 4629074"/>
                  <a:gd name="connsiteX52" fmla="*/ 2660648 w 5143488"/>
                  <a:gd name="connsiteY52" fmla="*/ 1140478 h 4629074"/>
                  <a:gd name="connsiteX53" fmla="*/ 2694359 w 5143488"/>
                  <a:gd name="connsiteY53" fmla="*/ 1024019 h 4629074"/>
                  <a:gd name="connsiteX54" fmla="*/ 2577901 w 5143488"/>
                  <a:gd name="connsiteY54" fmla="*/ 990307 h 4629074"/>
                  <a:gd name="connsiteX55" fmla="*/ 2298800 w 5143488"/>
                  <a:gd name="connsiteY55" fmla="*/ 1114339 h 4629074"/>
                  <a:gd name="connsiteX56" fmla="*/ 2188043 w 5143488"/>
                  <a:gd name="connsiteY56" fmla="*/ 1114339 h 4629074"/>
                  <a:gd name="connsiteX57" fmla="*/ 2197576 w 5143488"/>
                  <a:gd name="connsiteY57" fmla="*/ 575834 h 4629074"/>
                  <a:gd name="connsiteX58" fmla="*/ 2593478 w 5143488"/>
                  <a:gd name="connsiteY58" fmla="*/ 210666 h 4629074"/>
                  <a:gd name="connsiteX59" fmla="*/ 3131018 w 5143488"/>
                  <a:gd name="connsiteY59" fmla="*/ 244572 h 4629074"/>
                  <a:gd name="connsiteX60" fmla="*/ 3208171 w 5143488"/>
                  <a:gd name="connsiteY60" fmla="*/ 244572 h 4629074"/>
                  <a:gd name="connsiteX61" fmla="*/ 3879471 w 5143488"/>
                  <a:gd name="connsiteY61" fmla="*/ 277140 h 4629074"/>
                  <a:gd name="connsiteX62" fmla="*/ 3996694 w 5143488"/>
                  <a:gd name="connsiteY62" fmla="*/ 249662 h 4629074"/>
                  <a:gd name="connsiteX63" fmla="*/ 3970858 w 5143488"/>
                  <a:gd name="connsiteY63" fmla="*/ 132096 h 4629074"/>
                  <a:gd name="connsiteX64" fmla="*/ 3169521 w 5143488"/>
                  <a:gd name="connsiteY64" fmla="*/ 73199 h 4629074"/>
                  <a:gd name="connsiteX65" fmla="*/ 2519539 w 5143488"/>
                  <a:gd name="connsiteY65" fmla="*/ 55480 h 4629074"/>
                  <a:gd name="connsiteX66" fmla="*/ 2044074 w 5143488"/>
                  <a:gd name="connsiteY66" fmla="*/ 498996 h 4629074"/>
                  <a:gd name="connsiteX67" fmla="*/ 2016671 w 5143488"/>
                  <a:gd name="connsiteY67" fmla="*/ 1148639 h 4629074"/>
                  <a:gd name="connsiteX68" fmla="*/ 1921149 w 5143488"/>
                  <a:gd name="connsiteY68" fmla="*/ 1242398 h 4629074"/>
                  <a:gd name="connsiteX69" fmla="*/ 1885938 w 5143488"/>
                  <a:gd name="connsiteY69" fmla="*/ 1371524 h 4629074"/>
                  <a:gd name="connsiteX70" fmla="*/ 1922296 w 5143488"/>
                  <a:gd name="connsiteY70" fmla="*/ 1542974 h 4629074"/>
                  <a:gd name="connsiteX71" fmla="*/ 257173 w 5143488"/>
                  <a:gd name="connsiteY71" fmla="*/ 1542974 h 4629074"/>
                  <a:gd name="connsiteX72" fmla="*/ 171448 w 5143488"/>
                  <a:gd name="connsiteY72" fmla="*/ 1628699 h 4629074"/>
                  <a:gd name="connsiteX73" fmla="*/ 171448 w 5143488"/>
                  <a:gd name="connsiteY73" fmla="*/ 2057324 h 4629074"/>
                  <a:gd name="connsiteX74" fmla="*/ 257173 w 5143488"/>
                  <a:gd name="connsiteY74" fmla="*/ 2143049 h 4629074"/>
                  <a:gd name="connsiteX75" fmla="*/ 342898 w 5143488"/>
                  <a:gd name="connsiteY75" fmla="*/ 2057324 h 4629074"/>
                  <a:gd name="connsiteX76" fmla="*/ 342898 w 5143488"/>
                  <a:gd name="connsiteY76" fmla="*/ 1714424 h 4629074"/>
                  <a:gd name="connsiteX77" fmla="*/ 1885948 w 5143488"/>
                  <a:gd name="connsiteY77" fmla="*/ 1714424 h 4629074"/>
                  <a:gd name="connsiteX78" fmla="*/ 1885948 w 5143488"/>
                  <a:gd name="connsiteY78" fmla="*/ 2571674 h 4629074"/>
                  <a:gd name="connsiteX79" fmla="*/ 342898 w 5143488"/>
                  <a:gd name="connsiteY79" fmla="*/ 2571674 h 4629074"/>
                  <a:gd name="connsiteX80" fmla="*/ 342898 w 5143488"/>
                  <a:gd name="connsiteY80" fmla="*/ 2400224 h 4629074"/>
                  <a:gd name="connsiteX81" fmla="*/ 257173 w 5143488"/>
                  <a:gd name="connsiteY81" fmla="*/ 2314499 h 4629074"/>
                  <a:gd name="connsiteX82" fmla="*/ 171448 w 5143488"/>
                  <a:gd name="connsiteY82" fmla="*/ 2400224 h 4629074"/>
                  <a:gd name="connsiteX83" fmla="*/ 171448 w 5143488"/>
                  <a:gd name="connsiteY83" fmla="*/ 4457624 h 4629074"/>
                  <a:gd name="connsiteX84" fmla="*/ 85725 w 5143488"/>
                  <a:gd name="connsiteY84" fmla="*/ 4457624 h 4629074"/>
                  <a:gd name="connsiteX85" fmla="*/ 0 w 5143488"/>
                  <a:gd name="connsiteY85" fmla="*/ 4543349 h 4629074"/>
                  <a:gd name="connsiteX86" fmla="*/ 85725 w 5143488"/>
                  <a:gd name="connsiteY86" fmla="*/ 4629074 h 4629074"/>
                  <a:gd name="connsiteX87" fmla="*/ 942963 w 5143488"/>
                  <a:gd name="connsiteY87" fmla="*/ 4457624 h 4629074"/>
                  <a:gd name="connsiteX88" fmla="*/ 942963 w 5143488"/>
                  <a:gd name="connsiteY88" fmla="*/ 4114724 h 4629074"/>
                  <a:gd name="connsiteX89" fmla="*/ 1285863 w 5143488"/>
                  <a:gd name="connsiteY89" fmla="*/ 4114724 h 4629074"/>
                  <a:gd name="connsiteX90" fmla="*/ 1285863 w 5143488"/>
                  <a:gd name="connsiteY90" fmla="*/ 4457624 h 4629074"/>
                  <a:gd name="connsiteX91" fmla="*/ 2707723 w 5143488"/>
                  <a:gd name="connsiteY91" fmla="*/ 2828849 h 4629074"/>
                  <a:gd name="connsiteX92" fmla="*/ 3050623 w 5143488"/>
                  <a:gd name="connsiteY92" fmla="*/ 3171749 h 4629074"/>
                  <a:gd name="connsiteX93" fmla="*/ 2848635 w 5143488"/>
                  <a:gd name="connsiteY93" fmla="*/ 3373619 h 4629074"/>
                  <a:gd name="connsiteX94" fmla="*/ 2546031 w 5143488"/>
                  <a:gd name="connsiteY94" fmla="*/ 2828849 h 4629074"/>
                  <a:gd name="connsiteX95" fmla="*/ 3171823 w 5143488"/>
                  <a:gd name="connsiteY95" fmla="*/ 3292950 h 4629074"/>
                  <a:gd name="connsiteX96" fmla="*/ 3314107 w 5143488"/>
                  <a:gd name="connsiteY96" fmla="*/ 3435234 h 4629074"/>
                  <a:gd name="connsiteX97" fmla="*/ 3314107 w 5143488"/>
                  <a:gd name="connsiteY97" fmla="*/ 3435273 h 4629074"/>
                  <a:gd name="connsiteX98" fmla="*/ 3171823 w 5143488"/>
                  <a:gd name="connsiteY98" fmla="*/ 3514649 h 4629074"/>
                  <a:gd name="connsiteX99" fmla="*/ 3029539 w 5143488"/>
                  <a:gd name="connsiteY99" fmla="*/ 3435273 h 4629074"/>
                  <a:gd name="connsiteX100" fmla="*/ 3171823 w 5143488"/>
                  <a:gd name="connsiteY100" fmla="*/ 3686099 h 4629074"/>
                  <a:gd name="connsiteX101" fmla="*/ 3227618 w 5143488"/>
                  <a:gd name="connsiteY101" fmla="*/ 3681544 h 4629074"/>
                  <a:gd name="connsiteX102" fmla="*/ 3331095 w 5143488"/>
                  <a:gd name="connsiteY102" fmla="*/ 4457624 h 4629074"/>
                  <a:gd name="connsiteX103" fmla="*/ 3012531 w 5143488"/>
                  <a:gd name="connsiteY103" fmla="*/ 4457624 h 4629074"/>
                  <a:gd name="connsiteX104" fmla="*/ 3116009 w 5143488"/>
                  <a:gd name="connsiteY104" fmla="*/ 3681544 h 4629074"/>
                  <a:gd name="connsiteX105" fmla="*/ 3171813 w 5143488"/>
                  <a:gd name="connsiteY105" fmla="*/ 3686099 h 4629074"/>
                  <a:gd name="connsiteX106" fmla="*/ 3390496 w 5143488"/>
                  <a:gd name="connsiteY106" fmla="*/ 3605851 h 4629074"/>
                  <a:gd name="connsiteX107" fmla="*/ 3436953 w 5143488"/>
                  <a:gd name="connsiteY107" fmla="*/ 3558129 h 4629074"/>
                  <a:gd name="connsiteX108" fmla="*/ 3454098 w 5143488"/>
                  <a:gd name="connsiteY108" fmla="*/ 3575274 h 4629074"/>
                  <a:gd name="connsiteX109" fmla="*/ 3514723 w 5143488"/>
                  <a:gd name="connsiteY109" fmla="*/ 3600374 h 4629074"/>
                  <a:gd name="connsiteX110" fmla="*/ 3526627 w 5143488"/>
                  <a:gd name="connsiteY110" fmla="*/ 3599532 h 4629074"/>
                  <a:gd name="connsiteX111" fmla="*/ 3589652 w 5143488"/>
                  <a:gd name="connsiteY111" fmla="*/ 3556669 h 4629074"/>
                  <a:gd name="connsiteX112" fmla="*/ 3715594 w 5143488"/>
                  <a:gd name="connsiteY112" fmla="*/ 3329914 h 4629074"/>
                  <a:gd name="connsiteX113" fmla="*/ 3483598 w 5143488"/>
                  <a:gd name="connsiteY113" fmla="*/ 4304084 h 4629074"/>
                  <a:gd name="connsiteX114" fmla="*/ 2753985 w 5143488"/>
                  <a:gd name="connsiteY114" fmla="*/ 3556287 h 4629074"/>
                  <a:gd name="connsiteX115" fmla="*/ 2753985 w 5143488"/>
                  <a:gd name="connsiteY115" fmla="*/ 3556326 h 4629074"/>
                  <a:gd name="connsiteX116" fmla="*/ 2817020 w 5143488"/>
                  <a:gd name="connsiteY116" fmla="*/ 3599189 h 4629074"/>
                  <a:gd name="connsiteX117" fmla="*/ 2828913 w 5143488"/>
                  <a:gd name="connsiteY117" fmla="*/ 3600374 h 4629074"/>
                  <a:gd name="connsiteX118" fmla="*/ 2889538 w 5143488"/>
                  <a:gd name="connsiteY118" fmla="*/ 3575274 h 4629074"/>
                  <a:gd name="connsiteX119" fmla="*/ 2906683 w 5143488"/>
                  <a:gd name="connsiteY119" fmla="*/ 3558129 h 4629074"/>
                  <a:gd name="connsiteX120" fmla="*/ 2953141 w 5143488"/>
                  <a:gd name="connsiteY120" fmla="*/ 3605851 h 4629074"/>
                  <a:gd name="connsiteX121" fmla="*/ 2860029 w 5143488"/>
                  <a:gd name="connsiteY121" fmla="*/ 4304093 h 4629074"/>
                  <a:gd name="connsiteX122" fmla="*/ 2628072 w 5143488"/>
                  <a:gd name="connsiteY122" fmla="*/ 3329581 h 4629074"/>
                  <a:gd name="connsiteX123" fmla="*/ 3495011 w 5143488"/>
                  <a:gd name="connsiteY123" fmla="*/ 3373619 h 4629074"/>
                  <a:gd name="connsiteX124" fmla="*/ 3293024 w 5143488"/>
                  <a:gd name="connsiteY124" fmla="*/ 3171749 h 4629074"/>
                  <a:gd name="connsiteX125" fmla="*/ 3635924 w 5143488"/>
                  <a:gd name="connsiteY125" fmla="*/ 2828849 h 4629074"/>
                  <a:gd name="connsiteX126" fmla="*/ 3797616 w 5143488"/>
                  <a:gd name="connsiteY126" fmla="*/ 2828849 h 4629074"/>
                  <a:gd name="connsiteX127" fmla="*/ 3514723 w 5143488"/>
                  <a:gd name="connsiteY127" fmla="*/ 2707639 h 4629074"/>
                  <a:gd name="connsiteX128" fmla="*/ 3171823 w 5143488"/>
                  <a:gd name="connsiteY128" fmla="*/ 3050539 h 4629074"/>
                  <a:gd name="connsiteX129" fmla="*/ 2828923 w 5143488"/>
                  <a:gd name="connsiteY129" fmla="*/ 2707639 h 4629074"/>
                  <a:gd name="connsiteX130" fmla="*/ 2828923 w 5143488"/>
                  <a:gd name="connsiteY130" fmla="*/ 2591915 h 4629074"/>
                  <a:gd name="connsiteX131" fmla="*/ 3514723 w 5143488"/>
                  <a:gd name="connsiteY131" fmla="*/ 2591915 h 4629074"/>
                  <a:gd name="connsiteX132" fmla="*/ 4114798 w 5143488"/>
                  <a:gd name="connsiteY132" fmla="*/ 1614082 h 4629074"/>
                  <a:gd name="connsiteX133" fmla="*/ 4114798 w 5143488"/>
                  <a:gd name="connsiteY133" fmla="*/ 1285838 h 4629074"/>
                  <a:gd name="connsiteX134" fmla="*/ 4200523 w 5143488"/>
                  <a:gd name="connsiteY134" fmla="*/ 1285838 h 4629074"/>
                  <a:gd name="connsiteX135" fmla="*/ 4261138 w 5143488"/>
                  <a:gd name="connsiteY135" fmla="*/ 1310939 h 4629074"/>
                  <a:gd name="connsiteX136" fmla="*/ 4286248 w 5143488"/>
                  <a:gd name="connsiteY136" fmla="*/ 1371563 h 4629074"/>
                  <a:gd name="connsiteX137" fmla="*/ 4238987 w 5143488"/>
                  <a:gd name="connsiteY137" fmla="*/ 1520010 h 4629074"/>
                  <a:gd name="connsiteX138" fmla="*/ 4114788 w 5143488"/>
                  <a:gd name="connsiteY138" fmla="*/ 1614082 h 4629074"/>
                  <a:gd name="connsiteX139" fmla="*/ 3428998 w 5143488"/>
                  <a:gd name="connsiteY139" fmla="*/ 1457288 h 4629074"/>
                  <a:gd name="connsiteX140" fmla="*/ 3600448 w 5143488"/>
                  <a:gd name="connsiteY140" fmla="*/ 1457288 h 4629074"/>
                  <a:gd name="connsiteX141" fmla="*/ 3600448 w 5143488"/>
                  <a:gd name="connsiteY141" fmla="*/ 1628738 h 4629074"/>
                  <a:gd name="connsiteX142" fmla="*/ 3428998 w 5143488"/>
                  <a:gd name="connsiteY142" fmla="*/ 1628738 h 4629074"/>
                  <a:gd name="connsiteX143" fmla="*/ 3257548 w 5143488"/>
                  <a:gd name="connsiteY143" fmla="*/ 1583309 h 4629074"/>
                  <a:gd name="connsiteX144" fmla="*/ 3257548 w 5143488"/>
                  <a:gd name="connsiteY144" fmla="*/ 1714463 h 4629074"/>
                  <a:gd name="connsiteX145" fmla="*/ 3282648 w 5143488"/>
                  <a:gd name="connsiteY145" fmla="*/ 1775078 h 4629074"/>
                  <a:gd name="connsiteX146" fmla="*/ 3343273 w 5143488"/>
                  <a:gd name="connsiteY146" fmla="*/ 1800188 h 4629074"/>
                  <a:gd name="connsiteX147" fmla="*/ 3686173 w 5143488"/>
                  <a:gd name="connsiteY147" fmla="*/ 1800188 h 4629074"/>
                  <a:gd name="connsiteX148" fmla="*/ 3746788 w 5143488"/>
                  <a:gd name="connsiteY148" fmla="*/ 1775078 h 4629074"/>
                  <a:gd name="connsiteX149" fmla="*/ 3771898 w 5143488"/>
                  <a:gd name="connsiteY149" fmla="*/ 1714463 h 4629074"/>
                  <a:gd name="connsiteX150" fmla="*/ 3771898 w 5143488"/>
                  <a:gd name="connsiteY150" fmla="*/ 1578489 h 4629074"/>
                  <a:gd name="connsiteX151" fmla="*/ 3943348 w 5143488"/>
                  <a:gd name="connsiteY151" fmla="*/ 1407039 h 4629074"/>
                  <a:gd name="connsiteX152" fmla="*/ 3943348 w 5143488"/>
                  <a:gd name="connsiteY152" fmla="*/ 1714463 h 4629074"/>
                  <a:gd name="connsiteX153" fmla="*/ 3557586 w 5143488"/>
                  <a:gd name="connsiteY153" fmla="*/ 2382619 h 4629074"/>
                  <a:gd name="connsiteX154" fmla="*/ 2786061 w 5143488"/>
                  <a:gd name="connsiteY154" fmla="*/ 2382619 h 4629074"/>
                  <a:gd name="connsiteX155" fmla="*/ 2400298 w 5143488"/>
                  <a:gd name="connsiteY155" fmla="*/ 1714463 h 4629074"/>
                  <a:gd name="connsiteX156" fmla="*/ 2400298 w 5143488"/>
                  <a:gd name="connsiteY156" fmla="*/ 1407039 h 4629074"/>
                  <a:gd name="connsiteX157" fmla="*/ 2571748 w 5143488"/>
                  <a:gd name="connsiteY157" fmla="*/ 1578489 h 4629074"/>
                  <a:gd name="connsiteX158" fmla="*/ 2571748 w 5143488"/>
                  <a:gd name="connsiteY158" fmla="*/ 1714463 h 4629074"/>
                  <a:gd name="connsiteX159" fmla="*/ 2596848 w 5143488"/>
                  <a:gd name="connsiteY159" fmla="*/ 1775078 h 4629074"/>
                  <a:gd name="connsiteX160" fmla="*/ 2657473 w 5143488"/>
                  <a:gd name="connsiteY160" fmla="*/ 1800188 h 4629074"/>
                  <a:gd name="connsiteX161" fmla="*/ 3000373 w 5143488"/>
                  <a:gd name="connsiteY161" fmla="*/ 1800188 h 4629074"/>
                  <a:gd name="connsiteX162" fmla="*/ 3060988 w 5143488"/>
                  <a:gd name="connsiteY162" fmla="*/ 1775078 h 4629074"/>
                  <a:gd name="connsiteX163" fmla="*/ 3086098 w 5143488"/>
                  <a:gd name="connsiteY163" fmla="*/ 1714463 h 4629074"/>
                  <a:gd name="connsiteX164" fmla="*/ 3086098 w 5143488"/>
                  <a:gd name="connsiteY164" fmla="*/ 1583309 h 4629074"/>
                  <a:gd name="connsiteX165" fmla="*/ 3171823 w 5143488"/>
                  <a:gd name="connsiteY165" fmla="*/ 1557856 h 4629074"/>
                  <a:gd name="connsiteX166" fmla="*/ 3257548 w 5143488"/>
                  <a:gd name="connsiteY166" fmla="*/ 1583309 h 4629074"/>
                  <a:gd name="connsiteX167" fmla="*/ 2743198 w 5143488"/>
                  <a:gd name="connsiteY167" fmla="*/ 1457288 h 4629074"/>
                  <a:gd name="connsiteX168" fmla="*/ 2914648 w 5143488"/>
                  <a:gd name="connsiteY168" fmla="*/ 1457288 h 4629074"/>
                  <a:gd name="connsiteX169" fmla="*/ 2914648 w 5143488"/>
                  <a:gd name="connsiteY169" fmla="*/ 1628738 h 4629074"/>
                  <a:gd name="connsiteX170" fmla="*/ 2743198 w 5143488"/>
                  <a:gd name="connsiteY170" fmla="*/ 1628738 h 4629074"/>
                  <a:gd name="connsiteX171" fmla="*/ 2228848 w 5143488"/>
                  <a:gd name="connsiteY171" fmla="*/ 1614082 h 4629074"/>
                  <a:gd name="connsiteX172" fmla="*/ 2104660 w 5143488"/>
                  <a:gd name="connsiteY172" fmla="*/ 1520010 h 4629074"/>
                  <a:gd name="connsiteX173" fmla="*/ 2057388 w 5143488"/>
                  <a:gd name="connsiteY173" fmla="*/ 1371563 h 4629074"/>
                  <a:gd name="connsiteX174" fmla="*/ 2143113 w 5143488"/>
                  <a:gd name="connsiteY174" fmla="*/ 1285838 h 4629074"/>
                  <a:gd name="connsiteX175" fmla="*/ 2228838 w 5143488"/>
                  <a:gd name="connsiteY175" fmla="*/ 1285838 h 4629074"/>
                  <a:gd name="connsiteX176" fmla="*/ 1371598 w 5143488"/>
                  <a:gd name="connsiteY176" fmla="*/ 3429003 h 4629074"/>
                  <a:gd name="connsiteX177" fmla="*/ 1543048 w 5143488"/>
                  <a:gd name="connsiteY177" fmla="*/ 3429003 h 4629074"/>
                  <a:gd name="connsiteX178" fmla="*/ 1543048 w 5143488"/>
                  <a:gd name="connsiteY178" fmla="*/ 3600453 h 4629074"/>
                  <a:gd name="connsiteX179" fmla="*/ 1371598 w 5143488"/>
                  <a:gd name="connsiteY179" fmla="*/ 3600453 h 4629074"/>
                  <a:gd name="connsiteX180" fmla="*/ 342898 w 5143488"/>
                  <a:gd name="connsiteY180" fmla="*/ 3257553 h 4629074"/>
                  <a:gd name="connsiteX181" fmla="*/ 342898 w 5143488"/>
                  <a:gd name="connsiteY181" fmla="*/ 3086103 h 4629074"/>
                  <a:gd name="connsiteX182" fmla="*/ 1885948 w 5143488"/>
                  <a:gd name="connsiteY182" fmla="*/ 3086103 h 4629074"/>
                  <a:gd name="connsiteX183" fmla="*/ 1885948 w 5143488"/>
                  <a:gd name="connsiteY183" fmla="*/ 3257553 h 4629074"/>
                  <a:gd name="connsiteX184" fmla="*/ 1028698 w 5143488"/>
                  <a:gd name="connsiteY184" fmla="*/ 3429003 h 4629074"/>
                  <a:gd name="connsiteX185" fmla="*/ 1200148 w 5143488"/>
                  <a:gd name="connsiteY185" fmla="*/ 3429003 h 4629074"/>
                  <a:gd name="connsiteX186" fmla="*/ 1200148 w 5143488"/>
                  <a:gd name="connsiteY186" fmla="*/ 3600453 h 4629074"/>
                  <a:gd name="connsiteX187" fmla="*/ 1028698 w 5143488"/>
                  <a:gd name="connsiteY187" fmla="*/ 3600453 h 4629074"/>
                  <a:gd name="connsiteX188" fmla="*/ 685798 w 5143488"/>
                  <a:gd name="connsiteY188" fmla="*/ 3429003 h 4629074"/>
                  <a:gd name="connsiteX189" fmla="*/ 857248 w 5143488"/>
                  <a:gd name="connsiteY189" fmla="*/ 3429003 h 4629074"/>
                  <a:gd name="connsiteX190" fmla="*/ 857248 w 5143488"/>
                  <a:gd name="connsiteY190" fmla="*/ 3600453 h 4629074"/>
                  <a:gd name="connsiteX191" fmla="*/ 685798 w 5143488"/>
                  <a:gd name="connsiteY191" fmla="*/ 3600453 h 4629074"/>
                  <a:gd name="connsiteX192" fmla="*/ 342898 w 5143488"/>
                  <a:gd name="connsiteY192" fmla="*/ 3429003 h 4629074"/>
                  <a:gd name="connsiteX193" fmla="*/ 514348 w 5143488"/>
                  <a:gd name="connsiteY193" fmla="*/ 3429003 h 4629074"/>
                  <a:gd name="connsiteX194" fmla="*/ 514348 w 5143488"/>
                  <a:gd name="connsiteY194" fmla="*/ 3600453 h 4629074"/>
                  <a:gd name="connsiteX195" fmla="*/ 342898 w 5143488"/>
                  <a:gd name="connsiteY195" fmla="*/ 3600453 h 4629074"/>
                  <a:gd name="connsiteX196" fmla="*/ 1714498 w 5143488"/>
                  <a:gd name="connsiteY196" fmla="*/ 3429003 h 4629074"/>
                  <a:gd name="connsiteX197" fmla="*/ 1885948 w 5143488"/>
                  <a:gd name="connsiteY197" fmla="*/ 3429003 h 4629074"/>
                  <a:gd name="connsiteX198" fmla="*/ 1885948 w 5143488"/>
                  <a:gd name="connsiteY198" fmla="*/ 3600453 h 4629074"/>
                  <a:gd name="connsiteX199" fmla="*/ 1714498 w 5143488"/>
                  <a:gd name="connsiteY199" fmla="*/ 3600453 h 4629074"/>
                  <a:gd name="connsiteX200" fmla="*/ 1885948 w 5143488"/>
                  <a:gd name="connsiteY200" fmla="*/ 2914653 h 4629074"/>
                  <a:gd name="connsiteX201" fmla="*/ 1714498 w 5143488"/>
                  <a:gd name="connsiteY201" fmla="*/ 2914653 h 4629074"/>
                  <a:gd name="connsiteX202" fmla="*/ 1714498 w 5143488"/>
                  <a:gd name="connsiteY202" fmla="*/ 2743203 h 4629074"/>
                  <a:gd name="connsiteX203" fmla="*/ 1885948 w 5143488"/>
                  <a:gd name="connsiteY203" fmla="*/ 2743203 h 4629074"/>
                  <a:gd name="connsiteX204" fmla="*/ 1543048 w 5143488"/>
                  <a:gd name="connsiteY204" fmla="*/ 2914653 h 4629074"/>
                  <a:gd name="connsiteX205" fmla="*/ 1371598 w 5143488"/>
                  <a:gd name="connsiteY205" fmla="*/ 2914653 h 4629074"/>
                  <a:gd name="connsiteX206" fmla="*/ 1371598 w 5143488"/>
                  <a:gd name="connsiteY206" fmla="*/ 2743203 h 4629074"/>
                  <a:gd name="connsiteX207" fmla="*/ 1543048 w 5143488"/>
                  <a:gd name="connsiteY207" fmla="*/ 2743203 h 4629074"/>
                  <a:gd name="connsiteX208" fmla="*/ 1200148 w 5143488"/>
                  <a:gd name="connsiteY208" fmla="*/ 2914653 h 4629074"/>
                  <a:gd name="connsiteX209" fmla="*/ 1028698 w 5143488"/>
                  <a:gd name="connsiteY209" fmla="*/ 2914653 h 4629074"/>
                  <a:gd name="connsiteX210" fmla="*/ 1028698 w 5143488"/>
                  <a:gd name="connsiteY210" fmla="*/ 2743203 h 4629074"/>
                  <a:gd name="connsiteX211" fmla="*/ 1200148 w 5143488"/>
                  <a:gd name="connsiteY211" fmla="*/ 2743203 h 4629074"/>
                  <a:gd name="connsiteX212" fmla="*/ 857248 w 5143488"/>
                  <a:gd name="connsiteY212" fmla="*/ 2914653 h 4629074"/>
                  <a:gd name="connsiteX213" fmla="*/ 685798 w 5143488"/>
                  <a:gd name="connsiteY213" fmla="*/ 2914653 h 4629074"/>
                  <a:gd name="connsiteX214" fmla="*/ 685798 w 5143488"/>
                  <a:gd name="connsiteY214" fmla="*/ 2743203 h 4629074"/>
                  <a:gd name="connsiteX215" fmla="*/ 857248 w 5143488"/>
                  <a:gd name="connsiteY215" fmla="*/ 2743203 h 4629074"/>
                  <a:gd name="connsiteX216" fmla="*/ 514348 w 5143488"/>
                  <a:gd name="connsiteY216" fmla="*/ 2743203 h 4629074"/>
                  <a:gd name="connsiteX217" fmla="*/ 514348 w 5143488"/>
                  <a:gd name="connsiteY217" fmla="*/ 2914653 h 4629074"/>
                  <a:gd name="connsiteX218" fmla="*/ 342898 w 5143488"/>
                  <a:gd name="connsiteY218" fmla="*/ 2914653 h 4629074"/>
                  <a:gd name="connsiteX219" fmla="*/ 342898 w 5143488"/>
                  <a:gd name="connsiteY219" fmla="*/ 2743203 h 4629074"/>
                  <a:gd name="connsiteX220" fmla="*/ 342898 w 5143488"/>
                  <a:gd name="connsiteY220" fmla="*/ 3771903 h 4629074"/>
                  <a:gd name="connsiteX221" fmla="*/ 1885948 w 5143488"/>
                  <a:gd name="connsiteY221" fmla="*/ 3771903 h 4629074"/>
                  <a:gd name="connsiteX222" fmla="*/ 1885948 w 5143488"/>
                  <a:gd name="connsiteY222" fmla="*/ 4200528 h 4629074"/>
                  <a:gd name="connsiteX223" fmla="*/ 1971673 w 5143488"/>
                  <a:gd name="connsiteY223" fmla="*/ 4286253 h 4629074"/>
                  <a:gd name="connsiteX224" fmla="*/ 2057398 w 5143488"/>
                  <a:gd name="connsiteY224" fmla="*/ 4200528 h 4629074"/>
                  <a:gd name="connsiteX225" fmla="*/ 2057398 w 5143488"/>
                  <a:gd name="connsiteY225" fmla="*/ 1712249 h 4629074"/>
                  <a:gd name="connsiteX226" fmla="*/ 2232787 w 5143488"/>
                  <a:gd name="connsiteY226" fmla="*/ 1791968 h 4629074"/>
                  <a:gd name="connsiteX227" fmla="*/ 2657473 w 5143488"/>
                  <a:gd name="connsiteY227" fmla="*/ 2503829 h 4629074"/>
                  <a:gd name="connsiteX228" fmla="*/ 2657473 w 5143488"/>
                  <a:gd name="connsiteY228" fmla="*/ 2657448 h 4629074"/>
                  <a:gd name="connsiteX229" fmla="*/ 2314573 w 5143488"/>
                  <a:gd name="connsiteY229" fmla="*/ 2657448 h 4629074"/>
                  <a:gd name="connsiteX230" fmla="*/ 2228848 w 5143488"/>
                  <a:gd name="connsiteY230" fmla="*/ 2743173 h 4629074"/>
                  <a:gd name="connsiteX231" fmla="*/ 2314573 w 5143488"/>
                  <a:gd name="connsiteY231" fmla="*/ 2828898 h 4629074"/>
                  <a:gd name="connsiteX232" fmla="*/ 2332561 w 5143488"/>
                  <a:gd name="connsiteY232" fmla="*/ 2828898 h 4629074"/>
                  <a:gd name="connsiteX233" fmla="*/ 2720390 w 5143488"/>
                  <a:gd name="connsiteY233" fmla="*/ 4457673 h 4629074"/>
                  <a:gd name="connsiteX234" fmla="*/ 1457343 w 5143488"/>
                  <a:gd name="connsiteY234" fmla="*/ 4457673 h 4629074"/>
                  <a:gd name="connsiteX235" fmla="*/ 1457343 w 5143488"/>
                  <a:gd name="connsiteY235" fmla="*/ 4029048 h 4629074"/>
                  <a:gd name="connsiteX236" fmla="*/ 1432233 w 5143488"/>
                  <a:gd name="connsiteY236" fmla="*/ 3968423 h 4629074"/>
                  <a:gd name="connsiteX237" fmla="*/ 1371618 w 5143488"/>
                  <a:gd name="connsiteY237" fmla="*/ 3943323 h 4629074"/>
                  <a:gd name="connsiteX238" fmla="*/ 857268 w 5143488"/>
                  <a:gd name="connsiteY238" fmla="*/ 3943323 h 4629074"/>
                  <a:gd name="connsiteX239" fmla="*/ 771543 w 5143488"/>
                  <a:gd name="connsiteY239" fmla="*/ 4029048 h 4629074"/>
                  <a:gd name="connsiteX240" fmla="*/ 771543 w 5143488"/>
                  <a:gd name="connsiteY240" fmla="*/ 4457673 h 4629074"/>
                  <a:gd name="connsiteX241" fmla="*/ 342918 w 5143488"/>
                  <a:gd name="connsiteY241" fmla="*/ 4457673 h 4629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</a:cxnLst>
                <a:rect l="l" t="t" r="r" b="b"/>
                <a:pathLst>
                  <a:path w="5143488" h="4629074">
                    <a:moveTo>
                      <a:pt x="85713" y="4629074"/>
                    </a:moveTo>
                    <a:lnTo>
                      <a:pt x="5057764" y="4629074"/>
                    </a:lnTo>
                    <a:cubicBezTo>
                      <a:pt x="5105103" y="4629074"/>
                      <a:pt x="5143489" y="4590689"/>
                      <a:pt x="5143489" y="4543349"/>
                    </a:cubicBezTo>
                    <a:cubicBezTo>
                      <a:pt x="5143489" y="4496009"/>
                      <a:pt x="5105103" y="4457624"/>
                      <a:pt x="5057764" y="4457624"/>
                    </a:cubicBezTo>
                    <a:lnTo>
                      <a:pt x="4371964" y="4457624"/>
                    </a:lnTo>
                    <a:lnTo>
                      <a:pt x="4371964" y="3771824"/>
                    </a:lnTo>
                    <a:cubicBezTo>
                      <a:pt x="4371964" y="3724484"/>
                      <a:pt x="4333578" y="3686099"/>
                      <a:pt x="4286239" y="3686099"/>
                    </a:cubicBezTo>
                    <a:cubicBezTo>
                      <a:pt x="4238899" y="3686099"/>
                      <a:pt x="4200514" y="3724484"/>
                      <a:pt x="4200514" y="3771824"/>
                    </a:cubicBezTo>
                    <a:lnTo>
                      <a:pt x="4200514" y="4457624"/>
                    </a:lnTo>
                    <a:lnTo>
                      <a:pt x="3623246" y="4457624"/>
                    </a:lnTo>
                    <a:lnTo>
                      <a:pt x="4011076" y="2828849"/>
                    </a:lnTo>
                    <a:lnTo>
                      <a:pt x="4114788" y="2828849"/>
                    </a:lnTo>
                    <a:cubicBezTo>
                      <a:pt x="4296614" y="2829045"/>
                      <a:pt x="4470934" y="2901368"/>
                      <a:pt x="4599483" y="3029955"/>
                    </a:cubicBezTo>
                    <a:cubicBezTo>
                      <a:pt x="4728070" y="3158504"/>
                      <a:pt x="4800403" y="3332824"/>
                      <a:pt x="4800589" y="3514649"/>
                    </a:cubicBezTo>
                    <a:lnTo>
                      <a:pt x="4800589" y="4200449"/>
                    </a:lnTo>
                    <a:cubicBezTo>
                      <a:pt x="4800589" y="4247789"/>
                      <a:pt x="4838974" y="4286174"/>
                      <a:pt x="4886314" y="4286174"/>
                    </a:cubicBezTo>
                    <a:cubicBezTo>
                      <a:pt x="4933653" y="4286174"/>
                      <a:pt x="4972039" y="4247789"/>
                      <a:pt x="4972039" y="4200449"/>
                    </a:cubicBezTo>
                    <a:lnTo>
                      <a:pt x="4972039" y="3514649"/>
                    </a:lnTo>
                    <a:cubicBezTo>
                      <a:pt x="4971774" y="3287365"/>
                      <a:pt x="4881375" y="3069457"/>
                      <a:pt x="4720683" y="2908755"/>
                    </a:cubicBezTo>
                    <a:cubicBezTo>
                      <a:pt x="4559990" y="2748052"/>
                      <a:pt x="4342072" y="2657664"/>
                      <a:pt x="4114788" y="2657399"/>
                    </a:cubicBezTo>
                    <a:lnTo>
                      <a:pt x="3686163" y="2657399"/>
                    </a:lnTo>
                    <a:lnTo>
                      <a:pt x="3686163" y="2503780"/>
                    </a:lnTo>
                    <a:cubicBezTo>
                      <a:pt x="3929946" y="2344841"/>
                      <a:pt x="4086661" y="2082277"/>
                      <a:pt x="4110850" y="1792262"/>
                    </a:cubicBezTo>
                    <a:cubicBezTo>
                      <a:pt x="4208478" y="1773207"/>
                      <a:pt x="4296418" y="1720812"/>
                      <a:pt x="4359678" y="1644041"/>
                    </a:cubicBezTo>
                    <a:cubicBezTo>
                      <a:pt x="4422938" y="1567310"/>
                      <a:pt x="4457571" y="1470985"/>
                      <a:pt x="4457689" y="1371524"/>
                    </a:cubicBezTo>
                    <a:cubicBezTo>
                      <a:pt x="4457532" y="1325144"/>
                      <a:pt x="4444796" y="1279676"/>
                      <a:pt x="4420831" y="1239988"/>
                    </a:cubicBezTo>
                    <a:cubicBezTo>
                      <a:pt x="4396878" y="1200260"/>
                      <a:pt x="4362588" y="1167812"/>
                      <a:pt x="4321635" y="1146072"/>
                    </a:cubicBezTo>
                    <a:cubicBezTo>
                      <a:pt x="4410613" y="898498"/>
                      <a:pt x="4380497" y="623768"/>
                      <a:pt x="4239928" y="401373"/>
                    </a:cubicBezTo>
                    <a:cubicBezTo>
                      <a:pt x="4214749" y="361304"/>
                      <a:pt x="4161825" y="349249"/>
                      <a:pt x="4121715" y="374469"/>
                    </a:cubicBezTo>
                    <a:cubicBezTo>
                      <a:pt x="4081655" y="399650"/>
                      <a:pt x="4069594" y="452578"/>
                      <a:pt x="4094812" y="492681"/>
                    </a:cubicBezTo>
                    <a:cubicBezTo>
                      <a:pt x="4212985" y="678709"/>
                      <a:pt x="4233236" y="910627"/>
                      <a:pt x="4149078" y="1114339"/>
                    </a:cubicBezTo>
                    <a:lnTo>
                      <a:pt x="4044406" y="1114339"/>
                    </a:lnTo>
                    <a:cubicBezTo>
                      <a:pt x="3727037" y="1006110"/>
                      <a:pt x="3447358" y="809100"/>
                      <a:pt x="3238591" y="546683"/>
                    </a:cubicBezTo>
                    <a:cubicBezTo>
                      <a:pt x="3221338" y="526974"/>
                      <a:pt x="3196189" y="516067"/>
                      <a:pt x="3170011" y="516908"/>
                    </a:cubicBezTo>
                    <a:cubicBezTo>
                      <a:pt x="3143186" y="517980"/>
                      <a:pt x="3118125" y="530685"/>
                      <a:pt x="3101431" y="551734"/>
                    </a:cubicBezTo>
                    <a:cubicBezTo>
                      <a:pt x="3026306" y="645232"/>
                      <a:pt x="2941806" y="730762"/>
                      <a:pt x="2849233" y="807042"/>
                    </a:cubicBezTo>
                    <a:cubicBezTo>
                      <a:pt x="2817167" y="838040"/>
                      <a:pt x="2814218" y="888437"/>
                      <a:pt x="2842502" y="922962"/>
                    </a:cubicBezTo>
                    <a:cubicBezTo>
                      <a:pt x="2870786" y="957477"/>
                      <a:pt x="2920801" y="964561"/>
                      <a:pt x="2957501" y="939225"/>
                    </a:cubicBezTo>
                    <a:cubicBezTo>
                      <a:pt x="3034115" y="876112"/>
                      <a:pt x="3105761" y="807228"/>
                      <a:pt x="3171813" y="733142"/>
                    </a:cubicBezTo>
                    <a:cubicBezTo>
                      <a:pt x="3365082" y="951050"/>
                      <a:pt x="3605494" y="1122001"/>
                      <a:pt x="3874758" y="1233061"/>
                    </a:cubicBezTo>
                    <a:lnTo>
                      <a:pt x="3765883" y="1341937"/>
                    </a:lnTo>
                    <a:cubicBezTo>
                      <a:pt x="3753597" y="1308450"/>
                      <a:pt x="3721835" y="1286103"/>
                      <a:pt x="3686163" y="1285789"/>
                    </a:cubicBezTo>
                    <a:lnTo>
                      <a:pt x="3343263" y="1285789"/>
                    </a:lnTo>
                    <a:cubicBezTo>
                      <a:pt x="3295924" y="1285789"/>
                      <a:pt x="3257538" y="1324175"/>
                      <a:pt x="3257538" y="1371514"/>
                    </a:cubicBezTo>
                    <a:lnTo>
                      <a:pt x="3257538" y="1399221"/>
                    </a:lnTo>
                    <a:cubicBezTo>
                      <a:pt x="3201401" y="1383957"/>
                      <a:pt x="3142226" y="1383957"/>
                      <a:pt x="3086088" y="1399221"/>
                    </a:cubicBezTo>
                    <a:lnTo>
                      <a:pt x="3086088" y="1371514"/>
                    </a:lnTo>
                    <a:cubicBezTo>
                      <a:pt x="3086088" y="1348785"/>
                      <a:pt x="3077055" y="1326967"/>
                      <a:pt x="3060988" y="1310899"/>
                    </a:cubicBezTo>
                    <a:cubicBezTo>
                      <a:pt x="3044911" y="1294822"/>
                      <a:pt x="3023103" y="1285789"/>
                      <a:pt x="3000363" y="1285789"/>
                    </a:cubicBezTo>
                    <a:lnTo>
                      <a:pt x="2657463" y="1285789"/>
                    </a:lnTo>
                    <a:cubicBezTo>
                      <a:pt x="2621762" y="1285907"/>
                      <a:pt x="2589922" y="1308333"/>
                      <a:pt x="2577754" y="1341937"/>
                    </a:cubicBezTo>
                    <a:lnTo>
                      <a:pt x="2468114" y="1232366"/>
                    </a:lnTo>
                    <a:cubicBezTo>
                      <a:pt x="2533863" y="1205188"/>
                      <a:pt x="2598152" y="1174533"/>
                      <a:pt x="2660648" y="1140478"/>
                    </a:cubicBezTo>
                    <a:cubicBezTo>
                      <a:pt x="2702128" y="1117631"/>
                      <a:pt x="2717206" y="1065510"/>
                      <a:pt x="2694359" y="1024019"/>
                    </a:cubicBezTo>
                    <a:cubicBezTo>
                      <a:pt x="2671512" y="982529"/>
                      <a:pt x="2619392" y="967461"/>
                      <a:pt x="2577901" y="990307"/>
                    </a:cubicBezTo>
                    <a:cubicBezTo>
                      <a:pt x="2488619" y="1039636"/>
                      <a:pt x="2395233" y="1081117"/>
                      <a:pt x="2298800" y="1114339"/>
                    </a:cubicBezTo>
                    <a:lnTo>
                      <a:pt x="2188043" y="1114339"/>
                    </a:lnTo>
                    <a:cubicBezTo>
                      <a:pt x="2117553" y="941047"/>
                      <a:pt x="2120991" y="746476"/>
                      <a:pt x="2197576" y="575834"/>
                    </a:cubicBezTo>
                    <a:cubicBezTo>
                      <a:pt x="2274150" y="405149"/>
                      <a:pt x="2417208" y="273191"/>
                      <a:pt x="2593478" y="210666"/>
                    </a:cubicBezTo>
                    <a:cubicBezTo>
                      <a:pt x="2769788" y="148094"/>
                      <a:pt x="2963967" y="160340"/>
                      <a:pt x="3131018" y="244572"/>
                    </a:cubicBezTo>
                    <a:cubicBezTo>
                      <a:pt x="3155276" y="256781"/>
                      <a:pt x="3183903" y="256781"/>
                      <a:pt x="3208171" y="244572"/>
                    </a:cubicBezTo>
                    <a:cubicBezTo>
                      <a:pt x="3422366" y="137872"/>
                      <a:pt x="3676631" y="150199"/>
                      <a:pt x="3879471" y="277140"/>
                    </a:cubicBezTo>
                    <a:cubicBezTo>
                      <a:pt x="3919502" y="301595"/>
                      <a:pt x="3971701" y="289348"/>
                      <a:pt x="3996694" y="249662"/>
                    </a:cubicBezTo>
                    <a:cubicBezTo>
                      <a:pt x="4021676" y="210014"/>
                      <a:pt x="4010165" y="157623"/>
                      <a:pt x="3970858" y="132096"/>
                    </a:cubicBezTo>
                    <a:cubicBezTo>
                      <a:pt x="3729604" y="-17918"/>
                      <a:pt x="3430105" y="-39961"/>
                      <a:pt x="3169521" y="73199"/>
                    </a:cubicBezTo>
                    <a:cubicBezTo>
                      <a:pt x="2963585" y="-17846"/>
                      <a:pt x="2730099" y="-24198"/>
                      <a:pt x="2519539" y="55480"/>
                    </a:cubicBezTo>
                    <a:cubicBezTo>
                      <a:pt x="2308979" y="135158"/>
                      <a:pt x="2138176" y="294481"/>
                      <a:pt x="2044074" y="498996"/>
                    </a:cubicBezTo>
                    <a:cubicBezTo>
                      <a:pt x="1950002" y="703555"/>
                      <a:pt x="1940136" y="936884"/>
                      <a:pt x="2016671" y="1148639"/>
                    </a:cubicBezTo>
                    <a:cubicBezTo>
                      <a:pt x="1977101" y="1170869"/>
                      <a:pt x="1944114" y="1203209"/>
                      <a:pt x="1921149" y="1242398"/>
                    </a:cubicBezTo>
                    <a:cubicBezTo>
                      <a:pt x="1898185" y="1281547"/>
                      <a:pt x="1886017" y="1326134"/>
                      <a:pt x="1885938" y="1371524"/>
                    </a:cubicBezTo>
                    <a:cubicBezTo>
                      <a:pt x="1885977" y="1430571"/>
                      <a:pt x="1898381" y="1488972"/>
                      <a:pt x="1922296" y="1542974"/>
                    </a:cubicBezTo>
                    <a:lnTo>
                      <a:pt x="257173" y="1542974"/>
                    </a:lnTo>
                    <a:cubicBezTo>
                      <a:pt x="209833" y="1542974"/>
                      <a:pt x="171448" y="1581359"/>
                      <a:pt x="171448" y="1628699"/>
                    </a:cubicBezTo>
                    <a:lnTo>
                      <a:pt x="171448" y="2057324"/>
                    </a:lnTo>
                    <a:cubicBezTo>
                      <a:pt x="171448" y="2104664"/>
                      <a:pt x="209833" y="2143049"/>
                      <a:pt x="257173" y="2143049"/>
                    </a:cubicBezTo>
                    <a:cubicBezTo>
                      <a:pt x="304513" y="2143049"/>
                      <a:pt x="342898" y="2104664"/>
                      <a:pt x="342898" y="2057324"/>
                    </a:cubicBezTo>
                    <a:lnTo>
                      <a:pt x="342898" y="1714424"/>
                    </a:lnTo>
                    <a:lnTo>
                      <a:pt x="1885948" y="1714424"/>
                    </a:lnTo>
                    <a:lnTo>
                      <a:pt x="1885948" y="2571674"/>
                    </a:lnTo>
                    <a:lnTo>
                      <a:pt x="342898" y="2571674"/>
                    </a:lnTo>
                    <a:lnTo>
                      <a:pt x="342898" y="2400224"/>
                    </a:lnTo>
                    <a:cubicBezTo>
                      <a:pt x="342898" y="2352884"/>
                      <a:pt x="304513" y="2314499"/>
                      <a:pt x="257173" y="2314499"/>
                    </a:cubicBezTo>
                    <a:cubicBezTo>
                      <a:pt x="209833" y="2314499"/>
                      <a:pt x="171448" y="2352884"/>
                      <a:pt x="171448" y="2400224"/>
                    </a:cubicBezTo>
                    <a:lnTo>
                      <a:pt x="171448" y="4457624"/>
                    </a:lnTo>
                    <a:lnTo>
                      <a:pt x="85725" y="4457624"/>
                    </a:lnTo>
                    <a:cubicBezTo>
                      <a:pt x="38385" y="4457624"/>
                      <a:pt x="0" y="4496009"/>
                      <a:pt x="0" y="4543349"/>
                    </a:cubicBezTo>
                    <a:cubicBezTo>
                      <a:pt x="0" y="4590689"/>
                      <a:pt x="38385" y="4629074"/>
                      <a:pt x="85725" y="4629074"/>
                    </a:cubicBezTo>
                    <a:close/>
                    <a:moveTo>
                      <a:pt x="942963" y="4457624"/>
                    </a:moveTo>
                    <a:lnTo>
                      <a:pt x="942963" y="4114724"/>
                    </a:lnTo>
                    <a:lnTo>
                      <a:pt x="1285863" y="4114724"/>
                    </a:lnTo>
                    <a:lnTo>
                      <a:pt x="1285863" y="4457624"/>
                    </a:lnTo>
                    <a:close/>
                    <a:moveTo>
                      <a:pt x="2707723" y="2828849"/>
                    </a:moveTo>
                    <a:lnTo>
                      <a:pt x="3050623" y="3171749"/>
                    </a:lnTo>
                    <a:lnTo>
                      <a:pt x="2848635" y="3373619"/>
                    </a:lnTo>
                    <a:lnTo>
                      <a:pt x="2546031" y="2828849"/>
                    </a:lnTo>
                    <a:close/>
                    <a:moveTo>
                      <a:pt x="3171823" y="3292950"/>
                    </a:moveTo>
                    <a:lnTo>
                      <a:pt x="3314107" y="3435234"/>
                    </a:lnTo>
                    <a:lnTo>
                      <a:pt x="3314107" y="3435273"/>
                    </a:lnTo>
                    <a:cubicBezTo>
                      <a:pt x="3283648" y="3484601"/>
                      <a:pt x="3229793" y="3514649"/>
                      <a:pt x="3171823" y="3514649"/>
                    </a:cubicBezTo>
                    <a:cubicBezTo>
                      <a:pt x="3113844" y="3514649"/>
                      <a:pt x="3059999" y="3484601"/>
                      <a:pt x="3029539" y="3435273"/>
                    </a:cubicBezTo>
                    <a:close/>
                    <a:moveTo>
                      <a:pt x="3171823" y="3686099"/>
                    </a:moveTo>
                    <a:cubicBezTo>
                      <a:pt x="3190536" y="3686099"/>
                      <a:pt x="3209180" y="3684610"/>
                      <a:pt x="3227618" y="3681544"/>
                    </a:cubicBezTo>
                    <a:lnTo>
                      <a:pt x="3331095" y="4457624"/>
                    </a:lnTo>
                    <a:lnTo>
                      <a:pt x="3012531" y="4457624"/>
                    </a:lnTo>
                    <a:lnTo>
                      <a:pt x="3116009" y="3681544"/>
                    </a:lnTo>
                    <a:cubicBezTo>
                      <a:pt x="3134457" y="3684610"/>
                      <a:pt x="3153101" y="3686099"/>
                      <a:pt x="3171813" y="3686099"/>
                    </a:cubicBezTo>
                    <a:close/>
                    <a:moveTo>
                      <a:pt x="3390496" y="3605851"/>
                    </a:moveTo>
                    <a:cubicBezTo>
                      <a:pt x="3407523" y="3591498"/>
                      <a:pt x="3423061" y="3575499"/>
                      <a:pt x="3436953" y="3558129"/>
                    </a:cubicBezTo>
                    <a:lnTo>
                      <a:pt x="3454098" y="3575274"/>
                    </a:lnTo>
                    <a:cubicBezTo>
                      <a:pt x="3470176" y="3591341"/>
                      <a:pt x="3491984" y="3600374"/>
                      <a:pt x="3514723" y="3600374"/>
                    </a:cubicBezTo>
                    <a:cubicBezTo>
                      <a:pt x="3518701" y="3600374"/>
                      <a:pt x="3522678" y="3600110"/>
                      <a:pt x="3526627" y="3599532"/>
                    </a:cubicBezTo>
                    <a:cubicBezTo>
                      <a:pt x="3553177" y="3595858"/>
                      <a:pt x="3576484" y="3580016"/>
                      <a:pt x="3589652" y="3556669"/>
                    </a:cubicBezTo>
                    <a:lnTo>
                      <a:pt x="3715594" y="3329914"/>
                    </a:lnTo>
                    <a:lnTo>
                      <a:pt x="3483598" y="4304084"/>
                    </a:lnTo>
                    <a:close/>
                    <a:moveTo>
                      <a:pt x="2753985" y="3556287"/>
                    </a:moveTo>
                    <a:lnTo>
                      <a:pt x="2753985" y="3556326"/>
                    </a:lnTo>
                    <a:cubicBezTo>
                      <a:pt x="2767152" y="3579673"/>
                      <a:pt x="2790460" y="3595515"/>
                      <a:pt x="2817020" y="3599189"/>
                    </a:cubicBezTo>
                    <a:cubicBezTo>
                      <a:pt x="2820919" y="3599875"/>
                      <a:pt x="2824936" y="3600257"/>
                      <a:pt x="2828913" y="3600374"/>
                    </a:cubicBezTo>
                    <a:cubicBezTo>
                      <a:pt x="2851653" y="3600374"/>
                      <a:pt x="2873461" y="3591341"/>
                      <a:pt x="2889538" y="3575274"/>
                    </a:cubicBezTo>
                    <a:lnTo>
                      <a:pt x="2906683" y="3558129"/>
                    </a:lnTo>
                    <a:cubicBezTo>
                      <a:pt x="2920575" y="3575499"/>
                      <a:pt x="2936114" y="3591498"/>
                      <a:pt x="2953141" y="3605851"/>
                    </a:cubicBezTo>
                    <a:lnTo>
                      <a:pt x="2860029" y="4304093"/>
                    </a:lnTo>
                    <a:lnTo>
                      <a:pt x="2628072" y="3329581"/>
                    </a:lnTo>
                    <a:close/>
                    <a:moveTo>
                      <a:pt x="3495011" y="3373619"/>
                    </a:moveTo>
                    <a:lnTo>
                      <a:pt x="3293024" y="3171749"/>
                    </a:lnTo>
                    <a:lnTo>
                      <a:pt x="3635924" y="2828849"/>
                    </a:lnTo>
                    <a:lnTo>
                      <a:pt x="3797616" y="2828849"/>
                    </a:lnTo>
                    <a:close/>
                    <a:moveTo>
                      <a:pt x="3514723" y="2707639"/>
                    </a:moveTo>
                    <a:lnTo>
                      <a:pt x="3171823" y="3050539"/>
                    </a:lnTo>
                    <a:lnTo>
                      <a:pt x="2828923" y="2707639"/>
                    </a:lnTo>
                    <a:lnTo>
                      <a:pt x="2828923" y="2591915"/>
                    </a:lnTo>
                    <a:cubicBezTo>
                      <a:pt x="3049163" y="2679208"/>
                      <a:pt x="3294483" y="2679208"/>
                      <a:pt x="3514723" y="2591915"/>
                    </a:cubicBezTo>
                    <a:close/>
                    <a:moveTo>
                      <a:pt x="4114798" y="1614082"/>
                    </a:moveTo>
                    <a:lnTo>
                      <a:pt x="4114798" y="1285838"/>
                    </a:lnTo>
                    <a:lnTo>
                      <a:pt x="4200523" y="1285838"/>
                    </a:lnTo>
                    <a:cubicBezTo>
                      <a:pt x="4223253" y="1285838"/>
                      <a:pt x="4245071" y="1294871"/>
                      <a:pt x="4261138" y="1310939"/>
                    </a:cubicBezTo>
                    <a:cubicBezTo>
                      <a:pt x="4277215" y="1327016"/>
                      <a:pt x="4286248" y="1348834"/>
                      <a:pt x="4286248" y="1371563"/>
                    </a:cubicBezTo>
                    <a:cubicBezTo>
                      <a:pt x="4286170" y="1424723"/>
                      <a:pt x="4269672" y="1476579"/>
                      <a:pt x="4238987" y="1520010"/>
                    </a:cubicBezTo>
                    <a:cubicBezTo>
                      <a:pt x="4208293" y="1563411"/>
                      <a:pt x="4164891" y="1596280"/>
                      <a:pt x="4114788" y="1614082"/>
                    </a:cubicBezTo>
                    <a:close/>
                    <a:moveTo>
                      <a:pt x="3428998" y="1457288"/>
                    </a:moveTo>
                    <a:lnTo>
                      <a:pt x="3600448" y="1457288"/>
                    </a:lnTo>
                    <a:lnTo>
                      <a:pt x="3600448" y="1628738"/>
                    </a:lnTo>
                    <a:lnTo>
                      <a:pt x="3428998" y="1628738"/>
                    </a:lnTo>
                    <a:close/>
                    <a:moveTo>
                      <a:pt x="3257548" y="1583309"/>
                    </a:moveTo>
                    <a:lnTo>
                      <a:pt x="3257548" y="1714463"/>
                    </a:lnTo>
                    <a:cubicBezTo>
                      <a:pt x="3257548" y="1737193"/>
                      <a:pt x="3266581" y="1759011"/>
                      <a:pt x="3282648" y="1775078"/>
                    </a:cubicBezTo>
                    <a:cubicBezTo>
                      <a:pt x="3298726" y="1791155"/>
                      <a:pt x="3320534" y="1800188"/>
                      <a:pt x="3343273" y="1800188"/>
                    </a:cubicBezTo>
                    <a:lnTo>
                      <a:pt x="3686173" y="1800188"/>
                    </a:lnTo>
                    <a:cubicBezTo>
                      <a:pt x="3708903" y="1800188"/>
                      <a:pt x="3730721" y="1791155"/>
                      <a:pt x="3746788" y="1775078"/>
                    </a:cubicBezTo>
                    <a:cubicBezTo>
                      <a:pt x="3762865" y="1759011"/>
                      <a:pt x="3771898" y="1737193"/>
                      <a:pt x="3771898" y="1714463"/>
                    </a:cubicBezTo>
                    <a:lnTo>
                      <a:pt x="3771898" y="1578489"/>
                    </a:lnTo>
                    <a:lnTo>
                      <a:pt x="3943348" y="1407039"/>
                    </a:lnTo>
                    <a:lnTo>
                      <a:pt x="3943348" y="1714463"/>
                    </a:lnTo>
                    <a:cubicBezTo>
                      <a:pt x="3943348" y="1990086"/>
                      <a:pt x="3796313" y="2244812"/>
                      <a:pt x="3557586" y="2382619"/>
                    </a:cubicBezTo>
                    <a:cubicBezTo>
                      <a:pt x="3318859" y="2520425"/>
                      <a:pt x="3024788" y="2520425"/>
                      <a:pt x="2786061" y="2382619"/>
                    </a:cubicBezTo>
                    <a:cubicBezTo>
                      <a:pt x="2547334" y="2244812"/>
                      <a:pt x="2400298" y="1990086"/>
                      <a:pt x="2400298" y="1714463"/>
                    </a:cubicBezTo>
                    <a:lnTo>
                      <a:pt x="2400298" y="1407039"/>
                    </a:lnTo>
                    <a:lnTo>
                      <a:pt x="2571748" y="1578489"/>
                    </a:lnTo>
                    <a:lnTo>
                      <a:pt x="2571748" y="1714463"/>
                    </a:lnTo>
                    <a:cubicBezTo>
                      <a:pt x="2571748" y="1737193"/>
                      <a:pt x="2580781" y="1759011"/>
                      <a:pt x="2596848" y="1775078"/>
                    </a:cubicBezTo>
                    <a:cubicBezTo>
                      <a:pt x="2612926" y="1791155"/>
                      <a:pt x="2634734" y="1800188"/>
                      <a:pt x="2657473" y="1800188"/>
                    </a:cubicBezTo>
                    <a:lnTo>
                      <a:pt x="3000373" y="1800188"/>
                    </a:lnTo>
                    <a:cubicBezTo>
                      <a:pt x="3023103" y="1800188"/>
                      <a:pt x="3044921" y="1791155"/>
                      <a:pt x="3060988" y="1775078"/>
                    </a:cubicBezTo>
                    <a:cubicBezTo>
                      <a:pt x="3077065" y="1759011"/>
                      <a:pt x="3086098" y="1737193"/>
                      <a:pt x="3086098" y="1714463"/>
                    </a:cubicBezTo>
                    <a:lnTo>
                      <a:pt x="3086098" y="1583309"/>
                    </a:lnTo>
                    <a:cubicBezTo>
                      <a:pt x="3111580" y="1566703"/>
                      <a:pt x="3141393" y="1557856"/>
                      <a:pt x="3171823" y="1557856"/>
                    </a:cubicBezTo>
                    <a:cubicBezTo>
                      <a:pt x="3202243" y="1557856"/>
                      <a:pt x="3232056" y="1566703"/>
                      <a:pt x="3257548" y="1583309"/>
                    </a:cubicBezTo>
                    <a:close/>
                    <a:moveTo>
                      <a:pt x="2743198" y="1457288"/>
                    </a:moveTo>
                    <a:lnTo>
                      <a:pt x="2914648" y="1457288"/>
                    </a:lnTo>
                    <a:lnTo>
                      <a:pt x="2914648" y="1628738"/>
                    </a:lnTo>
                    <a:lnTo>
                      <a:pt x="2743198" y="1628738"/>
                    </a:lnTo>
                    <a:close/>
                    <a:moveTo>
                      <a:pt x="2228848" y="1614082"/>
                    </a:moveTo>
                    <a:cubicBezTo>
                      <a:pt x="2178746" y="1596290"/>
                      <a:pt x="2135354" y="1563411"/>
                      <a:pt x="2104660" y="1520010"/>
                    </a:cubicBezTo>
                    <a:cubicBezTo>
                      <a:pt x="2073965" y="1476579"/>
                      <a:pt x="2057467" y="1424723"/>
                      <a:pt x="2057388" y="1371563"/>
                    </a:cubicBezTo>
                    <a:cubicBezTo>
                      <a:pt x="2057388" y="1324223"/>
                      <a:pt x="2095774" y="1285838"/>
                      <a:pt x="2143113" y="1285838"/>
                    </a:cubicBezTo>
                    <a:lnTo>
                      <a:pt x="2228838" y="1285838"/>
                    </a:lnTo>
                    <a:close/>
                    <a:moveTo>
                      <a:pt x="1371598" y="3429003"/>
                    </a:moveTo>
                    <a:lnTo>
                      <a:pt x="1543048" y="3429003"/>
                    </a:lnTo>
                    <a:lnTo>
                      <a:pt x="1543048" y="3600453"/>
                    </a:lnTo>
                    <a:lnTo>
                      <a:pt x="1371598" y="3600453"/>
                    </a:lnTo>
                    <a:close/>
                    <a:moveTo>
                      <a:pt x="342898" y="3257553"/>
                    </a:moveTo>
                    <a:lnTo>
                      <a:pt x="342898" y="3086103"/>
                    </a:lnTo>
                    <a:lnTo>
                      <a:pt x="1885948" y="3086103"/>
                    </a:lnTo>
                    <a:lnTo>
                      <a:pt x="1885948" y="3257553"/>
                    </a:lnTo>
                    <a:close/>
                    <a:moveTo>
                      <a:pt x="1028698" y="3429003"/>
                    </a:moveTo>
                    <a:lnTo>
                      <a:pt x="1200148" y="3429003"/>
                    </a:lnTo>
                    <a:lnTo>
                      <a:pt x="1200148" y="3600453"/>
                    </a:lnTo>
                    <a:lnTo>
                      <a:pt x="1028698" y="3600453"/>
                    </a:lnTo>
                    <a:close/>
                    <a:moveTo>
                      <a:pt x="685798" y="3429003"/>
                    </a:moveTo>
                    <a:lnTo>
                      <a:pt x="857248" y="3429003"/>
                    </a:lnTo>
                    <a:lnTo>
                      <a:pt x="857248" y="3600453"/>
                    </a:lnTo>
                    <a:lnTo>
                      <a:pt x="685798" y="3600453"/>
                    </a:lnTo>
                    <a:close/>
                    <a:moveTo>
                      <a:pt x="342898" y="3429003"/>
                    </a:moveTo>
                    <a:lnTo>
                      <a:pt x="514348" y="3429003"/>
                    </a:lnTo>
                    <a:lnTo>
                      <a:pt x="514348" y="3600453"/>
                    </a:lnTo>
                    <a:lnTo>
                      <a:pt x="342898" y="3600453"/>
                    </a:lnTo>
                    <a:close/>
                    <a:moveTo>
                      <a:pt x="1714498" y="3429003"/>
                    </a:moveTo>
                    <a:lnTo>
                      <a:pt x="1885948" y="3429003"/>
                    </a:lnTo>
                    <a:lnTo>
                      <a:pt x="1885948" y="3600453"/>
                    </a:lnTo>
                    <a:lnTo>
                      <a:pt x="1714498" y="3600453"/>
                    </a:lnTo>
                    <a:close/>
                    <a:moveTo>
                      <a:pt x="1885948" y="2914653"/>
                    </a:moveTo>
                    <a:lnTo>
                      <a:pt x="1714498" y="2914653"/>
                    </a:lnTo>
                    <a:lnTo>
                      <a:pt x="1714498" y="2743203"/>
                    </a:lnTo>
                    <a:lnTo>
                      <a:pt x="1885948" y="2743203"/>
                    </a:lnTo>
                    <a:close/>
                    <a:moveTo>
                      <a:pt x="1543048" y="2914653"/>
                    </a:moveTo>
                    <a:lnTo>
                      <a:pt x="1371598" y="2914653"/>
                    </a:lnTo>
                    <a:lnTo>
                      <a:pt x="1371598" y="2743203"/>
                    </a:lnTo>
                    <a:lnTo>
                      <a:pt x="1543048" y="2743203"/>
                    </a:lnTo>
                    <a:close/>
                    <a:moveTo>
                      <a:pt x="1200148" y="2914653"/>
                    </a:moveTo>
                    <a:lnTo>
                      <a:pt x="1028698" y="2914653"/>
                    </a:lnTo>
                    <a:lnTo>
                      <a:pt x="1028698" y="2743203"/>
                    </a:lnTo>
                    <a:lnTo>
                      <a:pt x="1200148" y="2743203"/>
                    </a:lnTo>
                    <a:close/>
                    <a:moveTo>
                      <a:pt x="857248" y="2914653"/>
                    </a:moveTo>
                    <a:lnTo>
                      <a:pt x="685798" y="2914653"/>
                    </a:lnTo>
                    <a:lnTo>
                      <a:pt x="685798" y="2743203"/>
                    </a:lnTo>
                    <a:lnTo>
                      <a:pt x="857248" y="2743203"/>
                    </a:lnTo>
                    <a:close/>
                    <a:moveTo>
                      <a:pt x="514348" y="2743203"/>
                    </a:moveTo>
                    <a:lnTo>
                      <a:pt x="514348" y="2914653"/>
                    </a:lnTo>
                    <a:lnTo>
                      <a:pt x="342898" y="2914653"/>
                    </a:lnTo>
                    <a:lnTo>
                      <a:pt x="342898" y="2743203"/>
                    </a:lnTo>
                    <a:close/>
                    <a:moveTo>
                      <a:pt x="342898" y="3771903"/>
                    </a:moveTo>
                    <a:lnTo>
                      <a:pt x="1885948" y="3771903"/>
                    </a:lnTo>
                    <a:lnTo>
                      <a:pt x="1885948" y="4200528"/>
                    </a:lnTo>
                    <a:cubicBezTo>
                      <a:pt x="1885948" y="4247867"/>
                      <a:pt x="1924333" y="4286253"/>
                      <a:pt x="1971673" y="4286253"/>
                    </a:cubicBezTo>
                    <a:cubicBezTo>
                      <a:pt x="2019013" y="4286253"/>
                      <a:pt x="2057398" y="4247867"/>
                      <a:pt x="2057398" y="4200528"/>
                    </a:cubicBezTo>
                    <a:lnTo>
                      <a:pt x="2057398" y="1712249"/>
                    </a:lnTo>
                    <a:cubicBezTo>
                      <a:pt x="2108980" y="1751898"/>
                      <a:pt x="2168997" y="1779183"/>
                      <a:pt x="2232787" y="1791968"/>
                    </a:cubicBezTo>
                    <a:cubicBezTo>
                      <a:pt x="2256858" y="2082091"/>
                      <a:pt x="2413612" y="2344821"/>
                      <a:pt x="2657473" y="2503829"/>
                    </a:cubicBezTo>
                    <a:lnTo>
                      <a:pt x="2657473" y="2657448"/>
                    </a:lnTo>
                    <a:lnTo>
                      <a:pt x="2314573" y="2657448"/>
                    </a:lnTo>
                    <a:cubicBezTo>
                      <a:pt x="2267233" y="2657448"/>
                      <a:pt x="2228848" y="2695833"/>
                      <a:pt x="2228848" y="2743173"/>
                    </a:cubicBezTo>
                    <a:cubicBezTo>
                      <a:pt x="2228848" y="2790513"/>
                      <a:pt x="2267233" y="2828898"/>
                      <a:pt x="2314573" y="2828898"/>
                    </a:cubicBezTo>
                    <a:lnTo>
                      <a:pt x="2332561" y="2828898"/>
                    </a:lnTo>
                    <a:lnTo>
                      <a:pt x="2720390" y="4457673"/>
                    </a:lnTo>
                    <a:lnTo>
                      <a:pt x="1457343" y="4457673"/>
                    </a:lnTo>
                    <a:lnTo>
                      <a:pt x="1457343" y="4029048"/>
                    </a:lnTo>
                    <a:cubicBezTo>
                      <a:pt x="1457343" y="4006309"/>
                      <a:pt x="1448310" y="3984501"/>
                      <a:pt x="1432233" y="3968423"/>
                    </a:cubicBezTo>
                    <a:cubicBezTo>
                      <a:pt x="1416155" y="3952356"/>
                      <a:pt x="1394347" y="3943323"/>
                      <a:pt x="1371618" y="3943323"/>
                    </a:cubicBezTo>
                    <a:lnTo>
                      <a:pt x="857268" y="3943323"/>
                    </a:lnTo>
                    <a:cubicBezTo>
                      <a:pt x="809928" y="3943323"/>
                      <a:pt x="771543" y="3981708"/>
                      <a:pt x="771543" y="4029048"/>
                    </a:cubicBezTo>
                    <a:lnTo>
                      <a:pt x="771543" y="4457673"/>
                    </a:lnTo>
                    <a:lnTo>
                      <a:pt x="342918" y="4457673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032CA64E-974C-4F50-9C0A-C52A43F86B2B}"/>
                  </a:ext>
                </a:extLst>
              </p:cNvPr>
              <p:cNvSpPr/>
              <p:nvPr/>
            </p:nvSpPr>
            <p:spPr>
              <a:xfrm>
                <a:off x="-8919005" y="6794957"/>
                <a:ext cx="5143500" cy="171450"/>
              </a:xfrm>
              <a:custGeom>
                <a:avLst/>
                <a:gdLst>
                  <a:gd name="connsiteX0" fmla="*/ 5057775 w 5143500"/>
                  <a:gd name="connsiteY0" fmla="*/ 0 h 171450"/>
                  <a:gd name="connsiteX1" fmla="*/ 85725 w 5143500"/>
                  <a:gd name="connsiteY1" fmla="*/ 0 h 171450"/>
                  <a:gd name="connsiteX2" fmla="*/ 0 w 5143500"/>
                  <a:gd name="connsiteY2" fmla="*/ 85725 h 171450"/>
                  <a:gd name="connsiteX3" fmla="*/ 85725 w 5143500"/>
                  <a:gd name="connsiteY3" fmla="*/ 171450 h 171450"/>
                  <a:gd name="connsiteX4" fmla="*/ 5057775 w 5143500"/>
                  <a:gd name="connsiteY4" fmla="*/ 171450 h 171450"/>
                  <a:gd name="connsiteX5" fmla="*/ 5143500 w 5143500"/>
                  <a:gd name="connsiteY5" fmla="*/ 85725 h 171450"/>
                  <a:gd name="connsiteX6" fmla="*/ 5057775 w 5143500"/>
                  <a:gd name="connsiteY6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43500" h="171450">
                    <a:moveTo>
                      <a:pt x="5057775" y="0"/>
                    </a:move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5057775" y="171450"/>
                    </a:lnTo>
                    <a:cubicBezTo>
                      <a:pt x="5105115" y="171450"/>
                      <a:pt x="5143500" y="133065"/>
                      <a:pt x="5143500" y="85725"/>
                    </a:cubicBezTo>
                    <a:cubicBezTo>
                      <a:pt x="5143500" y="38385"/>
                      <a:pt x="5105115" y="0"/>
                      <a:pt x="5057775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EBA529A4-E479-459D-B0D5-F6DF0338F80C}"/>
                  </a:ext>
                </a:extLst>
              </p:cNvPr>
              <p:cNvSpPr/>
              <p:nvPr/>
            </p:nvSpPr>
            <p:spPr>
              <a:xfrm>
                <a:off x="-6090075" y="3965970"/>
                <a:ext cx="685810" cy="249653"/>
              </a:xfrm>
              <a:custGeom>
                <a:avLst/>
                <a:gdLst>
                  <a:gd name="connsiteX0" fmla="*/ 14397 w 685810"/>
                  <a:gd name="connsiteY0" fmla="*/ 38172 h 249653"/>
                  <a:gd name="connsiteX1" fmla="*/ 1651 w 685810"/>
                  <a:gd name="connsiteY1" fmla="*/ 102540 h 249653"/>
                  <a:gd name="connsiteX2" fmla="*/ 38165 w 685810"/>
                  <a:gd name="connsiteY2" fmla="*/ 157080 h 249653"/>
                  <a:gd name="connsiteX3" fmla="*/ 342905 w 685810"/>
                  <a:gd name="connsiteY3" fmla="*/ 249653 h 249653"/>
                  <a:gd name="connsiteX4" fmla="*/ 647645 w 685810"/>
                  <a:gd name="connsiteY4" fmla="*/ 157080 h 249653"/>
                  <a:gd name="connsiteX5" fmla="*/ 671413 w 685810"/>
                  <a:gd name="connsiteY5" fmla="*/ 38172 h 249653"/>
                  <a:gd name="connsiteX6" fmla="*/ 552505 w 685810"/>
                  <a:gd name="connsiteY6" fmla="*/ 14404 h 249653"/>
                  <a:gd name="connsiteX7" fmla="*/ 342895 w 685810"/>
                  <a:gd name="connsiteY7" fmla="*/ 78007 h 249653"/>
                  <a:gd name="connsiteX8" fmla="*/ 133286 w 685810"/>
                  <a:gd name="connsiteY8" fmla="*/ 14404 h 249653"/>
                  <a:gd name="connsiteX9" fmla="*/ 68908 w 685810"/>
                  <a:gd name="connsiteY9" fmla="*/ 1658 h 249653"/>
                  <a:gd name="connsiteX10" fmla="*/ 14377 w 685810"/>
                  <a:gd name="connsiteY10" fmla="*/ 38172 h 249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85810" h="249653">
                    <a:moveTo>
                      <a:pt x="14397" y="38172"/>
                    </a:moveTo>
                    <a:cubicBezTo>
                      <a:pt x="1808" y="57081"/>
                      <a:pt x="-2787" y="80231"/>
                      <a:pt x="1651" y="102540"/>
                    </a:cubicBezTo>
                    <a:cubicBezTo>
                      <a:pt x="6089" y="124818"/>
                      <a:pt x="19217" y="144452"/>
                      <a:pt x="38165" y="157080"/>
                    </a:cubicBezTo>
                    <a:cubicBezTo>
                      <a:pt x="128328" y="217431"/>
                      <a:pt x="234412" y="249653"/>
                      <a:pt x="342905" y="249653"/>
                    </a:cubicBezTo>
                    <a:cubicBezTo>
                      <a:pt x="451399" y="249653"/>
                      <a:pt x="557482" y="217431"/>
                      <a:pt x="647645" y="157080"/>
                    </a:cubicBezTo>
                    <a:cubicBezTo>
                      <a:pt x="687020" y="130785"/>
                      <a:pt x="697660" y="77557"/>
                      <a:pt x="671413" y="38172"/>
                    </a:cubicBezTo>
                    <a:cubicBezTo>
                      <a:pt x="645118" y="-1212"/>
                      <a:pt x="591880" y="-11852"/>
                      <a:pt x="552505" y="14404"/>
                    </a:cubicBezTo>
                    <a:cubicBezTo>
                      <a:pt x="490470" y="55885"/>
                      <a:pt x="417530" y="78007"/>
                      <a:pt x="342895" y="78007"/>
                    </a:cubicBezTo>
                    <a:cubicBezTo>
                      <a:pt x="268261" y="78007"/>
                      <a:pt x="195331" y="55885"/>
                      <a:pt x="133286" y="14404"/>
                    </a:cubicBezTo>
                    <a:cubicBezTo>
                      <a:pt x="114377" y="1815"/>
                      <a:pt x="91226" y="-2780"/>
                      <a:pt x="68908" y="1658"/>
                    </a:cubicBezTo>
                    <a:cubicBezTo>
                      <a:pt x="46639" y="6096"/>
                      <a:pt x="27006" y="19224"/>
                      <a:pt x="14377" y="3817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4B72157E-5B2B-47B0-8726-224B40508EA4}"/>
                  </a:ext>
                </a:extLst>
              </p:cNvPr>
              <p:cNvSpPr/>
              <p:nvPr/>
            </p:nvSpPr>
            <p:spPr>
              <a:xfrm>
                <a:off x="-8061755" y="3880307"/>
                <a:ext cx="514350" cy="514350"/>
              </a:xfrm>
              <a:custGeom>
                <a:avLst/>
                <a:gdLst>
                  <a:gd name="connsiteX0" fmla="*/ 257175 w 514350"/>
                  <a:gd name="connsiteY0" fmla="*/ 0 h 514350"/>
                  <a:gd name="connsiteX1" fmla="*/ 171450 w 514350"/>
                  <a:gd name="connsiteY1" fmla="*/ 85725 h 514350"/>
                  <a:gd name="connsiteX2" fmla="*/ 171450 w 514350"/>
                  <a:gd name="connsiteY2" fmla="*/ 171450 h 514350"/>
                  <a:gd name="connsiteX3" fmla="*/ 85725 w 514350"/>
                  <a:gd name="connsiteY3" fmla="*/ 171450 h 514350"/>
                  <a:gd name="connsiteX4" fmla="*/ 0 w 514350"/>
                  <a:gd name="connsiteY4" fmla="*/ 257175 h 514350"/>
                  <a:gd name="connsiteX5" fmla="*/ 85725 w 514350"/>
                  <a:gd name="connsiteY5" fmla="*/ 342900 h 514350"/>
                  <a:gd name="connsiteX6" fmla="*/ 171450 w 514350"/>
                  <a:gd name="connsiteY6" fmla="*/ 342900 h 514350"/>
                  <a:gd name="connsiteX7" fmla="*/ 171450 w 514350"/>
                  <a:gd name="connsiteY7" fmla="*/ 428625 h 514350"/>
                  <a:gd name="connsiteX8" fmla="*/ 257175 w 514350"/>
                  <a:gd name="connsiteY8" fmla="*/ 514350 h 514350"/>
                  <a:gd name="connsiteX9" fmla="*/ 342900 w 514350"/>
                  <a:gd name="connsiteY9" fmla="*/ 428625 h 514350"/>
                  <a:gd name="connsiteX10" fmla="*/ 342900 w 514350"/>
                  <a:gd name="connsiteY10" fmla="*/ 342900 h 514350"/>
                  <a:gd name="connsiteX11" fmla="*/ 428625 w 514350"/>
                  <a:gd name="connsiteY11" fmla="*/ 342900 h 514350"/>
                  <a:gd name="connsiteX12" fmla="*/ 514350 w 514350"/>
                  <a:gd name="connsiteY12" fmla="*/ 257175 h 514350"/>
                  <a:gd name="connsiteX13" fmla="*/ 428625 w 514350"/>
                  <a:gd name="connsiteY13" fmla="*/ 171450 h 514350"/>
                  <a:gd name="connsiteX14" fmla="*/ 342900 w 514350"/>
                  <a:gd name="connsiteY14" fmla="*/ 171450 h 514350"/>
                  <a:gd name="connsiteX15" fmla="*/ 342900 w 514350"/>
                  <a:gd name="connsiteY15" fmla="*/ 85725 h 514350"/>
                  <a:gd name="connsiteX16" fmla="*/ 317800 w 514350"/>
                  <a:gd name="connsiteY16" fmla="*/ 25100 h 514350"/>
                  <a:gd name="connsiteX17" fmla="*/ 257175 w 514350"/>
                  <a:gd name="connsiteY17" fmla="*/ 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14350" h="514350">
                    <a:moveTo>
                      <a:pt x="257175" y="0"/>
                    </a:moveTo>
                    <a:cubicBezTo>
                      <a:pt x="209835" y="0"/>
                      <a:pt x="171450" y="38385"/>
                      <a:pt x="171450" y="85725"/>
                    </a:cubicBezTo>
                    <a:lnTo>
                      <a:pt x="171450" y="171450"/>
                    </a:lnTo>
                    <a:lnTo>
                      <a:pt x="85725" y="171450"/>
                    </a:lnTo>
                    <a:cubicBezTo>
                      <a:pt x="38385" y="171450"/>
                      <a:pt x="0" y="209835"/>
                      <a:pt x="0" y="257175"/>
                    </a:cubicBezTo>
                    <a:cubicBezTo>
                      <a:pt x="0" y="304515"/>
                      <a:pt x="38385" y="342900"/>
                      <a:pt x="85725" y="342900"/>
                    </a:cubicBezTo>
                    <a:lnTo>
                      <a:pt x="171450" y="342900"/>
                    </a:lnTo>
                    <a:lnTo>
                      <a:pt x="171450" y="428625"/>
                    </a:lnTo>
                    <a:cubicBezTo>
                      <a:pt x="171450" y="475965"/>
                      <a:pt x="209835" y="514350"/>
                      <a:pt x="257175" y="514350"/>
                    </a:cubicBezTo>
                    <a:cubicBezTo>
                      <a:pt x="304515" y="514350"/>
                      <a:pt x="342900" y="475965"/>
                      <a:pt x="342900" y="428625"/>
                    </a:cubicBezTo>
                    <a:lnTo>
                      <a:pt x="342900" y="342900"/>
                    </a:lnTo>
                    <a:lnTo>
                      <a:pt x="428625" y="342900"/>
                    </a:lnTo>
                    <a:cubicBezTo>
                      <a:pt x="475965" y="342900"/>
                      <a:pt x="514350" y="304515"/>
                      <a:pt x="514350" y="257175"/>
                    </a:cubicBezTo>
                    <a:cubicBezTo>
                      <a:pt x="514350" y="209835"/>
                      <a:pt x="475965" y="171450"/>
                      <a:pt x="428625" y="171450"/>
                    </a:cubicBezTo>
                    <a:lnTo>
                      <a:pt x="342900" y="171450"/>
                    </a:lnTo>
                    <a:lnTo>
                      <a:pt x="342900" y="85725"/>
                    </a:lnTo>
                    <a:cubicBezTo>
                      <a:pt x="342900" y="62996"/>
                      <a:pt x="333867" y="41177"/>
                      <a:pt x="317800" y="25100"/>
                    </a:cubicBezTo>
                    <a:cubicBezTo>
                      <a:pt x="301723" y="9033"/>
                      <a:pt x="279904" y="0"/>
                      <a:pt x="257175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744000A8-8B9D-4872-8404-CF12F40E1A23}"/>
                </a:ext>
              </a:extLst>
            </p:cNvPr>
            <p:cNvGrpSpPr/>
            <p:nvPr/>
          </p:nvGrpSpPr>
          <p:grpSpPr>
            <a:xfrm>
              <a:off x="4290207" y="7720461"/>
              <a:ext cx="333354" cy="333351"/>
              <a:chOff x="-7630713" y="1830619"/>
              <a:chExt cx="5486503" cy="5486456"/>
            </a:xfrm>
            <a:solidFill>
              <a:srgbClr val="191925"/>
            </a:solidFill>
          </p:grpSpPr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307A9C86-0676-4C80-B162-D7EC7794B34C}"/>
                  </a:ext>
                </a:extLst>
              </p:cNvPr>
              <p:cNvSpPr/>
              <p:nvPr/>
            </p:nvSpPr>
            <p:spPr>
              <a:xfrm>
                <a:off x="-5316190" y="1830619"/>
                <a:ext cx="1336162" cy="3171841"/>
              </a:xfrm>
              <a:custGeom>
                <a:avLst/>
                <a:gdLst>
                  <a:gd name="connsiteX0" fmla="*/ 177386 w 1336162"/>
                  <a:gd name="connsiteY0" fmla="*/ 836585 h 3171841"/>
                  <a:gd name="connsiteX1" fmla="*/ 482400 w 1336162"/>
                  <a:gd name="connsiteY1" fmla="*/ 908686 h 3171841"/>
                  <a:gd name="connsiteX2" fmla="*/ 510724 w 1336162"/>
                  <a:gd name="connsiteY2" fmla="*/ 942747 h 3171841"/>
                  <a:gd name="connsiteX3" fmla="*/ 481715 w 1336162"/>
                  <a:gd name="connsiteY3" fmla="*/ 1019556 h 3171841"/>
                  <a:gd name="connsiteX4" fmla="*/ 254156 w 1336162"/>
                  <a:gd name="connsiteY4" fmla="*/ 2845744 h 3171841"/>
                  <a:gd name="connsiteX5" fmla="*/ 412057 w 1336162"/>
                  <a:gd name="connsiteY5" fmla="*/ 2965181 h 3171841"/>
                  <a:gd name="connsiteX6" fmla="*/ 423764 w 1336162"/>
                  <a:gd name="connsiteY6" fmla="*/ 2871304 h 3171841"/>
                  <a:gd name="connsiteX7" fmla="*/ 428663 w 1336162"/>
                  <a:gd name="connsiteY7" fmla="*/ 2871804 h 3171841"/>
                  <a:gd name="connsiteX8" fmla="*/ 1132255 w 1336162"/>
                  <a:gd name="connsiteY8" fmla="*/ 2871804 h 3171841"/>
                  <a:gd name="connsiteX9" fmla="*/ 1163752 w 1336162"/>
                  <a:gd name="connsiteY9" fmla="*/ 3171841 h 3171841"/>
                  <a:gd name="connsiteX10" fmla="*/ 1336163 w 1336162"/>
                  <a:gd name="connsiteY10" fmla="*/ 3171841 h 3171841"/>
                  <a:gd name="connsiteX11" fmla="*/ 1110711 w 1336162"/>
                  <a:gd name="connsiteY11" fmla="*/ 1023034 h 3171841"/>
                  <a:gd name="connsiteX12" fmla="*/ 1073776 w 1336162"/>
                  <a:gd name="connsiteY12" fmla="*/ 930837 h 3171841"/>
                  <a:gd name="connsiteX13" fmla="*/ 994478 w 1336162"/>
                  <a:gd name="connsiteY13" fmla="*/ 871135 h 3171841"/>
                  <a:gd name="connsiteX14" fmla="*/ 1020773 w 1336162"/>
                  <a:gd name="connsiteY14" fmla="*/ 668041 h 3171841"/>
                  <a:gd name="connsiteX15" fmla="*/ 906960 w 1336162"/>
                  <a:gd name="connsiteY15" fmla="*/ 491692 h 3171841"/>
                  <a:gd name="connsiteX16" fmla="*/ 912965 w 1336162"/>
                  <a:gd name="connsiteY16" fmla="*/ 409870 h 3171841"/>
                  <a:gd name="connsiteX17" fmla="*/ 479442 w 1336162"/>
                  <a:gd name="connsiteY17" fmla="*/ 800 h 3171841"/>
                  <a:gd name="connsiteX18" fmla="*/ 479442 w 1336162"/>
                  <a:gd name="connsiteY18" fmla="*/ 762 h 3171841"/>
                  <a:gd name="connsiteX19" fmla="*/ 415917 w 1336162"/>
                  <a:gd name="connsiteY19" fmla="*/ 17639 h 3171841"/>
                  <a:gd name="connsiteX20" fmla="*/ 383008 w 1336162"/>
                  <a:gd name="connsiteY20" fmla="*/ 74509 h 3171841"/>
                  <a:gd name="connsiteX21" fmla="*/ 400036 w 1336162"/>
                  <a:gd name="connsiteY21" fmla="*/ 137961 h 3171841"/>
                  <a:gd name="connsiteX22" fmla="*/ 456977 w 1336162"/>
                  <a:gd name="connsiteY22" fmla="*/ 170721 h 3171841"/>
                  <a:gd name="connsiteX23" fmla="*/ 741515 w 1336162"/>
                  <a:gd name="connsiteY23" fmla="*/ 411897 h 3171841"/>
                  <a:gd name="connsiteX24" fmla="*/ 728700 w 1336162"/>
                  <a:gd name="connsiteY24" fmla="*/ 504396 h 3171841"/>
                  <a:gd name="connsiteX25" fmla="*/ 775080 w 1336162"/>
                  <a:gd name="connsiteY25" fmla="*/ 611440 h 3171841"/>
                  <a:gd name="connsiteX26" fmla="*/ 853839 w 1336162"/>
                  <a:gd name="connsiteY26" fmla="*/ 707191 h 3171841"/>
                  <a:gd name="connsiteX27" fmla="*/ 831453 w 1336162"/>
                  <a:gd name="connsiteY27" fmla="*/ 808219 h 3171841"/>
                  <a:gd name="connsiteX28" fmla="*/ 723106 w 1336162"/>
                  <a:gd name="connsiteY28" fmla="*/ 857243 h 3171841"/>
                  <a:gd name="connsiteX29" fmla="*/ 612889 w 1336162"/>
                  <a:gd name="connsiteY29" fmla="*/ 797197 h 3171841"/>
                  <a:gd name="connsiteX30" fmla="*/ 495822 w 1336162"/>
                  <a:gd name="connsiteY30" fmla="*/ 732980 h 3171841"/>
                  <a:gd name="connsiteX31" fmla="*/ 495783 w 1336162"/>
                  <a:gd name="connsiteY31" fmla="*/ 733018 h 3171841"/>
                  <a:gd name="connsiteX32" fmla="*/ 277415 w 1336162"/>
                  <a:gd name="connsiteY32" fmla="*/ 697389 h 3171841"/>
                  <a:gd name="connsiteX33" fmla="*/ 171292 w 1336162"/>
                  <a:gd name="connsiteY33" fmla="*/ 445955 h 3171841"/>
                  <a:gd name="connsiteX34" fmla="*/ 142439 w 1336162"/>
                  <a:gd name="connsiteY34" fmla="*/ 386713 h 3171841"/>
                  <a:gd name="connsiteX35" fmla="*/ 80061 w 1336162"/>
                  <a:gd name="connsiteY35" fmla="*/ 365472 h 3171841"/>
                  <a:gd name="connsiteX36" fmla="*/ 21043 w 1336162"/>
                  <a:gd name="connsiteY36" fmla="*/ 394749 h 3171841"/>
                  <a:gd name="connsiteX37" fmla="*/ 224 w 1336162"/>
                  <a:gd name="connsiteY37" fmla="*/ 457244 h 3171841"/>
                  <a:gd name="connsiteX38" fmla="*/ 177376 w 1336162"/>
                  <a:gd name="connsiteY38" fmla="*/ 836580 h 3171841"/>
                  <a:gd name="connsiteX39" fmla="*/ 923115 w 1336162"/>
                  <a:gd name="connsiteY39" fmla="*/ 1028697 h 3171841"/>
                  <a:gd name="connsiteX40" fmla="*/ 923076 w 1336162"/>
                  <a:gd name="connsiteY40" fmla="*/ 1028736 h 3171841"/>
                  <a:gd name="connsiteX41" fmla="*/ 940182 w 1336162"/>
                  <a:gd name="connsiteY41" fmla="*/ 1040943 h 3171841"/>
                  <a:gd name="connsiteX42" fmla="*/ 988364 w 1336162"/>
                  <a:gd name="connsiteY42" fmla="*/ 1500224 h 3171841"/>
                  <a:gd name="connsiteX43" fmla="*/ 594568 w 1336162"/>
                  <a:gd name="connsiteY43" fmla="*/ 1500224 h 3171841"/>
                  <a:gd name="connsiteX44" fmla="*/ 651822 w 1336162"/>
                  <a:gd name="connsiteY44" fmla="*/ 1040757 h 3171841"/>
                  <a:gd name="connsiteX45" fmla="*/ 668928 w 1336162"/>
                  <a:gd name="connsiteY45" fmla="*/ 1028736 h 3171841"/>
                  <a:gd name="connsiteX46" fmla="*/ 519826 w 1336162"/>
                  <a:gd name="connsiteY46" fmla="*/ 2100309 h 3171841"/>
                  <a:gd name="connsiteX47" fmla="*/ 573210 w 1336162"/>
                  <a:gd name="connsiteY47" fmla="*/ 1671683 h 3171841"/>
                  <a:gd name="connsiteX48" fmla="*/ 1006352 w 1336162"/>
                  <a:gd name="connsiteY48" fmla="*/ 1671723 h 3171841"/>
                  <a:gd name="connsiteX49" fmla="*/ 1051321 w 1336162"/>
                  <a:gd name="connsiteY49" fmla="*/ 2100348 h 3171841"/>
                  <a:gd name="connsiteX50" fmla="*/ 498664 w 1336162"/>
                  <a:gd name="connsiteY50" fmla="*/ 2270191 h 3171841"/>
                  <a:gd name="connsiteX51" fmla="*/ 514388 w 1336162"/>
                  <a:gd name="connsiteY51" fmla="*/ 2271798 h 3171841"/>
                  <a:gd name="connsiteX52" fmla="*/ 1069308 w 1336162"/>
                  <a:gd name="connsiteY52" fmla="*/ 2271798 h 3171841"/>
                  <a:gd name="connsiteX53" fmla="*/ 1114277 w 1336162"/>
                  <a:gd name="connsiteY53" fmla="*/ 2700423 h 3171841"/>
                  <a:gd name="connsiteX54" fmla="*/ 445044 w 1336162"/>
                  <a:gd name="connsiteY54" fmla="*/ 2700423 h 3171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336162" h="3171841">
                    <a:moveTo>
                      <a:pt x="177386" y="836585"/>
                    </a:moveTo>
                    <a:cubicBezTo>
                      <a:pt x="266785" y="897205"/>
                      <a:pt x="375318" y="922884"/>
                      <a:pt x="482400" y="908686"/>
                    </a:cubicBezTo>
                    <a:cubicBezTo>
                      <a:pt x="491551" y="920282"/>
                      <a:pt x="500505" y="932107"/>
                      <a:pt x="510724" y="942747"/>
                    </a:cubicBezTo>
                    <a:cubicBezTo>
                      <a:pt x="495294" y="965786"/>
                      <a:pt x="485349" y="992075"/>
                      <a:pt x="481715" y="1019556"/>
                    </a:cubicBezTo>
                    <a:lnTo>
                      <a:pt x="254156" y="2845744"/>
                    </a:lnTo>
                    <a:cubicBezTo>
                      <a:pt x="311675" y="2878652"/>
                      <a:pt x="364756" y="2918801"/>
                      <a:pt x="412057" y="2965181"/>
                    </a:cubicBezTo>
                    <a:lnTo>
                      <a:pt x="423764" y="2871304"/>
                    </a:lnTo>
                    <a:cubicBezTo>
                      <a:pt x="425410" y="2871383"/>
                      <a:pt x="426978" y="2871804"/>
                      <a:pt x="428663" y="2871804"/>
                    </a:cubicBezTo>
                    <a:lnTo>
                      <a:pt x="1132255" y="2871804"/>
                    </a:lnTo>
                    <a:lnTo>
                      <a:pt x="1163752" y="3171841"/>
                    </a:lnTo>
                    <a:lnTo>
                      <a:pt x="1336163" y="3171841"/>
                    </a:lnTo>
                    <a:lnTo>
                      <a:pt x="1110711" y="1023034"/>
                    </a:lnTo>
                    <a:cubicBezTo>
                      <a:pt x="1107037" y="989508"/>
                      <a:pt x="1094291" y="957626"/>
                      <a:pt x="1073776" y="930837"/>
                    </a:cubicBezTo>
                    <a:cubicBezTo>
                      <a:pt x="1053300" y="904086"/>
                      <a:pt x="1025867" y="883421"/>
                      <a:pt x="994478" y="871135"/>
                    </a:cubicBezTo>
                    <a:cubicBezTo>
                      <a:pt x="1027935" y="808984"/>
                      <a:pt x="1037310" y="736650"/>
                      <a:pt x="1020773" y="668041"/>
                    </a:cubicBezTo>
                    <a:cubicBezTo>
                      <a:pt x="1004275" y="597930"/>
                      <a:pt x="964057" y="535622"/>
                      <a:pt x="906960" y="491692"/>
                    </a:cubicBezTo>
                    <a:cubicBezTo>
                      <a:pt x="911251" y="464635"/>
                      <a:pt x="913240" y="437272"/>
                      <a:pt x="912965" y="409870"/>
                    </a:cubicBezTo>
                    <a:cubicBezTo>
                      <a:pt x="911701" y="303943"/>
                      <a:pt x="867007" y="51971"/>
                      <a:pt x="479442" y="800"/>
                    </a:cubicBezTo>
                    <a:lnTo>
                      <a:pt x="479442" y="762"/>
                    </a:lnTo>
                    <a:cubicBezTo>
                      <a:pt x="456869" y="-2262"/>
                      <a:pt x="434022" y="3785"/>
                      <a:pt x="415917" y="17639"/>
                    </a:cubicBezTo>
                    <a:cubicBezTo>
                      <a:pt x="397851" y="31455"/>
                      <a:pt x="385987" y="51929"/>
                      <a:pt x="383008" y="74509"/>
                    </a:cubicBezTo>
                    <a:cubicBezTo>
                      <a:pt x="380059" y="97050"/>
                      <a:pt x="386143" y="119897"/>
                      <a:pt x="400036" y="137961"/>
                    </a:cubicBezTo>
                    <a:cubicBezTo>
                      <a:pt x="413928" y="156025"/>
                      <a:pt x="434404" y="167812"/>
                      <a:pt x="456977" y="170721"/>
                    </a:cubicBezTo>
                    <a:cubicBezTo>
                      <a:pt x="646836" y="195826"/>
                      <a:pt x="739908" y="274698"/>
                      <a:pt x="741515" y="411897"/>
                    </a:cubicBezTo>
                    <a:cubicBezTo>
                      <a:pt x="741868" y="443202"/>
                      <a:pt x="737538" y="474392"/>
                      <a:pt x="728700" y="504396"/>
                    </a:cubicBezTo>
                    <a:cubicBezTo>
                      <a:pt x="713770" y="546723"/>
                      <a:pt x="733981" y="593412"/>
                      <a:pt x="775080" y="611440"/>
                    </a:cubicBezTo>
                    <a:cubicBezTo>
                      <a:pt x="814886" y="629235"/>
                      <a:pt x="844042" y="664673"/>
                      <a:pt x="853839" y="707191"/>
                    </a:cubicBezTo>
                    <a:cubicBezTo>
                      <a:pt x="862912" y="742515"/>
                      <a:pt x="854604" y="780019"/>
                      <a:pt x="831453" y="808219"/>
                    </a:cubicBezTo>
                    <a:cubicBezTo>
                      <a:pt x="803747" y="838912"/>
                      <a:pt x="764480" y="856669"/>
                      <a:pt x="723106" y="857243"/>
                    </a:cubicBezTo>
                    <a:cubicBezTo>
                      <a:pt x="678481" y="857510"/>
                      <a:pt x="636843" y="834855"/>
                      <a:pt x="612889" y="797197"/>
                    </a:cubicBezTo>
                    <a:cubicBezTo>
                      <a:pt x="578060" y="752843"/>
                      <a:pt x="550432" y="717519"/>
                      <a:pt x="495822" y="732980"/>
                    </a:cubicBezTo>
                    <a:lnTo>
                      <a:pt x="495783" y="733018"/>
                    </a:lnTo>
                    <a:cubicBezTo>
                      <a:pt x="421158" y="750125"/>
                      <a:pt x="342781" y="737304"/>
                      <a:pt x="277415" y="697389"/>
                    </a:cubicBezTo>
                    <a:cubicBezTo>
                      <a:pt x="214997" y="651848"/>
                      <a:pt x="179287" y="567273"/>
                      <a:pt x="171292" y="445955"/>
                    </a:cubicBezTo>
                    <a:cubicBezTo>
                      <a:pt x="169950" y="423146"/>
                      <a:pt x="159545" y="401830"/>
                      <a:pt x="142439" y="386713"/>
                    </a:cubicBezTo>
                    <a:cubicBezTo>
                      <a:pt x="125294" y="371634"/>
                      <a:pt x="102869" y="363980"/>
                      <a:pt x="80061" y="365472"/>
                    </a:cubicBezTo>
                    <a:cubicBezTo>
                      <a:pt x="57283" y="366965"/>
                      <a:pt x="36043" y="377528"/>
                      <a:pt x="21043" y="394749"/>
                    </a:cubicBezTo>
                    <a:cubicBezTo>
                      <a:pt x="6044" y="411971"/>
                      <a:pt x="-1422" y="434474"/>
                      <a:pt x="224" y="457244"/>
                    </a:cubicBezTo>
                    <a:cubicBezTo>
                      <a:pt x="11746" y="632172"/>
                      <a:pt x="71332" y="759770"/>
                      <a:pt x="177376" y="836580"/>
                    </a:cubicBezTo>
                    <a:close/>
                    <a:moveTo>
                      <a:pt x="923115" y="1028697"/>
                    </a:moveTo>
                    <a:lnTo>
                      <a:pt x="923076" y="1028736"/>
                    </a:lnTo>
                    <a:cubicBezTo>
                      <a:pt x="931002" y="1028119"/>
                      <a:pt x="938193" y="1033253"/>
                      <a:pt x="940182" y="1040943"/>
                    </a:cubicBezTo>
                    <a:lnTo>
                      <a:pt x="988364" y="1500224"/>
                    </a:lnTo>
                    <a:lnTo>
                      <a:pt x="594568" y="1500224"/>
                    </a:lnTo>
                    <a:lnTo>
                      <a:pt x="651822" y="1040757"/>
                    </a:lnTo>
                    <a:cubicBezTo>
                      <a:pt x="653929" y="1033184"/>
                      <a:pt x="661081" y="1028168"/>
                      <a:pt x="668928" y="1028736"/>
                    </a:cubicBezTo>
                    <a:close/>
                    <a:moveTo>
                      <a:pt x="519826" y="2100309"/>
                    </a:moveTo>
                    <a:lnTo>
                      <a:pt x="573210" y="1671683"/>
                    </a:lnTo>
                    <a:lnTo>
                      <a:pt x="1006352" y="1671723"/>
                    </a:lnTo>
                    <a:lnTo>
                      <a:pt x="1051321" y="2100348"/>
                    </a:lnTo>
                    <a:close/>
                    <a:moveTo>
                      <a:pt x="498664" y="2270191"/>
                    </a:moveTo>
                    <a:cubicBezTo>
                      <a:pt x="503827" y="2271220"/>
                      <a:pt x="509108" y="2271759"/>
                      <a:pt x="514388" y="2271798"/>
                    </a:cubicBezTo>
                    <a:lnTo>
                      <a:pt x="1069308" y="2271798"/>
                    </a:lnTo>
                    <a:lnTo>
                      <a:pt x="1114277" y="2700423"/>
                    </a:lnTo>
                    <a:lnTo>
                      <a:pt x="445044" y="2700423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9B70936B-AFF4-43EE-B4A6-AABCEE8E371D}"/>
                  </a:ext>
                </a:extLst>
              </p:cNvPr>
              <p:cNvSpPr/>
              <p:nvPr/>
            </p:nvSpPr>
            <p:spPr>
              <a:xfrm>
                <a:off x="-3258732" y="5859731"/>
                <a:ext cx="771525" cy="771525"/>
              </a:xfrm>
              <a:custGeom>
                <a:avLst/>
                <a:gdLst>
                  <a:gd name="connsiteX0" fmla="*/ 685800 w 771525"/>
                  <a:gd name="connsiteY0" fmla="*/ 771525 h 771525"/>
                  <a:gd name="connsiteX1" fmla="*/ 771525 w 771525"/>
                  <a:gd name="connsiteY1" fmla="*/ 685800 h 771525"/>
                  <a:gd name="connsiteX2" fmla="*/ 771525 w 771525"/>
                  <a:gd name="connsiteY2" fmla="*/ 85725 h 771525"/>
                  <a:gd name="connsiteX3" fmla="*/ 685800 w 771525"/>
                  <a:gd name="connsiteY3" fmla="*/ 0 h 771525"/>
                  <a:gd name="connsiteX4" fmla="*/ 85725 w 771525"/>
                  <a:gd name="connsiteY4" fmla="*/ 0 h 771525"/>
                  <a:gd name="connsiteX5" fmla="*/ 0 w 771525"/>
                  <a:gd name="connsiteY5" fmla="*/ 85725 h 771525"/>
                  <a:gd name="connsiteX6" fmla="*/ 0 w 771525"/>
                  <a:gd name="connsiteY6" fmla="*/ 685800 h 771525"/>
                  <a:gd name="connsiteX7" fmla="*/ 85725 w 771525"/>
                  <a:gd name="connsiteY7" fmla="*/ 771525 h 771525"/>
                  <a:gd name="connsiteX8" fmla="*/ 171450 w 771525"/>
                  <a:gd name="connsiteY8" fmla="*/ 171450 h 771525"/>
                  <a:gd name="connsiteX9" fmla="*/ 600075 w 771525"/>
                  <a:gd name="connsiteY9" fmla="*/ 171450 h 771525"/>
                  <a:gd name="connsiteX10" fmla="*/ 600075 w 771525"/>
                  <a:gd name="connsiteY10" fmla="*/ 600075 h 771525"/>
                  <a:gd name="connsiteX11" fmla="*/ 171450 w 771525"/>
                  <a:gd name="connsiteY11" fmla="*/ 600075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1525" h="771525">
                    <a:moveTo>
                      <a:pt x="685800" y="771525"/>
                    </a:moveTo>
                    <a:cubicBezTo>
                      <a:pt x="733140" y="771525"/>
                      <a:pt x="771525" y="733140"/>
                      <a:pt x="771525" y="685800"/>
                    </a:cubicBezTo>
                    <a:lnTo>
                      <a:pt x="771525" y="85725"/>
                    </a:lnTo>
                    <a:cubicBezTo>
                      <a:pt x="771525" y="38385"/>
                      <a:pt x="733140" y="0"/>
                      <a:pt x="685800" y="0"/>
                    </a:cubicBez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lnTo>
                      <a:pt x="0" y="685800"/>
                    </a:lnTo>
                    <a:cubicBezTo>
                      <a:pt x="0" y="733140"/>
                      <a:pt x="38385" y="771525"/>
                      <a:pt x="85725" y="771525"/>
                    </a:cubicBezTo>
                    <a:close/>
                    <a:moveTo>
                      <a:pt x="171450" y="171450"/>
                    </a:moveTo>
                    <a:lnTo>
                      <a:pt x="600075" y="171450"/>
                    </a:lnTo>
                    <a:lnTo>
                      <a:pt x="600075" y="600075"/>
                    </a:lnTo>
                    <a:lnTo>
                      <a:pt x="171450" y="600075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84F614FF-B7B5-4CEF-A072-2F875E8BA6DE}"/>
                  </a:ext>
                </a:extLst>
              </p:cNvPr>
              <p:cNvSpPr/>
              <p:nvPr/>
            </p:nvSpPr>
            <p:spPr>
              <a:xfrm>
                <a:off x="-4201707" y="5859731"/>
                <a:ext cx="771525" cy="771525"/>
              </a:xfrm>
              <a:custGeom>
                <a:avLst/>
                <a:gdLst>
                  <a:gd name="connsiteX0" fmla="*/ 685800 w 771525"/>
                  <a:gd name="connsiteY0" fmla="*/ 771525 h 771525"/>
                  <a:gd name="connsiteX1" fmla="*/ 771525 w 771525"/>
                  <a:gd name="connsiteY1" fmla="*/ 685800 h 771525"/>
                  <a:gd name="connsiteX2" fmla="*/ 771525 w 771525"/>
                  <a:gd name="connsiteY2" fmla="*/ 85725 h 771525"/>
                  <a:gd name="connsiteX3" fmla="*/ 685800 w 771525"/>
                  <a:gd name="connsiteY3" fmla="*/ 0 h 771525"/>
                  <a:gd name="connsiteX4" fmla="*/ 85725 w 771525"/>
                  <a:gd name="connsiteY4" fmla="*/ 0 h 771525"/>
                  <a:gd name="connsiteX5" fmla="*/ 0 w 771525"/>
                  <a:gd name="connsiteY5" fmla="*/ 85725 h 771525"/>
                  <a:gd name="connsiteX6" fmla="*/ 0 w 771525"/>
                  <a:gd name="connsiteY6" fmla="*/ 685800 h 771525"/>
                  <a:gd name="connsiteX7" fmla="*/ 85725 w 771525"/>
                  <a:gd name="connsiteY7" fmla="*/ 771525 h 771525"/>
                  <a:gd name="connsiteX8" fmla="*/ 171450 w 771525"/>
                  <a:gd name="connsiteY8" fmla="*/ 171450 h 771525"/>
                  <a:gd name="connsiteX9" fmla="*/ 600075 w 771525"/>
                  <a:gd name="connsiteY9" fmla="*/ 171450 h 771525"/>
                  <a:gd name="connsiteX10" fmla="*/ 600075 w 771525"/>
                  <a:gd name="connsiteY10" fmla="*/ 600075 h 771525"/>
                  <a:gd name="connsiteX11" fmla="*/ 171450 w 771525"/>
                  <a:gd name="connsiteY11" fmla="*/ 600075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1525" h="771525">
                    <a:moveTo>
                      <a:pt x="685800" y="771525"/>
                    </a:moveTo>
                    <a:cubicBezTo>
                      <a:pt x="733140" y="771525"/>
                      <a:pt x="771525" y="733140"/>
                      <a:pt x="771525" y="685800"/>
                    </a:cubicBezTo>
                    <a:lnTo>
                      <a:pt x="771525" y="85725"/>
                    </a:lnTo>
                    <a:cubicBezTo>
                      <a:pt x="771525" y="38385"/>
                      <a:pt x="733140" y="0"/>
                      <a:pt x="685800" y="0"/>
                    </a:cubicBez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lnTo>
                      <a:pt x="0" y="685800"/>
                    </a:lnTo>
                    <a:cubicBezTo>
                      <a:pt x="0" y="733140"/>
                      <a:pt x="38385" y="771525"/>
                      <a:pt x="85725" y="771525"/>
                    </a:cubicBezTo>
                    <a:close/>
                    <a:moveTo>
                      <a:pt x="171450" y="171450"/>
                    </a:moveTo>
                    <a:lnTo>
                      <a:pt x="600075" y="171450"/>
                    </a:lnTo>
                    <a:lnTo>
                      <a:pt x="600075" y="600075"/>
                    </a:lnTo>
                    <a:lnTo>
                      <a:pt x="171450" y="600075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5BBA3DAF-5A2C-4550-A1DB-062828AF238C}"/>
                  </a:ext>
                </a:extLst>
              </p:cNvPr>
              <p:cNvSpPr/>
              <p:nvPr/>
            </p:nvSpPr>
            <p:spPr>
              <a:xfrm>
                <a:off x="-3858898" y="1873560"/>
                <a:ext cx="1101788" cy="3128959"/>
              </a:xfrm>
              <a:custGeom>
                <a:avLst/>
                <a:gdLst>
                  <a:gd name="connsiteX0" fmla="*/ 298414 w 1101788"/>
                  <a:gd name="connsiteY0" fmla="*/ 1349074 h 3128959"/>
                  <a:gd name="connsiteX1" fmla="*/ 367150 w 1101788"/>
                  <a:gd name="connsiteY1" fmla="*/ 1466443 h 3128959"/>
                  <a:gd name="connsiteX2" fmla="*/ 310317 w 1101788"/>
                  <a:gd name="connsiteY2" fmla="*/ 1576700 h 3128959"/>
                  <a:gd name="connsiteX3" fmla="*/ 116941 w 1101788"/>
                  <a:gd name="connsiteY3" fmla="*/ 3128960 h 3128959"/>
                  <a:gd name="connsiteX4" fmla="*/ 289694 w 1101788"/>
                  <a:gd name="connsiteY4" fmla="*/ 3128960 h 3128959"/>
                  <a:gd name="connsiteX5" fmla="*/ 327276 w 1101788"/>
                  <a:gd name="connsiteY5" fmla="*/ 2827355 h 3128959"/>
                  <a:gd name="connsiteX6" fmla="*/ 897920 w 1101788"/>
                  <a:gd name="connsiteY6" fmla="*/ 2828922 h 3128959"/>
                  <a:gd name="connsiteX7" fmla="*/ 929418 w 1101788"/>
                  <a:gd name="connsiteY7" fmla="*/ 3128960 h 3128959"/>
                  <a:gd name="connsiteX8" fmla="*/ 1101789 w 1101788"/>
                  <a:gd name="connsiteY8" fmla="*/ 3128960 h 3128959"/>
                  <a:gd name="connsiteX9" fmla="*/ 939333 w 1101788"/>
                  <a:gd name="connsiteY9" fmla="*/ 1580227 h 3128959"/>
                  <a:gd name="connsiteX10" fmla="*/ 893022 w 1101788"/>
                  <a:gd name="connsiteY10" fmla="*/ 1477014 h 3128959"/>
                  <a:gd name="connsiteX11" fmla="*/ 795354 w 1101788"/>
                  <a:gd name="connsiteY11" fmla="*/ 1419995 h 3128959"/>
                  <a:gd name="connsiteX12" fmla="*/ 847132 w 1101788"/>
                  <a:gd name="connsiteY12" fmla="*/ 1275330 h 3128959"/>
                  <a:gd name="connsiteX13" fmla="*/ 804201 w 1101788"/>
                  <a:gd name="connsiteY13" fmla="*/ 1087735 h 3128959"/>
                  <a:gd name="connsiteX14" fmla="*/ 847631 w 1101788"/>
                  <a:gd name="connsiteY14" fmla="*/ 797297 h 3128959"/>
                  <a:gd name="connsiteX15" fmla="*/ 652032 w 1101788"/>
                  <a:gd name="connsiteY15" fmla="*/ 544335 h 3128959"/>
                  <a:gd name="connsiteX16" fmla="*/ 626010 w 1101788"/>
                  <a:gd name="connsiteY16" fmla="*/ 248275 h 3128959"/>
                  <a:gd name="connsiteX17" fmla="*/ 275419 w 1101788"/>
                  <a:gd name="connsiteY17" fmla="*/ 2504 h 3128959"/>
                  <a:gd name="connsiteX18" fmla="*/ 275419 w 1101788"/>
                  <a:gd name="connsiteY18" fmla="*/ 2465 h 3128959"/>
                  <a:gd name="connsiteX19" fmla="*/ 171824 w 1101788"/>
                  <a:gd name="connsiteY19" fmla="*/ 65268 h 3128959"/>
                  <a:gd name="connsiteX20" fmla="*/ 234399 w 1101788"/>
                  <a:gd name="connsiteY20" fmla="*/ 168980 h 3128959"/>
                  <a:gd name="connsiteX21" fmla="*/ 471558 w 1101788"/>
                  <a:gd name="connsiteY21" fmla="*/ 322639 h 3128959"/>
                  <a:gd name="connsiteX22" fmla="*/ 471402 w 1101788"/>
                  <a:gd name="connsiteY22" fmla="*/ 550118 h 3128959"/>
                  <a:gd name="connsiteX23" fmla="*/ 511315 w 1101788"/>
                  <a:gd name="connsiteY23" fmla="*/ 661600 h 3128959"/>
                  <a:gd name="connsiteX24" fmla="*/ 680580 w 1101788"/>
                  <a:gd name="connsiteY24" fmla="*/ 835921 h 3128959"/>
                  <a:gd name="connsiteX25" fmla="*/ 631899 w 1101788"/>
                  <a:gd name="connsiteY25" fmla="*/ 1043187 h 3128959"/>
                  <a:gd name="connsiteX26" fmla="*/ 641206 w 1101788"/>
                  <a:gd name="connsiteY26" fmla="*/ 1156119 h 3128959"/>
                  <a:gd name="connsiteX27" fmla="*/ 676368 w 1101788"/>
                  <a:gd name="connsiteY27" fmla="*/ 1260057 h 3128959"/>
                  <a:gd name="connsiteX28" fmla="*/ 624482 w 1101788"/>
                  <a:gd name="connsiteY28" fmla="*/ 1352630 h 3128959"/>
                  <a:gd name="connsiteX29" fmla="*/ 525158 w 1101788"/>
                  <a:gd name="connsiteY29" fmla="*/ 1366375 h 3128959"/>
                  <a:gd name="connsiteX30" fmla="*/ 458499 w 1101788"/>
                  <a:gd name="connsiteY30" fmla="*/ 1286391 h 3128959"/>
                  <a:gd name="connsiteX31" fmla="*/ 366572 w 1101788"/>
                  <a:gd name="connsiteY31" fmla="*/ 1186735 h 3128959"/>
                  <a:gd name="connsiteX32" fmla="*/ 207330 w 1101788"/>
                  <a:gd name="connsiteY32" fmla="*/ 1103645 h 3128959"/>
                  <a:gd name="connsiteX33" fmla="*/ 192330 w 1101788"/>
                  <a:gd name="connsiteY33" fmla="*/ 836253 h 3128959"/>
                  <a:gd name="connsiteX34" fmla="*/ 192369 w 1101788"/>
                  <a:gd name="connsiteY34" fmla="*/ 836253 h 3128959"/>
                  <a:gd name="connsiteX35" fmla="*/ 132166 w 1101788"/>
                  <a:gd name="connsiteY35" fmla="*/ 731012 h 3128959"/>
                  <a:gd name="connsiteX36" fmla="*/ 26925 w 1101788"/>
                  <a:gd name="connsiteY36" fmla="*/ 791210 h 3128959"/>
                  <a:gd name="connsiteX37" fmla="*/ 69141 w 1101788"/>
                  <a:gd name="connsiteY37" fmla="*/ 1205065 h 3128959"/>
                  <a:gd name="connsiteX38" fmla="*/ 298414 w 1101788"/>
                  <a:gd name="connsiteY38" fmla="*/ 1349113 h 3128959"/>
                  <a:gd name="connsiteX39" fmla="*/ 423170 w 1101788"/>
                  <a:gd name="connsiteY39" fmla="*/ 2057378 h 3128959"/>
                  <a:gd name="connsiteX40" fmla="*/ 480425 w 1101788"/>
                  <a:gd name="connsiteY40" fmla="*/ 1597911 h 3128959"/>
                  <a:gd name="connsiteX41" fmla="*/ 497530 w 1101788"/>
                  <a:gd name="connsiteY41" fmla="*/ 1585890 h 3128959"/>
                  <a:gd name="connsiteX42" fmla="*/ 751679 w 1101788"/>
                  <a:gd name="connsiteY42" fmla="*/ 1585890 h 3128959"/>
                  <a:gd name="connsiteX43" fmla="*/ 768784 w 1101788"/>
                  <a:gd name="connsiteY43" fmla="*/ 1598107 h 3128959"/>
                  <a:gd name="connsiteX44" fmla="*/ 816967 w 1101788"/>
                  <a:gd name="connsiteY44" fmla="*/ 2057387 h 3128959"/>
                  <a:gd name="connsiteX45" fmla="*/ 401812 w 1101788"/>
                  <a:gd name="connsiteY45" fmla="*/ 2228828 h 3128959"/>
                  <a:gd name="connsiteX46" fmla="*/ 834954 w 1101788"/>
                  <a:gd name="connsiteY46" fmla="*/ 2228828 h 3128959"/>
                  <a:gd name="connsiteX47" fmla="*/ 879923 w 1101788"/>
                  <a:gd name="connsiteY47" fmla="*/ 2657453 h 3128959"/>
                  <a:gd name="connsiteX48" fmla="*/ 348428 w 1101788"/>
                  <a:gd name="connsiteY48" fmla="*/ 2657453 h 3128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101788" h="3128959">
                    <a:moveTo>
                      <a:pt x="298414" y="1349074"/>
                    </a:moveTo>
                    <a:cubicBezTo>
                      <a:pt x="311042" y="1393386"/>
                      <a:pt x="334692" y="1433770"/>
                      <a:pt x="367150" y="1466443"/>
                    </a:cubicBezTo>
                    <a:cubicBezTo>
                      <a:pt x="335878" y="1495413"/>
                      <a:pt x="315784" y="1534445"/>
                      <a:pt x="310317" y="1576700"/>
                    </a:cubicBezTo>
                    <a:lnTo>
                      <a:pt x="116941" y="3128960"/>
                    </a:lnTo>
                    <a:lnTo>
                      <a:pt x="289694" y="3128960"/>
                    </a:lnTo>
                    <a:lnTo>
                      <a:pt x="327276" y="2827355"/>
                    </a:lnTo>
                    <a:cubicBezTo>
                      <a:pt x="332400" y="2828315"/>
                      <a:pt x="897920" y="2828922"/>
                      <a:pt x="897920" y="2828922"/>
                    </a:cubicBezTo>
                    <a:lnTo>
                      <a:pt x="929418" y="3128960"/>
                    </a:lnTo>
                    <a:lnTo>
                      <a:pt x="1101789" y="3128960"/>
                    </a:lnTo>
                    <a:lnTo>
                      <a:pt x="939333" y="1580227"/>
                    </a:lnTo>
                    <a:cubicBezTo>
                      <a:pt x="935042" y="1541842"/>
                      <a:pt x="918857" y="1505759"/>
                      <a:pt x="893022" y="1477014"/>
                    </a:cubicBezTo>
                    <a:cubicBezTo>
                      <a:pt x="867225" y="1448279"/>
                      <a:pt x="833053" y="1428372"/>
                      <a:pt x="795354" y="1419995"/>
                    </a:cubicBezTo>
                    <a:cubicBezTo>
                      <a:pt x="824785" y="1377054"/>
                      <a:pt x="842615" y="1327226"/>
                      <a:pt x="847132" y="1275330"/>
                    </a:cubicBezTo>
                    <a:cubicBezTo>
                      <a:pt x="853186" y="1209807"/>
                      <a:pt x="838138" y="1144098"/>
                      <a:pt x="804201" y="1087735"/>
                    </a:cubicBezTo>
                    <a:cubicBezTo>
                      <a:pt x="852265" y="999022"/>
                      <a:pt x="867647" y="896229"/>
                      <a:pt x="847631" y="797297"/>
                    </a:cubicBezTo>
                    <a:cubicBezTo>
                      <a:pt x="818965" y="690175"/>
                      <a:pt x="748514" y="599062"/>
                      <a:pt x="652032" y="544335"/>
                    </a:cubicBezTo>
                    <a:cubicBezTo>
                      <a:pt x="677485" y="445560"/>
                      <a:pt x="668295" y="341084"/>
                      <a:pt x="626010" y="248275"/>
                    </a:cubicBezTo>
                    <a:cubicBezTo>
                      <a:pt x="567071" y="127917"/>
                      <a:pt x="449123" y="45249"/>
                      <a:pt x="275419" y="2504"/>
                    </a:cubicBezTo>
                    <a:lnTo>
                      <a:pt x="275419" y="2465"/>
                    </a:lnTo>
                    <a:cubicBezTo>
                      <a:pt x="229451" y="-8747"/>
                      <a:pt x="183111" y="19343"/>
                      <a:pt x="171824" y="65268"/>
                    </a:cubicBezTo>
                    <a:cubicBezTo>
                      <a:pt x="160499" y="111192"/>
                      <a:pt x="188509" y="157575"/>
                      <a:pt x="234399" y="168980"/>
                    </a:cubicBezTo>
                    <a:cubicBezTo>
                      <a:pt x="355942" y="198869"/>
                      <a:pt x="435740" y="250572"/>
                      <a:pt x="471558" y="322639"/>
                    </a:cubicBezTo>
                    <a:cubicBezTo>
                      <a:pt x="500910" y="395658"/>
                      <a:pt x="500832" y="477169"/>
                      <a:pt x="471402" y="550118"/>
                    </a:cubicBezTo>
                    <a:cubicBezTo>
                      <a:pt x="452767" y="591985"/>
                      <a:pt x="470334" y="641087"/>
                      <a:pt x="511315" y="661600"/>
                    </a:cubicBezTo>
                    <a:cubicBezTo>
                      <a:pt x="607180" y="709667"/>
                      <a:pt x="664131" y="768301"/>
                      <a:pt x="680580" y="835921"/>
                    </a:cubicBezTo>
                    <a:cubicBezTo>
                      <a:pt x="691524" y="908710"/>
                      <a:pt x="674114" y="982915"/>
                      <a:pt x="631899" y="1043187"/>
                    </a:cubicBezTo>
                    <a:cubicBezTo>
                      <a:pt x="606142" y="1077820"/>
                      <a:pt x="610129" y="1126198"/>
                      <a:pt x="641206" y="1156119"/>
                    </a:cubicBezTo>
                    <a:cubicBezTo>
                      <a:pt x="667834" y="1183786"/>
                      <a:pt x="680737" y="1221907"/>
                      <a:pt x="676368" y="1260057"/>
                    </a:cubicBezTo>
                    <a:cubicBezTo>
                      <a:pt x="673997" y="1297178"/>
                      <a:pt x="654941" y="1331243"/>
                      <a:pt x="624482" y="1352630"/>
                    </a:cubicBezTo>
                    <a:cubicBezTo>
                      <a:pt x="595012" y="1371656"/>
                      <a:pt x="558655" y="1376662"/>
                      <a:pt x="525158" y="1366375"/>
                    </a:cubicBezTo>
                    <a:cubicBezTo>
                      <a:pt x="490183" y="1353590"/>
                      <a:pt x="464730" y="1323091"/>
                      <a:pt x="458499" y="1286391"/>
                    </a:cubicBezTo>
                    <a:cubicBezTo>
                      <a:pt x="444028" y="1239816"/>
                      <a:pt x="427687" y="1187274"/>
                      <a:pt x="366572" y="1186735"/>
                    </a:cubicBezTo>
                    <a:cubicBezTo>
                      <a:pt x="304537" y="1181297"/>
                      <a:pt x="247243" y="1151406"/>
                      <a:pt x="207330" y="1103645"/>
                    </a:cubicBezTo>
                    <a:cubicBezTo>
                      <a:pt x="165074" y="1044745"/>
                      <a:pt x="160068" y="954817"/>
                      <a:pt x="192330" y="836253"/>
                    </a:cubicBezTo>
                    <a:lnTo>
                      <a:pt x="192369" y="836253"/>
                    </a:lnTo>
                    <a:cubicBezTo>
                      <a:pt x="204802" y="790558"/>
                      <a:pt x="177820" y="743447"/>
                      <a:pt x="132166" y="731012"/>
                    </a:cubicBezTo>
                    <a:cubicBezTo>
                      <a:pt x="86472" y="718574"/>
                      <a:pt x="39367" y="745517"/>
                      <a:pt x="26925" y="791210"/>
                    </a:cubicBezTo>
                    <a:cubicBezTo>
                      <a:pt x="-19837" y="962782"/>
                      <a:pt x="-5641" y="1102048"/>
                      <a:pt x="69141" y="1205065"/>
                    </a:cubicBezTo>
                    <a:cubicBezTo>
                      <a:pt x="125592" y="1279269"/>
                      <a:pt x="207065" y="1330439"/>
                      <a:pt x="298414" y="1349113"/>
                    </a:cubicBezTo>
                    <a:close/>
                    <a:moveTo>
                      <a:pt x="423170" y="2057378"/>
                    </a:moveTo>
                    <a:lnTo>
                      <a:pt x="480425" y="1597911"/>
                    </a:lnTo>
                    <a:cubicBezTo>
                      <a:pt x="482531" y="1590338"/>
                      <a:pt x="489683" y="1585322"/>
                      <a:pt x="497530" y="1585890"/>
                    </a:cubicBezTo>
                    <a:lnTo>
                      <a:pt x="751679" y="1585890"/>
                    </a:lnTo>
                    <a:cubicBezTo>
                      <a:pt x="759594" y="1585283"/>
                      <a:pt x="766795" y="1590406"/>
                      <a:pt x="768784" y="1598107"/>
                    </a:cubicBezTo>
                    <a:lnTo>
                      <a:pt x="816967" y="2057387"/>
                    </a:lnTo>
                    <a:close/>
                    <a:moveTo>
                      <a:pt x="401812" y="2228828"/>
                    </a:moveTo>
                    <a:lnTo>
                      <a:pt x="834954" y="2228828"/>
                    </a:lnTo>
                    <a:lnTo>
                      <a:pt x="879923" y="2657453"/>
                    </a:lnTo>
                    <a:lnTo>
                      <a:pt x="348428" y="2657453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F28126FD-0790-4B19-9AEB-40993214E0D3}"/>
                  </a:ext>
                </a:extLst>
              </p:cNvPr>
              <p:cNvSpPr/>
              <p:nvPr/>
            </p:nvSpPr>
            <p:spPr>
              <a:xfrm>
                <a:off x="-7052039" y="4059506"/>
                <a:ext cx="728662" cy="171450"/>
              </a:xfrm>
              <a:custGeom>
                <a:avLst/>
                <a:gdLst>
                  <a:gd name="connsiteX0" fmla="*/ 642938 w 728662"/>
                  <a:gd name="connsiteY0" fmla="*/ 0 h 171450"/>
                  <a:gd name="connsiteX1" fmla="*/ 85725 w 728662"/>
                  <a:gd name="connsiteY1" fmla="*/ 0 h 171450"/>
                  <a:gd name="connsiteX2" fmla="*/ 0 w 728662"/>
                  <a:gd name="connsiteY2" fmla="*/ 85725 h 171450"/>
                  <a:gd name="connsiteX3" fmla="*/ 85725 w 728662"/>
                  <a:gd name="connsiteY3" fmla="*/ 171450 h 171450"/>
                  <a:gd name="connsiteX4" fmla="*/ 642938 w 728662"/>
                  <a:gd name="connsiteY4" fmla="*/ 171450 h 171450"/>
                  <a:gd name="connsiteX5" fmla="*/ 728663 w 728662"/>
                  <a:gd name="connsiteY5" fmla="*/ 85725 h 171450"/>
                  <a:gd name="connsiteX6" fmla="*/ 642938 w 728662"/>
                  <a:gd name="connsiteY6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8662" h="171450">
                    <a:moveTo>
                      <a:pt x="642938" y="0"/>
                    </a:move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642938" y="171450"/>
                    </a:lnTo>
                    <a:cubicBezTo>
                      <a:pt x="690277" y="171450"/>
                      <a:pt x="728663" y="133065"/>
                      <a:pt x="728663" y="85725"/>
                    </a:cubicBezTo>
                    <a:cubicBezTo>
                      <a:pt x="728663" y="38385"/>
                      <a:pt x="690277" y="0"/>
                      <a:pt x="642938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4279D569-2CAE-4DAA-9871-6CC293856EDF}"/>
                  </a:ext>
                </a:extLst>
              </p:cNvPr>
              <p:cNvSpPr/>
              <p:nvPr/>
            </p:nvSpPr>
            <p:spPr>
              <a:xfrm>
                <a:off x="-7052039" y="4402406"/>
                <a:ext cx="728662" cy="171450"/>
              </a:xfrm>
              <a:custGeom>
                <a:avLst/>
                <a:gdLst>
                  <a:gd name="connsiteX0" fmla="*/ 642938 w 728662"/>
                  <a:gd name="connsiteY0" fmla="*/ 0 h 171450"/>
                  <a:gd name="connsiteX1" fmla="*/ 85725 w 728662"/>
                  <a:gd name="connsiteY1" fmla="*/ 0 h 171450"/>
                  <a:gd name="connsiteX2" fmla="*/ 0 w 728662"/>
                  <a:gd name="connsiteY2" fmla="*/ 85725 h 171450"/>
                  <a:gd name="connsiteX3" fmla="*/ 85725 w 728662"/>
                  <a:gd name="connsiteY3" fmla="*/ 171450 h 171450"/>
                  <a:gd name="connsiteX4" fmla="*/ 642938 w 728662"/>
                  <a:gd name="connsiteY4" fmla="*/ 171450 h 171450"/>
                  <a:gd name="connsiteX5" fmla="*/ 728663 w 728662"/>
                  <a:gd name="connsiteY5" fmla="*/ 85725 h 171450"/>
                  <a:gd name="connsiteX6" fmla="*/ 642938 w 728662"/>
                  <a:gd name="connsiteY6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8662" h="171450">
                    <a:moveTo>
                      <a:pt x="642938" y="0"/>
                    </a:move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642938" y="171450"/>
                    </a:lnTo>
                    <a:cubicBezTo>
                      <a:pt x="690277" y="171450"/>
                      <a:pt x="728663" y="133065"/>
                      <a:pt x="728663" y="85725"/>
                    </a:cubicBezTo>
                    <a:cubicBezTo>
                      <a:pt x="728663" y="38385"/>
                      <a:pt x="690277" y="0"/>
                      <a:pt x="642938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4A558F89-199E-44A7-A496-03EAD7D994FD}"/>
                  </a:ext>
                </a:extLst>
              </p:cNvPr>
              <p:cNvSpPr/>
              <p:nvPr/>
            </p:nvSpPr>
            <p:spPr>
              <a:xfrm>
                <a:off x="-7052039" y="4745306"/>
                <a:ext cx="728662" cy="171450"/>
              </a:xfrm>
              <a:custGeom>
                <a:avLst/>
                <a:gdLst>
                  <a:gd name="connsiteX0" fmla="*/ 642938 w 728662"/>
                  <a:gd name="connsiteY0" fmla="*/ 0 h 171450"/>
                  <a:gd name="connsiteX1" fmla="*/ 85725 w 728662"/>
                  <a:gd name="connsiteY1" fmla="*/ 0 h 171450"/>
                  <a:gd name="connsiteX2" fmla="*/ 0 w 728662"/>
                  <a:gd name="connsiteY2" fmla="*/ 85725 h 171450"/>
                  <a:gd name="connsiteX3" fmla="*/ 85725 w 728662"/>
                  <a:gd name="connsiteY3" fmla="*/ 171450 h 171450"/>
                  <a:gd name="connsiteX4" fmla="*/ 642938 w 728662"/>
                  <a:gd name="connsiteY4" fmla="*/ 171450 h 171450"/>
                  <a:gd name="connsiteX5" fmla="*/ 728663 w 728662"/>
                  <a:gd name="connsiteY5" fmla="*/ 85725 h 171450"/>
                  <a:gd name="connsiteX6" fmla="*/ 642938 w 728662"/>
                  <a:gd name="connsiteY6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8662" h="171450">
                    <a:moveTo>
                      <a:pt x="642938" y="0"/>
                    </a:move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642938" y="171450"/>
                    </a:lnTo>
                    <a:cubicBezTo>
                      <a:pt x="690277" y="171450"/>
                      <a:pt x="728663" y="133065"/>
                      <a:pt x="728663" y="85725"/>
                    </a:cubicBezTo>
                    <a:cubicBezTo>
                      <a:pt x="728663" y="38385"/>
                      <a:pt x="690277" y="0"/>
                      <a:pt x="642938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C7DBDDC2-014E-470D-92AB-02C7A88F6D3A}"/>
                  </a:ext>
                </a:extLst>
              </p:cNvPr>
              <p:cNvSpPr/>
              <p:nvPr/>
            </p:nvSpPr>
            <p:spPr>
              <a:xfrm>
                <a:off x="-7052039" y="5088206"/>
                <a:ext cx="728662" cy="171450"/>
              </a:xfrm>
              <a:custGeom>
                <a:avLst/>
                <a:gdLst>
                  <a:gd name="connsiteX0" fmla="*/ 642938 w 728662"/>
                  <a:gd name="connsiteY0" fmla="*/ 0 h 171450"/>
                  <a:gd name="connsiteX1" fmla="*/ 85725 w 728662"/>
                  <a:gd name="connsiteY1" fmla="*/ 0 h 171450"/>
                  <a:gd name="connsiteX2" fmla="*/ 0 w 728662"/>
                  <a:gd name="connsiteY2" fmla="*/ 85725 h 171450"/>
                  <a:gd name="connsiteX3" fmla="*/ 85725 w 728662"/>
                  <a:gd name="connsiteY3" fmla="*/ 171450 h 171450"/>
                  <a:gd name="connsiteX4" fmla="*/ 642938 w 728662"/>
                  <a:gd name="connsiteY4" fmla="*/ 171450 h 171450"/>
                  <a:gd name="connsiteX5" fmla="*/ 728663 w 728662"/>
                  <a:gd name="connsiteY5" fmla="*/ 85725 h 171450"/>
                  <a:gd name="connsiteX6" fmla="*/ 642938 w 728662"/>
                  <a:gd name="connsiteY6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8662" h="171450">
                    <a:moveTo>
                      <a:pt x="642938" y="0"/>
                    </a:move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642938" y="171450"/>
                    </a:lnTo>
                    <a:cubicBezTo>
                      <a:pt x="690277" y="171450"/>
                      <a:pt x="728663" y="133065"/>
                      <a:pt x="728663" y="85725"/>
                    </a:cubicBezTo>
                    <a:cubicBezTo>
                      <a:pt x="728663" y="38385"/>
                      <a:pt x="690277" y="0"/>
                      <a:pt x="642938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9969A12B-9272-4801-82D8-A819E9F33748}"/>
                  </a:ext>
                </a:extLst>
              </p:cNvPr>
              <p:cNvSpPr/>
              <p:nvPr/>
            </p:nvSpPr>
            <p:spPr>
              <a:xfrm>
                <a:off x="-7052039" y="5431106"/>
                <a:ext cx="728662" cy="171450"/>
              </a:xfrm>
              <a:custGeom>
                <a:avLst/>
                <a:gdLst>
                  <a:gd name="connsiteX0" fmla="*/ 728663 w 728662"/>
                  <a:gd name="connsiteY0" fmla="*/ 85725 h 171450"/>
                  <a:gd name="connsiteX1" fmla="*/ 642938 w 728662"/>
                  <a:gd name="connsiteY1" fmla="*/ 0 h 171450"/>
                  <a:gd name="connsiteX2" fmla="*/ 85725 w 728662"/>
                  <a:gd name="connsiteY2" fmla="*/ 0 h 171450"/>
                  <a:gd name="connsiteX3" fmla="*/ 0 w 728662"/>
                  <a:gd name="connsiteY3" fmla="*/ 85725 h 171450"/>
                  <a:gd name="connsiteX4" fmla="*/ 85725 w 728662"/>
                  <a:gd name="connsiteY4" fmla="*/ 171450 h 171450"/>
                  <a:gd name="connsiteX5" fmla="*/ 642938 w 728662"/>
                  <a:gd name="connsiteY5" fmla="*/ 171450 h 171450"/>
                  <a:gd name="connsiteX6" fmla="*/ 728663 w 728662"/>
                  <a:gd name="connsiteY6" fmla="*/ 8572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8662" h="171450">
                    <a:moveTo>
                      <a:pt x="728663" y="85725"/>
                    </a:moveTo>
                    <a:cubicBezTo>
                      <a:pt x="728663" y="38385"/>
                      <a:pt x="690277" y="0"/>
                      <a:pt x="642938" y="0"/>
                    </a:cubicBez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642938" y="171450"/>
                    </a:lnTo>
                    <a:cubicBezTo>
                      <a:pt x="690277" y="171450"/>
                      <a:pt x="728663" y="133065"/>
                      <a:pt x="728663" y="85725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4244891D-6597-4849-9E87-7FEA892C44FA}"/>
                  </a:ext>
                </a:extLst>
              </p:cNvPr>
              <p:cNvSpPr/>
              <p:nvPr/>
            </p:nvSpPr>
            <p:spPr>
              <a:xfrm>
                <a:off x="-7052039" y="5774006"/>
                <a:ext cx="664598" cy="171450"/>
              </a:xfrm>
              <a:custGeom>
                <a:avLst/>
                <a:gdLst>
                  <a:gd name="connsiteX0" fmla="*/ 642938 w 664598"/>
                  <a:gd name="connsiteY0" fmla="*/ 0 h 171450"/>
                  <a:gd name="connsiteX1" fmla="*/ 85725 w 664598"/>
                  <a:gd name="connsiteY1" fmla="*/ 0 h 171450"/>
                  <a:gd name="connsiteX2" fmla="*/ 0 w 664598"/>
                  <a:gd name="connsiteY2" fmla="*/ 85725 h 171450"/>
                  <a:gd name="connsiteX3" fmla="*/ 85725 w 664598"/>
                  <a:gd name="connsiteY3" fmla="*/ 171450 h 171450"/>
                  <a:gd name="connsiteX4" fmla="*/ 506698 w 664598"/>
                  <a:gd name="connsiteY4" fmla="*/ 171450 h 171450"/>
                  <a:gd name="connsiteX5" fmla="*/ 664599 w 664598"/>
                  <a:gd name="connsiteY5" fmla="*/ 3096 h 171450"/>
                  <a:gd name="connsiteX6" fmla="*/ 642938 w 664598"/>
                  <a:gd name="connsiteY6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4598" h="171450">
                    <a:moveTo>
                      <a:pt x="642938" y="0"/>
                    </a:move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506698" y="171450"/>
                    </a:lnTo>
                    <a:cubicBezTo>
                      <a:pt x="550629" y="107769"/>
                      <a:pt x="603827" y="51014"/>
                      <a:pt x="664599" y="3096"/>
                    </a:cubicBezTo>
                    <a:cubicBezTo>
                      <a:pt x="657516" y="1146"/>
                      <a:pt x="650246" y="68"/>
                      <a:pt x="642938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5B57943D-8289-4F25-BFBB-44E9F75279EC}"/>
                  </a:ext>
                </a:extLst>
              </p:cNvPr>
              <p:cNvSpPr/>
              <p:nvPr/>
            </p:nvSpPr>
            <p:spPr>
              <a:xfrm>
                <a:off x="-7052039" y="6116906"/>
                <a:ext cx="417799" cy="171450"/>
              </a:xfrm>
              <a:custGeom>
                <a:avLst/>
                <a:gdLst>
                  <a:gd name="connsiteX0" fmla="*/ 417799 w 417799"/>
                  <a:gd name="connsiteY0" fmla="*/ 0 h 171450"/>
                  <a:gd name="connsiteX1" fmla="*/ 85725 w 417799"/>
                  <a:gd name="connsiteY1" fmla="*/ 0 h 171450"/>
                  <a:gd name="connsiteX2" fmla="*/ 0 w 417799"/>
                  <a:gd name="connsiteY2" fmla="*/ 85725 h 171450"/>
                  <a:gd name="connsiteX3" fmla="*/ 85725 w 417799"/>
                  <a:gd name="connsiteY3" fmla="*/ 171450 h 171450"/>
                  <a:gd name="connsiteX4" fmla="*/ 374241 w 417799"/>
                  <a:gd name="connsiteY4" fmla="*/ 171450 h 171450"/>
                  <a:gd name="connsiteX5" fmla="*/ 417789 w 417799"/>
                  <a:gd name="connsiteY5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7799" h="171450">
                    <a:moveTo>
                      <a:pt x="417799" y="0"/>
                    </a:move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374241" y="171450"/>
                    </a:lnTo>
                    <a:cubicBezTo>
                      <a:pt x="382588" y="112893"/>
                      <a:pt x="397166" y="55413"/>
                      <a:pt x="417789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4DD0B100-8D81-4816-99AF-A4D94126A3AE}"/>
                  </a:ext>
                </a:extLst>
              </p:cNvPr>
              <p:cNvSpPr/>
              <p:nvPr/>
            </p:nvSpPr>
            <p:spPr>
              <a:xfrm>
                <a:off x="-7052069" y="6459806"/>
                <a:ext cx="364336" cy="171450"/>
              </a:xfrm>
              <a:custGeom>
                <a:avLst/>
                <a:gdLst>
                  <a:gd name="connsiteX0" fmla="*/ 364336 w 364336"/>
                  <a:gd name="connsiteY0" fmla="*/ 0 h 171450"/>
                  <a:gd name="connsiteX1" fmla="*/ 85725 w 364336"/>
                  <a:gd name="connsiteY1" fmla="*/ 0 h 171450"/>
                  <a:gd name="connsiteX2" fmla="*/ 0 w 364336"/>
                  <a:gd name="connsiteY2" fmla="*/ 85725 h 171450"/>
                  <a:gd name="connsiteX3" fmla="*/ 85725 w 364336"/>
                  <a:gd name="connsiteY3" fmla="*/ 171450 h 171450"/>
                  <a:gd name="connsiteX4" fmla="*/ 364336 w 364336"/>
                  <a:gd name="connsiteY4" fmla="*/ 17145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4336" h="171450">
                    <a:moveTo>
                      <a:pt x="364336" y="0"/>
                    </a:move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364336" y="171450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B700A219-9D72-46EF-95F8-F6E41ABB9F5C}"/>
                  </a:ext>
                </a:extLst>
              </p:cNvPr>
              <p:cNvSpPr/>
              <p:nvPr/>
            </p:nvSpPr>
            <p:spPr>
              <a:xfrm>
                <a:off x="-7052088" y="6802706"/>
                <a:ext cx="364336" cy="171450"/>
              </a:xfrm>
              <a:custGeom>
                <a:avLst/>
                <a:gdLst>
                  <a:gd name="connsiteX0" fmla="*/ 0 w 364336"/>
                  <a:gd name="connsiteY0" fmla="*/ 85725 h 171450"/>
                  <a:gd name="connsiteX1" fmla="*/ 85725 w 364336"/>
                  <a:gd name="connsiteY1" fmla="*/ 171450 h 171450"/>
                  <a:gd name="connsiteX2" fmla="*/ 364336 w 364336"/>
                  <a:gd name="connsiteY2" fmla="*/ 171450 h 171450"/>
                  <a:gd name="connsiteX3" fmla="*/ 364336 w 364336"/>
                  <a:gd name="connsiteY3" fmla="*/ 0 h 171450"/>
                  <a:gd name="connsiteX4" fmla="*/ 85725 w 364336"/>
                  <a:gd name="connsiteY4" fmla="*/ 0 h 171450"/>
                  <a:gd name="connsiteX5" fmla="*/ 0 w 364336"/>
                  <a:gd name="connsiteY5" fmla="*/ 8572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4336" h="171450">
                    <a:moveTo>
                      <a:pt x="0" y="85725"/>
                    </a:moveTo>
                    <a:cubicBezTo>
                      <a:pt x="0" y="133065"/>
                      <a:pt x="38385" y="171450"/>
                      <a:pt x="85725" y="171450"/>
                    </a:cubicBezTo>
                    <a:lnTo>
                      <a:pt x="364336" y="171450"/>
                    </a:lnTo>
                    <a:lnTo>
                      <a:pt x="364336" y="0"/>
                    </a:lnTo>
                    <a:lnTo>
                      <a:pt x="85725" y="0"/>
                    </a:lnTo>
                    <a:cubicBezTo>
                      <a:pt x="38385" y="0"/>
                      <a:pt x="0" y="38385"/>
                      <a:pt x="0" y="85725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AD5AAD95-A9B8-465A-A725-5AFAA4765413}"/>
                  </a:ext>
                </a:extLst>
              </p:cNvPr>
              <p:cNvSpPr/>
              <p:nvPr/>
            </p:nvSpPr>
            <p:spPr>
              <a:xfrm>
                <a:off x="-5787325" y="6072387"/>
                <a:ext cx="685403" cy="901033"/>
              </a:xfrm>
              <a:custGeom>
                <a:avLst/>
                <a:gdLst>
                  <a:gd name="connsiteX0" fmla="*/ 254088 w 685403"/>
                  <a:gd name="connsiteY0" fmla="*/ 39032 h 901033"/>
                  <a:gd name="connsiteX1" fmla="*/ 86733 w 685403"/>
                  <a:gd name="connsiteY1" fmla="*/ 0 h 901033"/>
                  <a:gd name="connsiteX2" fmla="*/ 2997 w 685403"/>
                  <a:gd name="connsiteY2" fmla="*/ 508423 h 901033"/>
                  <a:gd name="connsiteX3" fmla="*/ 66453 w 685403"/>
                  <a:gd name="connsiteY3" fmla="*/ 698438 h 901033"/>
                  <a:gd name="connsiteX4" fmla="*/ 233505 w 685403"/>
                  <a:gd name="connsiteY4" fmla="*/ 859974 h 901033"/>
                  <a:gd name="connsiteX5" fmla="*/ 237668 w 685403"/>
                  <a:gd name="connsiteY5" fmla="*/ 863716 h 901033"/>
                  <a:gd name="connsiteX6" fmla="*/ 237668 w 685403"/>
                  <a:gd name="connsiteY6" fmla="*/ 863755 h 901033"/>
                  <a:gd name="connsiteX7" fmla="*/ 343487 w 685403"/>
                  <a:gd name="connsiteY7" fmla="*/ 901033 h 901033"/>
                  <a:gd name="connsiteX8" fmla="*/ 449345 w 685403"/>
                  <a:gd name="connsiteY8" fmla="*/ 863795 h 901033"/>
                  <a:gd name="connsiteX9" fmla="*/ 620678 w 685403"/>
                  <a:gd name="connsiteY9" fmla="*/ 698468 h 901033"/>
                  <a:gd name="connsiteX10" fmla="*/ 620678 w 685403"/>
                  <a:gd name="connsiteY10" fmla="*/ 698429 h 901033"/>
                  <a:gd name="connsiteX11" fmla="*/ 681420 w 685403"/>
                  <a:gd name="connsiteY11" fmla="*/ 508531 h 901033"/>
                  <a:gd name="connsiteX12" fmla="*/ 580774 w 685403"/>
                  <a:gd name="connsiteY12" fmla="*/ 6505 h 901033"/>
                  <a:gd name="connsiteX13" fmla="*/ 412841 w 685403"/>
                  <a:gd name="connsiteY13" fmla="*/ 40991 h 901033"/>
                  <a:gd name="connsiteX14" fmla="*/ 513908 w 685403"/>
                  <a:gd name="connsiteY14" fmla="*/ 544937 h 901033"/>
                  <a:gd name="connsiteX15" fmla="*/ 513908 w 685403"/>
                  <a:gd name="connsiteY15" fmla="*/ 544898 h 901033"/>
                  <a:gd name="connsiteX16" fmla="*/ 507246 w 685403"/>
                  <a:gd name="connsiteY16" fmla="*/ 569851 h 901033"/>
                  <a:gd name="connsiteX17" fmla="*/ 343526 w 685403"/>
                  <a:gd name="connsiteY17" fmla="*/ 727869 h 901033"/>
                  <a:gd name="connsiteX18" fmla="*/ 183980 w 685403"/>
                  <a:gd name="connsiteY18" fmla="*/ 573642 h 901033"/>
                  <a:gd name="connsiteX19" fmla="*/ 180188 w 685403"/>
                  <a:gd name="connsiteY19" fmla="*/ 570194 h 901033"/>
                  <a:gd name="connsiteX20" fmla="*/ 171733 w 685403"/>
                  <a:gd name="connsiteY20" fmla="*/ 538735 h 901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85403" h="901033">
                    <a:moveTo>
                      <a:pt x="254088" y="39032"/>
                    </a:moveTo>
                    <a:cubicBezTo>
                      <a:pt x="196990" y="32370"/>
                      <a:pt x="140882" y="19281"/>
                      <a:pt x="86733" y="0"/>
                    </a:cubicBezTo>
                    <a:lnTo>
                      <a:pt x="2997" y="508423"/>
                    </a:lnTo>
                    <a:cubicBezTo>
                      <a:pt x="-8867" y="578374"/>
                      <a:pt x="14940" y="649639"/>
                      <a:pt x="66453" y="698438"/>
                    </a:cubicBezTo>
                    <a:lnTo>
                      <a:pt x="233505" y="859974"/>
                    </a:lnTo>
                    <a:lnTo>
                      <a:pt x="237668" y="863716"/>
                    </a:lnTo>
                    <a:lnTo>
                      <a:pt x="237668" y="863755"/>
                    </a:lnTo>
                    <a:cubicBezTo>
                      <a:pt x="267677" y="887866"/>
                      <a:pt x="304994" y="900995"/>
                      <a:pt x="343487" y="901033"/>
                    </a:cubicBezTo>
                    <a:cubicBezTo>
                      <a:pt x="381990" y="901033"/>
                      <a:pt x="419347" y="887906"/>
                      <a:pt x="449345" y="863795"/>
                    </a:cubicBezTo>
                    <a:lnTo>
                      <a:pt x="620678" y="698468"/>
                    </a:lnTo>
                    <a:lnTo>
                      <a:pt x="620678" y="698429"/>
                    </a:lnTo>
                    <a:cubicBezTo>
                      <a:pt x="672348" y="649864"/>
                      <a:pt x="695312" y="578071"/>
                      <a:pt x="681420" y="508531"/>
                    </a:cubicBezTo>
                    <a:lnTo>
                      <a:pt x="580774" y="6505"/>
                    </a:lnTo>
                    <a:cubicBezTo>
                      <a:pt x="526233" y="24268"/>
                      <a:pt x="469909" y="35828"/>
                      <a:pt x="412841" y="40991"/>
                    </a:cubicBezTo>
                    <a:lnTo>
                      <a:pt x="513908" y="544937"/>
                    </a:lnTo>
                    <a:lnTo>
                      <a:pt x="513908" y="544898"/>
                    </a:lnTo>
                    <a:cubicBezTo>
                      <a:pt x="514330" y="553735"/>
                      <a:pt x="511988" y="562425"/>
                      <a:pt x="507246" y="569851"/>
                    </a:cubicBezTo>
                    <a:lnTo>
                      <a:pt x="343526" y="727869"/>
                    </a:lnTo>
                    <a:lnTo>
                      <a:pt x="183980" y="573642"/>
                    </a:lnTo>
                    <a:lnTo>
                      <a:pt x="180188" y="570194"/>
                    </a:lnTo>
                    <a:cubicBezTo>
                      <a:pt x="173761" y="561014"/>
                      <a:pt x="170773" y="549875"/>
                      <a:pt x="171733" y="538735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E42FDFF2-C822-4725-A677-7DDE51DD25BA}"/>
                  </a:ext>
                </a:extLst>
              </p:cNvPr>
              <p:cNvSpPr/>
              <p:nvPr/>
            </p:nvSpPr>
            <p:spPr>
              <a:xfrm>
                <a:off x="-6516637" y="5800850"/>
                <a:ext cx="2143780" cy="1516225"/>
              </a:xfrm>
              <a:custGeom>
                <a:avLst/>
                <a:gdLst>
                  <a:gd name="connsiteX0" fmla="*/ 1693203 w 2143780"/>
                  <a:gd name="connsiteY0" fmla="*/ 0 h 1516225"/>
                  <a:gd name="connsiteX1" fmla="*/ 1551987 w 2143780"/>
                  <a:gd name="connsiteY1" fmla="*/ 147457 h 1516225"/>
                  <a:gd name="connsiteX2" fmla="*/ 1857148 w 2143780"/>
                  <a:gd name="connsiteY2" fmla="*/ 294453 h 1516225"/>
                  <a:gd name="connsiteX3" fmla="*/ 1972000 w 2143780"/>
                  <a:gd name="connsiteY3" fmla="*/ 613125 h 1516225"/>
                  <a:gd name="connsiteX4" fmla="*/ 1972000 w 2143780"/>
                  <a:gd name="connsiteY4" fmla="*/ 1344776 h 1516225"/>
                  <a:gd name="connsiteX5" fmla="*/ 171775 w 2143780"/>
                  <a:gd name="connsiteY5" fmla="*/ 1344776 h 1516225"/>
                  <a:gd name="connsiteX6" fmla="*/ 171775 w 2143780"/>
                  <a:gd name="connsiteY6" fmla="*/ 613125 h 1516225"/>
                  <a:gd name="connsiteX7" fmla="*/ 286627 w 2143780"/>
                  <a:gd name="connsiteY7" fmla="*/ 294453 h 1516225"/>
                  <a:gd name="connsiteX8" fmla="*/ 591788 w 2143780"/>
                  <a:gd name="connsiteY8" fmla="*/ 147457 h 1516225"/>
                  <a:gd name="connsiteX9" fmla="*/ 450572 w 2143780"/>
                  <a:gd name="connsiteY9" fmla="*/ 0 h 1516225"/>
                  <a:gd name="connsiteX10" fmla="*/ 119419 w 2143780"/>
                  <a:gd name="connsiteY10" fmla="*/ 228705 h 1516225"/>
                  <a:gd name="connsiteX11" fmla="*/ 325 w 2143780"/>
                  <a:gd name="connsiteY11" fmla="*/ 613125 h 1516225"/>
                  <a:gd name="connsiteX12" fmla="*/ 325 w 2143780"/>
                  <a:gd name="connsiteY12" fmla="*/ 1430501 h 1516225"/>
                  <a:gd name="connsiteX13" fmla="*/ 86050 w 2143780"/>
                  <a:gd name="connsiteY13" fmla="*/ 1516226 h 1516225"/>
                  <a:gd name="connsiteX14" fmla="*/ 2057725 w 2143780"/>
                  <a:gd name="connsiteY14" fmla="*/ 1516226 h 1516225"/>
                  <a:gd name="connsiteX15" fmla="*/ 2143450 w 2143780"/>
                  <a:gd name="connsiteY15" fmla="*/ 1430501 h 1516225"/>
                  <a:gd name="connsiteX16" fmla="*/ 2143450 w 2143780"/>
                  <a:gd name="connsiteY16" fmla="*/ 613125 h 1516225"/>
                  <a:gd name="connsiteX17" fmla="*/ 2024356 w 2143780"/>
                  <a:gd name="connsiteY17" fmla="*/ 228705 h 1516225"/>
                  <a:gd name="connsiteX18" fmla="*/ 1693203 w 2143780"/>
                  <a:gd name="connsiteY18" fmla="*/ 0 h 151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43780" h="1516225">
                    <a:moveTo>
                      <a:pt x="1693203" y="0"/>
                    </a:moveTo>
                    <a:cubicBezTo>
                      <a:pt x="1652829" y="55148"/>
                      <a:pt x="1605332" y="104741"/>
                      <a:pt x="1551987" y="147457"/>
                    </a:cubicBezTo>
                    <a:cubicBezTo>
                      <a:pt x="1669014" y="154609"/>
                      <a:pt x="1778585" y="207386"/>
                      <a:pt x="1857148" y="294453"/>
                    </a:cubicBezTo>
                    <a:cubicBezTo>
                      <a:pt x="1935682" y="381560"/>
                      <a:pt x="1976938" y="495980"/>
                      <a:pt x="1972000" y="613125"/>
                    </a:cubicBezTo>
                    <a:lnTo>
                      <a:pt x="1972000" y="1344776"/>
                    </a:lnTo>
                    <a:lnTo>
                      <a:pt x="171775" y="1344776"/>
                    </a:lnTo>
                    <a:lnTo>
                      <a:pt x="171775" y="613125"/>
                    </a:lnTo>
                    <a:cubicBezTo>
                      <a:pt x="166837" y="495980"/>
                      <a:pt x="208093" y="381550"/>
                      <a:pt x="286627" y="294453"/>
                    </a:cubicBezTo>
                    <a:cubicBezTo>
                      <a:pt x="365200" y="207386"/>
                      <a:pt x="474761" y="154579"/>
                      <a:pt x="591788" y="147457"/>
                    </a:cubicBezTo>
                    <a:cubicBezTo>
                      <a:pt x="538443" y="104712"/>
                      <a:pt x="490946" y="55148"/>
                      <a:pt x="450572" y="0"/>
                    </a:cubicBezTo>
                    <a:cubicBezTo>
                      <a:pt x="317703" y="37004"/>
                      <a:pt x="201049" y="117527"/>
                      <a:pt x="119419" y="228705"/>
                    </a:cubicBezTo>
                    <a:cubicBezTo>
                      <a:pt x="37750" y="339883"/>
                      <a:pt x="-4152" y="475279"/>
                      <a:pt x="325" y="613125"/>
                    </a:cubicBezTo>
                    <a:lnTo>
                      <a:pt x="325" y="1430501"/>
                    </a:lnTo>
                    <a:cubicBezTo>
                      <a:pt x="325" y="1477840"/>
                      <a:pt x="38710" y="1516226"/>
                      <a:pt x="86050" y="1516226"/>
                    </a:cubicBezTo>
                    <a:lnTo>
                      <a:pt x="2057725" y="1516226"/>
                    </a:lnTo>
                    <a:cubicBezTo>
                      <a:pt x="2105065" y="1516226"/>
                      <a:pt x="2143450" y="1477840"/>
                      <a:pt x="2143450" y="1430501"/>
                    </a:cubicBezTo>
                    <a:lnTo>
                      <a:pt x="2143450" y="613125"/>
                    </a:lnTo>
                    <a:cubicBezTo>
                      <a:pt x="2147967" y="475279"/>
                      <a:pt x="2106025" y="339873"/>
                      <a:pt x="2024356" y="228705"/>
                    </a:cubicBezTo>
                    <a:cubicBezTo>
                      <a:pt x="1942726" y="117527"/>
                      <a:pt x="1826081" y="36975"/>
                      <a:pt x="1693203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4365D3AA-E1AB-4F87-B8D0-365C7BE7FDB8}"/>
                  </a:ext>
                </a:extLst>
              </p:cNvPr>
              <p:cNvSpPr/>
              <p:nvPr/>
            </p:nvSpPr>
            <p:spPr>
              <a:xfrm>
                <a:off x="-7630713" y="3716615"/>
                <a:ext cx="1885955" cy="3600449"/>
              </a:xfrm>
              <a:custGeom>
                <a:avLst/>
                <a:gdLst>
                  <a:gd name="connsiteX0" fmla="*/ 942981 w 1885955"/>
                  <a:gd name="connsiteY0" fmla="*/ 3428990 h 3600449"/>
                  <a:gd name="connsiteX1" fmla="*/ 257181 w 1885955"/>
                  <a:gd name="connsiteY1" fmla="*/ 3428990 h 3600449"/>
                  <a:gd name="connsiteX2" fmla="*/ 171456 w 1885955"/>
                  <a:gd name="connsiteY2" fmla="*/ 3343265 h 3600449"/>
                  <a:gd name="connsiteX3" fmla="*/ 171456 w 1885955"/>
                  <a:gd name="connsiteY3" fmla="*/ 257165 h 3600449"/>
                  <a:gd name="connsiteX4" fmla="*/ 257181 w 1885955"/>
                  <a:gd name="connsiteY4" fmla="*/ 171440 h 3600449"/>
                  <a:gd name="connsiteX5" fmla="*/ 1628781 w 1885955"/>
                  <a:gd name="connsiteY5" fmla="*/ 171440 h 3600449"/>
                  <a:gd name="connsiteX6" fmla="*/ 1714506 w 1885955"/>
                  <a:gd name="connsiteY6" fmla="*/ 257165 h 3600449"/>
                  <a:gd name="connsiteX7" fmla="*/ 1714506 w 1885955"/>
                  <a:gd name="connsiteY7" fmla="*/ 1019432 h 3600449"/>
                  <a:gd name="connsiteX8" fmla="*/ 1885956 w 1885955"/>
                  <a:gd name="connsiteY8" fmla="*/ 917983 h 3600449"/>
                  <a:gd name="connsiteX9" fmla="*/ 1885956 w 1885955"/>
                  <a:gd name="connsiteY9" fmla="*/ 257175 h 3600449"/>
                  <a:gd name="connsiteX10" fmla="*/ 1810567 w 1885955"/>
                  <a:gd name="connsiteY10" fmla="*/ 75389 h 3600449"/>
                  <a:gd name="connsiteX11" fmla="*/ 1628781 w 1885955"/>
                  <a:gd name="connsiteY11" fmla="*/ 0 h 3600449"/>
                  <a:gd name="connsiteX12" fmla="*/ 257178 w 1885955"/>
                  <a:gd name="connsiteY12" fmla="*/ 0 h 3600449"/>
                  <a:gd name="connsiteX13" fmla="*/ 75392 w 1885955"/>
                  <a:gd name="connsiteY13" fmla="*/ 75389 h 3600449"/>
                  <a:gd name="connsiteX14" fmla="*/ 0 w 1885955"/>
                  <a:gd name="connsiteY14" fmla="*/ 257175 h 3600449"/>
                  <a:gd name="connsiteX15" fmla="*/ 0 w 1885955"/>
                  <a:gd name="connsiteY15" fmla="*/ 3343275 h 3600449"/>
                  <a:gd name="connsiteX16" fmla="*/ 75392 w 1885955"/>
                  <a:gd name="connsiteY16" fmla="*/ 3525022 h 3600449"/>
                  <a:gd name="connsiteX17" fmla="*/ 257178 w 1885955"/>
                  <a:gd name="connsiteY17" fmla="*/ 3600450 h 3600449"/>
                  <a:gd name="connsiteX18" fmla="*/ 957941 w 1885955"/>
                  <a:gd name="connsiteY18" fmla="*/ 3600450 h 3600449"/>
                  <a:gd name="connsiteX19" fmla="*/ 942971 w 1885955"/>
                  <a:gd name="connsiteY19" fmla="*/ 3514725 h 3600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85955" h="3600449">
                    <a:moveTo>
                      <a:pt x="942981" y="3428990"/>
                    </a:moveTo>
                    <a:lnTo>
                      <a:pt x="257181" y="3428990"/>
                    </a:lnTo>
                    <a:cubicBezTo>
                      <a:pt x="209841" y="3428912"/>
                      <a:pt x="171494" y="3390566"/>
                      <a:pt x="171456" y="3343265"/>
                    </a:cubicBezTo>
                    <a:lnTo>
                      <a:pt x="171456" y="257165"/>
                    </a:lnTo>
                    <a:cubicBezTo>
                      <a:pt x="171494" y="209825"/>
                      <a:pt x="209841" y="171479"/>
                      <a:pt x="257181" y="171440"/>
                    </a:cubicBezTo>
                    <a:lnTo>
                      <a:pt x="1628781" y="171440"/>
                    </a:lnTo>
                    <a:cubicBezTo>
                      <a:pt x="1676121" y="171479"/>
                      <a:pt x="1714467" y="209825"/>
                      <a:pt x="1714506" y="257165"/>
                    </a:cubicBezTo>
                    <a:lnTo>
                      <a:pt x="1714506" y="1019432"/>
                    </a:lnTo>
                    <a:cubicBezTo>
                      <a:pt x="1767009" y="978333"/>
                      <a:pt x="1824645" y="944229"/>
                      <a:pt x="1885956" y="917983"/>
                    </a:cubicBezTo>
                    <a:lnTo>
                      <a:pt x="1885956" y="257175"/>
                    </a:lnTo>
                    <a:cubicBezTo>
                      <a:pt x="1885878" y="188977"/>
                      <a:pt x="1858749" y="123610"/>
                      <a:pt x="1810567" y="75389"/>
                    </a:cubicBezTo>
                    <a:cubicBezTo>
                      <a:pt x="1762345" y="27167"/>
                      <a:pt x="1696979" y="68"/>
                      <a:pt x="1628781" y="0"/>
                    </a:cubicBezTo>
                    <a:lnTo>
                      <a:pt x="257178" y="0"/>
                    </a:lnTo>
                    <a:cubicBezTo>
                      <a:pt x="188981" y="78"/>
                      <a:pt x="123614" y="27167"/>
                      <a:pt x="75392" y="75389"/>
                    </a:cubicBezTo>
                    <a:cubicBezTo>
                      <a:pt x="27210" y="123610"/>
                      <a:pt x="76" y="188977"/>
                      <a:pt x="0" y="257175"/>
                    </a:cubicBezTo>
                    <a:lnTo>
                      <a:pt x="0" y="3343275"/>
                    </a:lnTo>
                    <a:cubicBezTo>
                      <a:pt x="76" y="3411434"/>
                      <a:pt x="27210" y="3476839"/>
                      <a:pt x="75392" y="3525022"/>
                    </a:cubicBezTo>
                    <a:cubicBezTo>
                      <a:pt x="123613" y="3573243"/>
                      <a:pt x="188980" y="3600371"/>
                      <a:pt x="257178" y="3600450"/>
                    </a:cubicBezTo>
                    <a:lnTo>
                      <a:pt x="957941" y="3600450"/>
                    </a:lnTo>
                    <a:cubicBezTo>
                      <a:pt x="948105" y="3572940"/>
                      <a:pt x="943050" y="3543930"/>
                      <a:pt x="942971" y="3514725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791EBE11-4C11-4CF2-9613-84532CE5B827}"/>
                  </a:ext>
                </a:extLst>
              </p:cNvPr>
              <p:cNvSpPr/>
              <p:nvPr/>
            </p:nvSpPr>
            <p:spPr>
              <a:xfrm>
                <a:off x="-6044746" y="4745305"/>
                <a:ext cx="1200150" cy="1200150"/>
              </a:xfrm>
              <a:custGeom>
                <a:avLst/>
                <a:gdLst>
                  <a:gd name="connsiteX0" fmla="*/ 0 w 1200150"/>
                  <a:gd name="connsiteY0" fmla="*/ 600075 h 1200150"/>
                  <a:gd name="connsiteX1" fmla="*/ 175771 w 1200150"/>
                  <a:gd name="connsiteY1" fmla="*/ 1024379 h 1200150"/>
                  <a:gd name="connsiteX2" fmla="*/ 600075 w 1200150"/>
                  <a:gd name="connsiteY2" fmla="*/ 1200150 h 1200150"/>
                  <a:gd name="connsiteX3" fmla="*/ 1024379 w 1200150"/>
                  <a:gd name="connsiteY3" fmla="*/ 1024379 h 1200150"/>
                  <a:gd name="connsiteX4" fmla="*/ 1200150 w 1200150"/>
                  <a:gd name="connsiteY4" fmla="*/ 600075 h 1200150"/>
                  <a:gd name="connsiteX5" fmla="*/ 1024379 w 1200150"/>
                  <a:gd name="connsiteY5" fmla="*/ 175741 h 1200150"/>
                  <a:gd name="connsiteX6" fmla="*/ 600075 w 1200150"/>
                  <a:gd name="connsiteY6" fmla="*/ 0 h 1200150"/>
                  <a:gd name="connsiteX7" fmla="*/ 175741 w 1200150"/>
                  <a:gd name="connsiteY7" fmla="*/ 175741 h 1200150"/>
                  <a:gd name="connsiteX8" fmla="*/ 0 w 1200150"/>
                  <a:gd name="connsiteY8" fmla="*/ 600075 h 1200150"/>
                  <a:gd name="connsiteX9" fmla="*/ 600075 w 1200150"/>
                  <a:gd name="connsiteY9" fmla="*/ 171450 h 1200150"/>
                  <a:gd name="connsiteX10" fmla="*/ 903179 w 1200150"/>
                  <a:gd name="connsiteY10" fmla="*/ 296971 h 1200150"/>
                  <a:gd name="connsiteX11" fmla="*/ 1028700 w 1200150"/>
                  <a:gd name="connsiteY11" fmla="*/ 600075 h 1200150"/>
                  <a:gd name="connsiteX12" fmla="*/ 903179 w 1200150"/>
                  <a:gd name="connsiteY12" fmla="*/ 903140 h 1200150"/>
                  <a:gd name="connsiteX13" fmla="*/ 600075 w 1200150"/>
                  <a:gd name="connsiteY13" fmla="*/ 1028700 h 1200150"/>
                  <a:gd name="connsiteX14" fmla="*/ 296971 w 1200150"/>
                  <a:gd name="connsiteY14" fmla="*/ 903140 h 1200150"/>
                  <a:gd name="connsiteX15" fmla="*/ 171450 w 1200150"/>
                  <a:gd name="connsiteY15" fmla="*/ 600075 h 1200150"/>
                  <a:gd name="connsiteX16" fmla="*/ 297128 w 1200150"/>
                  <a:gd name="connsiteY16" fmla="*/ 297128 h 1200150"/>
                  <a:gd name="connsiteX17" fmla="*/ 600075 w 1200150"/>
                  <a:gd name="connsiteY17" fmla="*/ 171450 h 120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00150" h="1200150">
                    <a:moveTo>
                      <a:pt x="0" y="600075"/>
                    </a:moveTo>
                    <a:cubicBezTo>
                      <a:pt x="0" y="759200"/>
                      <a:pt x="63221" y="911859"/>
                      <a:pt x="175771" y="1024379"/>
                    </a:cubicBezTo>
                    <a:cubicBezTo>
                      <a:pt x="288281" y="1136929"/>
                      <a:pt x="440901" y="1200150"/>
                      <a:pt x="600075" y="1200150"/>
                    </a:cubicBezTo>
                    <a:cubicBezTo>
                      <a:pt x="759249" y="1200150"/>
                      <a:pt x="911859" y="1136929"/>
                      <a:pt x="1024379" y="1024379"/>
                    </a:cubicBezTo>
                    <a:cubicBezTo>
                      <a:pt x="1136929" y="911869"/>
                      <a:pt x="1200150" y="759210"/>
                      <a:pt x="1200150" y="600075"/>
                    </a:cubicBezTo>
                    <a:cubicBezTo>
                      <a:pt x="1200150" y="440911"/>
                      <a:pt x="1136929" y="288291"/>
                      <a:pt x="1024379" y="175741"/>
                    </a:cubicBezTo>
                    <a:cubicBezTo>
                      <a:pt x="911869" y="63231"/>
                      <a:pt x="759249" y="0"/>
                      <a:pt x="600075" y="0"/>
                    </a:cubicBezTo>
                    <a:cubicBezTo>
                      <a:pt x="440911" y="-39"/>
                      <a:pt x="288291" y="63182"/>
                      <a:pt x="175741" y="175741"/>
                    </a:cubicBezTo>
                    <a:cubicBezTo>
                      <a:pt x="63192" y="288252"/>
                      <a:pt x="-29" y="440911"/>
                      <a:pt x="0" y="600075"/>
                    </a:cubicBezTo>
                    <a:close/>
                    <a:moveTo>
                      <a:pt x="600075" y="171450"/>
                    </a:moveTo>
                    <a:cubicBezTo>
                      <a:pt x="713741" y="171450"/>
                      <a:pt x="822764" y="216605"/>
                      <a:pt x="903179" y="296971"/>
                    </a:cubicBezTo>
                    <a:cubicBezTo>
                      <a:pt x="983545" y="377376"/>
                      <a:pt x="1028700" y="486370"/>
                      <a:pt x="1028700" y="600075"/>
                    </a:cubicBezTo>
                    <a:cubicBezTo>
                      <a:pt x="1028700" y="713741"/>
                      <a:pt x="983545" y="822764"/>
                      <a:pt x="903179" y="903140"/>
                    </a:cubicBezTo>
                    <a:cubicBezTo>
                      <a:pt x="822774" y="983545"/>
                      <a:pt x="713741" y="1028700"/>
                      <a:pt x="600075" y="1028700"/>
                    </a:cubicBezTo>
                    <a:cubicBezTo>
                      <a:pt x="486409" y="1028700"/>
                      <a:pt x="377386" y="983545"/>
                      <a:pt x="296971" y="903140"/>
                    </a:cubicBezTo>
                    <a:cubicBezTo>
                      <a:pt x="216605" y="822774"/>
                      <a:pt x="171450" y="713741"/>
                      <a:pt x="171450" y="600075"/>
                    </a:cubicBezTo>
                    <a:cubicBezTo>
                      <a:pt x="171568" y="486409"/>
                      <a:pt x="216762" y="377494"/>
                      <a:pt x="297128" y="297128"/>
                    </a:cubicBezTo>
                    <a:cubicBezTo>
                      <a:pt x="377494" y="216762"/>
                      <a:pt x="486448" y="171568"/>
                      <a:pt x="600075" y="17145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15E608C3-4767-4F2B-950C-6EB8D92E5F3A}"/>
                  </a:ext>
                </a:extLst>
              </p:cNvPr>
              <p:cNvSpPr/>
              <p:nvPr/>
            </p:nvSpPr>
            <p:spPr>
              <a:xfrm>
                <a:off x="-4693034" y="5173931"/>
                <a:ext cx="2548824" cy="2143125"/>
              </a:xfrm>
              <a:custGeom>
                <a:avLst/>
                <a:gdLst>
                  <a:gd name="connsiteX0" fmla="*/ 2291552 w 2548824"/>
                  <a:gd name="connsiteY0" fmla="*/ 0 h 2143125"/>
                  <a:gd name="connsiteX1" fmla="*/ 0 w 2548824"/>
                  <a:gd name="connsiteY1" fmla="*/ 0 h 2143125"/>
                  <a:gd name="connsiteX2" fmla="*/ 19859 w 2548824"/>
                  <a:gd name="connsiteY2" fmla="*/ 171450 h 2143125"/>
                  <a:gd name="connsiteX3" fmla="*/ 2291621 w 2548824"/>
                  <a:gd name="connsiteY3" fmla="*/ 171450 h 2143125"/>
                  <a:gd name="connsiteX4" fmla="*/ 2377346 w 2548824"/>
                  <a:gd name="connsiteY4" fmla="*/ 257175 h 2143125"/>
                  <a:gd name="connsiteX5" fmla="*/ 2377346 w 2548824"/>
                  <a:gd name="connsiteY5" fmla="*/ 1885950 h 2143125"/>
                  <a:gd name="connsiteX6" fmla="*/ 2291621 w 2548824"/>
                  <a:gd name="connsiteY6" fmla="*/ 1971675 h 2143125"/>
                  <a:gd name="connsiteX7" fmla="*/ 491395 w 2548824"/>
                  <a:gd name="connsiteY7" fmla="*/ 1971675 h 2143125"/>
                  <a:gd name="connsiteX8" fmla="*/ 491395 w 2548824"/>
                  <a:gd name="connsiteY8" fmla="*/ 2057400 h 2143125"/>
                  <a:gd name="connsiteX9" fmla="*/ 476435 w 2548824"/>
                  <a:gd name="connsiteY9" fmla="*/ 2143125 h 2143125"/>
                  <a:gd name="connsiteX10" fmla="*/ 2291650 w 2548824"/>
                  <a:gd name="connsiteY10" fmla="*/ 2143125 h 2143125"/>
                  <a:gd name="connsiteX11" fmla="*/ 2473436 w 2548824"/>
                  <a:gd name="connsiteY11" fmla="*/ 2067697 h 2143125"/>
                  <a:gd name="connsiteX12" fmla="*/ 2548825 w 2548824"/>
                  <a:gd name="connsiteY12" fmla="*/ 1885950 h 2143125"/>
                  <a:gd name="connsiteX13" fmla="*/ 2548825 w 2548824"/>
                  <a:gd name="connsiteY13" fmla="*/ 257175 h 2143125"/>
                  <a:gd name="connsiteX14" fmla="*/ 2473436 w 2548824"/>
                  <a:gd name="connsiteY14" fmla="*/ 75389 h 2143125"/>
                  <a:gd name="connsiteX15" fmla="*/ 2291650 w 2548824"/>
                  <a:gd name="connsiteY15" fmla="*/ 0 h 214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48824" h="2143125">
                    <a:moveTo>
                      <a:pt x="2291552" y="0"/>
                    </a:moveTo>
                    <a:lnTo>
                      <a:pt x="0" y="0"/>
                    </a:lnTo>
                    <a:cubicBezTo>
                      <a:pt x="13011" y="56216"/>
                      <a:pt x="19712" y="113735"/>
                      <a:pt x="19859" y="171450"/>
                    </a:cubicBezTo>
                    <a:lnTo>
                      <a:pt x="2291621" y="171450"/>
                    </a:lnTo>
                    <a:cubicBezTo>
                      <a:pt x="2338921" y="171489"/>
                      <a:pt x="2377277" y="209835"/>
                      <a:pt x="2377346" y="257175"/>
                    </a:cubicBezTo>
                    <a:lnTo>
                      <a:pt x="2377346" y="1885950"/>
                    </a:lnTo>
                    <a:cubicBezTo>
                      <a:pt x="2377277" y="1933251"/>
                      <a:pt x="2338921" y="1971597"/>
                      <a:pt x="2291621" y="1971675"/>
                    </a:cubicBezTo>
                    <a:lnTo>
                      <a:pt x="491395" y="1971675"/>
                    </a:lnTo>
                    <a:lnTo>
                      <a:pt x="491395" y="2057400"/>
                    </a:lnTo>
                    <a:cubicBezTo>
                      <a:pt x="491317" y="2086606"/>
                      <a:pt x="486271" y="2115605"/>
                      <a:pt x="476435" y="2143125"/>
                    </a:cubicBezTo>
                    <a:lnTo>
                      <a:pt x="2291650" y="2143125"/>
                    </a:lnTo>
                    <a:cubicBezTo>
                      <a:pt x="2359848" y="2143047"/>
                      <a:pt x="2425214" y="2115919"/>
                      <a:pt x="2473436" y="2067697"/>
                    </a:cubicBezTo>
                    <a:cubicBezTo>
                      <a:pt x="2521618" y="2019514"/>
                      <a:pt x="2548756" y="1954108"/>
                      <a:pt x="2548825" y="1885950"/>
                    </a:cubicBezTo>
                    <a:lnTo>
                      <a:pt x="2548825" y="257175"/>
                    </a:lnTo>
                    <a:cubicBezTo>
                      <a:pt x="2548756" y="188977"/>
                      <a:pt x="2521618" y="123611"/>
                      <a:pt x="2473436" y="75389"/>
                    </a:cubicBezTo>
                    <a:cubicBezTo>
                      <a:pt x="2425214" y="27168"/>
                      <a:pt x="2359848" y="68"/>
                      <a:pt x="2291650" y="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517C9C15-C96B-40A9-83B8-37D92472E429}"/>
                </a:ext>
              </a:extLst>
            </p:cNvPr>
            <p:cNvGrpSpPr/>
            <p:nvPr/>
          </p:nvGrpSpPr>
          <p:grpSpPr>
            <a:xfrm>
              <a:off x="4329452" y="8833753"/>
              <a:ext cx="301625" cy="344027"/>
              <a:chOff x="-7542790" y="1760897"/>
              <a:chExt cx="4284075" cy="4886324"/>
            </a:xfrm>
            <a:solidFill>
              <a:srgbClr val="191925"/>
            </a:solidFill>
          </p:grpSpPr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1CF5F2DC-170A-47DF-B95F-D571119AADD0}"/>
                  </a:ext>
                </a:extLst>
              </p:cNvPr>
              <p:cNvSpPr/>
              <p:nvPr/>
            </p:nvSpPr>
            <p:spPr>
              <a:xfrm>
                <a:off x="-7542790" y="2018167"/>
                <a:ext cx="4200505" cy="4629054"/>
              </a:xfrm>
              <a:custGeom>
                <a:avLst/>
                <a:gdLst>
                  <a:gd name="connsiteX0" fmla="*/ 600075 w 4200505"/>
                  <a:gd name="connsiteY0" fmla="*/ 1885855 h 4629054"/>
                  <a:gd name="connsiteX1" fmla="*/ 85725 w 4200505"/>
                  <a:gd name="connsiteY1" fmla="*/ 1885855 h 4629054"/>
                  <a:gd name="connsiteX2" fmla="*/ 0 w 4200505"/>
                  <a:gd name="connsiteY2" fmla="*/ 1971580 h 4629054"/>
                  <a:gd name="connsiteX3" fmla="*/ 0 w 4200505"/>
                  <a:gd name="connsiteY3" fmla="*/ 4543330 h 4629054"/>
                  <a:gd name="connsiteX4" fmla="*/ 85725 w 4200505"/>
                  <a:gd name="connsiteY4" fmla="*/ 4629055 h 4629054"/>
                  <a:gd name="connsiteX5" fmla="*/ 600075 w 4200505"/>
                  <a:gd name="connsiteY5" fmla="*/ 4629055 h 4629054"/>
                  <a:gd name="connsiteX6" fmla="*/ 685800 w 4200505"/>
                  <a:gd name="connsiteY6" fmla="*/ 4543330 h 4629054"/>
                  <a:gd name="connsiteX7" fmla="*/ 685800 w 4200505"/>
                  <a:gd name="connsiteY7" fmla="*/ 4457605 h 4629054"/>
                  <a:gd name="connsiteX8" fmla="*/ 2772592 w 4200505"/>
                  <a:gd name="connsiteY8" fmla="*/ 4457605 h 4629054"/>
                  <a:gd name="connsiteX9" fmla="*/ 4100006 w 4200505"/>
                  <a:gd name="connsiteY9" fmla="*/ 3907780 h 4629054"/>
                  <a:gd name="connsiteX10" fmla="*/ 4200506 w 4200505"/>
                  <a:gd name="connsiteY10" fmla="*/ 3665261 h 4629054"/>
                  <a:gd name="connsiteX11" fmla="*/ 4200506 w 4200505"/>
                  <a:gd name="connsiteY11" fmla="*/ 2057354 h 4629054"/>
                  <a:gd name="connsiteX12" fmla="*/ 3857605 w 4200505"/>
                  <a:gd name="connsiteY12" fmla="*/ 1714454 h 4629054"/>
                  <a:gd name="connsiteX13" fmla="*/ 3771880 w 4200505"/>
                  <a:gd name="connsiteY13" fmla="*/ 1714454 h 4629054"/>
                  <a:gd name="connsiteX14" fmla="*/ 3625119 w 4200505"/>
                  <a:gd name="connsiteY14" fmla="*/ 1748744 h 4629054"/>
                  <a:gd name="connsiteX15" fmla="*/ 3828567 w 4200505"/>
                  <a:gd name="connsiteY15" fmla="*/ 691044 h 4629054"/>
                  <a:gd name="connsiteX16" fmla="*/ 3828567 w 4200505"/>
                  <a:gd name="connsiteY16" fmla="*/ 690966 h 4629054"/>
                  <a:gd name="connsiteX17" fmla="*/ 3941812 w 4200505"/>
                  <a:gd name="connsiteY17" fmla="*/ 101876 h 4629054"/>
                  <a:gd name="connsiteX18" fmla="*/ 3923707 w 4200505"/>
                  <a:gd name="connsiteY18" fmla="*/ 31076 h 4629054"/>
                  <a:gd name="connsiteX19" fmla="*/ 3857616 w 4200505"/>
                  <a:gd name="connsiteY19" fmla="*/ 0 h 4629054"/>
                  <a:gd name="connsiteX20" fmla="*/ 1800215 w 4200505"/>
                  <a:gd name="connsiteY20" fmla="*/ 0 h 4629054"/>
                  <a:gd name="connsiteX21" fmla="*/ 1734124 w 4200505"/>
                  <a:gd name="connsiteY21" fmla="*/ 31114 h 4629054"/>
                  <a:gd name="connsiteX22" fmla="*/ 1716019 w 4200505"/>
                  <a:gd name="connsiteY22" fmla="*/ 101914 h 4629054"/>
                  <a:gd name="connsiteX23" fmla="*/ 1829264 w 4200505"/>
                  <a:gd name="connsiteY23" fmla="*/ 691005 h 4629054"/>
                  <a:gd name="connsiteX24" fmla="*/ 1829264 w 4200505"/>
                  <a:gd name="connsiteY24" fmla="*/ 691084 h 4629054"/>
                  <a:gd name="connsiteX25" fmla="*/ 2032711 w 4200505"/>
                  <a:gd name="connsiteY25" fmla="*/ 1748783 h 4629054"/>
                  <a:gd name="connsiteX26" fmla="*/ 1885950 w 4200505"/>
                  <a:gd name="connsiteY26" fmla="*/ 1714493 h 4629054"/>
                  <a:gd name="connsiteX27" fmla="*/ 1426209 w 4200505"/>
                  <a:gd name="connsiteY27" fmla="*/ 1714493 h 4629054"/>
                  <a:gd name="connsiteX28" fmla="*/ 1286904 w 4200505"/>
                  <a:gd name="connsiteY28" fmla="*/ 1744071 h 4629054"/>
                  <a:gd name="connsiteX29" fmla="*/ 685800 w 4200505"/>
                  <a:gd name="connsiteY29" fmla="*/ 2011200 h 4629054"/>
                  <a:gd name="connsiteX30" fmla="*/ 685800 w 4200505"/>
                  <a:gd name="connsiteY30" fmla="*/ 1971668 h 4629054"/>
                  <a:gd name="connsiteX31" fmla="*/ 600075 w 4200505"/>
                  <a:gd name="connsiteY31" fmla="*/ 1885943 h 4629054"/>
                  <a:gd name="connsiteX32" fmla="*/ 514350 w 4200505"/>
                  <a:gd name="connsiteY32" fmla="*/ 4457605 h 4629054"/>
                  <a:gd name="connsiteX33" fmla="*/ 171450 w 4200505"/>
                  <a:gd name="connsiteY33" fmla="*/ 4457605 h 4629054"/>
                  <a:gd name="connsiteX34" fmla="*/ 171450 w 4200505"/>
                  <a:gd name="connsiteY34" fmla="*/ 2057305 h 4629054"/>
                  <a:gd name="connsiteX35" fmla="*/ 514350 w 4200505"/>
                  <a:gd name="connsiteY35" fmla="*/ 2057305 h 4629054"/>
                  <a:gd name="connsiteX36" fmla="*/ 3345039 w 4200505"/>
                  <a:gd name="connsiteY36" fmla="*/ 2203870 h 4629054"/>
                  <a:gd name="connsiteX37" fmla="*/ 3334477 w 4200505"/>
                  <a:gd name="connsiteY37" fmla="*/ 2209611 h 4629054"/>
                  <a:gd name="connsiteX38" fmla="*/ 3318782 w 4200505"/>
                  <a:gd name="connsiteY38" fmla="*/ 2216881 h 4629054"/>
                  <a:gd name="connsiteX39" fmla="*/ 3301559 w 4200505"/>
                  <a:gd name="connsiteY39" fmla="*/ 2222279 h 4629054"/>
                  <a:gd name="connsiteX40" fmla="*/ 3289391 w 4200505"/>
                  <a:gd name="connsiteY40" fmla="*/ 2225532 h 4629054"/>
                  <a:gd name="connsiteX41" fmla="*/ 3257511 w 4200505"/>
                  <a:gd name="connsiteY41" fmla="*/ 2228745 h 4629054"/>
                  <a:gd name="connsiteX42" fmla="*/ 2400261 w 4200505"/>
                  <a:gd name="connsiteY42" fmla="*/ 2228745 h 4629054"/>
                  <a:gd name="connsiteX43" fmla="*/ 2368273 w 4200505"/>
                  <a:gd name="connsiteY43" fmla="*/ 2225493 h 4629054"/>
                  <a:gd name="connsiteX44" fmla="*/ 2356105 w 4200505"/>
                  <a:gd name="connsiteY44" fmla="*/ 2222240 h 4629054"/>
                  <a:gd name="connsiteX45" fmla="*/ 2338882 w 4200505"/>
                  <a:gd name="connsiteY45" fmla="*/ 2216842 h 4629054"/>
                  <a:gd name="connsiteX46" fmla="*/ 2323187 w 4200505"/>
                  <a:gd name="connsiteY46" fmla="*/ 2209572 h 4629054"/>
                  <a:gd name="connsiteX47" fmla="*/ 2312625 w 4200505"/>
                  <a:gd name="connsiteY47" fmla="*/ 2203831 h 4629054"/>
                  <a:gd name="connsiteX48" fmla="*/ 2294795 w 4200505"/>
                  <a:gd name="connsiteY48" fmla="*/ 2191467 h 4629054"/>
                  <a:gd name="connsiteX49" fmla="*/ 2291885 w 4200505"/>
                  <a:gd name="connsiteY49" fmla="*/ 2189057 h 4629054"/>
                  <a:gd name="connsiteX50" fmla="*/ 2012588 w 4200505"/>
                  <a:gd name="connsiteY50" fmla="*/ 736827 h 4629054"/>
                  <a:gd name="connsiteX51" fmla="*/ 2479863 w 4200505"/>
                  <a:gd name="connsiteY51" fmla="*/ 171309 h 4629054"/>
                  <a:gd name="connsiteX52" fmla="*/ 3177684 w 4200505"/>
                  <a:gd name="connsiteY52" fmla="*/ 171309 h 4629054"/>
                  <a:gd name="connsiteX53" fmla="*/ 3644959 w 4200505"/>
                  <a:gd name="connsiteY53" fmla="*/ 736827 h 4629054"/>
                  <a:gd name="connsiteX54" fmla="*/ 3365662 w 4200505"/>
                  <a:gd name="connsiteY54" fmla="*/ 2189057 h 4629054"/>
                  <a:gd name="connsiteX55" fmla="*/ 3362752 w 4200505"/>
                  <a:gd name="connsiteY55" fmla="*/ 2191467 h 4629054"/>
                  <a:gd name="connsiteX56" fmla="*/ 3345029 w 4200505"/>
                  <a:gd name="connsiteY56" fmla="*/ 2203870 h 4629054"/>
                  <a:gd name="connsiteX57" fmla="*/ 3753873 w 4200505"/>
                  <a:gd name="connsiteY57" fmla="*/ 171355 h 4629054"/>
                  <a:gd name="connsiteX58" fmla="*/ 3677759 w 4200505"/>
                  <a:gd name="connsiteY58" fmla="*/ 567414 h 4629054"/>
                  <a:gd name="connsiteX59" fmla="*/ 3350545 w 4200505"/>
                  <a:gd name="connsiteY59" fmla="*/ 171355 h 4629054"/>
                  <a:gd name="connsiteX60" fmla="*/ 2307325 w 4200505"/>
                  <a:gd name="connsiteY60" fmla="*/ 171355 h 4629054"/>
                  <a:gd name="connsiteX61" fmla="*/ 1980120 w 4200505"/>
                  <a:gd name="connsiteY61" fmla="*/ 567414 h 4629054"/>
                  <a:gd name="connsiteX62" fmla="*/ 1903889 w 4200505"/>
                  <a:gd name="connsiteY62" fmla="*/ 171355 h 4629054"/>
                  <a:gd name="connsiteX63" fmla="*/ 1356620 w 4200505"/>
                  <a:gd name="connsiteY63" fmla="*/ 1900551 h 4629054"/>
                  <a:gd name="connsiteX64" fmla="*/ 1426160 w 4200505"/>
                  <a:gd name="connsiteY64" fmla="*/ 1885816 h 4629054"/>
                  <a:gd name="connsiteX65" fmla="*/ 1885901 w 4200505"/>
                  <a:gd name="connsiteY65" fmla="*/ 1885816 h 4629054"/>
                  <a:gd name="connsiteX66" fmla="*/ 2057351 w 4200505"/>
                  <a:gd name="connsiteY66" fmla="*/ 2057266 h 4629054"/>
                  <a:gd name="connsiteX67" fmla="*/ 2147700 w 4200505"/>
                  <a:gd name="connsiteY67" fmla="*/ 2287195 h 4629054"/>
                  <a:gd name="connsiteX68" fmla="*/ 2150532 w 4200505"/>
                  <a:gd name="connsiteY68" fmla="*/ 2291212 h 4629054"/>
                  <a:gd name="connsiteX69" fmla="*/ 2152334 w 4200505"/>
                  <a:gd name="connsiteY69" fmla="*/ 2292750 h 4629054"/>
                  <a:gd name="connsiteX70" fmla="*/ 2197342 w 4200505"/>
                  <a:gd name="connsiteY70" fmla="*/ 2332007 h 4629054"/>
                  <a:gd name="connsiteX71" fmla="*/ 2205151 w 4200505"/>
                  <a:gd name="connsiteY71" fmla="*/ 2338444 h 4629054"/>
                  <a:gd name="connsiteX72" fmla="*/ 2252030 w 4200505"/>
                  <a:gd name="connsiteY72" fmla="*/ 2364925 h 4629054"/>
                  <a:gd name="connsiteX73" fmla="*/ 2265580 w 4200505"/>
                  <a:gd name="connsiteY73" fmla="*/ 2372313 h 4629054"/>
                  <a:gd name="connsiteX74" fmla="*/ 2312381 w 4200505"/>
                  <a:gd name="connsiteY74" fmla="*/ 2387234 h 4629054"/>
                  <a:gd name="connsiteX75" fmla="*/ 2330976 w 4200505"/>
                  <a:gd name="connsiteY75" fmla="*/ 2393053 h 4629054"/>
                  <a:gd name="connsiteX76" fmla="*/ 2400251 w 4200505"/>
                  <a:gd name="connsiteY76" fmla="*/ 2400166 h 4629054"/>
                  <a:gd name="connsiteX77" fmla="*/ 3257501 w 4200505"/>
                  <a:gd name="connsiteY77" fmla="*/ 2400166 h 4629054"/>
                  <a:gd name="connsiteX78" fmla="*/ 3326845 w 4200505"/>
                  <a:gd name="connsiteY78" fmla="*/ 2393053 h 4629054"/>
                  <a:gd name="connsiteX79" fmla="*/ 3345440 w 4200505"/>
                  <a:gd name="connsiteY79" fmla="*/ 2387234 h 4629054"/>
                  <a:gd name="connsiteX80" fmla="*/ 3392251 w 4200505"/>
                  <a:gd name="connsiteY80" fmla="*/ 2372313 h 4629054"/>
                  <a:gd name="connsiteX81" fmla="*/ 3405791 w 4200505"/>
                  <a:gd name="connsiteY81" fmla="*/ 2364925 h 4629054"/>
                  <a:gd name="connsiteX82" fmla="*/ 3452680 w 4200505"/>
                  <a:gd name="connsiteY82" fmla="*/ 2338444 h 4629054"/>
                  <a:gd name="connsiteX83" fmla="*/ 3460478 w 4200505"/>
                  <a:gd name="connsiteY83" fmla="*/ 2332007 h 4629054"/>
                  <a:gd name="connsiteX84" fmla="*/ 3505486 w 4200505"/>
                  <a:gd name="connsiteY84" fmla="*/ 2292750 h 4629054"/>
                  <a:gd name="connsiteX85" fmla="*/ 3507289 w 4200505"/>
                  <a:gd name="connsiteY85" fmla="*/ 2291212 h 4629054"/>
                  <a:gd name="connsiteX86" fmla="*/ 3510120 w 4200505"/>
                  <a:gd name="connsiteY86" fmla="*/ 2287195 h 4629054"/>
                  <a:gd name="connsiteX87" fmla="*/ 3600401 w 4200505"/>
                  <a:gd name="connsiteY87" fmla="*/ 2057266 h 4629054"/>
                  <a:gd name="connsiteX88" fmla="*/ 3771851 w 4200505"/>
                  <a:gd name="connsiteY88" fmla="*/ 1885816 h 4629054"/>
                  <a:gd name="connsiteX89" fmla="*/ 3857576 w 4200505"/>
                  <a:gd name="connsiteY89" fmla="*/ 1885816 h 4629054"/>
                  <a:gd name="connsiteX90" fmla="*/ 4029026 w 4200505"/>
                  <a:gd name="connsiteY90" fmla="*/ 2057266 h 4629054"/>
                  <a:gd name="connsiteX91" fmla="*/ 4029026 w 4200505"/>
                  <a:gd name="connsiteY91" fmla="*/ 2362702 h 4629054"/>
                  <a:gd name="connsiteX92" fmla="*/ 3279623 w 4200505"/>
                  <a:gd name="connsiteY92" fmla="*/ 2726763 h 4629054"/>
                  <a:gd name="connsiteX93" fmla="*/ 2559533 w 4200505"/>
                  <a:gd name="connsiteY93" fmla="*/ 2829633 h 4629054"/>
                  <a:gd name="connsiteX94" fmla="*/ 2583791 w 4200505"/>
                  <a:gd name="connsiteY94" fmla="*/ 2999281 h 4629054"/>
                  <a:gd name="connsiteX95" fmla="*/ 3303803 w 4200505"/>
                  <a:gd name="connsiteY95" fmla="*/ 2896411 h 4629054"/>
                  <a:gd name="connsiteX96" fmla="*/ 4028948 w 4200505"/>
                  <a:gd name="connsiteY96" fmla="*/ 2587801 h 4629054"/>
                  <a:gd name="connsiteX97" fmla="*/ 4028948 w 4200505"/>
                  <a:gd name="connsiteY97" fmla="*/ 2791248 h 4629054"/>
                  <a:gd name="connsiteX98" fmla="*/ 3279545 w 4200505"/>
                  <a:gd name="connsiteY98" fmla="*/ 3155310 h 4629054"/>
                  <a:gd name="connsiteX99" fmla="*/ 2559455 w 4200505"/>
                  <a:gd name="connsiteY99" fmla="*/ 3258180 h 4629054"/>
                  <a:gd name="connsiteX100" fmla="*/ 2583722 w 4200505"/>
                  <a:gd name="connsiteY100" fmla="*/ 3427828 h 4629054"/>
                  <a:gd name="connsiteX101" fmla="*/ 3303734 w 4200505"/>
                  <a:gd name="connsiteY101" fmla="*/ 3324958 h 4629054"/>
                  <a:gd name="connsiteX102" fmla="*/ 4028879 w 4200505"/>
                  <a:gd name="connsiteY102" fmla="*/ 3016348 h 4629054"/>
                  <a:gd name="connsiteX103" fmla="*/ 4028879 w 4200505"/>
                  <a:gd name="connsiteY103" fmla="*/ 3219795 h 4629054"/>
                  <a:gd name="connsiteX104" fmla="*/ 3279476 w 4200505"/>
                  <a:gd name="connsiteY104" fmla="*/ 3583857 h 4629054"/>
                  <a:gd name="connsiteX105" fmla="*/ 2559386 w 4200505"/>
                  <a:gd name="connsiteY105" fmla="*/ 3686727 h 4629054"/>
                  <a:gd name="connsiteX106" fmla="*/ 2583644 w 4200505"/>
                  <a:gd name="connsiteY106" fmla="*/ 3856374 h 4629054"/>
                  <a:gd name="connsiteX107" fmla="*/ 3303655 w 4200505"/>
                  <a:gd name="connsiteY107" fmla="*/ 3753504 h 4629054"/>
                  <a:gd name="connsiteX108" fmla="*/ 4028801 w 4200505"/>
                  <a:gd name="connsiteY108" fmla="*/ 3444894 h 4629054"/>
                  <a:gd name="connsiteX109" fmla="*/ 4028801 w 4200505"/>
                  <a:gd name="connsiteY109" fmla="*/ 3665026 h 4629054"/>
                  <a:gd name="connsiteX110" fmla="*/ 3978561 w 4200505"/>
                  <a:gd name="connsiteY110" fmla="*/ 3786344 h 4629054"/>
                  <a:gd name="connsiteX111" fmla="*/ 2772533 w 4200505"/>
                  <a:gd name="connsiteY111" fmla="*/ 4286116 h 4629054"/>
                  <a:gd name="connsiteX112" fmla="*/ 685741 w 4200505"/>
                  <a:gd name="connsiteY112" fmla="*/ 4286116 h 4629054"/>
                  <a:gd name="connsiteX113" fmla="*/ 685741 w 4200505"/>
                  <a:gd name="connsiteY113" fmla="*/ 2198737 h 4629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4200505" h="4629054">
                    <a:moveTo>
                      <a:pt x="600075" y="1885855"/>
                    </a:moveTo>
                    <a:lnTo>
                      <a:pt x="85725" y="1885855"/>
                    </a:lnTo>
                    <a:cubicBezTo>
                      <a:pt x="38424" y="1885855"/>
                      <a:pt x="0" y="1924279"/>
                      <a:pt x="0" y="1971580"/>
                    </a:cubicBezTo>
                    <a:lnTo>
                      <a:pt x="0" y="4543330"/>
                    </a:lnTo>
                    <a:cubicBezTo>
                      <a:pt x="0" y="4590631"/>
                      <a:pt x="38424" y="4629055"/>
                      <a:pt x="85725" y="4629055"/>
                    </a:cubicBezTo>
                    <a:lnTo>
                      <a:pt x="600075" y="4629055"/>
                    </a:lnTo>
                    <a:cubicBezTo>
                      <a:pt x="647376" y="4629055"/>
                      <a:pt x="685800" y="4590631"/>
                      <a:pt x="685800" y="4543330"/>
                    </a:cubicBezTo>
                    <a:lnTo>
                      <a:pt x="685800" y="4457605"/>
                    </a:lnTo>
                    <a:lnTo>
                      <a:pt x="2772592" y="4457605"/>
                    </a:lnTo>
                    <a:cubicBezTo>
                      <a:pt x="3274088" y="4457605"/>
                      <a:pt x="3745497" y="4262309"/>
                      <a:pt x="4100006" y="3907780"/>
                    </a:cubicBezTo>
                    <a:cubicBezTo>
                      <a:pt x="4164834" y="3843030"/>
                      <a:pt x="4200506" y="3756884"/>
                      <a:pt x="4200506" y="3665261"/>
                    </a:cubicBezTo>
                    <a:lnTo>
                      <a:pt x="4200506" y="2057354"/>
                    </a:lnTo>
                    <a:cubicBezTo>
                      <a:pt x="4200506" y="1868259"/>
                      <a:pt x="4046700" y="1714454"/>
                      <a:pt x="3857605" y="1714454"/>
                    </a:cubicBezTo>
                    <a:lnTo>
                      <a:pt x="3771880" y="1714454"/>
                    </a:lnTo>
                    <a:cubicBezTo>
                      <a:pt x="3719142" y="1714454"/>
                      <a:pt x="3669775" y="1727386"/>
                      <a:pt x="3625119" y="1748744"/>
                    </a:cubicBezTo>
                    <a:lnTo>
                      <a:pt x="3828567" y="691044"/>
                    </a:lnTo>
                    <a:lnTo>
                      <a:pt x="3828567" y="690966"/>
                    </a:lnTo>
                    <a:lnTo>
                      <a:pt x="3941812" y="101876"/>
                    </a:lnTo>
                    <a:cubicBezTo>
                      <a:pt x="3946711" y="76770"/>
                      <a:pt x="3940009" y="50785"/>
                      <a:pt x="3923707" y="31076"/>
                    </a:cubicBezTo>
                    <a:cubicBezTo>
                      <a:pt x="3907404" y="11328"/>
                      <a:pt x="3883186" y="0"/>
                      <a:pt x="3857616" y="0"/>
                    </a:cubicBezTo>
                    <a:lnTo>
                      <a:pt x="1800215" y="0"/>
                    </a:lnTo>
                    <a:cubicBezTo>
                      <a:pt x="1774655" y="0"/>
                      <a:pt x="1750426" y="11405"/>
                      <a:pt x="1734124" y="31114"/>
                    </a:cubicBezTo>
                    <a:cubicBezTo>
                      <a:pt x="1717821" y="50823"/>
                      <a:pt x="1711159" y="76809"/>
                      <a:pt x="1716019" y="101914"/>
                    </a:cubicBezTo>
                    <a:lnTo>
                      <a:pt x="1829264" y="691005"/>
                    </a:lnTo>
                    <a:lnTo>
                      <a:pt x="1829264" y="691084"/>
                    </a:lnTo>
                    <a:lnTo>
                      <a:pt x="2032711" y="1748783"/>
                    </a:lnTo>
                    <a:cubicBezTo>
                      <a:pt x="1988056" y="1727425"/>
                      <a:pt x="1938688" y="1714493"/>
                      <a:pt x="1885950" y="1714493"/>
                    </a:cubicBezTo>
                    <a:lnTo>
                      <a:pt x="1426209" y="1714493"/>
                    </a:lnTo>
                    <a:cubicBezTo>
                      <a:pt x="1377880" y="1714493"/>
                      <a:pt x="1330961" y="1724447"/>
                      <a:pt x="1286904" y="1744071"/>
                    </a:cubicBezTo>
                    <a:lnTo>
                      <a:pt x="685800" y="2011200"/>
                    </a:lnTo>
                    <a:lnTo>
                      <a:pt x="685800" y="1971668"/>
                    </a:lnTo>
                    <a:cubicBezTo>
                      <a:pt x="685800" y="1924368"/>
                      <a:pt x="647385" y="1885943"/>
                      <a:pt x="600075" y="1885943"/>
                    </a:cubicBezTo>
                    <a:close/>
                    <a:moveTo>
                      <a:pt x="514350" y="4457605"/>
                    </a:moveTo>
                    <a:lnTo>
                      <a:pt x="171450" y="4457605"/>
                    </a:lnTo>
                    <a:lnTo>
                      <a:pt x="171450" y="2057305"/>
                    </a:lnTo>
                    <a:lnTo>
                      <a:pt x="514350" y="2057305"/>
                    </a:lnTo>
                    <a:close/>
                    <a:moveTo>
                      <a:pt x="3345039" y="2203870"/>
                    </a:moveTo>
                    <a:cubicBezTo>
                      <a:pt x="3341590" y="2205937"/>
                      <a:pt x="3338112" y="2207740"/>
                      <a:pt x="3334477" y="2209611"/>
                    </a:cubicBezTo>
                    <a:cubicBezTo>
                      <a:pt x="3329344" y="2212247"/>
                      <a:pt x="3324180" y="2214735"/>
                      <a:pt x="3318782" y="2216881"/>
                    </a:cubicBezTo>
                    <a:cubicBezTo>
                      <a:pt x="3313198" y="2219026"/>
                      <a:pt x="3307378" y="2220672"/>
                      <a:pt x="3301559" y="2222279"/>
                    </a:cubicBezTo>
                    <a:cubicBezTo>
                      <a:pt x="3297542" y="2223386"/>
                      <a:pt x="3293486" y="2224768"/>
                      <a:pt x="3289391" y="2225532"/>
                    </a:cubicBezTo>
                    <a:cubicBezTo>
                      <a:pt x="3279094" y="2227442"/>
                      <a:pt x="3268494" y="2228745"/>
                      <a:pt x="3257511" y="2228745"/>
                    </a:cubicBezTo>
                    <a:lnTo>
                      <a:pt x="2400261" y="2228745"/>
                    </a:lnTo>
                    <a:cubicBezTo>
                      <a:pt x="2389278" y="2228745"/>
                      <a:pt x="2378678" y="2227442"/>
                      <a:pt x="2368273" y="2225493"/>
                    </a:cubicBezTo>
                    <a:cubicBezTo>
                      <a:pt x="2364139" y="2224728"/>
                      <a:pt x="2360122" y="2223347"/>
                      <a:pt x="2356105" y="2222240"/>
                    </a:cubicBezTo>
                    <a:cubicBezTo>
                      <a:pt x="2350286" y="2220711"/>
                      <a:pt x="2344427" y="2219066"/>
                      <a:pt x="2338882" y="2216842"/>
                    </a:cubicBezTo>
                    <a:cubicBezTo>
                      <a:pt x="2333484" y="2214775"/>
                      <a:pt x="2328321" y="2212218"/>
                      <a:pt x="2323187" y="2209572"/>
                    </a:cubicBezTo>
                    <a:cubicBezTo>
                      <a:pt x="2319591" y="2207770"/>
                      <a:pt x="2316074" y="2205898"/>
                      <a:pt x="2312625" y="2203831"/>
                    </a:cubicBezTo>
                    <a:cubicBezTo>
                      <a:pt x="2306463" y="2200040"/>
                      <a:pt x="2300536" y="2196023"/>
                      <a:pt x="2294795" y="2191467"/>
                    </a:cubicBezTo>
                    <a:cubicBezTo>
                      <a:pt x="2293756" y="2190703"/>
                      <a:pt x="2292806" y="2189821"/>
                      <a:pt x="2291885" y="2189057"/>
                    </a:cubicBezTo>
                    <a:lnTo>
                      <a:pt x="2012588" y="736827"/>
                    </a:lnTo>
                    <a:cubicBezTo>
                      <a:pt x="2264100" y="654893"/>
                      <a:pt x="2446797" y="433961"/>
                      <a:pt x="2479863" y="171309"/>
                    </a:cubicBezTo>
                    <a:lnTo>
                      <a:pt x="3177684" y="171309"/>
                    </a:lnTo>
                    <a:cubicBezTo>
                      <a:pt x="3210788" y="433882"/>
                      <a:pt x="3393446" y="654883"/>
                      <a:pt x="3644959" y="736827"/>
                    </a:cubicBezTo>
                    <a:lnTo>
                      <a:pt x="3365662" y="2189057"/>
                    </a:lnTo>
                    <a:cubicBezTo>
                      <a:pt x="3364702" y="2189821"/>
                      <a:pt x="3363673" y="2190703"/>
                      <a:pt x="3362752" y="2191467"/>
                    </a:cubicBezTo>
                    <a:cubicBezTo>
                      <a:pt x="3357128" y="2196101"/>
                      <a:pt x="3351191" y="2200196"/>
                      <a:pt x="3345029" y="2203870"/>
                    </a:cubicBezTo>
                    <a:close/>
                    <a:moveTo>
                      <a:pt x="3753873" y="171355"/>
                    </a:moveTo>
                    <a:lnTo>
                      <a:pt x="3677759" y="567414"/>
                    </a:lnTo>
                    <a:cubicBezTo>
                      <a:pt x="3506309" y="503465"/>
                      <a:pt x="3380974" y="351916"/>
                      <a:pt x="3350545" y="171355"/>
                    </a:cubicBezTo>
                    <a:close/>
                    <a:moveTo>
                      <a:pt x="2307325" y="171355"/>
                    </a:moveTo>
                    <a:cubicBezTo>
                      <a:pt x="2276905" y="351799"/>
                      <a:pt x="2151570" y="503459"/>
                      <a:pt x="1980120" y="567414"/>
                    </a:cubicBezTo>
                    <a:lnTo>
                      <a:pt x="1903889" y="171355"/>
                    </a:lnTo>
                    <a:close/>
                    <a:moveTo>
                      <a:pt x="1356620" y="1900551"/>
                    </a:moveTo>
                    <a:cubicBezTo>
                      <a:pt x="1378586" y="1890793"/>
                      <a:pt x="1401893" y="1885816"/>
                      <a:pt x="1426160" y="1885816"/>
                    </a:cubicBezTo>
                    <a:lnTo>
                      <a:pt x="1885901" y="1885816"/>
                    </a:lnTo>
                    <a:cubicBezTo>
                      <a:pt x="1980463" y="1885816"/>
                      <a:pt x="2057351" y="1962704"/>
                      <a:pt x="2057351" y="2057266"/>
                    </a:cubicBezTo>
                    <a:cubicBezTo>
                      <a:pt x="2057351" y="2145979"/>
                      <a:pt x="2092141" y="2226227"/>
                      <a:pt x="2147700" y="2287195"/>
                    </a:cubicBezTo>
                    <a:cubicBezTo>
                      <a:pt x="2148739" y="2288498"/>
                      <a:pt x="2149425" y="2290026"/>
                      <a:pt x="2150532" y="2291212"/>
                    </a:cubicBezTo>
                    <a:cubicBezTo>
                      <a:pt x="2151031" y="2291829"/>
                      <a:pt x="2151727" y="2292172"/>
                      <a:pt x="2152334" y="2292750"/>
                    </a:cubicBezTo>
                    <a:cubicBezTo>
                      <a:pt x="2166031" y="2307250"/>
                      <a:pt x="2181226" y="2320114"/>
                      <a:pt x="2197342" y="2332007"/>
                    </a:cubicBezTo>
                    <a:cubicBezTo>
                      <a:pt x="2199978" y="2334074"/>
                      <a:pt x="2202388" y="2336563"/>
                      <a:pt x="2205151" y="2338444"/>
                    </a:cubicBezTo>
                    <a:cubicBezTo>
                      <a:pt x="2219886" y="2348662"/>
                      <a:pt x="2235767" y="2357039"/>
                      <a:pt x="2252030" y="2364925"/>
                    </a:cubicBezTo>
                    <a:cubicBezTo>
                      <a:pt x="2256664" y="2367140"/>
                      <a:pt x="2260867" y="2370245"/>
                      <a:pt x="2265580" y="2372313"/>
                    </a:cubicBezTo>
                    <a:cubicBezTo>
                      <a:pt x="2280501" y="2378739"/>
                      <a:pt x="2296421" y="2382943"/>
                      <a:pt x="2312381" y="2387234"/>
                    </a:cubicBezTo>
                    <a:cubicBezTo>
                      <a:pt x="2318660" y="2388958"/>
                      <a:pt x="2324549" y="2391672"/>
                      <a:pt x="2330976" y="2393053"/>
                    </a:cubicBezTo>
                    <a:cubicBezTo>
                      <a:pt x="2353254" y="2397677"/>
                      <a:pt x="2376522" y="2400166"/>
                      <a:pt x="2400251" y="2400166"/>
                    </a:cubicBezTo>
                    <a:lnTo>
                      <a:pt x="3257501" y="2400166"/>
                    </a:lnTo>
                    <a:cubicBezTo>
                      <a:pt x="3281230" y="2400166"/>
                      <a:pt x="3304498" y="2397677"/>
                      <a:pt x="3326845" y="2393053"/>
                    </a:cubicBezTo>
                    <a:cubicBezTo>
                      <a:pt x="3333272" y="2391750"/>
                      <a:pt x="3339209" y="2388919"/>
                      <a:pt x="3345440" y="2387234"/>
                    </a:cubicBezTo>
                    <a:cubicBezTo>
                      <a:pt x="3361400" y="2382943"/>
                      <a:pt x="3377320" y="2378739"/>
                      <a:pt x="3392251" y="2372313"/>
                    </a:cubicBezTo>
                    <a:cubicBezTo>
                      <a:pt x="3396954" y="2370245"/>
                      <a:pt x="3401166" y="2367179"/>
                      <a:pt x="3405791" y="2364925"/>
                    </a:cubicBezTo>
                    <a:cubicBezTo>
                      <a:pt x="3422093" y="2357039"/>
                      <a:pt x="3437945" y="2348731"/>
                      <a:pt x="3452680" y="2338444"/>
                    </a:cubicBezTo>
                    <a:cubicBezTo>
                      <a:pt x="3455433" y="2336445"/>
                      <a:pt x="3457804" y="2333996"/>
                      <a:pt x="3460478" y="2332007"/>
                    </a:cubicBezTo>
                    <a:cubicBezTo>
                      <a:pt x="3476595" y="2320114"/>
                      <a:pt x="3491672" y="2307250"/>
                      <a:pt x="3505486" y="2292750"/>
                    </a:cubicBezTo>
                    <a:cubicBezTo>
                      <a:pt x="3505986" y="2292133"/>
                      <a:pt x="3506672" y="2291790"/>
                      <a:pt x="3507289" y="2291212"/>
                    </a:cubicBezTo>
                    <a:cubicBezTo>
                      <a:pt x="3508396" y="2290026"/>
                      <a:pt x="3509082" y="2288380"/>
                      <a:pt x="3510120" y="2287195"/>
                    </a:cubicBezTo>
                    <a:cubicBezTo>
                      <a:pt x="3565611" y="2226227"/>
                      <a:pt x="3600401" y="2145979"/>
                      <a:pt x="3600401" y="2057266"/>
                    </a:cubicBezTo>
                    <a:cubicBezTo>
                      <a:pt x="3600401" y="1962704"/>
                      <a:pt x="3677279" y="1885816"/>
                      <a:pt x="3771851" y="1885816"/>
                    </a:cubicBezTo>
                    <a:lnTo>
                      <a:pt x="3857576" y="1885816"/>
                    </a:lnTo>
                    <a:cubicBezTo>
                      <a:pt x="3952138" y="1885816"/>
                      <a:pt x="4029026" y="1962704"/>
                      <a:pt x="4029026" y="2057266"/>
                    </a:cubicBezTo>
                    <a:lnTo>
                      <a:pt x="4029026" y="2362702"/>
                    </a:lnTo>
                    <a:cubicBezTo>
                      <a:pt x="3824050" y="2557459"/>
                      <a:pt x="3559684" y="2686811"/>
                      <a:pt x="3279623" y="2726763"/>
                    </a:cubicBezTo>
                    <a:lnTo>
                      <a:pt x="2559533" y="2829633"/>
                    </a:lnTo>
                    <a:lnTo>
                      <a:pt x="2583791" y="2999281"/>
                    </a:lnTo>
                    <a:lnTo>
                      <a:pt x="3303803" y="2896411"/>
                    </a:lnTo>
                    <a:cubicBezTo>
                      <a:pt x="3567483" y="2858790"/>
                      <a:pt x="3818652" y="2750335"/>
                      <a:pt x="4028948" y="2587801"/>
                    </a:cubicBezTo>
                    <a:lnTo>
                      <a:pt x="4028948" y="2791248"/>
                    </a:lnTo>
                    <a:cubicBezTo>
                      <a:pt x="3823972" y="2986006"/>
                      <a:pt x="3559606" y="3115357"/>
                      <a:pt x="3279545" y="3155310"/>
                    </a:cubicBezTo>
                    <a:lnTo>
                      <a:pt x="2559455" y="3258180"/>
                    </a:lnTo>
                    <a:lnTo>
                      <a:pt x="2583722" y="3427828"/>
                    </a:lnTo>
                    <a:lnTo>
                      <a:pt x="3303734" y="3324958"/>
                    </a:lnTo>
                    <a:cubicBezTo>
                      <a:pt x="3567414" y="3287336"/>
                      <a:pt x="3818584" y="3178882"/>
                      <a:pt x="4028879" y="3016348"/>
                    </a:cubicBezTo>
                    <a:lnTo>
                      <a:pt x="4028879" y="3219795"/>
                    </a:lnTo>
                    <a:cubicBezTo>
                      <a:pt x="3823903" y="3414552"/>
                      <a:pt x="3559537" y="3543904"/>
                      <a:pt x="3279476" y="3583857"/>
                    </a:cubicBezTo>
                    <a:lnTo>
                      <a:pt x="2559386" y="3686727"/>
                    </a:lnTo>
                    <a:lnTo>
                      <a:pt x="2583644" y="3856374"/>
                    </a:lnTo>
                    <a:lnTo>
                      <a:pt x="3303655" y="3753504"/>
                    </a:lnTo>
                    <a:cubicBezTo>
                      <a:pt x="3567336" y="3715883"/>
                      <a:pt x="3818505" y="3607428"/>
                      <a:pt x="4028801" y="3444894"/>
                    </a:cubicBezTo>
                    <a:lnTo>
                      <a:pt x="4028801" y="3665026"/>
                    </a:lnTo>
                    <a:cubicBezTo>
                      <a:pt x="4028801" y="3710798"/>
                      <a:pt x="4010970" y="3753925"/>
                      <a:pt x="3978561" y="3786344"/>
                    </a:cubicBezTo>
                    <a:cubicBezTo>
                      <a:pt x="3656637" y="4108650"/>
                      <a:pt x="3228276" y="4286116"/>
                      <a:pt x="2772533" y="4286116"/>
                    </a:cubicBezTo>
                    <a:lnTo>
                      <a:pt x="685741" y="4286116"/>
                    </a:lnTo>
                    <a:lnTo>
                      <a:pt x="685741" y="2198737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2C408080-5AEE-4A03-974D-6DA258D5019B}"/>
                  </a:ext>
                </a:extLst>
              </p:cNvPr>
              <p:cNvSpPr/>
              <p:nvPr/>
            </p:nvSpPr>
            <p:spPr>
              <a:xfrm>
                <a:off x="-5142490" y="3303947"/>
                <a:ext cx="857250" cy="857250"/>
              </a:xfrm>
              <a:custGeom>
                <a:avLst/>
                <a:gdLst>
                  <a:gd name="connsiteX0" fmla="*/ 428625 w 857250"/>
                  <a:gd name="connsiteY0" fmla="*/ 0 h 857250"/>
                  <a:gd name="connsiteX1" fmla="*/ 0 w 857250"/>
                  <a:gd name="connsiteY1" fmla="*/ 428625 h 857250"/>
                  <a:gd name="connsiteX2" fmla="*/ 428625 w 857250"/>
                  <a:gd name="connsiteY2" fmla="*/ 857250 h 857250"/>
                  <a:gd name="connsiteX3" fmla="*/ 857250 w 857250"/>
                  <a:gd name="connsiteY3" fmla="*/ 428625 h 857250"/>
                  <a:gd name="connsiteX4" fmla="*/ 428625 w 857250"/>
                  <a:gd name="connsiteY4" fmla="*/ 0 h 857250"/>
                  <a:gd name="connsiteX5" fmla="*/ 428625 w 857250"/>
                  <a:gd name="connsiteY5" fmla="*/ 685800 h 857250"/>
                  <a:gd name="connsiteX6" fmla="*/ 171450 w 857250"/>
                  <a:gd name="connsiteY6" fmla="*/ 428625 h 857250"/>
                  <a:gd name="connsiteX7" fmla="*/ 428625 w 857250"/>
                  <a:gd name="connsiteY7" fmla="*/ 171450 h 857250"/>
                  <a:gd name="connsiteX8" fmla="*/ 685800 w 857250"/>
                  <a:gd name="connsiteY8" fmla="*/ 428625 h 857250"/>
                  <a:gd name="connsiteX9" fmla="*/ 428625 w 857250"/>
                  <a:gd name="connsiteY9" fmla="*/ 685800 h 857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0" h="857250">
                    <a:moveTo>
                      <a:pt x="428625" y="0"/>
                    </a:moveTo>
                    <a:cubicBezTo>
                      <a:pt x="192269" y="0"/>
                      <a:pt x="0" y="192269"/>
                      <a:pt x="0" y="428625"/>
                    </a:cubicBezTo>
                    <a:cubicBezTo>
                      <a:pt x="0" y="664981"/>
                      <a:pt x="192269" y="857250"/>
                      <a:pt x="428625" y="857250"/>
                    </a:cubicBezTo>
                    <a:cubicBezTo>
                      <a:pt x="664981" y="857250"/>
                      <a:pt x="857250" y="664981"/>
                      <a:pt x="857250" y="428625"/>
                    </a:cubicBezTo>
                    <a:cubicBezTo>
                      <a:pt x="857250" y="192269"/>
                      <a:pt x="664981" y="0"/>
                      <a:pt x="428625" y="0"/>
                    </a:cubicBezTo>
                    <a:close/>
                    <a:moveTo>
                      <a:pt x="428625" y="685800"/>
                    </a:moveTo>
                    <a:cubicBezTo>
                      <a:pt x="286831" y="685800"/>
                      <a:pt x="171450" y="570419"/>
                      <a:pt x="171450" y="428625"/>
                    </a:cubicBezTo>
                    <a:cubicBezTo>
                      <a:pt x="171450" y="286831"/>
                      <a:pt x="286831" y="171450"/>
                      <a:pt x="428625" y="171450"/>
                    </a:cubicBezTo>
                    <a:cubicBezTo>
                      <a:pt x="570419" y="171450"/>
                      <a:pt x="685800" y="286831"/>
                      <a:pt x="685800" y="428625"/>
                    </a:cubicBezTo>
                    <a:cubicBezTo>
                      <a:pt x="685800" y="570419"/>
                      <a:pt x="570419" y="685800"/>
                      <a:pt x="428625" y="68580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D5CCBBCF-8EB5-4E60-AC76-0AC0BC08B7DA}"/>
                  </a:ext>
                </a:extLst>
              </p:cNvPr>
              <p:cNvSpPr/>
              <p:nvPr/>
            </p:nvSpPr>
            <p:spPr>
              <a:xfrm>
                <a:off x="-3768930" y="2085182"/>
                <a:ext cx="510215" cy="1580249"/>
              </a:xfrm>
              <a:custGeom>
                <a:avLst/>
                <a:gdLst>
                  <a:gd name="connsiteX0" fmla="*/ 0 w 510215"/>
                  <a:gd name="connsiteY0" fmla="*/ 1543050 h 1580249"/>
                  <a:gd name="connsiteX1" fmla="*/ 342861 w 510215"/>
                  <a:gd name="connsiteY1" fmla="*/ 0 h 1580249"/>
                  <a:gd name="connsiteX2" fmla="*/ 510216 w 510215"/>
                  <a:gd name="connsiteY2" fmla="*/ 37199 h 1580249"/>
                  <a:gd name="connsiteX3" fmla="*/ 167355 w 510215"/>
                  <a:gd name="connsiteY3" fmla="*/ 1580250 h 1580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215" h="1580249">
                    <a:moveTo>
                      <a:pt x="0" y="1543050"/>
                    </a:moveTo>
                    <a:lnTo>
                      <a:pt x="342861" y="0"/>
                    </a:lnTo>
                    <a:lnTo>
                      <a:pt x="510216" y="37199"/>
                    </a:lnTo>
                    <a:lnTo>
                      <a:pt x="167355" y="1580250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4BC5098F-0DCD-45D3-85F3-2486096617F3}"/>
                  </a:ext>
                </a:extLst>
              </p:cNvPr>
              <p:cNvSpPr/>
              <p:nvPr/>
            </p:nvSpPr>
            <p:spPr>
              <a:xfrm>
                <a:off x="-6256887" y="1760897"/>
                <a:ext cx="857261" cy="1905740"/>
              </a:xfrm>
              <a:custGeom>
                <a:avLst/>
                <a:gdLst>
                  <a:gd name="connsiteX0" fmla="*/ 597794 w 857261"/>
                  <a:gd name="connsiteY0" fmla="*/ 1866160 h 1905740"/>
                  <a:gd name="connsiteX1" fmla="*/ 194269 w 857261"/>
                  <a:gd name="connsiteY1" fmla="*/ 171450 h 1905740"/>
                  <a:gd name="connsiteX2" fmla="*/ 857262 w 857261"/>
                  <a:gd name="connsiteY2" fmla="*/ 171450 h 1905740"/>
                  <a:gd name="connsiteX3" fmla="*/ 857262 w 857261"/>
                  <a:gd name="connsiteY3" fmla="*/ 0 h 1905740"/>
                  <a:gd name="connsiteX4" fmla="*/ 85737 w 857261"/>
                  <a:gd name="connsiteY4" fmla="*/ 0 h 1905740"/>
                  <a:gd name="connsiteX5" fmla="*/ 18460 w 857261"/>
                  <a:gd name="connsiteY5" fmla="*/ 32568 h 1905740"/>
                  <a:gd name="connsiteX6" fmla="*/ 2343 w 857261"/>
                  <a:gd name="connsiteY6" fmla="*/ 105510 h 1905740"/>
                  <a:gd name="connsiteX7" fmla="*/ 430968 w 857261"/>
                  <a:gd name="connsiteY7" fmla="*/ 1905740 h 1905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7261" h="1905740">
                    <a:moveTo>
                      <a:pt x="597794" y="1866160"/>
                    </a:moveTo>
                    <a:lnTo>
                      <a:pt x="194269" y="171450"/>
                    </a:lnTo>
                    <a:lnTo>
                      <a:pt x="857262" y="171450"/>
                    </a:lnTo>
                    <a:lnTo>
                      <a:pt x="857262" y="0"/>
                    </a:lnTo>
                    <a:lnTo>
                      <a:pt x="85737" y="0"/>
                    </a:lnTo>
                    <a:cubicBezTo>
                      <a:pt x="59520" y="0"/>
                      <a:pt x="34723" y="12017"/>
                      <a:pt x="18460" y="32568"/>
                    </a:cubicBezTo>
                    <a:cubicBezTo>
                      <a:pt x="2157" y="53157"/>
                      <a:pt x="-3741" y="80061"/>
                      <a:pt x="2343" y="105510"/>
                    </a:cubicBezTo>
                    <a:lnTo>
                      <a:pt x="430968" y="1905740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747" name="Group 746">
            <a:extLst>
              <a:ext uri="{FF2B5EF4-FFF2-40B4-BE49-F238E27FC236}">
                <a16:creationId xmlns:a16="http://schemas.microsoft.com/office/drawing/2014/main" id="{D3376CCD-CC26-4964-34AE-6E4628A50AE9}"/>
              </a:ext>
            </a:extLst>
          </p:cNvPr>
          <p:cNvGrpSpPr/>
          <p:nvPr/>
        </p:nvGrpSpPr>
        <p:grpSpPr>
          <a:xfrm>
            <a:off x="899217" y="1663448"/>
            <a:ext cx="2280302" cy="2919650"/>
            <a:chOff x="-5378690" y="1905630"/>
            <a:chExt cx="2456781" cy="3145610"/>
          </a:xfrm>
        </p:grpSpPr>
        <p:grpSp>
          <p:nvGrpSpPr>
            <p:cNvPr id="746" name="Group 745">
              <a:extLst>
                <a:ext uri="{FF2B5EF4-FFF2-40B4-BE49-F238E27FC236}">
                  <a16:creationId xmlns:a16="http://schemas.microsoft.com/office/drawing/2014/main" id="{B179F052-0131-CAB7-E684-A4A6D3AD47DF}"/>
                </a:ext>
              </a:extLst>
            </p:cNvPr>
            <p:cNvGrpSpPr/>
            <p:nvPr/>
          </p:nvGrpSpPr>
          <p:grpSpPr>
            <a:xfrm>
              <a:off x="-5378690" y="1905630"/>
              <a:ext cx="2456781" cy="2457597"/>
              <a:chOff x="-5378690" y="1905630"/>
              <a:chExt cx="2456781" cy="2457597"/>
            </a:xfrm>
          </p:grpSpPr>
          <p:grpSp>
            <p:nvGrpSpPr>
              <p:cNvPr id="414" name="Graphic 9">
                <a:extLst>
                  <a:ext uri="{FF2B5EF4-FFF2-40B4-BE49-F238E27FC236}">
                    <a16:creationId xmlns:a16="http://schemas.microsoft.com/office/drawing/2014/main" id="{D93B674A-97D0-6204-E9F3-D2DD644EC392}"/>
                  </a:ext>
                </a:extLst>
              </p:cNvPr>
              <p:cNvGrpSpPr/>
              <p:nvPr/>
            </p:nvGrpSpPr>
            <p:grpSpPr>
              <a:xfrm>
                <a:off x="-5378690" y="1905922"/>
                <a:ext cx="2456781" cy="2457305"/>
                <a:chOff x="-5378690" y="1905922"/>
                <a:chExt cx="2456781" cy="2457305"/>
              </a:xfrm>
            </p:grpSpPr>
            <p:sp>
              <p:nvSpPr>
                <p:cNvPr id="415" name="Freeform: Shape 414">
                  <a:extLst>
                    <a:ext uri="{FF2B5EF4-FFF2-40B4-BE49-F238E27FC236}">
                      <a16:creationId xmlns:a16="http://schemas.microsoft.com/office/drawing/2014/main" id="{D739BB18-C21A-86C7-85CB-6620839D455D}"/>
                    </a:ext>
                  </a:extLst>
                </p:cNvPr>
                <p:cNvSpPr/>
                <p:nvPr/>
              </p:nvSpPr>
              <p:spPr>
                <a:xfrm>
                  <a:off x="-5280072" y="1905922"/>
                  <a:ext cx="2358163" cy="2457305"/>
                </a:xfrm>
                <a:custGeom>
                  <a:avLst/>
                  <a:gdLst>
                    <a:gd name="connsiteX0" fmla="*/ 1169093 w 2358163"/>
                    <a:gd name="connsiteY0" fmla="*/ 2453213 h 2457305"/>
                    <a:gd name="connsiteX1" fmla="*/ 1170539 w 2358163"/>
                    <a:gd name="connsiteY1" fmla="*/ 2452650 h 2457305"/>
                    <a:gd name="connsiteX2" fmla="*/ 1184195 w 2358163"/>
                    <a:gd name="connsiteY2" fmla="*/ 2448553 h 2457305"/>
                    <a:gd name="connsiteX3" fmla="*/ 1167406 w 2358163"/>
                    <a:gd name="connsiteY3" fmla="*/ 2449839 h 2457305"/>
                    <a:gd name="connsiteX4" fmla="*/ 1161462 w 2358163"/>
                    <a:gd name="connsiteY4" fmla="*/ 2450000 h 2457305"/>
                    <a:gd name="connsiteX5" fmla="*/ 1161543 w 2358163"/>
                    <a:gd name="connsiteY5" fmla="*/ 2449678 h 2457305"/>
                    <a:gd name="connsiteX6" fmla="*/ 1163952 w 2358163"/>
                    <a:gd name="connsiteY6" fmla="*/ 2448875 h 2457305"/>
                    <a:gd name="connsiteX7" fmla="*/ 1134552 w 2358163"/>
                    <a:gd name="connsiteY7" fmla="*/ 2452008 h 2457305"/>
                    <a:gd name="connsiteX8" fmla="*/ 1153269 w 2358163"/>
                    <a:gd name="connsiteY8" fmla="*/ 2452168 h 2457305"/>
                    <a:gd name="connsiteX9" fmla="*/ 1161623 w 2358163"/>
                    <a:gd name="connsiteY9" fmla="*/ 2452811 h 2457305"/>
                    <a:gd name="connsiteX10" fmla="*/ 1150698 w 2358163"/>
                    <a:gd name="connsiteY10" fmla="*/ 2454739 h 2457305"/>
                    <a:gd name="connsiteX11" fmla="*/ 1169334 w 2358163"/>
                    <a:gd name="connsiteY11" fmla="*/ 2453293 h 2457305"/>
                    <a:gd name="connsiteX12" fmla="*/ 1169093 w 2358163"/>
                    <a:gd name="connsiteY12" fmla="*/ 2453213 h 2457305"/>
                    <a:gd name="connsiteX13" fmla="*/ 1106598 w 2358163"/>
                    <a:gd name="connsiteY13" fmla="*/ 2454096 h 2457305"/>
                    <a:gd name="connsiteX14" fmla="*/ 1105634 w 2358163"/>
                    <a:gd name="connsiteY14" fmla="*/ 2454096 h 2457305"/>
                    <a:gd name="connsiteX15" fmla="*/ 1106598 w 2358163"/>
                    <a:gd name="connsiteY15" fmla="*/ 2454096 h 2457305"/>
                    <a:gd name="connsiteX16" fmla="*/ 1106598 w 2358163"/>
                    <a:gd name="connsiteY16" fmla="*/ 2454096 h 2457305"/>
                    <a:gd name="connsiteX17" fmla="*/ 1097762 w 2358163"/>
                    <a:gd name="connsiteY17" fmla="*/ 2455221 h 2457305"/>
                    <a:gd name="connsiteX18" fmla="*/ 1101779 w 2358163"/>
                    <a:gd name="connsiteY18" fmla="*/ 2454739 h 2457305"/>
                    <a:gd name="connsiteX19" fmla="*/ 1100252 w 2358163"/>
                    <a:gd name="connsiteY19" fmla="*/ 2454498 h 2457305"/>
                    <a:gd name="connsiteX20" fmla="*/ 1091015 w 2358163"/>
                    <a:gd name="connsiteY20" fmla="*/ 2454819 h 2457305"/>
                    <a:gd name="connsiteX21" fmla="*/ 1091015 w 2358163"/>
                    <a:gd name="connsiteY21" fmla="*/ 2454900 h 2457305"/>
                    <a:gd name="connsiteX22" fmla="*/ 1097762 w 2358163"/>
                    <a:gd name="connsiteY22" fmla="*/ 2455221 h 2457305"/>
                    <a:gd name="connsiteX23" fmla="*/ 1066675 w 2358163"/>
                    <a:gd name="connsiteY23" fmla="*/ 2455703 h 2457305"/>
                    <a:gd name="connsiteX24" fmla="*/ 1071093 w 2358163"/>
                    <a:gd name="connsiteY24" fmla="*/ 2455622 h 2457305"/>
                    <a:gd name="connsiteX25" fmla="*/ 1082500 w 2358163"/>
                    <a:gd name="connsiteY25" fmla="*/ 2454498 h 2457305"/>
                    <a:gd name="connsiteX26" fmla="*/ 1080090 w 2358163"/>
                    <a:gd name="connsiteY26" fmla="*/ 2453775 h 2457305"/>
                    <a:gd name="connsiteX27" fmla="*/ 1065952 w 2358163"/>
                    <a:gd name="connsiteY27" fmla="*/ 2455783 h 2457305"/>
                    <a:gd name="connsiteX28" fmla="*/ 1066675 w 2358163"/>
                    <a:gd name="connsiteY28" fmla="*/ 2455703 h 2457305"/>
                    <a:gd name="connsiteX29" fmla="*/ 1317058 w 2358163"/>
                    <a:gd name="connsiteY29" fmla="*/ 2377303 h 2457305"/>
                    <a:gd name="connsiteX30" fmla="*/ 1309908 w 2358163"/>
                    <a:gd name="connsiteY30" fmla="*/ 2376339 h 2457305"/>
                    <a:gd name="connsiteX31" fmla="*/ 1230544 w 2358163"/>
                    <a:gd name="connsiteY31" fmla="*/ 2351598 h 2457305"/>
                    <a:gd name="connsiteX32" fmla="*/ 1317058 w 2358163"/>
                    <a:gd name="connsiteY32" fmla="*/ 2377303 h 2457305"/>
                    <a:gd name="connsiteX33" fmla="*/ 740383 w 2358163"/>
                    <a:gd name="connsiteY33" fmla="*/ 2393850 h 2457305"/>
                    <a:gd name="connsiteX34" fmla="*/ 636519 w 2358163"/>
                    <a:gd name="connsiteY34" fmla="*/ 2353847 h 2457305"/>
                    <a:gd name="connsiteX35" fmla="*/ 448150 w 2358163"/>
                    <a:gd name="connsiteY35" fmla="*/ 2250706 h 2457305"/>
                    <a:gd name="connsiteX36" fmla="*/ 286128 w 2358163"/>
                    <a:gd name="connsiteY36" fmla="*/ 2121779 h 2457305"/>
                    <a:gd name="connsiteX37" fmla="*/ 211022 w 2358163"/>
                    <a:gd name="connsiteY37" fmla="*/ 2044423 h 2457305"/>
                    <a:gd name="connsiteX38" fmla="*/ 531450 w 2358163"/>
                    <a:gd name="connsiteY38" fmla="*/ 1653949 h 2457305"/>
                    <a:gd name="connsiteX39" fmla="*/ 1228295 w 2358163"/>
                    <a:gd name="connsiteY39" fmla="*/ 2350875 h 2457305"/>
                    <a:gd name="connsiteX40" fmla="*/ 1228456 w 2358163"/>
                    <a:gd name="connsiteY40" fmla="*/ 2351598 h 2457305"/>
                    <a:gd name="connsiteX41" fmla="*/ 1264603 w 2358163"/>
                    <a:gd name="connsiteY41" fmla="*/ 2369511 h 2457305"/>
                    <a:gd name="connsiteX42" fmla="*/ 1258820 w 2358163"/>
                    <a:gd name="connsiteY42" fmla="*/ 2369029 h 2457305"/>
                    <a:gd name="connsiteX43" fmla="*/ 1265005 w 2358163"/>
                    <a:gd name="connsiteY43" fmla="*/ 2371921 h 2457305"/>
                    <a:gd name="connsiteX44" fmla="*/ 1110615 w 2358163"/>
                    <a:gd name="connsiteY44" fmla="*/ 2347983 h 2457305"/>
                    <a:gd name="connsiteX45" fmla="*/ 1046754 w 2358163"/>
                    <a:gd name="connsiteY45" fmla="*/ 2347260 h 2457305"/>
                    <a:gd name="connsiteX46" fmla="*/ 982893 w 2358163"/>
                    <a:gd name="connsiteY46" fmla="*/ 2330873 h 2457305"/>
                    <a:gd name="connsiteX47" fmla="*/ 911642 w 2358163"/>
                    <a:gd name="connsiteY47" fmla="*/ 2283721 h 2457305"/>
                    <a:gd name="connsiteX48" fmla="*/ 916542 w 2358163"/>
                    <a:gd name="connsiteY48" fmla="*/ 2275286 h 2457305"/>
                    <a:gd name="connsiteX49" fmla="*/ 873085 w 2358163"/>
                    <a:gd name="connsiteY49" fmla="*/ 2247654 h 2457305"/>
                    <a:gd name="connsiteX50" fmla="*/ 817578 w 2358163"/>
                    <a:gd name="connsiteY50" fmla="*/ 2277937 h 2457305"/>
                    <a:gd name="connsiteX51" fmla="*/ 808260 w 2358163"/>
                    <a:gd name="connsiteY51" fmla="*/ 2258819 h 2457305"/>
                    <a:gd name="connsiteX52" fmla="*/ 794203 w 2358163"/>
                    <a:gd name="connsiteY52" fmla="*/ 2260425 h 2457305"/>
                    <a:gd name="connsiteX53" fmla="*/ 791954 w 2358163"/>
                    <a:gd name="connsiteY53" fmla="*/ 2266209 h 2457305"/>
                    <a:gd name="connsiteX54" fmla="*/ 795729 w 2358163"/>
                    <a:gd name="connsiteY54" fmla="*/ 2273439 h 2457305"/>
                    <a:gd name="connsiteX55" fmla="*/ 754199 w 2358163"/>
                    <a:gd name="connsiteY55" fmla="*/ 2276411 h 2457305"/>
                    <a:gd name="connsiteX56" fmla="*/ 746649 w 2358163"/>
                    <a:gd name="connsiteY56" fmla="*/ 2271591 h 2457305"/>
                    <a:gd name="connsiteX57" fmla="*/ 667606 w 2358163"/>
                    <a:gd name="connsiteY57" fmla="*/ 2336094 h 2457305"/>
                    <a:gd name="connsiteX58" fmla="*/ 710421 w 2358163"/>
                    <a:gd name="connsiteY58" fmla="*/ 2351437 h 2457305"/>
                    <a:gd name="connsiteX59" fmla="*/ 684234 w 2358163"/>
                    <a:gd name="connsiteY59" fmla="*/ 2349027 h 2457305"/>
                    <a:gd name="connsiteX60" fmla="*/ 754922 w 2358163"/>
                    <a:gd name="connsiteY60" fmla="*/ 2385817 h 2457305"/>
                    <a:gd name="connsiteX61" fmla="*/ 697247 w 2358163"/>
                    <a:gd name="connsiteY61" fmla="*/ 2369832 h 2457305"/>
                    <a:gd name="connsiteX62" fmla="*/ 708573 w 2358163"/>
                    <a:gd name="connsiteY62" fmla="*/ 2378588 h 2457305"/>
                    <a:gd name="connsiteX63" fmla="*/ 662465 w 2358163"/>
                    <a:gd name="connsiteY63" fmla="*/ 2357301 h 2457305"/>
                    <a:gd name="connsiteX64" fmla="*/ 740383 w 2358163"/>
                    <a:gd name="connsiteY64" fmla="*/ 2393850 h 2457305"/>
                    <a:gd name="connsiteX65" fmla="*/ 1202751 w 2358163"/>
                    <a:gd name="connsiteY65" fmla="*/ 2452891 h 2457305"/>
                    <a:gd name="connsiteX66" fmla="*/ 1174074 w 2358163"/>
                    <a:gd name="connsiteY66" fmla="*/ 2456667 h 2457305"/>
                    <a:gd name="connsiteX67" fmla="*/ 1152948 w 2358163"/>
                    <a:gd name="connsiteY67" fmla="*/ 2457229 h 2457305"/>
                    <a:gd name="connsiteX68" fmla="*/ 1075511 w 2358163"/>
                    <a:gd name="connsiteY68" fmla="*/ 2456265 h 2457305"/>
                    <a:gd name="connsiteX69" fmla="*/ 981608 w 2358163"/>
                    <a:gd name="connsiteY69" fmla="*/ 2448474 h 2457305"/>
                    <a:gd name="connsiteX70" fmla="*/ 950119 w 2358163"/>
                    <a:gd name="connsiteY70" fmla="*/ 2444216 h 2457305"/>
                    <a:gd name="connsiteX71" fmla="*/ 948834 w 2358163"/>
                    <a:gd name="connsiteY71" fmla="*/ 2444055 h 2457305"/>
                    <a:gd name="connsiteX72" fmla="*/ 943291 w 2358163"/>
                    <a:gd name="connsiteY72" fmla="*/ 2443252 h 2457305"/>
                    <a:gd name="connsiteX73" fmla="*/ 1006831 w 2358163"/>
                    <a:gd name="connsiteY73" fmla="*/ 2451044 h 2457305"/>
                    <a:gd name="connsiteX74" fmla="*/ 959518 w 2358163"/>
                    <a:gd name="connsiteY74" fmla="*/ 2443332 h 2457305"/>
                    <a:gd name="connsiteX75" fmla="*/ 1009160 w 2358163"/>
                    <a:gd name="connsiteY75" fmla="*/ 2448393 h 2457305"/>
                    <a:gd name="connsiteX76" fmla="*/ 952770 w 2358163"/>
                    <a:gd name="connsiteY76" fmla="*/ 2441083 h 2457305"/>
                    <a:gd name="connsiteX77" fmla="*/ 1201867 w 2358163"/>
                    <a:gd name="connsiteY77" fmla="*/ 2440681 h 2457305"/>
                    <a:gd name="connsiteX78" fmla="*/ 1198493 w 2358163"/>
                    <a:gd name="connsiteY78" fmla="*/ 2439396 h 2457305"/>
                    <a:gd name="connsiteX79" fmla="*/ 1199136 w 2358163"/>
                    <a:gd name="connsiteY79" fmla="*/ 2437709 h 2457305"/>
                    <a:gd name="connsiteX80" fmla="*/ 1208936 w 2358163"/>
                    <a:gd name="connsiteY80" fmla="*/ 2436103 h 2457305"/>
                    <a:gd name="connsiteX81" fmla="*/ 1207169 w 2358163"/>
                    <a:gd name="connsiteY81" fmla="*/ 2435782 h 2457305"/>
                    <a:gd name="connsiteX82" fmla="*/ 1233356 w 2358163"/>
                    <a:gd name="connsiteY82" fmla="*/ 2430882 h 2457305"/>
                    <a:gd name="connsiteX83" fmla="*/ 1264925 w 2358163"/>
                    <a:gd name="connsiteY83" fmla="*/ 2413049 h 2457305"/>
                    <a:gd name="connsiteX84" fmla="*/ 1262434 w 2358163"/>
                    <a:gd name="connsiteY84" fmla="*/ 2414896 h 2457305"/>
                    <a:gd name="connsiteX85" fmla="*/ 1288220 w 2358163"/>
                    <a:gd name="connsiteY85" fmla="*/ 2400116 h 2457305"/>
                    <a:gd name="connsiteX86" fmla="*/ 1255044 w 2358163"/>
                    <a:gd name="connsiteY86" fmla="*/ 2431203 h 2457305"/>
                    <a:gd name="connsiteX87" fmla="*/ 1214479 w 2358163"/>
                    <a:gd name="connsiteY87" fmla="*/ 2449919 h 2457305"/>
                    <a:gd name="connsiteX88" fmla="*/ 1198895 w 2358163"/>
                    <a:gd name="connsiteY88" fmla="*/ 2453454 h 2457305"/>
                    <a:gd name="connsiteX89" fmla="*/ 1202831 w 2358163"/>
                    <a:gd name="connsiteY89" fmla="*/ 2453052 h 2457305"/>
                    <a:gd name="connsiteX90" fmla="*/ 1202751 w 2358163"/>
                    <a:gd name="connsiteY90" fmla="*/ 2452891 h 2457305"/>
                    <a:gd name="connsiteX91" fmla="*/ 1317058 w 2358163"/>
                    <a:gd name="connsiteY91" fmla="*/ 2377303 h 2457305"/>
                    <a:gd name="connsiteX92" fmla="*/ 531370 w 2358163"/>
                    <a:gd name="connsiteY92" fmla="*/ 1653869 h 2457305"/>
                    <a:gd name="connsiteX93" fmla="*/ 2009645 w 2358163"/>
                    <a:gd name="connsiteY93" fmla="*/ 1468472 h 2457305"/>
                    <a:gd name="connsiteX94" fmla="*/ 2251513 w 2358163"/>
                    <a:gd name="connsiteY94" fmla="*/ 1592739 h 2457305"/>
                    <a:gd name="connsiteX95" fmla="*/ 2045150 w 2358163"/>
                    <a:gd name="connsiteY95" fmla="*/ 1938712 h 2457305"/>
                    <a:gd name="connsiteX96" fmla="*/ 2023381 w 2358163"/>
                    <a:gd name="connsiteY96" fmla="*/ 1964095 h 2457305"/>
                    <a:gd name="connsiteX97" fmla="*/ 1953737 w 2358163"/>
                    <a:gd name="connsiteY97" fmla="*/ 2037274 h 2457305"/>
                    <a:gd name="connsiteX98" fmla="*/ 1732192 w 2358163"/>
                    <a:gd name="connsiteY98" fmla="*/ 1766729 h 2457305"/>
                    <a:gd name="connsiteX99" fmla="*/ 1712110 w 2358163"/>
                    <a:gd name="connsiteY99" fmla="*/ 1799745 h 2457305"/>
                    <a:gd name="connsiteX100" fmla="*/ 1638450 w 2358163"/>
                    <a:gd name="connsiteY100" fmla="*/ 1784562 h 2457305"/>
                    <a:gd name="connsiteX101" fmla="*/ 1654194 w 2358163"/>
                    <a:gd name="connsiteY101" fmla="*/ 1793720 h 2457305"/>
                    <a:gd name="connsiteX102" fmla="*/ 1443735 w 2358163"/>
                    <a:gd name="connsiteY102" fmla="*/ 1768577 h 2457305"/>
                    <a:gd name="connsiteX103" fmla="*/ 1325572 w 2358163"/>
                    <a:gd name="connsiteY103" fmla="*/ 1804644 h 2457305"/>
                    <a:gd name="connsiteX104" fmla="*/ 1182267 w 2358163"/>
                    <a:gd name="connsiteY104" fmla="*/ 1867782 h 2457305"/>
                    <a:gd name="connsiteX105" fmla="*/ 1109811 w 2358163"/>
                    <a:gd name="connsiteY105" fmla="*/ 1949396 h 2457305"/>
                    <a:gd name="connsiteX106" fmla="*/ 1023700 w 2358163"/>
                    <a:gd name="connsiteY106" fmla="*/ 1997994 h 2457305"/>
                    <a:gd name="connsiteX107" fmla="*/ 1039123 w 2358163"/>
                    <a:gd name="connsiteY107" fmla="*/ 2012453 h 2457305"/>
                    <a:gd name="connsiteX108" fmla="*/ 1047396 w 2358163"/>
                    <a:gd name="connsiteY108" fmla="*/ 2009722 h 2457305"/>
                    <a:gd name="connsiteX109" fmla="*/ 1046111 w 2358163"/>
                    <a:gd name="connsiteY109" fmla="*/ 2019281 h 2457305"/>
                    <a:gd name="connsiteX110" fmla="*/ 1054064 w 2358163"/>
                    <a:gd name="connsiteY110" fmla="*/ 2026189 h 2457305"/>
                    <a:gd name="connsiteX111" fmla="*/ 1082741 w 2358163"/>
                    <a:gd name="connsiteY111" fmla="*/ 2013578 h 2457305"/>
                    <a:gd name="connsiteX112" fmla="*/ 1077841 w 2358163"/>
                    <a:gd name="connsiteY112" fmla="*/ 2022976 h 2457305"/>
                    <a:gd name="connsiteX113" fmla="*/ 1085070 w 2358163"/>
                    <a:gd name="connsiteY113" fmla="*/ 2031732 h 2457305"/>
                    <a:gd name="connsiteX114" fmla="*/ 1097762 w 2358163"/>
                    <a:gd name="connsiteY114" fmla="*/ 2030848 h 2457305"/>
                    <a:gd name="connsiteX115" fmla="*/ 1163390 w 2358163"/>
                    <a:gd name="connsiteY115" fmla="*/ 2071253 h 2457305"/>
                    <a:gd name="connsiteX116" fmla="*/ 1184034 w 2358163"/>
                    <a:gd name="connsiteY116" fmla="*/ 2171904 h 2457305"/>
                    <a:gd name="connsiteX117" fmla="*/ 1184034 w 2358163"/>
                    <a:gd name="connsiteY117" fmla="*/ 2171904 h 2457305"/>
                    <a:gd name="connsiteX118" fmla="*/ 1184034 w 2358163"/>
                    <a:gd name="connsiteY118" fmla="*/ 2171904 h 2457305"/>
                    <a:gd name="connsiteX119" fmla="*/ 1184034 w 2358163"/>
                    <a:gd name="connsiteY119" fmla="*/ 2171904 h 2457305"/>
                    <a:gd name="connsiteX120" fmla="*/ 1184034 w 2358163"/>
                    <a:gd name="connsiteY120" fmla="*/ 2171904 h 2457305"/>
                    <a:gd name="connsiteX121" fmla="*/ 1184034 w 2358163"/>
                    <a:gd name="connsiteY121" fmla="*/ 2171904 h 2457305"/>
                    <a:gd name="connsiteX122" fmla="*/ 1184034 w 2358163"/>
                    <a:gd name="connsiteY122" fmla="*/ 2171904 h 2457305"/>
                    <a:gd name="connsiteX123" fmla="*/ 1184034 w 2358163"/>
                    <a:gd name="connsiteY123" fmla="*/ 2171904 h 2457305"/>
                    <a:gd name="connsiteX124" fmla="*/ 1184034 w 2358163"/>
                    <a:gd name="connsiteY124" fmla="*/ 2171904 h 2457305"/>
                    <a:gd name="connsiteX125" fmla="*/ 1175198 w 2358163"/>
                    <a:gd name="connsiteY125" fmla="*/ 2172868 h 2457305"/>
                    <a:gd name="connsiteX126" fmla="*/ 1168210 w 2358163"/>
                    <a:gd name="connsiteY126" fmla="*/ 2189496 h 2457305"/>
                    <a:gd name="connsiteX127" fmla="*/ 1248618 w 2358163"/>
                    <a:gd name="connsiteY127" fmla="*/ 2238174 h 2457305"/>
                    <a:gd name="connsiteX128" fmla="*/ 1244120 w 2358163"/>
                    <a:gd name="connsiteY128" fmla="*/ 2246689 h 2457305"/>
                    <a:gd name="connsiteX129" fmla="*/ 1272475 w 2358163"/>
                    <a:gd name="connsiteY129" fmla="*/ 2333042 h 2457305"/>
                    <a:gd name="connsiteX130" fmla="*/ 1317058 w 2358163"/>
                    <a:gd name="connsiteY130" fmla="*/ 2377303 h 2457305"/>
                    <a:gd name="connsiteX131" fmla="*/ 2251513 w 2358163"/>
                    <a:gd name="connsiteY131" fmla="*/ 1592739 h 2457305"/>
                    <a:gd name="connsiteX132" fmla="*/ 2320434 w 2358163"/>
                    <a:gd name="connsiteY132" fmla="*/ 976623 h 2457305"/>
                    <a:gd name="connsiteX133" fmla="*/ 2234242 w 2358163"/>
                    <a:gd name="connsiteY133" fmla="*/ 693226 h 2457305"/>
                    <a:gd name="connsiteX134" fmla="*/ 2231833 w 2358163"/>
                    <a:gd name="connsiteY134" fmla="*/ 687844 h 2457305"/>
                    <a:gd name="connsiteX135" fmla="*/ 2234644 w 2358163"/>
                    <a:gd name="connsiteY135" fmla="*/ 692584 h 2457305"/>
                    <a:gd name="connsiteX136" fmla="*/ 2234323 w 2358163"/>
                    <a:gd name="connsiteY136" fmla="*/ 691620 h 2457305"/>
                    <a:gd name="connsiteX137" fmla="*/ 2234162 w 2358163"/>
                    <a:gd name="connsiteY137" fmla="*/ 691138 h 2457305"/>
                    <a:gd name="connsiteX138" fmla="*/ 2234483 w 2358163"/>
                    <a:gd name="connsiteY138" fmla="*/ 691539 h 2457305"/>
                    <a:gd name="connsiteX139" fmla="*/ 2232636 w 2358163"/>
                    <a:gd name="connsiteY139" fmla="*/ 686399 h 2457305"/>
                    <a:gd name="connsiteX140" fmla="*/ 2291034 w 2358163"/>
                    <a:gd name="connsiteY140" fmla="*/ 826330 h 2457305"/>
                    <a:gd name="connsiteX141" fmla="*/ 2342525 w 2358163"/>
                    <a:gd name="connsiteY141" fmla="*/ 1030925 h 2457305"/>
                    <a:gd name="connsiteX142" fmla="*/ 2354172 w 2358163"/>
                    <a:gd name="connsiteY142" fmla="*/ 1335288 h 2457305"/>
                    <a:gd name="connsiteX143" fmla="*/ 2319390 w 2358163"/>
                    <a:gd name="connsiteY143" fmla="*/ 1537554 h 2457305"/>
                    <a:gd name="connsiteX144" fmla="*/ 2260510 w 2358163"/>
                    <a:gd name="connsiteY144" fmla="*/ 1710098 h 2457305"/>
                    <a:gd name="connsiteX145" fmla="*/ 2251513 w 2358163"/>
                    <a:gd name="connsiteY145" fmla="*/ 1592739 h 2457305"/>
                    <a:gd name="connsiteX146" fmla="*/ 1199377 w 2358163"/>
                    <a:gd name="connsiteY146" fmla="*/ 207483 h 2457305"/>
                    <a:gd name="connsiteX147" fmla="*/ 1199216 w 2358163"/>
                    <a:gd name="connsiteY147" fmla="*/ 208527 h 2457305"/>
                    <a:gd name="connsiteX148" fmla="*/ 1198895 w 2358163"/>
                    <a:gd name="connsiteY148" fmla="*/ 206117 h 2457305"/>
                    <a:gd name="connsiteX149" fmla="*/ 1199216 w 2358163"/>
                    <a:gd name="connsiteY149" fmla="*/ 206599 h 2457305"/>
                    <a:gd name="connsiteX150" fmla="*/ 1199377 w 2358163"/>
                    <a:gd name="connsiteY150" fmla="*/ 207483 h 2457305"/>
                    <a:gd name="connsiteX151" fmla="*/ 342117 w 2358163"/>
                    <a:gd name="connsiteY151" fmla="*/ 490478 h 2457305"/>
                    <a:gd name="connsiteX152" fmla="*/ 461886 w 2358163"/>
                    <a:gd name="connsiteY152" fmla="*/ 242426 h 2457305"/>
                    <a:gd name="connsiteX153" fmla="*/ 462047 w 2358163"/>
                    <a:gd name="connsiteY153" fmla="*/ 242506 h 2457305"/>
                    <a:gd name="connsiteX154" fmla="*/ 486707 w 2358163"/>
                    <a:gd name="connsiteY154" fmla="*/ 234313 h 2457305"/>
                    <a:gd name="connsiteX155" fmla="*/ 480361 w 2358163"/>
                    <a:gd name="connsiteY155" fmla="*/ 238811 h 2457305"/>
                    <a:gd name="connsiteX156" fmla="*/ 478192 w 2358163"/>
                    <a:gd name="connsiteY156" fmla="*/ 242908 h 2457305"/>
                    <a:gd name="connsiteX157" fmla="*/ 483976 w 2358163"/>
                    <a:gd name="connsiteY157" fmla="*/ 243389 h 2457305"/>
                    <a:gd name="connsiteX158" fmla="*/ 476265 w 2358163"/>
                    <a:gd name="connsiteY158" fmla="*/ 249816 h 2457305"/>
                    <a:gd name="connsiteX159" fmla="*/ 563179 w 2358163"/>
                    <a:gd name="connsiteY159" fmla="*/ 201378 h 2457305"/>
                    <a:gd name="connsiteX160" fmla="*/ 560770 w 2358163"/>
                    <a:gd name="connsiteY160" fmla="*/ 202422 h 2457305"/>
                    <a:gd name="connsiteX161" fmla="*/ 561734 w 2358163"/>
                    <a:gd name="connsiteY161" fmla="*/ 198727 h 2457305"/>
                    <a:gd name="connsiteX162" fmla="*/ 570489 w 2358163"/>
                    <a:gd name="connsiteY162" fmla="*/ 197442 h 2457305"/>
                    <a:gd name="connsiteX163" fmla="*/ 568722 w 2358163"/>
                    <a:gd name="connsiteY163" fmla="*/ 203868 h 2457305"/>
                    <a:gd name="connsiteX164" fmla="*/ 571694 w 2358163"/>
                    <a:gd name="connsiteY164" fmla="*/ 208688 h 2457305"/>
                    <a:gd name="connsiteX165" fmla="*/ 608404 w 2358163"/>
                    <a:gd name="connsiteY165" fmla="*/ 196799 h 2457305"/>
                    <a:gd name="connsiteX166" fmla="*/ 604548 w 2358163"/>
                    <a:gd name="connsiteY166" fmla="*/ 198888 h 2457305"/>
                    <a:gd name="connsiteX167" fmla="*/ 610814 w 2358163"/>
                    <a:gd name="connsiteY167" fmla="*/ 198245 h 2457305"/>
                    <a:gd name="connsiteX168" fmla="*/ 559886 w 2358163"/>
                    <a:gd name="connsiteY168" fmla="*/ 235598 h 2457305"/>
                    <a:gd name="connsiteX169" fmla="*/ 561091 w 2358163"/>
                    <a:gd name="connsiteY169" fmla="*/ 240257 h 2457305"/>
                    <a:gd name="connsiteX170" fmla="*/ 731788 w 2358163"/>
                    <a:gd name="connsiteY170" fmla="*/ 217524 h 2457305"/>
                    <a:gd name="connsiteX171" fmla="*/ 732029 w 2358163"/>
                    <a:gd name="connsiteY171" fmla="*/ 213025 h 2457305"/>
                    <a:gd name="connsiteX172" fmla="*/ 776932 w 2358163"/>
                    <a:gd name="connsiteY172" fmla="*/ 214713 h 2457305"/>
                    <a:gd name="connsiteX173" fmla="*/ 788098 w 2358163"/>
                    <a:gd name="connsiteY173" fmla="*/ 218970 h 2457305"/>
                    <a:gd name="connsiteX174" fmla="*/ 786250 w 2358163"/>
                    <a:gd name="connsiteY174" fmla="*/ 228449 h 2457305"/>
                    <a:gd name="connsiteX175" fmla="*/ 776290 w 2358163"/>
                    <a:gd name="connsiteY175" fmla="*/ 242827 h 2457305"/>
                    <a:gd name="connsiteX176" fmla="*/ 775245 w 2358163"/>
                    <a:gd name="connsiteY176" fmla="*/ 244434 h 2457305"/>
                    <a:gd name="connsiteX177" fmla="*/ 775245 w 2358163"/>
                    <a:gd name="connsiteY177" fmla="*/ 244434 h 2457305"/>
                    <a:gd name="connsiteX178" fmla="*/ 775245 w 2358163"/>
                    <a:gd name="connsiteY178" fmla="*/ 244434 h 2457305"/>
                    <a:gd name="connsiteX179" fmla="*/ 775245 w 2358163"/>
                    <a:gd name="connsiteY179" fmla="*/ 244434 h 2457305"/>
                    <a:gd name="connsiteX180" fmla="*/ 775245 w 2358163"/>
                    <a:gd name="connsiteY180" fmla="*/ 244434 h 2457305"/>
                    <a:gd name="connsiteX181" fmla="*/ 775245 w 2358163"/>
                    <a:gd name="connsiteY181" fmla="*/ 244434 h 2457305"/>
                    <a:gd name="connsiteX182" fmla="*/ 775245 w 2358163"/>
                    <a:gd name="connsiteY182" fmla="*/ 244434 h 2457305"/>
                    <a:gd name="connsiteX183" fmla="*/ 775245 w 2358163"/>
                    <a:gd name="connsiteY183" fmla="*/ 244434 h 2457305"/>
                    <a:gd name="connsiteX184" fmla="*/ 822719 w 2358163"/>
                    <a:gd name="connsiteY184" fmla="*/ 271986 h 2457305"/>
                    <a:gd name="connsiteX185" fmla="*/ 846336 w 2358163"/>
                    <a:gd name="connsiteY185" fmla="*/ 268211 h 2457305"/>
                    <a:gd name="connsiteX186" fmla="*/ 878467 w 2358163"/>
                    <a:gd name="connsiteY186" fmla="*/ 284839 h 2457305"/>
                    <a:gd name="connsiteX187" fmla="*/ 770024 w 2358163"/>
                    <a:gd name="connsiteY187" fmla="*/ 196478 h 2457305"/>
                    <a:gd name="connsiteX188" fmla="*/ 751227 w 2358163"/>
                    <a:gd name="connsiteY188" fmla="*/ 184831 h 2457305"/>
                    <a:gd name="connsiteX189" fmla="*/ 751227 w 2358163"/>
                    <a:gd name="connsiteY189" fmla="*/ 184750 h 2457305"/>
                    <a:gd name="connsiteX190" fmla="*/ 751227 w 2358163"/>
                    <a:gd name="connsiteY190" fmla="*/ 184670 h 2457305"/>
                    <a:gd name="connsiteX191" fmla="*/ 751227 w 2358163"/>
                    <a:gd name="connsiteY191" fmla="*/ 184590 h 2457305"/>
                    <a:gd name="connsiteX192" fmla="*/ 751227 w 2358163"/>
                    <a:gd name="connsiteY192" fmla="*/ 184509 h 2457305"/>
                    <a:gd name="connsiteX193" fmla="*/ 751227 w 2358163"/>
                    <a:gd name="connsiteY193" fmla="*/ 184429 h 2457305"/>
                    <a:gd name="connsiteX194" fmla="*/ 751227 w 2358163"/>
                    <a:gd name="connsiteY194" fmla="*/ 184349 h 2457305"/>
                    <a:gd name="connsiteX195" fmla="*/ 751227 w 2358163"/>
                    <a:gd name="connsiteY195" fmla="*/ 184268 h 2457305"/>
                    <a:gd name="connsiteX196" fmla="*/ 751227 w 2358163"/>
                    <a:gd name="connsiteY196" fmla="*/ 184188 h 2457305"/>
                    <a:gd name="connsiteX197" fmla="*/ 821595 w 2358163"/>
                    <a:gd name="connsiteY197" fmla="*/ 187883 h 2457305"/>
                    <a:gd name="connsiteX198" fmla="*/ 818783 w 2358163"/>
                    <a:gd name="connsiteY198" fmla="*/ 184188 h 2457305"/>
                    <a:gd name="connsiteX199" fmla="*/ 823522 w 2358163"/>
                    <a:gd name="connsiteY199" fmla="*/ 183224 h 2457305"/>
                    <a:gd name="connsiteX200" fmla="*/ 820470 w 2358163"/>
                    <a:gd name="connsiteY200" fmla="*/ 178485 h 2457305"/>
                    <a:gd name="connsiteX201" fmla="*/ 823362 w 2358163"/>
                    <a:gd name="connsiteY201" fmla="*/ 174629 h 2457305"/>
                    <a:gd name="connsiteX202" fmla="*/ 897424 w 2358163"/>
                    <a:gd name="connsiteY202" fmla="*/ 189007 h 2457305"/>
                    <a:gd name="connsiteX203" fmla="*/ 959759 w 2358163"/>
                    <a:gd name="connsiteY203" fmla="*/ 179448 h 2457305"/>
                    <a:gd name="connsiteX204" fmla="*/ 941926 w 2358163"/>
                    <a:gd name="connsiteY204" fmla="*/ 180814 h 2457305"/>
                    <a:gd name="connsiteX205" fmla="*/ 965864 w 2358163"/>
                    <a:gd name="connsiteY205" fmla="*/ 173504 h 2457305"/>
                    <a:gd name="connsiteX206" fmla="*/ 965944 w 2358163"/>
                    <a:gd name="connsiteY206" fmla="*/ 173183 h 2457305"/>
                    <a:gd name="connsiteX207" fmla="*/ 1199136 w 2358163"/>
                    <a:gd name="connsiteY207" fmla="*/ 205796 h 2457305"/>
                    <a:gd name="connsiteX208" fmla="*/ 1198895 w 2358163"/>
                    <a:gd name="connsiteY208" fmla="*/ 205475 h 2457305"/>
                    <a:gd name="connsiteX209" fmla="*/ 1189015 w 2358163"/>
                    <a:gd name="connsiteY209" fmla="*/ 204109 h 2457305"/>
                    <a:gd name="connsiteX210" fmla="*/ 1193352 w 2358163"/>
                    <a:gd name="connsiteY210" fmla="*/ 205394 h 2457305"/>
                    <a:gd name="connsiteX211" fmla="*/ 1186284 w 2358163"/>
                    <a:gd name="connsiteY211" fmla="*/ 212062 h 2457305"/>
                    <a:gd name="connsiteX212" fmla="*/ 1159052 w 2358163"/>
                    <a:gd name="connsiteY212" fmla="*/ 253752 h 2457305"/>
                    <a:gd name="connsiteX213" fmla="*/ 1202670 w 2358163"/>
                    <a:gd name="connsiteY213" fmla="*/ 283232 h 2457305"/>
                    <a:gd name="connsiteX214" fmla="*/ 1140657 w 2358163"/>
                    <a:gd name="connsiteY214" fmla="*/ 289578 h 2457305"/>
                    <a:gd name="connsiteX215" fmla="*/ 1109811 w 2358163"/>
                    <a:gd name="connsiteY215" fmla="*/ 218167 h 2457305"/>
                    <a:gd name="connsiteX216" fmla="*/ 1110454 w 2358163"/>
                    <a:gd name="connsiteY216" fmla="*/ 213427 h 2457305"/>
                    <a:gd name="connsiteX217" fmla="*/ 1106679 w 2358163"/>
                    <a:gd name="connsiteY217" fmla="*/ 211017 h 2457305"/>
                    <a:gd name="connsiteX218" fmla="*/ 1090051 w 2358163"/>
                    <a:gd name="connsiteY218" fmla="*/ 276726 h 2457305"/>
                    <a:gd name="connsiteX219" fmla="*/ 1125556 w 2358163"/>
                    <a:gd name="connsiteY219" fmla="*/ 277047 h 2457305"/>
                    <a:gd name="connsiteX220" fmla="*/ 1124833 w 2358163"/>
                    <a:gd name="connsiteY220" fmla="*/ 291345 h 2457305"/>
                    <a:gd name="connsiteX221" fmla="*/ 342117 w 2358163"/>
                    <a:gd name="connsiteY221" fmla="*/ 490478 h 2457305"/>
                    <a:gd name="connsiteX222" fmla="*/ 342117 w 2358163"/>
                    <a:gd name="connsiteY222" fmla="*/ 490478 h 2457305"/>
                    <a:gd name="connsiteX223" fmla="*/ 0 w 2358163"/>
                    <a:gd name="connsiteY223" fmla="*/ 746163 h 2457305"/>
                    <a:gd name="connsiteX224" fmla="*/ 58880 w 2358163"/>
                    <a:gd name="connsiteY224" fmla="*/ 626795 h 2457305"/>
                    <a:gd name="connsiteX225" fmla="*/ 133023 w 2358163"/>
                    <a:gd name="connsiteY225" fmla="*/ 510721 h 2457305"/>
                    <a:gd name="connsiteX226" fmla="*/ 133505 w 2358163"/>
                    <a:gd name="connsiteY226" fmla="*/ 509998 h 2457305"/>
                    <a:gd name="connsiteX227" fmla="*/ 173428 w 2358163"/>
                    <a:gd name="connsiteY227" fmla="*/ 461400 h 2457305"/>
                    <a:gd name="connsiteX228" fmla="*/ 185477 w 2358163"/>
                    <a:gd name="connsiteY228" fmla="*/ 448146 h 2457305"/>
                    <a:gd name="connsiteX229" fmla="*/ 177123 w 2358163"/>
                    <a:gd name="connsiteY229" fmla="*/ 460436 h 2457305"/>
                    <a:gd name="connsiteX230" fmla="*/ 194233 w 2358163"/>
                    <a:gd name="connsiteY230" fmla="*/ 445736 h 2457305"/>
                    <a:gd name="connsiteX231" fmla="*/ 191181 w 2358163"/>
                    <a:gd name="connsiteY231" fmla="*/ 447021 h 2457305"/>
                    <a:gd name="connsiteX232" fmla="*/ 207246 w 2358163"/>
                    <a:gd name="connsiteY232" fmla="*/ 432482 h 2457305"/>
                    <a:gd name="connsiteX233" fmla="*/ 203390 w 2358163"/>
                    <a:gd name="connsiteY233" fmla="*/ 439952 h 2457305"/>
                    <a:gd name="connsiteX234" fmla="*/ 206684 w 2358163"/>
                    <a:gd name="connsiteY234" fmla="*/ 439791 h 2457305"/>
                    <a:gd name="connsiteX235" fmla="*/ 197205 w 2358163"/>
                    <a:gd name="connsiteY235" fmla="*/ 457062 h 2457305"/>
                    <a:gd name="connsiteX236" fmla="*/ 213592 w 2358163"/>
                    <a:gd name="connsiteY236" fmla="*/ 460114 h 2457305"/>
                    <a:gd name="connsiteX237" fmla="*/ 212468 w 2358163"/>
                    <a:gd name="connsiteY237" fmla="*/ 464050 h 2457305"/>
                    <a:gd name="connsiteX238" fmla="*/ 213431 w 2358163"/>
                    <a:gd name="connsiteY238" fmla="*/ 464613 h 2457305"/>
                    <a:gd name="connsiteX239" fmla="*/ 250061 w 2358163"/>
                    <a:gd name="connsiteY239" fmla="*/ 451600 h 2457305"/>
                    <a:gd name="connsiteX240" fmla="*/ 229577 w 2358163"/>
                    <a:gd name="connsiteY240" fmla="*/ 455215 h 2457305"/>
                    <a:gd name="connsiteX241" fmla="*/ 216404 w 2358163"/>
                    <a:gd name="connsiteY241" fmla="*/ 449913 h 2457305"/>
                    <a:gd name="connsiteX242" fmla="*/ 224677 w 2358163"/>
                    <a:gd name="connsiteY242" fmla="*/ 436819 h 2457305"/>
                    <a:gd name="connsiteX243" fmla="*/ 225963 w 2358163"/>
                    <a:gd name="connsiteY243" fmla="*/ 430152 h 2457305"/>
                    <a:gd name="connsiteX244" fmla="*/ 240261 w 2358163"/>
                    <a:gd name="connsiteY244" fmla="*/ 421155 h 2457305"/>
                    <a:gd name="connsiteX245" fmla="*/ 239297 w 2358163"/>
                    <a:gd name="connsiteY245" fmla="*/ 424690 h 2457305"/>
                    <a:gd name="connsiteX246" fmla="*/ 266850 w 2358163"/>
                    <a:gd name="connsiteY246" fmla="*/ 407982 h 2457305"/>
                    <a:gd name="connsiteX247" fmla="*/ 286209 w 2358163"/>
                    <a:gd name="connsiteY247" fmla="*/ 378501 h 2457305"/>
                    <a:gd name="connsiteX248" fmla="*/ 317858 w 2358163"/>
                    <a:gd name="connsiteY248" fmla="*/ 361954 h 2457305"/>
                    <a:gd name="connsiteX249" fmla="*/ 314564 w 2358163"/>
                    <a:gd name="connsiteY249" fmla="*/ 360909 h 2457305"/>
                    <a:gd name="connsiteX250" fmla="*/ 303399 w 2358163"/>
                    <a:gd name="connsiteY250" fmla="*/ 368782 h 2457305"/>
                    <a:gd name="connsiteX251" fmla="*/ 335932 w 2358163"/>
                    <a:gd name="connsiteY251" fmla="*/ 342595 h 2457305"/>
                    <a:gd name="connsiteX252" fmla="*/ 335691 w 2358163"/>
                    <a:gd name="connsiteY252" fmla="*/ 338096 h 2457305"/>
                    <a:gd name="connsiteX253" fmla="*/ 331353 w 2358163"/>
                    <a:gd name="connsiteY253" fmla="*/ 337052 h 2457305"/>
                    <a:gd name="connsiteX254" fmla="*/ 331273 w 2358163"/>
                    <a:gd name="connsiteY254" fmla="*/ 336972 h 2457305"/>
                    <a:gd name="connsiteX255" fmla="*/ 332959 w 2358163"/>
                    <a:gd name="connsiteY255" fmla="*/ 335285 h 2457305"/>
                    <a:gd name="connsiteX256" fmla="*/ 332959 w 2358163"/>
                    <a:gd name="connsiteY256" fmla="*/ 334883 h 2457305"/>
                    <a:gd name="connsiteX257" fmla="*/ 335289 w 2358163"/>
                    <a:gd name="connsiteY257" fmla="*/ 332232 h 2457305"/>
                    <a:gd name="connsiteX258" fmla="*/ 333441 w 2358163"/>
                    <a:gd name="connsiteY258" fmla="*/ 329501 h 2457305"/>
                    <a:gd name="connsiteX259" fmla="*/ 313761 w 2358163"/>
                    <a:gd name="connsiteY259" fmla="*/ 338418 h 2457305"/>
                    <a:gd name="connsiteX260" fmla="*/ 334245 w 2358163"/>
                    <a:gd name="connsiteY260" fmla="*/ 318577 h 2457305"/>
                    <a:gd name="connsiteX261" fmla="*/ 340671 w 2358163"/>
                    <a:gd name="connsiteY261" fmla="*/ 313757 h 2457305"/>
                    <a:gd name="connsiteX262" fmla="*/ 338502 w 2358163"/>
                    <a:gd name="connsiteY262" fmla="*/ 316649 h 2457305"/>
                    <a:gd name="connsiteX263" fmla="*/ 382281 w 2358163"/>
                    <a:gd name="connsiteY263" fmla="*/ 286847 h 2457305"/>
                    <a:gd name="connsiteX264" fmla="*/ 378666 w 2358163"/>
                    <a:gd name="connsiteY264" fmla="*/ 288534 h 2457305"/>
                    <a:gd name="connsiteX265" fmla="*/ 398186 w 2358163"/>
                    <a:gd name="connsiteY265" fmla="*/ 274396 h 2457305"/>
                    <a:gd name="connsiteX266" fmla="*/ 373284 w 2358163"/>
                    <a:gd name="connsiteY266" fmla="*/ 280501 h 2457305"/>
                    <a:gd name="connsiteX267" fmla="*/ 373445 w 2358163"/>
                    <a:gd name="connsiteY267" fmla="*/ 280421 h 2457305"/>
                    <a:gd name="connsiteX268" fmla="*/ 344286 w 2358163"/>
                    <a:gd name="connsiteY268" fmla="*/ 300181 h 2457305"/>
                    <a:gd name="connsiteX269" fmla="*/ 363323 w 2358163"/>
                    <a:gd name="connsiteY269" fmla="*/ 284437 h 2457305"/>
                    <a:gd name="connsiteX270" fmla="*/ 362520 w 2358163"/>
                    <a:gd name="connsiteY270" fmla="*/ 285000 h 2457305"/>
                    <a:gd name="connsiteX271" fmla="*/ 343804 w 2358163"/>
                    <a:gd name="connsiteY271" fmla="*/ 299218 h 2457305"/>
                    <a:gd name="connsiteX272" fmla="*/ 368705 w 2358163"/>
                    <a:gd name="connsiteY272" fmla="*/ 279457 h 2457305"/>
                    <a:gd name="connsiteX273" fmla="*/ 424453 w 2358163"/>
                    <a:gd name="connsiteY273" fmla="*/ 240096 h 2457305"/>
                    <a:gd name="connsiteX274" fmla="*/ 423569 w 2358163"/>
                    <a:gd name="connsiteY274" fmla="*/ 240417 h 2457305"/>
                    <a:gd name="connsiteX275" fmla="*/ 427746 w 2358163"/>
                    <a:gd name="connsiteY275" fmla="*/ 234714 h 2457305"/>
                    <a:gd name="connsiteX276" fmla="*/ 414171 w 2358163"/>
                    <a:gd name="connsiteY276" fmla="*/ 241703 h 2457305"/>
                    <a:gd name="connsiteX277" fmla="*/ 411681 w 2358163"/>
                    <a:gd name="connsiteY277" fmla="*/ 240417 h 2457305"/>
                    <a:gd name="connsiteX278" fmla="*/ 419151 w 2358163"/>
                    <a:gd name="connsiteY278" fmla="*/ 231662 h 2457305"/>
                    <a:gd name="connsiteX279" fmla="*/ 417063 w 2358163"/>
                    <a:gd name="connsiteY279" fmla="*/ 232786 h 2457305"/>
                    <a:gd name="connsiteX280" fmla="*/ 405415 w 2358163"/>
                    <a:gd name="connsiteY280" fmla="*/ 239534 h 2457305"/>
                    <a:gd name="connsiteX281" fmla="*/ 410878 w 2358163"/>
                    <a:gd name="connsiteY281" fmla="*/ 235116 h 2457305"/>
                    <a:gd name="connsiteX282" fmla="*/ 385333 w 2358163"/>
                    <a:gd name="connsiteY282" fmla="*/ 251583 h 2457305"/>
                    <a:gd name="connsiteX283" fmla="*/ 640134 w 2358163"/>
                    <a:gd name="connsiteY283" fmla="*/ 101771 h 2457305"/>
                    <a:gd name="connsiteX284" fmla="*/ 342117 w 2358163"/>
                    <a:gd name="connsiteY284" fmla="*/ 490478 h 2457305"/>
                    <a:gd name="connsiteX285" fmla="*/ 957831 w 2358163"/>
                    <a:gd name="connsiteY285" fmla="*/ 45220 h 2457305"/>
                    <a:gd name="connsiteX286" fmla="*/ 957831 w 2358163"/>
                    <a:gd name="connsiteY286" fmla="*/ 45220 h 2457305"/>
                    <a:gd name="connsiteX287" fmla="*/ 957831 w 2358163"/>
                    <a:gd name="connsiteY287" fmla="*/ 45220 h 2457305"/>
                    <a:gd name="connsiteX288" fmla="*/ 957831 w 2358163"/>
                    <a:gd name="connsiteY288" fmla="*/ 45220 h 2457305"/>
                    <a:gd name="connsiteX289" fmla="*/ 959277 w 2358163"/>
                    <a:gd name="connsiteY289" fmla="*/ 44738 h 2457305"/>
                    <a:gd name="connsiteX290" fmla="*/ 961606 w 2358163"/>
                    <a:gd name="connsiteY290" fmla="*/ 44016 h 2457305"/>
                    <a:gd name="connsiteX291" fmla="*/ 960964 w 2358163"/>
                    <a:gd name="connsiteY291" fmla="*/ 44257 h 2457305"/>
                    <a:gd name="connsiteX292" fmla="*/ 959277 w 2358163"/>
                    <a:gd name="connsiteY292" fmla="*/ 44738 h 2457305"/>
                    <a:gd name="connsiteX293" fmla="*/ 959277 w 2358163"/>
                    <a:gd name="connsiteY293" fmla="*/ 44738 h 2457305"/>
                    <a:gd name="connsiteX294" fmla="*/ 1014542 w 2358163"/>
                    <a:gd name="connsiteY294" fmla="*/ 26102 h 2457305"/>
                    <a:gd name="connsiteX295" fmla="*/ 1051092 w 2358163"/>
                    <a:gd name="connsiteY295" fmla="*/ 22086 h 2457305"/>
                    <a:gd name="connsiteX296" fmla="*/ 1034142 w 2358163"/>
                    <a:gd name="connsiteY296" fmla="*/ 21604 h 2457305"/>
                    <a:gd name="connsiteX297" fmla="*/ 1025547 w 2358163"/>
                    <a:gd name="connsiteY297" fmla="*/ 21443 h 2457305"/>
                    <a:gd name="connsiteX298" fmla="*/ 1013096 w 2358163"/>
                    <a:gd name="connsiteY298" fmla="*/ 26022 h 2457305"/>
                    <a:gd name="connsiteX299" fmla="*/ 1014542 w 2358163"/>
                    <a:gd name="connsiteY299" fmla="*/ 26102 h 2457305"/>
                    <a:gd name="connsiteX300" fmla="*/ 1034223 w 2358163"/>
                    <a:gd name="connsiteY300" fmla="*/ 18150 h 2457305"/>
                    <a:gd name="connsiteX301" fmla="*/ 1040087 w 2358163"/>
                    <a:gd name="connsiteY301" fmla="*/ 19676 h 2457305"/>
                    <a:gd name="connsiteX302" fmla="*/ 1034223 w 2358163"/>
                    <a:gd name="connsiteY302" fmla="*/ 18150 h 2457305"/>
                    <a:gd name="connsiteX303" fmla="*/ 938873 w 2358163"/>
                    <a:gd name="connsiteY303" fmla="*/ 25540 h 2457305"/>
                    <a:gd name="connsiteX304" fmla="*/ 954377 w 2358163"/>
                    <a:gd name="connsiteY304" fmla="*/ 24817 h 2457305"/>
                    <a:gd name="connsiteX305" fmla="*/ 977913 w 2358163"/>
                    <a:gd name="connsiteY305" fmla="*/ 18551 h 2457305"/>
                    <a:gd name="connsiteX306" fmla="*/ 954939 w 2358163"/>
                    <a:gd name="connsiteY306" fmla="*/ 21925 h 2457305"/>
                    <a:gd name="connsiteX307" fmla="*/ 937187 w 2358163"/>
                    <a:gd name="connsiteY307" fmla="*/ 25299 h 2457305"/>
                    <a:gd name="connsiteX308" fmla="*/ 938873 w 2358163"/>
                    <a:gd name="connsiteY308" fmla="*/ 25540 h 2457305"/>
                    <a:gd name="connsiteX309" fmla="*/ 987392 w 2358163"/>
                    <a:gd name="connsiteY309" fmla="*/ 16383 h 2457305"/>
                    <a:gd name="connsiteX310" fmla="*/ 1007474 w 2358163"/>
                    <a:gd name="connsiteY310" fmla="*/ 12527 h 2457305"/>
                    <a:gd name="connsiteX311" fmla="*/ 1010847 w 2358163"/>
                    <a:gd name="connsiteY311" fmla="*/ 14375 h 2457305"/>
                    <a:gd name="connsiteX312" fmla="*/ 1007232 w 2358163"/>
                    <a:gd name="connsiteY312" fmla="*/ 16624 h 2457305"/>
                    <a:gd name="connsiteX313" fmla="*/ 1029965 w 2358163"/>
                    <a:gd name="connsiteY313" fmla="*/ 15017 h 2457305"/>
                    <a:gd name="connsiteX314" fmla="*/ 1059767 w 2358163"/>
                    <a:gd name="connsiteY314" fmla="*/ 9796 h 2457305"/>
                    <a:gd name="connsiteX315" fmla="*/ 1056795 w 2358163"/>
                    <a:gd name="connsiteY315" fmla="*/ 9474 h 2457305"/>
                    <a:gd name="connsiteX316" fmla="*/ 1056393 w 2358163"/>
                    <a:gd name="connsiteY316" fmla="*/ 9474 h 2457305"/>
                    <a:gd name="connsiteX317" fmla="*/ 1013257 w 2358163"/>
                    <a:gd name="connsiteY317" fmla="*/ 9956 h 2457305"/>
                    <a:gd name="connsiteX318" fmla="*/ 984178 w 2358163"/>
                    <a:gd name="connsiteY318" fmla="*/ 16302 h 2457305"/>
                    <a:gd name="connsiteX319" fmla="*/ 987392 w 2358163"/>
                    <a:gd name="connsiteY319" fmla="*/ 16383 h 2457305"/>
                    <a:gd name="connsiteX320" fmla="*/ 464697 w 2358163"/>
                    <a:gd name="connsiteY320" fmla="*/ 238811 h 2457305"/>
                    <a:gd name="connsiteX321" fmla="*/ 639893 w 2358163"/>
                    <a:gd name="connsiteY321" fmla="*/ 101852 h 2457305"/>
                    <a:gd name="connsiteX322" fmla="*/ 722390 w 2358163"/>
                    <a:gd name="connsiteY322" fmla="*/ 69399 h 2457305"/>
                    <a:gd name="connsiteX323" fmla="*/ 792998 w 2358163"/>
                    <a:gd name="connsiteY323" fmla="*/ 46907 h 2457305"/>
                    <a:gd name="connsiteX324" fmla="*/ 856698 w 2358163"/>
                    <a:gd name="connsiteY324" fmla="*/ 30601 h 2457305"/>
                    <a:gd name="connsiteX325" fmla="*/ 917105 w 2358163"/>
                    <a:gd name="connsiteY325" fmla="*/ 18391 h 2457305"/>
                    <a:gd name="connsiteX326" fmla="*/ 977109 w 2358163"/>
                    <a:gd name="connsiteY326" fmla="*/ 9394 h 2457305"/>
                    <a:gd name="connsiteX327" fmla="*/ 1039364 w 2358163"/>
                    <a:gd name="connsiteY327" fmla="*/ 3209 h 2457305"/>
                    <a:gd name="connsiteX328" fmla="*/ 1107080 w 2358163"/>
                    <a:gd name="connsiteY328" fmla="*/ 76 h 2457305"/>
                    <a:gd name="connsiteX329" fmla="*/ 1184516 w 2358163"/>
                    <a:gd name="connsiteY329" fmla="*/ 1040 h 2457305"/>
                    <a:gd name="connsiteX330" fmla="*/ 1233998 w 2358163"/>
                    <a:gd name="connsiteY330" fmla="*/ 4253 h 2457305"/>
                    <a:gd name="connsiteX331" fmla="*/ 1233115 w 2358163"/>
                    <a:gd name="connsiteY331" fmla="*/ 4173 h 2457305"/>
                    <a:gd name="connsiteX332" fmla="*/ 1238095 w 2358163"/>
                    <a:gd name="connsiteY332" fmla="*/ 4735 h 2457305"/>
                    <a:gd name="connsiteX333" fmla="*/ 1233276 w 2358163"/>
                    <a:gd name="connsiteY333" fmla="*/ 4334 h 2457305"/>
                    <a:gd name="connsiteX334" fmla="*/ 1238095 w 2358163"/>
                    <a:gd name="connsiteY334" fmla="*/ 4976 h 2457305"/>
                    <a:gd name="connsiteX335" fmla="*/ 1235203 w 2358163"/>
                    <a:gd name="connsiteY335" fmla="*/ 4735 h 2457305"/>
                    <a:gd name="connsiteX336" fmla="*/ 1383569 w 2358163"/>
                    <a:gd name="connsiteY336" fmla="*/ 29074 h 2457305"/>
                    <a:gd name="connsiteX337" fmla="*/ 1303402 w 2358163"/>
                    <a:gd name="connsiteY337" fmla="*/ 14937 h 2457305"/>
                    <a:gd name="connsiteX338" fmla="*/ 1293682 w 2358163"/>
                    <a:gd name="connsiteY338" fmla="*/ 14615 h 2457305"/>
                    <a:gd name="connsiteX339" fmla="*/ 1304526 w 2358163"/>
                    <a:gd name="connsiteY339" fmla="*/ 18551 h 2457305"/>
                    <a:gd name="connsiteX340" fmla="*/ 1162265 w 2358163"/>
                    <a:gd name="connsiteY340" fmla="*/ 16061 h 2457305"/>
                    <a:gd name="connsiteX341" fmla="*/ 1173913 w 2358163"/>
                    <a:gd name="connsiteY341" fmla="*/ 20479 h 2457305"/>
                    <a:gd name="connsiteX342" fmla="*/ 1169495 w 2358163"/>
                    <a:gd name="connsiteY342" fmla="*/ 22809 h 2457305"/>
                    <a:gd name="connsiteX343" fmla="*/ 1179375 w 2358163"/>
                    <a:gd name="connsiteY343" fmla="*/ 21443 h 2457305"/>
                    <a:gd name="connsiteX344" fmla="*/ 1178974 w 2358163"/>
                    <a:gd name="connsiteY344" fmla="*/ 26183 h 2457305"/>
                    <a:gd name="connsiteX345" fmla="*/ 1174395 w 2358163"/>
                    <a:gd name="connsiteY345" fmla="*/ 25058 h 2457305"/>
                    <a:gd name="connsiteX346" fmla="*/ 1177929 w 2358163"/>
                    <a:gd name="connsiteY346" fmla="*/ 28030 h 2457305"/>
                    <a:gd name="connsiteX347" fmla="*/ 1119933 w 2358163"/>
                    <a:gd name="connsiteY347" fmla="*/ 30681 h 2457305"/>
                    <a:gd name="connsiteX348" fmla="*/ 1064828 w 2358163"/>
                    <a:gd name="connsiteY348" fmla="*/ 36224 h 2457305"/>
                    <a:gd name="connsiteX349" fmla="*/ 1062016 w 2358163"/>
                    <a:gd name="connsiteY349" fmla="*/ 31806 h 2457305"/>
                    <a:gd name="connsiteX350" fmla="*/ 1056634 w 2358163"/>
                    <a:gd name="connsiteY350" fmla="*/ 31404 h 2457305"/>
                    <a:gd name="connsiteX351" fmla="*/ 1066113 w 2358163"/>
                    <a:gd name="connsiteY351" fmla="*/ 30520 h 2457305"/>
                    <a:gd name="connsiteX352" fmla="*/ 989801 w 2358163"/>
                    <a:gd name="connsiteY352" fmla="*/ 37830 h 2457305"/>
                    <a:gd name="connsiteX353" fmla="*/ 1010526 w 2358163"/>
                    <a:gd name="connsiteY353" fmla="*/ 35581 h 2457305"/>
                    <a:gd name="connsiteX354" fmla="*/ 985785 w 2358163"/>
                    <a:gd name="connsiteY354" fmla="*/ 38955 h 2457305"/>
                    <a:gd name="connsiteX355" fmla="*/ 990605 w 2358163"/>
                    <a:gd name="connsiteY355" fmla="*/ 40561 h 2457305"/>
                    <a:gd name="connsiteX356" fmla="*/ 822880 w 2358163"/>
                    <a:gd name="connsiteY356" fmla="*/ 103056 h 2457305"/>
                    <a:gd name="connsiteX357" fmla="*/ 573702 w 2358163"/>
                    <a:gd name="connsiteY357" fmla="*/ 176557 h 2457305"/>
                    <a:gd name="connsiteX358" fmla="*/ 577397 w 2358163"/>
                    <a:gd name="connsiteY358" fmla="*/ 172942 h 2457305"/>
                    <a:gd name="connsiteX359" fmla="*/ 516429 w 2358163"/>
                    <a:gd name="connsiteY359" fmla="*/ 214793 h 2457305"/>
                    <a:gd name="connsiteX360" fmla="*/ 518517 w 2358163"/>
                    <a:gd name="connsiteY360" fmla="*/ 210053 h 2457305"/>
                    <a:gd name="connsiteX361" fmla="*/ 466304 w 2358163"/>
                    <a:gd name="connsiteY361" fmla="*/ 237847 h 2457305"/>
                    <a:gd name="connsiteX362" fmla="*/ 464697 w 2358163"/>
                    <a:gd name="connsiteY362" fmla="*/ 238811 h 2457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</a:cxnLst>
                  <a:rect l="l" t="t" r="r" b="b"/>
                  <a:pathLst>
                    <a:path w="2358163" h="2457305">
                      <a:moveTo>
                        <a:pt x="1169093" y="2453213"/>
                      </a:moveTo>
                      <a:cubicBezTo>
                        <a:pt x="1169254" y="2452891"/>
                        <a:pt x="1169254" y="2452891"/>
                        <a:pt x="1170539" y="2452650"/>
                      </a:cubicBezTo>
                      <a:cubicBezTo>
                        <a:pt x="1170620" y="2452650"/>
                        <a:pt x="1181946" y="2450321"/>
                        <a:pt x="1184195" y="2448553"/>
                      </a:cubicBezTo>
                      <a:cubicBezTo>
                        <a:pt x="1183552" y="2447831"/>
                        <a:pt x="1180500" y="2448232"/>
                        <a:pt x="1167406" y="2449839"/>
                      </a:cubicBezTo>
                      <a:cubicBezTo>
                        <a:pt x="1162667" y="2450401"/>
                        <a:pt x="1162667" y="2450401"/>
                        <a:pt x="1161462" y="2450000"/>
                      </a:cubicBezTo>
                      <a:cubicBezTo>
                        <a:pt x="1161462" y="2449919"/>
                        <a:pt x="1161543" y="2449759"/>
                        <a:pt x="1161543" y="2449678"/>
                      </a:cubicBezTo>
                      <a:cubicBezTo>
                        <a:pt x="1162185" y="2449357"/>
                        <a:pt x="1162426" y="2449277"/>
                        <a:pt x="1163952" y="2448875"/>
                      </a:cubicBezTo>
                      <a:cubicBezTo>
                        <a:pt x="1138810" y="2451204"/>
                        <a:pt x="1138810" y="2451204"/>
                        <a:pt x="1134552" y="2452008"/>
                      </a:cubicBezTo>
                      <a:cubicBezTo>
                        <a:pt x="1144995" y="2451285"/>
                        <a:pt x="1148369" y="2451446"/>
                        <a:pt x="1153269" y="2452168"/>
                      </a:cubicBezTo>
                      <a:cubicBezTo>
                        <a:pt x="1156000" y="2452570"/>
                        <a:pt x="1158089" y="2452811"/>
                        <a:pt x="1161623" y="2452811"/>
                      </a:cubicBezTo>
                      <a:cubicBezTo>
                        <a:pt x="1158008" y="2453454"/>
                        <a:pt x="1154313" y="2453855"/>
                        <a:pt x="1150698" y="2454739"/>
                      </a:cubicBezTo>
                      <a:cubicBezTo>
                        <a:pt x="1151662" y="2455060"/>
                        <a:pt x="1158972" y="2454498"/>
                        <a:pt x="1169334" y="2453293"/>
                      </a:cubicBezTo>
                      <a:cubicBezTo>
                        <a:pt x="1169334" y="2453213"/>
                        <a:pt x="1169174" y="2453213"/>
                        <a:pt x="1169093" y="2453213"/>
                      </a:cubicBezTo>
                      <a:moveTo>
                        <a:pt x="1106598" y="2454096"/>
                      </a:moveTo>
                      <a:cubicBezTo>
                        <a:pt x="1106277" y="2454096"/>
                        <a:pt x="1105956" y="2454096"/>
                        <a:pt x="1105634" y="2454096"/>
                      </a:cubicBezTo>
                      <a:cubicBezTo>
                        <a:pt x="1106036" y="2454176"/>
                        <a:pt x="1106357" y="2454176"/>
                        <a:pt x="1106598" y="2454096"/>
                      </a:cubicBezTo>
                      <a:cubicBezTo>
                        <a:pt x="1106679" y="2454096"/>
                        <a:pt x="1106679" y="2454096"/>
                        <a:pt x="1106598" y="2454096"/>
                      </a:cubicBezTo>
                      <a:moveTo>
                        <a:pt x="1097762" y="2455221"/>
                      </a:moveTo>
                      <a:cubicBezTo>
                        <a:pt x="1101216" y="2454980"/>
                        <a:pt x="1101618" y="2454819"/>
                        <a:pt x="1101779" y="2454739"/>
                      </a:cubicBezTo>
                      <a:cubicBezTo>
                        <a:pt x="1101698" y="2454578"/>
                        <a:pt x="1101618" y="2454578"/>
                        <a:pt x="1100252" y="2454498"/>
                      </a:cubicBezTo>
                      <a:cubicBezTo>
                        <a:pt x="1095674" y="2454176"/>
                        <a:pt x="1091015" y="2454819"/>
                        <a:pt x="1091015" y="2454819"/>
                      </a:cubicBezTo>
                      <a:cubicBezTo>
                        <a:pt x="1091015" y="2454819"/>
                        <a:pt x="1091015" y="2454900"/>
                        <a:pt x="1091015" y="2454900"/>
                      </a:cubicBezTo>
                      <a:cubicBezTo>
                        <a:pt x="1091256" y="2454900"/>
                        <a:pt x="1095513" y="2455382"/>
                        <a:pt x="1097762" y="2455221"/>
                      </a:cubicBezTo>
                      <a:moveTo>
                        <a:pt x="1066675" y="2455703"/>
                      </a:moveTo>
                      <a:cubicBezTo>
                        <a:pt x="1068924" y="2455783"/>
                        <a:pt x="1070129" y="2455703"/>
                        <a:pt x="1071093" y="2455622"/>
                      </a:cubicBezTo>
                      <a:cubicBezTo>
                        <a:pt x="1071575" y="2455622"/>
                        <a:pt x="1082500" y="2454498"/>
                        <a:pt x="1082500" y="2454498"/>
                      </a:cubicBezTo>
                      <a:cubicBezTo>
                        <a:pt x="1082339" y="2454096"/>
                        <a:pt x="1081215" y="2453855"/>
                        <a:pt x="1080090" y="2453775"/>
                      </a:cubicBezTo>
                      <a:cubicBezTo>
                        <a:pt x="1075913" y="2453454"/>
                        <a:pt x="1070129" y="2454739"/>
                        <a:pt x="1065952" y="2455783"/>
                      </a:cubicBezTo>
                      <a:cubicBezTo>
                        <a:pt x="1066274" y="2455703"/>
                        <a:pt x="1066515" y="2455703"/>
                        <a:pt x="1066675" y="2455703"/>
                      </a:cubicBezTo>
                      <a:moveTo>
                        <a:pt x="1317058" y="2377303"/>
                      </a:moveTo>
                      <a:lnTo>
                        <a:pt x="1309908" y="2376339"/>
                      </a:lnTo>
                      <a:cubicBezTo>
                        <a:pt x="1279544" y="2371519"/>
                        <a:pt x="1257936" y="2366137"/>
                        <a:pt x="1230544" y="2351598"/>
                      </a:cubicBezTo>
                      <a:cubicBezTo>
                        <a:pt x="1259302" y="2362201"/>
                        <a:pt x="1288139" y="2370796"/>
                        <a:pt x="1317058" y="2377303"/>
                      </a:cubicBezTo>
                      <a:moveTo>
                        <a:pt x="740383" y="2393850"/>
                      </a:moveTo>
                      <a:cubicBezTo>
                        <a:pt x="709055" y="2382363"/>
                        <a:pt x="667285" y="2366699"/>
                        <a:pt x="636519" y="2353847"/>
                      </a:cubicBezTo>
                      <a:cubicBezTo>
                        <a:pt x="546873" y="2310872"/>
                        <a:pt x="528156" y="2301875"/>
                        <a:pt x="448150" y="2250706"/>
                      </a:cubicBezTo>
                      <a:cubicBezTo>
                        <a:pt x="356335" y="2184596"/>
                        <a:pt x="346776" y="2177688"/>
                        <a:pt x="286128" y="2121779"/>
                      </a:cubicBezTo>
                      <a:cubicBezTo>
                        <a:pt x="263476" y="2098725"/>
                        <a:pt x="232630" y="2068442"/>
                        <a:pt x="211022" y="2044423"/>
                      </a:cubicBezTo>
                      <a:cubicBezTo>
                        <a:pt x="115110" y="1937186"/>
                        <a:pt x="225641" y="1787053"/>
                        <a:pt x="531450" y="1653949"/>
                      </a:cubicBezTo>
                      <a:cubicBezTo>
                        <a:pt x="706806" y="1987631"/>
                        <a:pt x="963454" y="2252553"/>
                        <a:pt x="1228295" y="2350875"/>
                      </a:cubicBezTo>
                      <a:lnTo>
                        <a:pt x="1228456" y="2351598"/>
                      </a:lnTo>
                      <a:cubicBezTo>
                        <a:pt x="1228616" y="2351758"/>
                        <a:pt x="1245003" y="2365334"/>
                        <a:pt x="1264603" y="2369511"/>
                      </a:cubicBezTo>
                      <a:cubicBezTo>
                        <a:pt x="1262836" y="2369350"/>
                        <a:pt x="1260587" y="2369189"/>
                        <a:pt x="1258820" y="2369029"/>
                      </a:cubicBezTo>
                      <a:cubicBezTo>
                        <a:pt x="1260667" y="2369913"/>
                        <a:pt x="1263157" y="2371037"/>
                        <a:pt x="1265005" y="2371921"/>
                      </a:cubicBezTo>
                      <a:cubicBezTo>
                        <a:pt x="1145477" y="2364370"/>
                        <a:pt x="1110936" y="2348143"/>
                        <a:pt x="1110615" y="2347983"/>
                      </a:cubicBezTo>
                      <a:cubicBezTo>
                        <a:pt x="1096156" y="2340914"/>
                        <a:pt x="1081215" y="2333604"/>
                        <a:pt x="1046754" y="2347260"/>
                      </a:cubicBezTo>
                      <a:cubicBezTo>
                        <a:pt x="1026431" y="2338023"/>
                        <a:pt x="1002814" y="2341557"/>
                        <a:pt x="982893" y="2330873"/>
                      </a:cubicBezTo>
                      <a:cubicBezTo>
                        <a:pt x="957670" y="2317378"/>
                        <a:pt x="939195" y="2293762"/>
                        <a:pt x="911642" y="2283721"/>
                      </a:cubicBezTo>
                      <a:cubicBezTo>
                        <a:pt x="913088" y="2281231"/>
                        <a:pt x="915096" y="2277856"/>
                        <a:pt x="916542" y="2275286"/>
                      </a:cubicBezTo>
                      <a:cubicBezTo>
                        <a:pt x="910518" y="2263799"/>
                        <a:pt x="908750" y="2260345"/>
                        <a:pt x="873085" y="2247654"/>
                      </a:cubicBezTo>
                      <a:cubicBezTo>
                        <a:pt x="863606" y="2308863"/>
                        <a:pt x="817980" y="2278419"/>
                        <a:pt x="817578" y="2277937"/>
                      </a:cubicBezTo>
                      <a:cubicBezTo>
                        <a:pt x="813240" y="2272957"/>
                        <a:pt x="809706" y="2262996"/>
                        <a:pt x="808260" y="2258819"/>
                      </a:cubicBezTo>
                      <a:cubicBezTo>
                        <a:pt x="804003" y="2258738"/>
                        <a:pt x="798299" y="2259381"/>
                        <a:pt x="794203" y="2260425"/>
                      </a:cubicBezTo>
                      <a:cubicBezTo>
                        <a:pt x="793560" y="2262193"/>
                        <a:pt x="792596" y="2264522"/>
                        <a:pt x="791954" y="2266209"/>
                      </a:cubicBezTo>
                      <a:cubicBezTo>
                        <a:pt x="793078" y="2268378"/>
                        <a:pt x="794604" y="2271270"/>
                        <a:pt x="795729" y="2273439"/>
                      </a:cubicBezTo>
                      <a:cubicBezTo>
                        <a:pt x="754762" y="2253758"/>
                        <a:pt x="754440" y="2267896"/>
                        <a:pt x="754199" y="2276411"/>
                      </a:cubicBezTo>
                      <a:cubicBezTo>
                        <a:pt x="751950" y="2274965"/>
                        <a:pt x="748898" y="2273037"/>
                        <a:pt x="746649" y="2271591"/>
                      </a:cubicBezTo>
                      <a:cubicBezTo>
                        <a:pt x="708975" y="2279222"/>
                        <a:pt x="702709" y="2325331"/>
                        <a:pt x="667606" y="2336094"/>
                      </a:cubicBezTo>
                      <a:cubicBezTo>
                        <a:pt x="680057" y="2343324"/>
                        <a:pt x="680057" y="2343324"/>
                        <a:pt x="710421" y="2351437"/>
                      </a:cubicBezTo>
                      <a:cubicBezTo>
                        <a:pt x="701263" y="2355052"/>
                        <a:pt x="701263" y="2355052"/>
                        <a:pt x="684234" y="2349027"/>
                      </a:cubicBezTo>
                      <a:cubicBezTo>
                        <a:pt x="707127" y="2362603"/>
                        <a:pt x="733394" y="2369511"/>
                        <a:pt x="754922" y="2385817"/>
                      </a:cubicBezTo>
                      <a:cubicBezTo>
                        <a:pt x="745363" y="2388067"/>
                        <a:pt x="742231" y="2388789"/>
                        <a:pt x="697247" y="2369832"/>
                      </a:cubicBezTo>
                      <a:cubicBezTo>
                        <a:pt x="700460" y="2372724"/>
                        <a:pt x="704958" y="2376258"/>
                        <a:pt x="708573" y="2378588"/>
                      </a:cubicBezTo>
                      <a:cubicBezTo>
                        <a:pt x="693150" y="2371680"/>
                        <a:pt x="678048" y="2363968"/>
                        <a:pt x="662465" y="2357301"/>
                      </a:cubicBezTo>
                      <a:cubicBezTo>
                        <a:pt x="681342" y="2368386"/>
                        <a:pt x="710180" y="2383889"/>
                        <a:pt x="740383" y="2393850"/>
                      </a:cubicBezTo>
                      <a:moveTo>
                        <a:pt x="1202751" y="2452891"/>
                      </a:moveTo>
                      <a:cubicBezTo>
                        <a:pt x="1193192" y="2455140"/>
                        <a:pt x="1183633" y="2456346"/>
                        <a:pt x="1174074" y="2456667"/>
                      </a:cubicBezTo>
                      <a:lnTo>
                        <a:pt x="1152948" y="2457229"/>
                      </a:lnTo>
                      <a:cubicBezTo>
                        <a:pt x="1104028" y="2457390"/>
                        <a:pt x="1102100" y="2457390"/>
                        <a:pt x="1075511" y="2456265"/>
                      </a:cubicBezTo>
                      <a:cubicBezTo>
                        <a:pt x="1018318" y="2452650"/>
                        <a:pt x="1014864" y="2452490"/>
                        <a:pt x="981608" y="2448474"/>
                      </a:cubicBezTo>
                      <a:lnTo>
                        <a:pt x="950119" y="2444216"/>
                      </a:lnTo>
                      <a:lnTo>
                        <a:pt x="948834" y="2444055"/>
                      </a:lnTo>
                      <a:cubicBezTo>
                        <a:pt x="946986" y="2443814"/>
                        <a:pt x="945139" y="2443493"/>
                        <a:pt x="943291" y="2443252"/>
                      </a:cubicBezTo>
                      <a:cubicBezTo>
                        <a:pt x="982492" y="2449116"/>
                        <a:pt x="1004662" y="2451044"/>
                        <a:pt x="1006831" y="2451044"/>
                      </a:cubicBezTo>
                      <a:cubicBezTo>
                        <a:pt x="991649" y="2445099"/>
                        <a:pt x="975262" y="2445983"/>
                        <a:pt x="959518" y="2443332"/>
                      </a:cubicBezTo>
                      <a:cubicBezTo>
                        <a:pt x="974539" y="2445180"/>
                        <a:pt x="991649" y="2447268"/>
                        <a:pt x="1009160" y="2448393"/>
                      </a:cubicBezTo>
                      <a:cubicBezTo>
                        <a:pt x="990444" y="2445341"/>
                        <a:pt x="971487" y="2443814"/>
                        <a:pt x="952770" y="2441083"/>
                      </a:cubicBezTo>
                      <a:cubicBezTo>
                        <a:pt x="1010606" y="2446144"/>
                        <a:pt x="1119852" y="2452811"/>
                        <a:pt x="1201867" y="2440681"/>
                      </a:cubicBezTo>
                      <a:cubicBezTo>
                        <a:pt x="1201064" y="2439959"/>
                        <a:pt x="1199538" y="2439396"/>
                        <a:pt x="1198493" y="2439396"/>
                      </a:cubicBezTo>
                      <a:cubicBezTo>
                        <a:pt x="1198654" y="2438914"/>
                        <a:pt x="1198895" y="2438191"/>
                        <a:pt x="1199136" y="2437709"/>
                      </a:cubicBezTo>
                      <a:cubicBezTo>
                        <a:pt x="1202349" y="2437067"/>
                        <a:pt x="1205723" y="2436906"/>
                        <a:pt x="1208936" y="2436103"/>
                      </a:cubicBezTo>
                      <a:cubicBezTo>
                        <a:pt x="1208374" y="2436022"/>
                        <a:pt x="1207651" y="2435862"/>
                        <a:pt x="1207169" y="2435782"/>
                      </a:cubicBezTo>
                      <a:cubicBezTo>
                        <a:pt x="1210944" y="2430882"/>
                        <a:pt x="1229018" y="2425821"/>
                        <a:pt x="1233356" y="2430882"/>
                      </a:cubicBezTo>
                      <a:cubicBezTo>
                        <a:pt x="1237292" y="2426303"/>
                        <a:pt x="1242031" y="2423973"/>
                        <a:pt x="1264925" y="2413049"/>
                      </a:cubicBezTo>
                      <a:cubicBezTo>
                        <a:pt x="1264202" y="2413611"/>
                        <a:pt x="1263157" y="2414334"/>
                        <a:pt x="1262434" y="2414896"/>
                      </a:cubicBezTo>
                      <a:cubicBezTo>
                        <a:pt x="1277697" y="2405177"/>
                        <a:pt x="1283802" y="2401963"/>
                        <a:pt x="1288220" y="2400116"/>
                      </a:cubicBezTo>
                      <a:cubicBezTo>
                        <a:pt x="1259623" y="2421403"/>
                        <a:pt x="1254562" y="2425660"/>
                        <a:pt x="1255044" y="2431203"/>
                      </a:cubicBezTo>
                      <a:cubicBezTo>
                        <a:pt x="1241630" y="2439476"/>
                        <a:pt x="1228054" y="2445662"/>
                        <a:pt x="1214479" y="2449919"/>
                      </a:cubicBezTo>
                      <a:cubicBezTo>
                        <a:pt x="1209257" y="2451044"/>
                        <a:pt x="1204116" y="2452249"/>
                        <a:pt x="1198895" y="2453454"/>
                      </a:cubicBezTo>
                      <a:cubicBezTo>
                        <a:pt x="1200100" y="2453293"/>
                        <a:pt x="1201626" y="2453132"/>
                        <a:pt x="1202831" y="2453052"/>
                      </a:cubicBezTo>
                      <a:cubicBezTo>
                        <a:pt x="1202670" y="2452891"/>
                        <a:pt x="1202751" y="2452891"/>
                        <a:pt x="1202751" y="2452891"/>
                      </a:cubicBezTo>
                      <a:moveTo>
                        <a:pt x="1317058" y="2377303"/>
                      </a:moveTo>
                      <a:cubicBezTo>
                        <a:pt x="1021611" y="2310711"/>
                        <a:pt x="726326" y="2024743"/>
                        <a:pt x="531370" y="1653869"/>
                      </a:cubicBezTo>
                      <a:cubicBezTo>
                        <a:pt x="964900" y="1465178"/>
                        <a:pt x="1626722" y="1382119"/>
                        <a:pt x="2009645" y="1468472"/>
                      </a:cubicBezTo>
                      <a:cubicBezTo>
                        <a:pt x="2136242" y="1496988"/>
                        <a:pt x="2216490" y="1540446"/>
                        <a:pt x="2251513" y="1592739"/>
                      </a:cubicBezTo>
                      <a:cubicBezTo>
                        <a:pt x="2202111" y="1717569"/>
                        <a:pt x="2132146" y="1834526"/>
                        <a:pt x="2045150" y="1938712"/>
                      </a:cubicBezTo>
                      <a:cubicBezTo>
                        <a:pt x="2035832" y="1947066"/>
                        <a:pt x="2033583" y="1949074"/>
                        <a:pt x="2023381" y="1964095"/>
                      </a:cubicBezTo>
                      <a:cubicBezTo>
                        <a:pt x="2001211" y="1989318"/>
                        <a:pt x="1977996" y="2013738"/>
                        <a:pt x="1953737" y="2037274"/>
                      </a:cubicBezTo>
                      <a:cubicBezTo>
                        <a:pt x="2145962" y="1770666"/>
                        <a:pt x="1736450" y="1766649"/>
                        <a:pt x="1732192" y="1766729"/>
                      </a:cubicBezTo>
                      <a:cubicBezTo>
                        <a:pt x="1718376" y="1766971"/>
                        <a:pt x="1713637" y="1774682"/>
                        <a:pt x="1712110" y="1799745"/>
                      </a:cubicBezTo>
                      <a:cubicBezTo>
                        <a:pt x="1681265" y="1788579"/>
                        <a:pt x="1664235" y="1784000"/>
                        <a:pt x="1638450" y="1784562"/>
                      </a:cubicBezTo>
                      <a:cubicBezTo>
                        <a:pt x="1643350" y="1786972"/>
                        <a:pt x="1649696" y="1790587"/>
                        <a:pt x="1654194" y="1793720"/>
                      </a:cubicBezTo>
                      <a:cubicBezTo>
                        <a:pt x="1533943" y="1770666"/>
                        <a:pt x="1444056" y="1768497"/>
                        <a:pt x="1443735" y="1768577"/>
                      </a:cubicBezTo>
                      <a:lnTo>
                        <a:pt x="1325572" y="1804644"/>
                      </a:lnTo>
                      <a:lnTo>
                        <a:pt x="1182267" y="1867782"/>
                      </a:lnTo>
                      <a:cubicBezTo>
                        <a:pt x="1114711" y="1904331"/>
                        <a:pt x="1111739" y="1931482"/>
                        <a:pt x="1109811" y="1949396"/>
                      </a:cubicBezTo>
                      <a:cubicBezTo>
                        <a:pt x="1065149" y="1923369"/>
                        <a:pt x="1024664" y="1979197"/>
                        <a:pt x="1023700" y="1997994"/>
                      </a:cubicBezTo>
                      <a:cubicBezTo>
                        <a:pt x="1028519" y="2002171"/>
                        <a:pt x="1034785" y="2007874"/>
                        <a:pt x="1039123" y="2012453"/>
                      </a:cubicBezTo>
                      <a:cubicBezTo>
                        <a:pt x="1041613" y="2011650"/>
                        <a:pt x="1044906" y="2010525"/>
                        <a:pt x="1047396" y="2009722"/>
                      </a:cubicBezTo>
                      <a:cubicBezTo>
                        <a:pt x="1046995" y="2012614"/>
                        <a:pt x="1046513" y="2016389"/>
                        <a:pt x="1046111" y="2019281"/>
                      </a:cubicBezTo>
                      <a:cubicBezTo>
                        <a:pt x="1048521" y="2021369"/>
                        <a:pt x="1051654" y="2024101"/>
                        <a:pt x="1054064" y="2026189"/>
                      </a:cubicBezTo>
                      <a:cubicBezTo>
                        <a:pt x="1066675" y="2025064"/>
                        <a:pt x="1066675" y="2025064"/>
                        <a:pt x="1082741" y="2013578"/>
                      </a:cubicBezTo>
                      <a:cubicBezTo>
                        <a:pt x="1081295" y="2016389"/>
                        <a:pt x="1079287" y="2020165"/>
                        <a:pt x="1077841" y="2022976"/>
                      </a:cubicBezTo>
                      <a:cubicBezTo>
                        <a:pt x="1080010" y="2025627"/>
                        <a:pt x="1082902" y="2029081"/>
                        <a:pt x="1085070" y="2031732"/>
                      </a:cubicBezTo>
                      <a:cubicBezTo>
                        <a:pt x="1088846" y="2031491"/>
                        <a:pt x="1093987" y="2031089"/>
                        <a:pt x="1097762" y="2030848"/>
                      </a:cubicBezTo>
                      <a:cubicBezTo>
                        <a:pt x="1112784" y="2046994"/>
                        <a:pt x="1162989" y="2071173"/>
                        <a:pt x="1163390" y="2071253"/>
                      </a:cubicBezTo>
                      <a:cubicBezTo>
                        <a:pt x="1174716" y="2103866"/>
                        <a:pt x="1170379" y="2139693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4034" y="2171904"/>
                        <a:pt x="1184034" y="2171904"/>
                        <a:pt x="1184034" y="2171904"/>
                      </a:cubicBezTo>
                      <a:cubicBezTo>
                        <a:pt x="1181384" y="2172225"/>
                        <a:pt x="1177849" y="2172547"/>
                        <a:pt x="1175198" y="2172868"/>
                      </a:cubicBezTo>
                      <a:cubicBezTo>
                        <a:pt x="1173511" y="2178009"/>
                        <a:pt x="1170700" y="2184676"/>
                        <a:pt x="1168210" y="2189496"/>
                      </a:cubicBezTo>
                      <a:cubicBezTo>
                        <a:pt x="1197208" y="2186042"/>
                        <a:pt x="1197208" y="2186042"/>
                        <a:pt x="1248618" y="2238174"/>
                      </a:cubicBezTo>
                      <a:cubicBezTo>
                        <a:pt x="1247252" y="2240745"/>
                        <a:pt x="1245405" y="2244119"/>
                        <a:pt x="1244120" y="2246689"/>
                      </a:cubicBezTo>
                      <a:cubicBezTo>
                        <a:pt x="1244521" y="2247252"/>
                        <a:pt x="1276331" y="2323563"/>
                        <a:pt x="1272475" y="2333042"/>
                      </a:cubicBezTo>
                      <a:cubicBezTo>
                        <a:pt x="1274725" y="2336416"/>
                        <a:pt x="1296976" y="2367262"/>
                        <a:pt x="1317058" y="2377303"/>
                      </a:cubicBezTo>
                      <a:moveTo>
                        <a:pt x="2251513" y="1592739"/>
                      </a:moveTo>
                      <a:cubicBezTo>
                        <a:pt x="2327664" y="1400193"/>
                        <a:pt x="2354975" y="1188770"/>
                        <a:pt x="2320434" y="976623"/>
                      </a:cubicBezTo>
                      <a:cubicBezTo>
                        <a:pt x="2304047" y="875892"/>
                        <a:pt x="2274647" y="781025"/>
                        <a:pt x="2234242" y="693226"/>
                      </a:cubicBezTo>
                      <a:cubicBezTo>
                        <a:pt x="2233519" y="691620"/>
                        <a:pt x="2232556" y="689451"/>
                        <a:pt x="2231833" y="687844"/>
                      </a:cubicBezTo>
                      <a:cubicBezTo>
                        <a:pt x="2232636" y="689290"/>
                        <a:pt x="2233760" y="691138"/>
                        <a:pt x="2234644" y="692584"/>
                      </a:cubicBezTo>
                      <a:cubicBezTo>
                        <a:pt x="2234564" y="692262"/>
                        <a:pt x="2234403" y="691861"/>
                        <a:pt x="2234323" y="691620"/>
                      </a:cubicBezTo>
                      <a:lnTo>
                        <a:pt x="2234162" y="691138"/>
                      </a:lnTo>
                      <a:lnTo>
                        <a:pt x="2234483" y="691539"/>
                      </a:lnTo>
                      <a:cubicBezTo>
                        <a:pt x="2233921" y="690013"/>
                        <a:pt x="2233198" y="687925"/>
                        <a:pt x="2232636" y="686399"/>
                      </a:cubicBezTo>
                      <a:cubicBezTo>
                        <a:pt x="2251111" y="728008"/>
                        <a:pt x="2275210" y="783676"/>
                        <a:pt x="2291034" y="826330"/>
                      </a:cubicBezTo>
                      <a:cubicBezTo>
                        <a:pt x="2327583" y="948027"/>
                        <a:pt x="2329833" y="955256"/>
                        <a:pt x="2342525" y="1030925"/>
                      </a:cubicBezTo>
                      <a:cubicBezTo>
                        <a:pt x="2352806" y="1115189"/>
                        <a:pt x="2364454" y="1210780"/>
                        <a:pt x="2354172" y="1335288"/>
                      </a:cubicBezTo>
                      <a:cubicBezTo>
                        <a:pt x="2338428" y="1460278"/>
                        <a:pt x="2337785" y="1465098"/>
                        <a:pt x="2319390" y="1537554"/>
                      </a:cubicBezTo>
                      <a:cubicBezTo>
                        <a:pt x="2303565" y="1589928"/>
                        <a:pt x="2280110" y="1659010"/>
                        <a:pt x="2260510" y="1710098"/>
                      </a:cubicBezTo>
                      <a:cubicBezTo>
                        <a:pt x="2278343" y="1668248"/>
                        <a:pt x="2275531" y="1628405"/>
                        <a:pt x="2251513" y="1592739"/>
                      </a:cubicBezTo>
                      <a:moveTo>
                        <a:pt x="1199377" y="207483"/>
                      </a:moveTo>
                      <a:cubicBezTo>
                        <a:pt x="1199377" y="207804"/>
                        <a:pt x="1199216" y="208206"/>
                        <a:pt x="1199216" y="208527"/>
                      </a:cubicBezTo>
                      <a:cubicBezTo>
                        <a:pt x="1199136" y="207804"/>
                        <a:pt x="1198975" y="206840"/>
                        <a:pt x="1198895" y="206117"/>
                      </a:cubicBezTo>
                      <a:cubicBezTo>
                        <a:pt x="1198975" y="206278"/>
                        <a:pt x="1199136" y="206439"/>
                        <a:pt x="1199216" y="206599"/>
                      </a:cubicBezTo>
                      <a:cubicBezTo>
                        <a:pt x="1199216" y="206840"/>
                        <a:pt x="1199377" y="207242"/>
                        <a:pt x="1199377" y="207483"/>
                      </a:cubicBezTo>
                      <a:moveTo>
                        <a:pt x="342117" y="490478"/>
                      </a:moveTo>
                      <a:cubicBezTo>
                        <a:pt x="368946" y="392800"/>
                        <a:pt x="409512" y="309098"/>
                        <a:pt x="461886" y="242426"/>
                      </a:cubicBezTo>
                      <a:lnTo>
                        <a:pt x="462047" y="242506"/>
                      </a:lnTo>
                      <a:cubicBezTo>
                        <a:pt x="468071" y="242827"/>
                        <a:pt x="469758" y="242908"/>
                        <a:pt x="486707" y="234313"/>
                      </a:cubicBezTo>
                      <a:cubicBezTo>
                        <a:pt x="484860" y="235758"/>
                        <a:pt x="482289" y="237606"/>
                        <a:pt x="480361" y="238811"/>
                      </a:cubicBezTo>
                      <a:cubicBezTo>
                        <a:pt x="479719" y="240016"/>
                        <a:pt x="478835" y="241703"/>
                        <a:pt x="478192" y="242908"/>
                      </a:cubicBezTo>
                      <a:cubicBezTo>
                        <a:pt x="479960" y="243068"/>
                        <a:pt x="482209" y="243229"/>
                        <a:pt x="483976" y="243389"/>
                      </a:cubicBezTo>
                      <a:cubicBezTo>
                        <a:pt x="481647" y="245237"/>
                        <a:pt x="478514" y="247808"/>
                        <a:pt x="476265" y="249816"/>
                      </a:cubicBezTo>
                      <a:cubicBezTo>
                        <a:pt x="485422" y="246281"/>
                        <a:pt x="562456" y="201780"/>
                        <a:pt x="563179" y="201378"/>
                      </a:cubicBezTo>
                      <a:cubicBezTo>
                        <a:pt x="562456" y="201699"/>
                        <a:pt x="561493" y="202101"/>
                        <a:pt x="560770" y="202422"/>
                      </a:cubicBezTo>
                      <a:lnTo>
                        <a:pt x="561734" y="198727"/>
                      </a:lnTo>
                      <a:cubicBezTo>
                        <a:pt x="564384" y="198486"/>
                        <a:pt x="567839" y="197924"/>
                        <a:pt x="570489" y="197442"/>
                      </a:cubicBezTo>
                      <a:cubicBezTo>
                        <a:pt x="569927" y="199370"/>
                        <a:pt x="569204" y="201940"/>
                        <a:pt x="568722" y="203868"/>
                      </a:cubicBezTo>
                      <a:cubicBezTo>
                        <a:pt x="569606" y="205314"/>
                        <a:pt x="570811" y="207242"/>
                        <a:pt x="571694" y="208688"/>
                      </a:cubicBezTo>
                      <a:cubicBezTo>
                        <a:pt x="582137" y="207403"/>
                        <a:pt x="585270" y="207001"/>
                        <a:pt x="608404" y="196799"/>
                      </a:cubicBezTo>
                      <a:cubicBezTo>
                        <a:pt x="607280" y="197442"/>
                        <a:pt x="605673" y="198245"/>
                        <a:pt x="604548" y="198888"/>
                      </a:cubicBezTo>
                      <a:cubicBezTo>
                        <a:pt x="606396" y="198727"/>
                        <a:pt x="608886" y="198486"/>
                        <a:pt x="610814" y="198245"/>
                      </a:cubicBezTo>
                      <a:cubicBezTo>
                        <a:pt x="560127" y="235196"/>
                        <a:pt x="560127" y="235196"/>
                        <a:pt x="559886" y="235598"/>
                      </a:cubicBezTo>
                      <a:cubicBezTo>
                        <a:pt x="560288" y="237044"/>
                        <a:pt x="560770" y="238891"/>
                        <a:pt x="561091" y="240257"/>
                      </a:cubicBezTo>
                      <a:cubicBezTo>
                        <a:pt x="615152" y="211580"/>
                        <a:pt x="675478" y="229734"/>
                        <a:pt x="731788" y="217524"/>
                      </a:cubicBezTo>
                      <a:cubicBezTo>
                        <a:pt x="731868" y="216158"/>
                        <a:pt x="731949" y="214391"/>
                        <a:pt x="732029" y="213025"/>
                      </a:cubicBezTo>
                      <a:cubicBezTo>
                        <a:pt x="774040" y="205153"/>
                        <a:pt x="774362" y="206037"/>
                        <a:pt x="776932" y="214713"/>
                      </a:cubicBezTo>
                      <a:cubicBezTo>
                        <a:pt x="780386" y="215516"/>
                        <a:pt x="785045" y="217042"/>
                        <a:pt x="788098" y="218970"/>
                      </a:cubicBezTo>
                      <a:cubicBezTo>
                        <a:pt x="788098" y="221862"/>
                        <a:pt x="787696" y="225958"/>
                        <a:pt x="786250" y="228449"/>
                      </a:cubicBezTo>
                      <a:cubicBezTo>
                        <a:pt x="780145" y="235517"/>
                        <a:pt x="780145" y="235517"/>
                        <a:pt x="776290" y="242827"/>
                      </a:cubicBezTo>
                      <a:cubicBezTo>
                        <a:pt x="775245" y="244434"/>
                        <a:pt x="775245" y="244434"/>
                        <a:pt x="775245" y="244434"/>
                      </a:cubicBezTo>
                      <a:cubicBezTo>
                        <a:pt x="775245" y="244434"/>
                        <a:pt x="775245" y="244434"/>
                        <a:pt x="775245" y="244434"/>
                      </a:cubicBezTo>
                      <a:lnTo>
                        <a:pt x="775245" y="244434"/>
                      </a:lnTo>
                      <a:lnTo>
                        <a:pt x="775245" y="244434"/>
                      </a:lnTo>
                      <a:lnTo>
                        <a:pt x="775245" y="244434"/>
                      </a:lnTo>
                      <a:lnTo>
                        <a:pt x="775245" y="244434"/>
                      </a:lnTo>
                      <a:lnTo>
                        <a:pt x="775245" y="244434"/>
                      </a:lnTo>
                      <a:lnTo>
                        <a:pt x="775245" y="244434"/>
                      </a:lnTo>
                      <a:cubicBezTo>
                        <a:pt x="798540" y="253591"/>
                        <a:pt x="807457" y="258732"/>
                        <a:pt x="822719" y="271986"/>
                      </a:cubicBezTo>
                      <a:cubicBezTo>
                        <a:pt x="830350" y="269175"/>
                        <a:pt x="838704" y="270942"/>
                        <a:pt x="846336" y="268211"/>
                      </a:cubicBezTo>
                      <a:cubicBezTo>
                        <a:pt x="852441" y="278493"/>
                        <a:pt x="854449" y="281947"/>
                        <a:pt x="878467" y="284839"/>
                      </a:cubicBezTo>
                      <a:cubicBezTo>
                        <a:pt x="895898" y="255037"/>
                        <a:pt x="924977" y="205153"/>
                        <a:pt x="770024" y="196478"/>
                      </a:cubicBezTo>
                      <a:cubicBezTo>
                        <a:pt x="770024" y="188847"/>
                        <a:pt x="768819" y="184349"/>
                        <a:pt x="751227" y="184831"/>
                      </a:cubicBezTo>
                      <a:cubicBezTo>
                        <a:pt x="751227" y="184831"/>
                        <a:pt x="751227" y="184750"/>
                        <a:pt x="751227" y="184750"/>
                      </a:cubicBezTo>
                      <a:cubicBezTo>
                        <a:pt x="751227" y="184750"/>
                        <a:pt x="751227" y="184670"/>
                        <a:pt x="751227" y="184670"/>
                      </a:cubicBezTo>
                      <a:cubicBezTo>
                        <a:pt x="751227" y="184670"/>
                        <a:pt x="751227" y="184590"/>
                        <a:pt x="751227" y="184590"/>
                      </a:cubicBezTo>
                      <a:cubicBezTo>
                        <a:pt x="751227" y="184590"/>
                        <a:pt x="751227" y="184509"/>
                        <a:pt x="751227" y="184509"/>
                      </a:cubicBezTo>
                      <a:cubicBezTo>
                        <a:pt x="751227" y="184509"/>
                        <a:pt x="751227" y="184429"/>
                        <a:pt x="751227" y="184429"/>
                      </a:cubicBezTo>
                      <a:cubicBezTo>
                        <a:pt x="751227" y="184429"/>
                        <a:pt x="751227" y="184349"/>
                        <a:pt x="751227" y="184349"/>
                      </a:cubicBezTo>
                      <a:cubicBezTo>
                        <a:pt x="751227" y="184349"/>
                        <a:pt x="751227" y="184349"/>
                        <a:pt x="751227" y="184268"/>
                      </a:cubicBezTo>
                      <a:cubicBezTo>
                        <a:pt x="751227" y="184268"/>
                        <a:pt x="751227" y="184268"/>
                        <a:pt x="751227" y="184188"/>
                      </a:cubicBezTo>
                      <a:cubicBezTo>
                        <a:pt x="778940" y="180412"/>
                        <a:pt x="788821" y="180975"/>
                        <a:pt x="821595" y="187883"/>
                      </a:cubicBezTo>
                      <a:cubicBezTo>
                        <a:pt x="820791" y="186758"/>
                        <a:pt x="819667" y="185312"/>
                        <a:pt x="818783" y="184188"/>
                      </a:cubicBezTo>
                      <a:cubicBezTo>
                        <a:pt x="820229" y="183867"/>
                        <a:pt x="822076" y="183545"/>
                        <a:pt x="823522" y="183224"/>
                      </a:cubicBezTo>
                      <a:cubicBezTo>
                        <a:pt x="822639" y="181778"/>
                        <a:pt x="821354" y="179850"/>
                        <a:pt x="820470" y="178485"/>
                      </a:cubicBezTo>
                      <a:cubicBezTo>
                        <a:pt x="821354" y="177360"/>
                        <a:pt x="822478" y="175834"/>
                        <a:pt x="823362" y="174629"/>
                      </a:cubicBezTo>
                      <a:cubicBezTo>
                        <a:pt x="880716" y="166757"/>
                        <a:pt x="902806" y="171014"/>
                        <a:pt x="897424" y="189007"/>
                      </a:cubicBezTo>
                      <a:cubicBezTo>
                        <a:pt x="925459" y="186035"/>
                        <a:pt x="940962" y="183384"/>
                        <a:pt x="959759" y="179448"/>
                      </a:cubicBezTo>
                      <a:cubicBezTo>
                        <a:pt x="953814" y="179850"/>
                        <a:pt x="947870" y="180332"/>
                        <a:pt x="941926" y="180814"/>
                      </a:cubicBezTo>
                      <a:cubicBezTo>
                        <a:pt x="951003" y="176155"/>
                        <a:pt x="955662" y="174709"/>
                        <a:pt x="965864" y="173504"/>
                      </a:cubicBezTo>
                      <a:cubicBezTo>
                        <a:pt x="965864" y="173424"/>
                        <a:pt x="965864" y="173263"/>
                        <a:pt x="965944" y="173183"/>
                      </a:cubicBezTo>
                      <a:cubicBezTo>
                        <a:pt x="975583" y="169568"/>
                        <a:pt x="1191505" y="147398"/>
                        <a:pt x="1199136" y="205796"/>
                      </a:cubicBezTo>
                      <a:cubicBezTo>
                        <a:pt x="1199056" y="205716"/>
                        <a:pt x="1198975" y="205555"/>
                        <a:pt x="1198895" y="205475"/>
                      </a:cubicBezTo>
                      <a:cubicBezTo>
                        <a:pt x="1196003" y="204591"/>
                        <a:pt x="1191987" y="204109"/>
                        <a:pt x="1189015" y="204109"/>
                      </a:cubicBezTo>
                      <a:cubicBezTo>
                        <a:pt x="1190300" y="204511"/>
                        <a:pt x="1192067" y="204993"/>
                        <a:pt x="1193352" y="205394"/>
                      </a:cubicBezTo>
                      <a:cubicBezTo>
                        <a:pt x="1190782" y="206760"/>
                        <a:pt x="1187810" y="209571"/>
                        <a:pt x="1186284" y="212062"/>
                      </a:cubicBezTo>
                      <a:cubicBezTo>
                        <a:pt x="1155357" y="211339"/>
                        <a:pt x="1116800" y="210375"/>
                        <a:pt x="1159052" y="253752"/>
                      </a:cubicBezTo>
                      <a:cubicBezTo>
                        <a:pt x="1172306" y="267327"/>
                        <a:pt x="1187087" y="275039"/>
                        <a:pt x="1202670" y="283232"/>
                      </a:cubicBezTo>
                      <a:cubicBezTo>
                        <a:pt x="1182107" y="285160"/>
                        <a:pt x="1161382" y="287249"/>
                        <a:pt x="1140657" y="289578"/>
                      </a:cubicBezTo>
                      <a:cubicBezTo>
                        <a:pt x="1120575" y="220175"/>
                        <a:pt x="1120575" y="220175"/>
                        <a:pt x="1109811" y="218167"/>
                      </a:cubicBezTo>
                      <a:cubicBezTo>
                        <a:pt x="1109972" y="216721"/>
                        <a:pt x="1110213" y="214793"/>
                        <a:pt x="1110454" y="213427"/>
                      </a:cubicBezTo>
                      <a:cubicBezTo>
                        <a:pt x="1109329" y="212704"/>
                        <a:pt x="1107803" y="211740"/>
                        <a:pt x="1106679" y="211017"/>
                      </a:cubicBezTo>
                      <a:cubicBezTo>
                        <a:pt x="1106277" y="234554"/>
                        <a:pt x="1102260" y="250539"/>
                        <a:pt x="1090051" y="276726"/>
                      </a:cubicBezTo>
                      <a:cubicBezTo>
                        <a:pt x="1114310" y="270862"/>
                        <a:pt x="1117603" y="272709"/>
                        <a:pt x="1125556" y="277047"/>
                      </a:cubicBezTo>
                      <a:cubicBezTo>
                        <a:pt x="1126520" y="281224"/>
                        <a:pt x="1125957" y="287249"/>
                        <a:pt x="1124833" y="291345"/>
                      </a:cubicBezTo>
                      <a:cubicBezTo>
                        <a:pt x="849308" y="324119"/>
                        <a:pt x="565429" y="393282"/>
                        <a:pt x="342117" y="490478"/>
                      </a:cubicBezTo>
                      <a:moveTo>
                        <a:pt x="342117" y="490478"/>
                      </a:moveTo>
                      <a:cubicBezTo>
                        <a:pt x="150374" y="573939"/>
                        <a:pt x="35425" y="664067"/>
                        <a:pt x="0" y="746163"/>
                      </a:cubicBezTo>
                      <a:cubicBezTo>
                        <a:pt x="17110" y="710095"/>
                        <a:pt x="39923" y="661898"/>
                        <a:pt x="58880" y="626795"/>
                      </a:cubicBezTo>
                      <a:cubicBezTo>
                        <a:pt x="80408" y="591531"/>
                        <a:pt x="109567" y="544700"/>
                        <a:pt x="133023" y="510721"/>
                      </a:cubicBezTo>
                      <a:lnTo>
                        <a:pt x="133505" y="509998"/>
                      </a:lnTo>
                      <a:cubicBezTo>
                        <a:pt x="146036" y="493129"/>
                        <a:pt x="161700" y="478911"/>
                        <a:pt x="173428" y="461400"/>
                      </a:cubicBezTo>
                      <a:cubicBezTo>
                        <a:pt x="177284" y="456821"/>
                        <a:pt x="182023" y="453126"/>
                        <a:pt x="185477" y="448146"/>
                      </a:cubicBezTo>
                      <a:cubicBezTo>
                        <a:pt x="183148" y="452965"/>
                        <a:pt x="182907" y="453447"/>
                        <a:pt x="177123" y="460436"/>
                      </a:cubicBezTo>
                      <a:cubicBezTo>
                        <a:pt x="191181" y="450314"/>
                        <a:pt x="191181" y="450314"/>
                        <a:pt x="194233" y="445736"/>
                      </a:cubicBezTo>
                      <a:cubicBezTo>
                        <a:pt x="193269" y="446137"/>
                        <a:pt x="192064" y="446619"/>
                        <a:pt x="191181" y="447021"/>
                      </a:cubicBezTo>
                      <a:cubicBezTo>
                        <a:pt x="193028" y="440595"/>
                        <a:pt x="197285" y="432964"/>
                        <a:pt x="207246" y="432482"/>
                      </a:cubicBezTo>
                      <a:cubicBezTo>
                        <a:pt x="206282" y="434811"/>
                        <a:pt x="204836" y="437864"/>
                        <a:pt x="203390" y="439952"/>
                      </a:cubicBezTo>
                      <a:cubicBezTo>
                        <a:pt x="204354" y="439872"/>
                        <a:pt x="205720" y="439791"/>
                        <a:pt x="206684" y="439791"/>
                      </a:cubicBezTo>
                      <a:cubicBezTo>
                        <a:pt x="198571" y="450716"/>
                        <a:pt x="198249" y="452162"/>
                        <a:pt x="197205" y="457062"/>
                      </a:cubicBezTo>
                      <a:cubicBezTo>
                        <a:pt x="202667" y="459552"/>
                        <a:pt x="204274" y="459873"/>
                        <a:pt x="213592" y="460114"/>
                      </a:cubicBezTo>
                      <a:cubicBezTo>
                        <a:pt x="213271" y="461319"/>
                        <a:pt x="212789" y="462846"/>
                        <a:pt x="212468" y="464050"/>
                      </a:cubicBezTo>
                      <a:cubicBezTo>
                        <a:pt x="212789" y="464211"/>
                        <a:pt x="213190" y="464452"/>
                        <a:pt x="213431" y="464613"/>
                      </a:cubicBezTo>
                      <a:cubicBezTo>
                        <a:pt x="224838" y="457946"/>
                        <a:pt x="238413" y="457544"/>
                        <a:pt x="250061" y="451600"/>
                      </a:cubicBezTo>
                      <a:cubicBezTo>
                        <a:pt x="247009" y="448387"/>
                        <a:pt x="247009" y="448387"/>
                        <a:pt x="229577" y="455215"/>
                      </a:cubicBezTo>
                      <a:cubicBezTo>
                        <a:pt x="218331" y="449752"/>
                        <a:pt x="218331" y="449752"/>
                        <a:pt x="216404" y="449913"/>
                      </a:cubicBezTo>
                      <a:cubicBezTo>
                        <a:pt x="219777" y="445977"/>
                        <a:pt x="221223" y="440755"/>
                        <a:pt x="224677" y="436819"/>
                      </a:cubicBezTo>
                      <a:cubicBezTo>
                        <a:pt x="224517" y="434811"/>
                        <a:pt x="225079" y="432000"/>
                        <a:pt x="225963" y="430152"/>
                      </a:cubicBezTo>
                      <a:cubicBezTo>
                        <a:pt x="227007" y="429911"/>
                        <a:pt x="227007" y="429911"/>
                        <a:pt x="240261" y="421155"/>
                      </a:cubicBezTo>
                      <a:cubicBezTo>
                        <a:pt x="239940" y="422200"/>
                        <a:pt x="239618" y="423645"/>
                        <a:pt x="239297" y="424690"/>
                      </a:cubicBezTo>
                      <a:cubicBezTo>
                        <a:pt x="249499" y="420754"/>
                        <a:pt x="256969" y="412400"/>
                        <a:pt x="266850" y="407982"/>
                      </a:cubicBezTo>
                      <a:cubicBezTo>
                        <a:pt x="269822" y="395852"/>
                        <a:pt x="280505" y="388864"/>
                        <a:pt x="286209" y="378501"/>
                      </a:cubicBezTo>
                      <a:cubicBezTo>
                        <a:pt x="292474" y="383000"/>
                        <a:pt x="293438" y="383642"/>
                        <a:pt x="317858" y="361954"/>
                      </a:cubicBezTo>
                      <a:cubicBezTo>
                        <a:pt x="316894" y="361632"/>
                        <a:pt x="315609" y="361231"/>
                        <a:pt x="314564" y="360909"/>
                      </a:cubicBezTo>
                      <a:cubicBezTo>
                        <a:pt x="310869" y="363560"/>
                        <a:pt x="306853" y="365729"/>
                        <a:pt x="303399" y="368782"/>
                      </a:cubicBezTo>
                      <a:cubicBezTo>
                        <a:pt x="312717" y="358178"/>
                        <a:pt x="326212" y="352716"/>
                        <a:pt x="335932" y="342595"/>
                      </a:cubicBezTo>
                      <a:cubicBezTo>
                        <a:pt x="335851" y="341229"/>
                        <a:pt x="335771" y="339462"/>
                        <a:pt x="335691" y="338096"/>
                      </a:cubicBezTo>
                      <a:cubicBezTo>
                        <a:pt x="334405" y="337775"/>
                        <a:pt x="332638" y="337373"/>
                        <a:pt x="331353" y="337052"/>
                      </a:cubicBezTo>
                      <a:cubicBezTo>
                        <a:pt x="331353" y="337052"/>
                        <a:pt x="331353" y="336972"/>
                        <a:pt x="331273" y="336972"/>
                      </a:cubicBezTo>
                      <a:lnTo>
                        <a:pt x="332959" y="335285"/>
                      </a:lnTo>
                      <a:lnTo>
                        <a:pt x="332959" y="334883"/>
                      </a:lnTo>
                      <a:cubicBezTo>
                        <a:pt x="333682" y="334080"/>
                        <a:pt x="334566" y="333036"/>
                        <a:pt x="335289" y="332232"/>
                      </a:cubicBezTo>
                      <a:cubicBezTo>
                        <a:pt x="334727" y="331429"/>
                        <a:pt x="334004" y="330304"/>
                        <a:pt x="333441" y="329501"/>
                      </a:cubicBezTo>
                      <a:cubicBezTo>
                        <a:pt x="320669" y="338177"/>
                        <a:pt x="320669" y="338177"/>
                        <a:pt x="313761" y="338418"/>
                      </a:cubicBezTo>
                      <a:cubicBezTo>
                        <a:pt x="314163" y="337534"/>
                        <a:pt x="323079" y="316327"/>
                        <a:pt x="334245" y="318577"/>
                      </a:cubicBezTo>
                      <a:cubicBezTo>
                        <a:pt x="336173" y="317211"/>
                        <a:pt x="338743" y="315283"/>
                        <a:pt x="340671" y="313757"/>
                      </a:cubicBezTo>
                      <a:cubicBezTo>
                        <a:pt x="340028" y="314641"/>
                        <a:pt x="339145" y="315765"/>
                        <a:pt x="338502" y="316649"/>
                      </a:cubicBezTo>
                      <a:cubicBezTo>
                        <a:pt x="358905" y="305644"/>
                        <a:pt x="371276" y="295924"/>
                        <a:pt x="382281" y="286847"/>
                      </a:cubicBezTo>
                      <a:cubicBezTo>
                        <a:pt x="381156" y="287329"/>
                        <a:pt x="379710" y="287972"/>
                        <a:pt x="378666" y="288534"/>
                      </a:cubicBezTo>
                      <a:cubicBezTo>
                        <a:pt x="384369" y="282750"/>
                        <a:pt x="394009" y="282349"/>
                        <a:pt x="398186" y="274396"/>
                      </a:cubicBezTo>
                      <a:cubicBezTo>
                        <a:pt x="387904" y="274637"/>
                        <a:pt x="373364" y="280421"/>
                        <a:pt x="373284" y="280501"/>
                      </a:cubicBezTo>
                      <a:cubicBezTo>
                        <a:pt x="371999" y="281224"/>
                        <a:pt x="372722" y="280822"/>
                        <a:pt x="373445" y="280421"/>
                      </a:cubicBezTo>
                      <a:cubicBezTo>
                        <a:pt x="363645" y="289578"/>
                        <a:pt x="363645" y="289578"/>
                        <a:pt x="344286" y="300181"/>
                      </a:cubicBezTo>
                      <a:cubicBezTo>
                        <a:pt x="348864" y="295844"/>
                        <a:pt x="351033" y="293916"/>
                        <a:pt x="363323" y="284437"/>
                      </a:cubicBezTo>
                      <a:cubicBezTo>
                        <a:pt x="363082" y="284598"/>
                        <a:pt x="362761" y="284839"/>
                        <a:pt x="362520" y="285000"/>
                      </a:cubicBezTo>
                      <a:cubicBezTo>
                        <a:pt x="356255" y="289739"/>
                        <a:pt x="350069" y="294398"/>
                        <a:pt x="343804" y="299218"/>
                      </a:cubicBezTo>
                      <a:cubicBezTo>
                        <a:pt x="351756" y="292229"/>
                        <a:pt x="361074" y="286927"/>
                        <a:pt x="368705" y="279457"/>
                      </a:cubicBezTo>
                      <a:cubicBezTo>
                        <a:pt x="375051" y="275119"/>
                        <a:pt x="382923" y="269657"/>
                        <a:pt x="424453" y="240096"/>
                      </a:cubicBezTo>
                      <a:cubicBezTo>
                        <a:pt x="424212" y="240176"/>
                        <a:pt x="423810" y="240337"/>
                        <a:pt x="423569" y="240417"/>
                      </a:cubicBezTo>
                      <a:cubicBezTo>
                        <a:pt x="424453" y="238490"/>
                        <a:pt x="426140" y="236160"/>
                        <a:pt x="427746" y="234714"/>
                      </a:cubicBezTo>
                      <a:cubicBezTo>
                        <a:pt x="420276" y="238972"/>
                        <a:pt x="419794" y="239132"/>
                        <a:pt x="414171" y="241703"/>
                      </a:cubicBezTo>
                      <a:cubicBezTo>
                        <a:pt x="413448" y="241301"/>
                        <a:pt x="412484" y="240819"/>
                        <a:pt x="411681" y="240417"/>
                      </a:cubicBezTo>
                      <a:cubicBezTo>
                        <a:pt x="416742" y="235276"/>
                        <a:pt x="416742" y="235276"/>
                        <a:pt x="419151" y="231662"/>
                      </a:cubicBezTo>
                      <a:cubicBezTo>
                        <a:pt x="418509" y="231983"/>
                        <a:pt x="417705" y="232465"/>
                        <a:pt x="417063" y="232786"/>
                      </a:cubicBezTo>
                      <a:cubicBezTo>
                        <a:pt x="408709" y="237204"/>
                        <a:pt x="408709" y="237204"/>
                        <a:pt x="405415" y="239534"/>
                      </a:cubicBezTo>
                      <a:cubicBezTo>
                        <a:pt x="407022" y="238168"/>
                        <a:pt x="409191" y="236401"/>
                        <a:pt x="410878" y="235116"/>
                      </a:cubicBezTo>
                      <a:cubicBezTo>
                        <a:pt x="402283" y="238650"/>
                        <a:pt x="402283" y="238650"/>
                        <a:pt x="385333" y="251583"/>
                      </a:cubicBezTo>
                      <a:cubicBezTo>
                        <a:pt x="483976" y="180412"/>
                        <a:pt x="536430" y="149566"/>
                        <a:pt x="640134" y="101771"/>
                      </a:cubicBezTo>
                      <a:cubicBezTo>
                        <a:pt x="498355" y="163463"/>
                        <a:pt x="394250" y="300663"/>
                        <a:pt x="342117" y="490478"/>
                      </a:cubicBezTo>
                      <a:moveTo>
                        <a:pt x="957831" y="45220"/>
                      </a:moveTo>
                      <a:lnTo>
                        <a:pt x="957831" y="45220"/>
                      </a:lnTo>
                      <a:cubicBezTo>
                        <a:pt x="957831" y="45220"/>
                        <a:pt x="957911" y="45220"/>
                        <a:pt x="957831" y="45220"/>
                      </a:cubicBezTo>
                      <a:cubicBezTo>
                        <a:pt x="957911" y="45220"/>
                        <a:pt x="957831" y="45220"/>
                        <a:pt x="957831" y="45220"/>
                      </a:cubicBezTo>
                      <a:moveTo>
                        <a:pt x="959277" y="44738"/>
                      </a:moveTo>
                      <a:cubicBezTo>
                        <a:pt x="960080" y="44498"/>
                        <a:pt x="960883" y="44257"/>
                        <a:pt x="961606" y="44016"/>
                      </a:cubicBezTo>
                      <a:cubicBezTo>
                        <a:pt x="961365" y="44016"/>
                        <a:pt x="961205" y="44176"/>
                        <a:pt x="960964" y="44257"/>
                      </a:cubicBezTo>
                      <a:cubicBezTo>
                        <a:pt x="960401" y="44417"/>
                        <a:pt x="959839" y="44578"/>
                        <a:pt x="959277" y="44738"/>
                      </a:cubicBezTo>
                      <a:cubicBezTo>
                        <a:pt x="959277" y="44738"/>
                        <a:pt x="959277" y="44738"/>
                        <a:pt x="959277" y="44738"/>
                      </a:cubicBezTo>
                      <a:moveTo>
                        <a:pt x="1014542" y="26102"/>
                      </a:moveTo>
                      <a:cubicBezTo>
                        <a:pt x="1026913" y="26504"/>
                        <a:pt x="1038801" y="22728"/>
                        <a:pt x="1051092" y="22086"/>
                      </a:cubicBezTo>
                      <a:cubicBezTo>
                        <a:pt x="1044264" y="22327"/>
                        <a:pt x="1041131" y="22166"/>
                        <a:pt x="1034142" y="21604"/>
                      </a:cubicBezTo>
                      <a:cubicBezTo>
                        <a:pt x="1030206" y="21283"/>
                        <a:pt x="1028118" y="21202"/>
                        <a:pt x="1025547" y="21443"/>
                      </a:cubicBezTo>
                      <a:cubicBezTo>
                        <a:pt x="1020647" y="21925"/>
                        <a:pt x="1016229" y="24255"/>
                        <a:pt x="1013096" y="26022"/>
                      </a:cubicBezTo>
                      <a:cubicBezTo>
                        <a:pt x="1013418" y="26022"/>
                        <a:pt x="1014060" y="26102"/>
                        <a:pt x="1014542" y="26102"/>
                      </a:cubicBezTo>
                      <a:moveTo>
                        <a:pt x="1034223" y="18150"/>
                      </a:moveTo>
                      <a:cubicBezTo>
                        <a:pt x="1036151" y="18712"/>
                        <a:pt x="1038159" y="19114"/>
                        <a:pt x="1040087" y="19676"/>
                      </a:cubicBezTo>
                      <a:cubicBezTo>
                        <a:pt x="1038159" y="19194"/>
                        <a:pt x="1036231" y="18632"/>
                        <a:pt x="1034223" y="18150"/>
                      </a:cubicBezTo>
                      <a:moveTo>
                        <a:pt x="938873" y="25540"/>
                      </a:moveTo>
                      <a:cubicBezTo>
                        <a:pt x="945059" y="26102"/>
                        <a:pt x="951405" y="25219"/>
                        <a:pt x="954377" y="24817"/>
                      </a:cubicBezTo>
                      <a:cubicBezTo>
                        <a:pt x="963213" y="23371"/>
                        <a:pt x="976627" y="19756"/>
                        <a:pt x="977913" y="18551"/>
                      </a:cubicBezTo>
                      <a:cubicBezTo>
                        <a:pt x="977109" y="17025"/>
                        <a:pt x="977109" y="17025"/>
                        <a:pt x="954939" y="21925"/>
                      </a:cubicBezTo>
                      <a:cubicBezTo>
                        <a:pt x="944175" y="24335"/>
                        <a:pt x="944175" y="24335"/>
                        <a:pt x="937187" y="25299"/>
                      </a:cubicBezTo>
                      <a:cubicBezTo>
                        <a:pt x="937669" y="25379"/>
                        <a:pt x="938391" y="25540"/>
                        <a:pt x="938873" y="25540"/>
                      </a:cubicBezTo>
                      <a:moveTo>
                        <a:pt x="987392" y="16383"/>
                      </a:moveTo>
                      <a:cubicBezTo>
                        <a:pt x="1003618" y="16463"/>
                        <a:pt x="1008518" y="15981"/>
                        <a:pt x="1007474" y="12527"/>
                      </a:cubicBezTo>
                      <a:cubicBezTo>
                        <a:pt x="1010687" y="13973"/>
                        <a:pt x="1010687" y="13973"/>
                        <a:pt x="1010847" y="14375"/>
                      </a:cubicBezTo>
                      <a:cubicBezTo>
                        <a:pt x="1010285" y="15258"/>
                        <a:pt x="1009803" y="15419"/>
                        <a:pt x="1007232" y="16624"/>
                      </a:cubicBezTo>
                      <a:cubicBezTo>
                        <a:pt x="1011891" y="16463"/>
                        <a:pt x="1022736" y="15981"/>
                        <a:pt x="1029965" y="15017"/>
                      </a:cubicBezTo>
                      <a:cubicBezTo>
                        <a:pt x="1040006" y="13732"/>
                        <a:pt x="1049806" y="11242"/>
                        <a:pt x="1059767" y="9796"/>
                      </a:cubicBezTo>
                      <a:cubicBezTo>
                        <a:pt x="1059285" y="9233"/>
                        <a:pt x="1059285" y="9233"/>
                        <a:pt x="1056795" y="9474"/>
                      </a:cubicBezTo>
                      <a:cubicBezTo>
                        <a:pt x="1056715" y="9474"/>
                        <a:pt x="1056554" y="9474"/>
                        <a:pt x="1056393" y="9474"/>
                      </a:cubicBezTo>
                      <a:cubicBezTo>
                        <a:pt x="1053582" y="6181"/>
                        <a:pt x="1013659" y="9956"/>
                        <a:pt x="1013257" y="9956"/>
                      </a:cubicBezTo>
                      <a:cubicBezTo>
                        <a:pt x="1003296" y="10920"/>
                        <a:pt x="993898" y="14294"/>
                        <a:pt x="984178" y="16302"/>
                      </a:cubicBezTo>
                      <a:cubicBezTo>
                        <a:pt x="985223" y="16383"/>
                        <a:pt x="986428" y="16383"/>
                        <a:pt x="987392" y="16383"/>
                      </a:cubicBezTo>
                      <a:moveTo>
                        <a:pt x="464697" y="238811"/>
                      </a:moveTo>
                      <a:cubicBezTo>
                        <a:pt x="513537" y="177681"/>
                        <a:pt x="572497" y="131171"/>
                        <a:pt x="639893" y="101852"/>
                      </a:cubicBezTo>
                      <a:cubicBezTo>
                        <a:pt x="694034" y="79440"/>
                        <a:pt x="694034" y="79440"/>
                        <a:pt x="722390" y="69399"/>
                      </a:cubicBezTo>
                      <a:cubicBezTo>
                        <a:pt x="769221" y="53735"/>
                        <a:pt x="769221" y="53735"/>
                        <a:pt x="792998" y="46907"/>
                      </a:cubicBezTo>
                      <a:cubicBezTo>
                        <a:pt x="835411" y="35420"/>
                        <a:pt x="835411" y="35420"/>
                        <a:pt x="856698" y="30601"/>
                      </a:cubicBezTo>
                      <a:cubicBezTo>
                        <a:pt x="896942" y="22006"/>
                        <a:pt x="896942" y="22006"/>
                        <a:pt x="917105" y="18391"/>
                      </a:cubicBezTo>
                      <a:cubicBezTo>
                        <a:pt x="956305" y="11965"/>
                        <a:pt x="957027" y="11884"/>
                        <a:pt x="977109" y="9394"/>
                      </a:cubicBezTo>
                      <a:cubicBezTo>
                        <a:pt x="1017675" y="4815"/>
                        <a:pt x="1018478" y="4735"/>
                        <a:pt x="1039364" y="3209"/>
                      </a:cubicBezTo>
                      <a:cubicBezTo>
                        <a:pt x="1083303" y="558"/>
                        <a:pt x="1084106" y="478"/>
                        <a:pt x="1107080" y="76"/>
                      </a:cubicBezTo>
                      <a:cubicBezTo>
                        <a:pt x="1156000" y="-85"/>
                        <a:pt x="1157928" y="-85"/>
                        <a:pt x="1184516" y="1040"/>
                      </a:cubicBezTo>
                      <a:cubicBezTo>
                        <a:pt x="1199377" y="2004"/>
                        <a:pt x="1219138" y="3048"/>
                        <a:pt x="1233998" y="4253"/>
                      </a:cubicBezTo>
                      <a:lnTo>
                        <a:pt x="1233115" y="4173"/>
                      </a:lnTo>
                      <a:cubicBezTo>
                        <a:pt x="1234641" y="4334"/>
                        <a:pt x="1236569" y="4574"/>
                        <a:pt x="1238095" y="4735"/>
                      </a:cubicBezTo>
                      <a:cubicBezTo>
                        <a:pt x="1236649" y="4574"/>
                        <a:pt x="1234721" y="4414"/>
                        <a:pt x="1233276" y="4334"/>
                      </a:cubicBezTo>
                      <a:cubicBezTo>
                        <a:pt x="1234721" y="4574"/>
                        <a:pt x="1236649" y="4815"/>
                        <a:pt x="1238095" y="4976"/>
                      </a:cubicBezTo>
                      <a:cubicBezTo>
                        <a:pt x="1237211" y="4896"/>
                        <a:pt x="1236087" y="4815"/>
                        <a:pt x="1235203" y="4735"/>
                      </a:cubicBezTo>
                      <a:cubicBezTo>
                        <a:pt x="1284203" y="10679"/>
                        <a:pt x="1311194" y="13973"/>
                        <a:pt x="1383569" y="29074"/>
                      </a:cubicBezTo>
                      <a:cubicBezTo>
                        <a:pt x="1356900" y="23773"/>
                        <a:pt x="1329910" y="20479"/>
                        <a:pt x="1303402" y="14937"/>
                      </a:cubicBezTo>
                      <a:cubicBezTo>
                        <a:pt x="1300510" y="15258"/>
                        <a:pt x="1296574" y="15097"/>
                        <a:pt x="1293682" y="14615"/>
                      </a:cubicBezTo>
                      <a:cubicBezTo>
                        <a:pt x="1296895" y="15820"/>
                        <a:pt x="1301233" y="17427"/>
                        <a:pt x="1304526" y="18551"/>
                      </a:cubicBezTo>
                      <a:cubicBezTo>
                        <a:pt x="1251671" y="10358"/>
                        <a:pt x="1170379" y="13089"/>
                        <a:pt x="1162265" y="16061"/>
                      </a:cubicBezTo>
                      <a:cubicBezTo>
                        <a:pt x="1165720" y="17507"/>
                        <a:pt x="1170379" y="19194"/>
                        <a:pt x="1173913" y="20479"/>
                      </a:cubicBezTo>
                      <a:cubicBezTo>
                        <a:pt x="1172628" y="21202"/>
                        <a:pt x="1170861" y="22086"/>
                        <a:pt x="1169495" y="22809"/>
                      </a:cubicBezTo>
                      <a:cubicBezTo>
                        <a:pt x="1172467" y="22648"/>
                        <a:pt x="1176403" y="22086"/>
                        <a:pt x="1179375" y="21443"/>
                      </a:cubicBezTo>
                      <a:cubicBezTo>
                        <a:pt x="1179295" y="22889"/>
                        <a:pt x="1179134" y="24737"/>
                        <a:pt x="1178974" y="26183"/>
                      </a:cubicBezTo>
                      <a:cubicBezTo>
                        <a:pt x="1177608" y="25861"/>
                        <a:pt x="1175761" y="25379"/>
                        <a:pt x="1174395" y="25058"/>
                      </a:cubicBezTo>
                      <a:cubicBezTo>
                        <a:pt x="1175439" y="25942"/>
                        <a:pt x="1176885" y="27147"/>
                        <a:pt x="1177929" y="28030"/>
                      </a:cubicBezTo>
                      <a:cubicBezTo>
                        <a:pt x="1159615" y="48353"/>
                        <a:pt x="1139131" y="26825"/>
                        <a:pt x="1119933" y="30681"/>
                      </a:cubicBezTo>
                      <a:cubicBezTo>
                        <a:pt x="1101779" y="34296"/>
                        <a:pt x="1083143" y="33894"/>
                        <a:pt x="1064828" y="36224"/>
                      </a:cubicBezTo>
                      <a:cubicBezTo>
                        <a:pt x="1063944" y="34858"/>
                        <a:pt x="1062820" y="33091"/>
                        <a:pt x="1062016" y="31806"/>
                      </a:cubicBezTo>
                      <a:cubicBezTo>
                        <a:pt x="1060410" y="31725"/>
                        <a:pt x="1058241" y="31565"/>
                        <a:pt x="1056634" y="31404"/>
                      </a:cubicBezTo>
                      <a:cubicBezTo>
                        <a:pt x="1059446" y="30922"/>
                        <a:pt x="1063221" y="30520"/>
                        <a:pt x="1066113" y="30520"/>
                      </a:cubicBezTo>
                      <a:cubicBezTo>
                        <a:pt x="1060249" y="28753"/>
                        <a:pt x="1022736" y="28592"/>
                        <a:pt x="989801" y="37830"/>
                      </a:cubicBezTo>
                      <a:cubicBezTo>
                        <a:pt x="999200" y="35983"/>
                        <a:pt x="1001369" y="35742"/>
                        <a:pt x="1010526" y="35581"/>
                      </a:cubicBezTo>
                      <a:cubicBezTo>
                        <a:pt x="1004341" y="37027"/>
                        <a:pt x="1002091" y="37589"/>
                        <a:pt x="985785" y="38955"/>
                      </a:cubicBezTo>
                      <a:cubicBezTo>
                        <a:pt x="987231" y="39437"/>
                        <a:pt x="989159" y="40079"/>
                        <a:pt x="990605" y="40561"/>
                      </a:cubicBezTo>
                      <a:cubicBezTo>
                        <a:pt x="827378" y="85625"/>
                        <a:pt x="827378" y="85625"/>
                        <a:pt x="822880" y="103056"/>
                      </a:cubicBezTo>
                      <a:cubicBezTo>
                        <a:pt x="678932" y="111973"/>
                        <a:pt x="605030" y="152940"/>
                        <a:pt x="573702" y="176557"/>
                      </a:cubicBezTo>
                      <a:cubicBezTo>
                        <a:pt x="574827" y="175512"/>
                        <a:pt x="576353" y="174067"/>
                        <a:pt x="577397" y="172942"/>
                      </a:cubicBezTo>
                      <a:cubicBezTo>
                        <a:pt x="542374" y="192381"/>
                        <a:pt x="541411" y="193265"/>
                        <a:pt x="516429" y="214793"/>
                      </a:cubicBezTo>
                      <a:cubicBezTo>
                        <a:pt x="517071" y="213347"/>
                        <a:pt x="517874" y="211499"/>
                        <a:pt x="518517" y="210053"/>
                      </a:cubicBezTo>
                      <a:cubicBezTo>
                        <a:pt x="497953" y="213347"/>
                        <a:pt x="483976" y="229171"/>
                        <a:pt x="466304" y="237847"/>
                      </a:cubicBezTo>
                      <a:cubicBezTo>
                        <a:pt x="466625" y="237285"/>
                        <a:pt x="465179" y="238490"/>
                        <a:pt x="464697" y="238811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6" name="Freeform: Shape 415">
                  <a:extLst>
                    <a:ext uri="{FF2B5EF4-FFF2-40B4-BE49-F238E27FC236}">
                      <a16:creationId xmlns:a16="http://schemas.microsoft.com/office/drawing/2014/main" id="{18AC97A3-9F4C-E689-E85B-F1F69A57E525}"/>
                    </a:ext>
                  </a:extLst>
                </p:cNvPr>
                <p:cNvSpPr/>
                <p:nvPr/>
              </p:nvSpPr>
              <p:spPr>
                <a:xfrm>
                  <a:off x="-5378690" y="2189636"/>
                  <a:ext cx="2433669" cy="2172952"/>
                </a:xfrm>
                <a:custGeom>
                  <a:avLst/>
                  <a:gdLst>
                    <a:gd name="connsiteX0" fmla="*/ 2052355 w 2433669"/>
                    <a:gd name="connsiteY0" fmla="*/ 1753480 h 2172952"/>
                    <a:gd name="connsiteX1" fmla="*/ 2121999 w 2433669"/>
                    <a:gd name="connsiteY1" fmla="*/ 1680301 h 2172952"/>
                    <a:gd name="connsiteX2" fmla="*/ 2121035 w 2433669"/>
                    <a:gd name="connsiteY2" fmla="*/ 1681827 h 2172952"/>
                    <a:gd name="connsiteX3" fmla="*/ 2106576 w 2433669"/>
                    <a:gd name="connsiteY3" fmla="*/ 1707452 h 2172952"/>
                    <a:gd name="connsiteX4" fmla="*/ 2103363 w 2433669"/>
                    <a:gd name="connsiteY4" fmla="*/ 1709621 h 2172952"/>
                    <a:gd name="connsiteX5" fmla="*/ 2028498 w 2433669"/>
                    <a:gd name="connsiteY5" fmla="*/ 1784085 h 2172952"/>
                    <a:gd name="connsiteX6" fmla="*/ 2052355 w 2433669"/>
                    <a:gd name="connsiteY6" fmla="*/ 1753480 h 2172952"/>
                    <a:gd name="connsiteX7" fmla="*/ 1290765 w 2433669"/>
                    <a:gd name="connsiteY7" fmla="*/ 2172149 h 2172952"/>
                    <a:gd name="connsiteX8" fmla="*/ 1272692 w 2433669"/>
                    <a:gd name="connsiteY8" fmla="*/ 2172952 h 2172952"/>
                    <a:gd name="connsiteX9" fmla="*/ 1301369 w 2433669"/>
                    <a:gd name="connsiteY9" fmla="*/ 2169177 h 2172952"/>
                    <a:gd name="connsiteX10" fmla="*/ 1301770 w 2433669"/>
                    <a:gd name="connsiteY10" fmla="*/ 2169258 h 2172952"/>
                    <a:gd name="connsiteX11" fmla="*/ 1301770 w 2433669"/>
                    <a:gd name="connsiteY11" fmla="*/ 2169418 h 2172952"/>
                    <a:gd name="connsiteX12" fmla="*/ 1301529 w 2433669"/>
                    <a:gd name="connsiteY12" fmla="*/ 2169579 h 2172952"/>
                    <a:gd name="connsiteX13" fmla="*/ 1304100 w 2433669"/>
                    <a:gd name="connsiteY13" fmla="*/ 2169177 h 2172952"/>
                    <a:gd name="connsiteX14" fmla="*/ 1290765 w 2433669"/>
                    <a:gd name="connsiteY14" fmla="*/ 2172149 h 2172952"/>
                    <a:gd name="connsiteX15" fmla="*/ 1457848 w 2433669"/>
                    <a:gd name="connsiteY15" fmla="*/ 2151425 h 2172952"/>
                    <a:gd name="connsiteX16" fmla="*/ 1469897 w 2433669"/>
                    <a:gd name="connsiteY16" fmla="*/ 2149256 h 2172952"/>
                    <a:gd name="connsiteX17" fmla="*/ 1381536 w 2433669"/>
                    <a:gd name="connsiteY17" fmla="*/ 2164197 h 2172952"/>
                    <a:gd name="connsiteX18" fmla="*/ 1342175 w 2433669"/>
                    <a:gd name="connsiteY18" fmla="*/ 2168454 h 2172952"/>
                    <a:gd name="connsiteX19" fmla="*/ 1344103 w 2433669"/>
                    <a:gd name="connsiteY19" fmla="*/ 2168294 h 2172952"/>
                    <a:gd name="connsiteX20" fmla="*/ 1352297 w 2433669"/>
                    <a:gd name="connsiteY20" fmla="*/ 2166446 h 2172952"/>
                    <a:gd name="connsiteX21" fmla="*/ 1312936 w 2433669"/>
                    <a:gd name="connsiteY21" fmla="*/ 2165964 h 2172952"/>
                    <a:gd name="connsiteX22" fmla="*/ 1353502 w 2433669"/>
                    <a:gd name="connsiteY22" fmla="*/ 2147247 h 2172952"/>
                    <a:gd name="connsiteX23" fmla="*/ 1372620 w 2433669"/>
                    <a:gd name="connsiteY23" fmla="*/ 2146685 h 2172952"/>
                    <a:gd name="connsiteX24" fmla="*/ 1382661 w 2433669"/>
                    <a:gd name="connsiteY24" fmla="*/ 2142990 h 2172952"/>
                    <a:gd name="connsiteX25" fmla="*/ 1384026 w 2433669"/>
                    <a:gd name="connsiteY25" fmla="*/ 2156887 h 2172952"/>
                    <a:gd name="connsiteX26" fmla="*/ 1388926 w 2433669"/>
                    <a:gd name="connsiteY26" fmla="*/ 2156887 h 2172952"/>
                    <a:gd name="connsiteX27" fmla="*/ 1395031 w 2433669"/>
                    <a:gd name="connsiteY27" fmla="*/ 2156324 h 2172952"/>
                    <a:gd name="connsiteX28" fmla="*/ 1400895 w 2433669"/>
                    <a:gd name="connsiteY28" fmla="*/ 2157048 h 2172952"/>
                    <a:gd name="connsiteX29" fmla="*/ 1457848 w 2433669"/>
                    <a:gd name="connsiteY29" fmla="*/ 2151425 h 2172952"/>
                    <a:gd name="connsiteX30" fmla="*/ 2143768 w 2433669"/>
                    <a:gd name="connsiteY30" fmla="*/ 1654998 h 2172952"/>
                    <a:gd name="connsiteX31" fmla="*/ 2350131 w 2433669"/>
                    <a:gd name="connsiteY31" fmla="*/ 1309025 h 2172952"/>
                    <a:gd name="connsiteX32" fmla="*/ 2358967 w 2433669"/>
                    <a:gd name="connsiteY32" fmla="*/ 1426464 h 2172952"/>
                    <a:gd name="connsiteX33" fmla="*/ 2350131 w 2433669"/>
                    <a:gd name="connsiteY33" fmla="*/ 1446627 h 2172952"/>
                    <a:gd name="connsiteX34" fmla="*/ 2250604 w 2433669"/>
                    <a:gd name="connsiteY34" fmla="*/ 1626722 h 2172952"/>
                    <a:gd name="connsiteX35" fmla="*/ 2118947 w 2433669"/>
                    <a:gd name="connsiteY35" fmla="*/ 1791555 h 2172952"/>
                    <a:gd name="connsiteX36" fmla="*/ 2088342 w 2433669"/>
                    <a:gd name="connsiteY36" fmla="*/ 1822642 h 2172952"/>
                    <a:gd name="connsiteX37" fmla="*/ 2086976 w 2433669"/>
                    <a:gd name="connsiteY37" fmla="*/ 1823927 h 2172952"/>
                    <a:gd name="connsiteX38" fmla="*/ 2191804 w 2433669"/>
                    <a:gd name="connsiteY38" fmla="*/ 1671626 h 2172952"/>
                    <a:gd name="connsiteX39" fmla="*/ 2180558 w 2433669"/>
                    <a:gd name="connsiteY39" fmla="*/ 1685281 h 2172952"/>
                    <a:gd name="connsiteX40" fmla="*/ 2143768 w 2433669"/>
                    <a:gd name="connsiteY40" fmla="*/ 1654998 h 2172952"/>
                    <a:gd name="connsiteX41" fmla="*/ 629988 w 2433669"/>
                    <a:gd name="connsiteY41" fmla="*/ 1370154 h 2172952"/>
                    <a:gd name="connsiteX42" fmla="*/ 309559 w 2433669"/>
                    <a:gd name="connsiteY42" fmla="*/ 1760629 h 2172952"/>
                    <a:gd name="connsiteX43" fmla="*/ 248269 w 2433669"/>
                    <a:gd name="connsiteY43" fmla="*/ 1686004 h 2172952"/>
                    <a:gd name="connsiteX44" fmla="*/ 139023 w 2433669"/>
                    <a:gd name="connsiteY44" fmla="*/ 1513299 h 2172952"/>
                    <a:gd name="connsiteX45" fmla="*/ 59338 w 2433669"/>
                    <a:gd name="connsiteY45" fmla="*/ 1322440 h 2172952"/>
                    <a:gd name="connsiteX46" fmla="*/ 16121 w 2433669"/>
                    <a:gd name="connsiteY46" fmla="*/ 1142666 h 2172952"/>
                    <a:gd name="connsiteX47" fmla="*/ 56 w 2433669"/>
                    <a:gd name="connsiteY47" fmla="*/ 932206 h 2172952"/>
                    <a:gd name="connsiteX48" fmla="*/ 19415 w 2433669"/>
                    <a:gd name="connsiteY48" fmla="*/ 726647 h 2172952"/>
                    <a:gd name="connsiteX49" fmla="*/ 72431 w 2433669"/>
                    <a:gd name="connsiteY49" fmla="*/ 529201 h 2172952"/>
                    <a:gd name="connsiteX50" fmla="*/ 98698 w 2433669"/>
                    <a:gd name="connsiteY50" fmla="*/ 462448 h 2172952"/>
                    <a:gd name="connsiteX51" fmla="*/ 440815 w 2433669"/>
                    <a:gd name="connsiteY51" fmla="*/ 206764 h 2172952"/>
                    <a:gd name="connsiteX52" fmla="*/ 424910 w 2433669"/>
                    <a:gd name="connsiteY52" fmla="*/ 763758 h 2172952"/>
                    <a:gd name="connsiteX53" fmla="*/ 629988 w 2433669"/>
                    <a:gd name="connsiteY53" fmla="*/ 1370154 h 2172952"/>
                    <a:gd name="connsiteX54" fmla="*/ 954111 w 2433669"/>
                    <a:gd name="connsiteY54" fmla="*/ 1199056 h 2172952"/>
                    <a:gd name="connsiteX55" fmla="*/ 967606 w 2433669"/>
                    <a:gd name="connsiteY55" fmla="*/ 1200100 h 2172952"/>
                    <a:gd name="connsiteX56" fmla="*/ 962706 w 2433669"/>
                    <a:gd name="connsiteY56" fmla="*/ 1197208 h 2172952"/>
                    <a:gd name="connsiteX57" fmla="*/ 955155 w 2433669"/>
                    <a:gd name="connsiteY57" fmla="*/ 1197289 h 2172952"/>
                    <a:gd name="connsiteX58" fmla="*/ 956762 w 2433669"/>
                    <a:gd name="connsiteY58" fmla="*/ 1196566 h 2172952"/>
                    <a:gd name="connsiteX59" fmla="*/ 953790 w 2433669"/>
                    <a:gd name="connsiteY59" fmla="*/ 1198895 h 2172952"/>
                    <a:gd name="connsiteX60" fmla="*/ 954111 w 2433669"/>
                    <a:gd name="connsiteY60" fmla="*/ 1199056 h 2172952"/>
                    <a:gd name="connsiteX61" fmla="*/ 974193 w 2433669"/>
                    <a:gd name="connsiteY61" fmla="*/ 1171343 h 2172952"/>
                    <a:gd name="connsiteX62" fmla="*/ 975960 w 2433669"/>
                    <a:gd name="connsiteY62" fmla="*/ 1172066 h 2172952"/>
                    <a:gd name="connsiteX63" fmla="*/ 977727 w 2433669"/>
                    <a:gd name="connsiteY63" fmla="*/ 1171182 h 2172952"/>
                    <a:gd name="connsiteX64" fmla="*/ 974193 w 2433669"/>
                    <a:gd name="connsiteY64" fmla="*/ 1171343 h 2172952"/>
                    <a:gd name="connsiteX65" fmla="*/ 967526 w 2433669"/>
                    <a:gd name="connsiteY65" fmla="*/ 1167085 h 2172952"/>
                    <a:gd name="connsiteX66" fmla="*/ 968650 w 2433669"/>
                    <a:gd name="connsiteY66" fmla="*/ 1165318 h 2172952"/>
                    <a:gd name="connsiteX67" fmla="*/ 967526 w 2433669"/>
                    <a:gd name="connsiteY67" fmla="*/ 1165077 h 2172952"/>
                    <a:gd name="connsiteX68" fmla="*/ 967285 w 2433669"/>
                    <a:gd name="connsiteY68" fmla="*/ 1167246 h 2172952"/>
                    <a:gd name="connsiteX69" fmla="*/ 967526 w 2433669"/>
                    <a:gd name="connsiteY69" fmla="*/ 1167085 h 2172952"/>
                    <a:gd name="connsiteX70" fmla="*/ 1320808 w 2433669"/>
                    <a:gd name="connsiteY70" fmla="*/ 1066997 h 2172952"/>
                    <a:gd name="connsiteX71" fmla="*/ 1321852 w 2433669"/>
                    <a:gd name="connsiteY71" fmla="*/ 1068362 h 2172952"/>
                    <a:gd name="connsiteX72" fmla="*/ 1322174 w 2433669"/>
                    <a:gd name="connsiteY72" fmla="*/ 1068362 h 2172952"/>
                    <a:gd name="connsiteX73" fmla="*/ 1322977 w 2433669"/>
                    <a:gd name="connsiteY73" fmla="*/ 1068362 h 2172952"/>
                    <a:gd name="connsiteX74" fmla="*/ 1325306 w 2433669"/>
                    <a:gd name="connsiteY74" fmla="*/ 1066595 h 2172952"/>
                    <a:gd name="connsiteX75" fmla="*/ 1321210 w 2433669"/>
                    <a:gd name="connsiteY75" fmla="*/ 1064988 h 2172952"/>
                    <a:gd name="connsiteX76" fmla="*/ 1320808 w 2433669"/>
                    <a:gd name="connsiteY76" fmla="*/ 1066997 h 2172952"/>
                    <a:gd name="connsiteX77" fmla="*/ 1318720 w 2433669"/>
                    <a:gd name="connsiteY77" fmla="*/ 1064426 h 2172952"/>
                    <a:gd name="connsiteX78" fmla="*/ 1318800 w 2433669"/>
                    <a:gd name="connsiteY78" fmla="*/ 1064667 h 2172952"/>
                    <a:gd name="connsiteX79" fmla="*/ 1321290 w 2433669"/>
                    <a:gd name="connsiteY79" fmla="*/ 1063061 h 2172952"/>
                    <a:gd name="connsiteX80" fmla="*/ 1320165 w 2433669"/>
                    <a:gd name="connsiteY80" fmla="*/ 1062016 h 2172952"/>
                    <a:gd name="connsiteX81" fmla="*/ 1318720 w 2433669"/>
                    <a:gd name="connsiteY81" fmla="*/ 1064426 h 2172952"/>
                    <a:gd name="connsiteX82" fmla="*/ 1305224 w 2433669"/>
                    <a:gd name="connsiteY82" fmla="*/ 1058321 h 2172952"/>
                    <a:gd name="connsiteX83" fmla="*/ 1306269 w 2433669"/>
                    <a:gd name="connsiteY83" fmla="*/ 1057036 h 2172952"/>
                    <a:gd name="connsiteX84" fmla="*/ 1304341 w 2433669"/>
                    <a:gd name="connsiteY84" fmla="*/ 1056875 h 2172952"/>
                    <a:gd name="connsiteX85" fmla="*/ 1303939 w 2433669"/>
                    <a:gd name="connsiteY85" fmla="*/ 1057518 h 2172952"/>
                    <a:gd name="connsiteX86" fmla="*/ 1305224 w 2433669"/>
                    <a:gd name="connsiteY86" fmla="*/ 1058321 h 2172952"/>
                    <a:gd name="connsiteX87" fmla="*/ 824462 w 2433669"/>
                    <a:gd name="connsiteY87" fmla="*/ 1133749 h 2172952"/>
                    <a:gd name="connsiteX88" fmla="*/ 828237 w 2433669"/>
                    <a:gd name="connsiteY88" fmla="*/ 1134713 h 2172952"/>
                    <a:gd name="connsiteX89" fmla="*/ 823980 w 2433669"/>
                    <a:gd name="connsiteY89" fmla="*/ 1132705 h 2172952"/>
                    <a:gd name="connsiteX90" fmla="*/ 824462 w 2433669"/>
                    <a:gd name="connsiteY90" fmla="*/ 1133749 h 2172952"/>
                    <a:gd name="connsiteX91" fmla="*/ 1299682 w 2433669"/>
                    <a:gd name="connsiteY91" fmla="*/ 1049244 h 2172952"/>
                    <a:gd name="connsiteX92" fmla="*/ 1300084 w 2433669"/>
                    <a:gd name="connsiteY92" fmla="*/ 1052136 h 2172952"/>
                    <a:gd name="connsiteX93" fmla="*/ 1302493 w 2433669"/>
                    <a:gd name="connsiteY93" fmla="*/ 1048682 h 2172952"/>
                    <a:gd name="connsiteX94" fmla="*/ 1301610 w 2433669"/>
                    <a:gd name="connsiteY94" fmla="*/ 1047397 h 2172952"/>
                    <a:gd name="connsiteX95" fmla="*/ 1312293 w 2433669"/>
                    <a:gd name="connsiteY95" fmla="*/ 1065310 h 2172952"/>
                    <a:gd name="connsiteX96" fmla="*/ 1318077 w 2433669"/>
                    <a:gd name="connsiteY96" fmla="*/ 1061534 h 2172952"/>
                    <a:gd name="connsiteX97" fmla="*/ 1320567 w 2433669"/>
                    <a:gd name="connsiteY97" fmla="*/ 1057357 h 2172952"/>
                    <a:gd name="connsiteX98" fmla="*/ 1326993 w 2433669"/>
                    <a:gd name="connsiteY98" fmla="*/ 1062177 h 2172952"/>
                    <a:gd name="connsiteX99" fmla="*/ 1325547 w 2433669"/>
                    <a:gd name="connsiteY99" fmla="*/ 1064346 h 2172952"/>
                    <a:gd name="connsiteX100" fmla="*/ 1346031 w 2433669"/>
                    <a:gd name="connsiteY100" fmla="*/ 1064506 h 2172952"/>
                    <a:gd name="connsiteX101" fmla="*/ 1341613 w 2433669"/>
                    <a:gd name="connsiteY101" fmla="*/ 1063382 h 2172952"/>
                    <a:gd name="connsiteX102" fmla="*/ 1358562 w 2433669"/>
                    <a:gd name="connsiteY102" fmla="*/ 1043541 h 2172952"/>
                    <a:gd name="connsiteX103" fmla="*/ 1354064 w 2433669"/>
                    <a:gd name="connsiteY103" fmla="*/ 1048200 h 2172952"/>
                    <a:gd name="connsiteX104" fmla="*/ 1355911 w 2433669"/>
                    <a:gd name="connsiteY104" fmla="*/ 1042497 h 2172952"/>
                    <a:gd name="connsiteX105" fmla="*/ 1357839 w 2433669"/>
                    <a:gd name="connsiteY105" fmla="*/ 1043059 h 2172952"/>
                    <a:gd name="connsiteX106" fmla="*/ 1364748 w 2433669"/>
                    <a:gd name="connsiteY106" fmla="*/ 1018720 h 2172952"/>
                    <a:gd name="connsiteX107" fmla="*/ 1322977 w 2433669"/>
                    <a:gd name="connsiteY107" fmla="*/ 1030769 h 2172952"/>
                    <a:gd name="connsiteX108" fmla="*/ 1305465 w 2433669"/>
                    <a:gd name="connsiteY108" fmla="*/ 1030287 h 2172952"/>
                    <a:gd name="connsiteX109" fmla="*/ 1299682 w 2433669"/>
                    <a:gd name="connsiteY109" fmla="*/ 1049244 h 2172952"/>
                    <a:gd name="connsiteX110" fmla="*/ 1299200 w 2433669"/>
                    <a:gd name="connsiteY110" fmla="*/ 1026511 h 2172952"/>
                    <a:gd name="connsiteX111" fmla="*/ 1300405 w 2433669"/>
                    <a:gd name="connsiteY111" fmla="*/ 1025306 h 2172952"/>
                    <a:gd name="connsiteX112" fmla="*/ 1297995 w 2433669"/>
                    <a:gd name="connsiteY112" fmla="*/ 1025547 h 2172952"/>
                    <a:gd name="connsiteX113" fmla="*/ 1299200 w 2433669"/>
                    <a:gd name="connsiteY113" fmla="*/ 1026511 h 2172952"/>
                    <a:gd name="connsiteX114" fmla="*/ 821088 w 2433669"/>
                    <a:gd name="connsiteY114" fmla="*/ 1141380 h 2172952"/>
                    <a:gd name="connsiteX115" fmla="*/ 826068 w 2433669"/>
                    <a:gd name="connsiteY115" fmla="*/ 1146120 h 2172952"/>
                    <a:gd name="connsiteX116" fmla="*/ 859404 w 2433669"/>
                    <a:gd name="connsiteY116" fmla="*/ 1163230 h 2172952"/>
                    <a:gd name="connsiteX117" fmla="*/ 858440 w 2433669"/>
                    <a:gd name="connsiteY117" fmla="*/ 1164997 h 2172952"/>
                    <a:gd name="connsiteX118" fmla="*/ 862055 w 2433669"/>
                    <a:gd name="connsiteY118" fmla="*/ 1165639 h 2172952"/>
                    <a:gd name="connsiteX119" fmla="*/ 854665 w 2433669"/>
                    <a:gd name="connsiteY119" fmla="*/ 1172066 h 2172952"/>
                    <a:gd name="connsiteX120" fmla="*/ 864786 w 2433669"/>
                    <a:gd name="connsiteY120" fmla="*/ 1170941 h 2172952"/>
                    <a:gd name="connsiteX121" fmla="*/ 862617 w 2433669"/>
                    <a:gd name="connsiteY121" fmla="*/ 1170620 h 2172952"/>
                    <a:gd name="connsiteX122" fmla="*/ 871694 w 2433669"/>
                    <a:gd name="connsiteY122" fmla="*/ 1166684 h 2172952"/>
                    <a:gd name="connsiteX123" fmla="*/ 870168 w 2433669"/>
                    <a:gd name="connsiteY123" fmla="*/ 1170379 h 2172952"/>
                    <a:gd name="connsiteX124" fmla="*/ 888242 w 2433669"/>
                    <a:gd name="connsiteY124" fmla="*/ 1171262 h 2172952"/>
                    <a:gd name="connsiteX125" fmla="*/ 972104 w 2433669"/>
                    <a:gd name="connsiteY125" fmla="*/ 1176966 h 2172952"/>
                    <a:gd name="connsiteX126" fmla="*/ 977245 w 2433669"/>
                    <a:gd name="connsiteY126" fmla="*/ 1177126 h 2172952"/>
                    <a:gd name="connsiteX127" fmla="*/ 975317 w 2433669"/>
                    <a:gd name="connsiteY127" fmla="*/ 1175038 h 2172952"/>
                    <a:gd name="connsiteX128" fmla="*/ 979736 w 2433669"/>
                    <a:gd name="connsiteY128" fmla="*/ 1175198 h 2172952"/>
                    <a:gd name="connsiteX129" fmla="*/ 969614 w 2433669"/>
                    <a:gd name="connsiteY129" fmla="*/ 1173512 h 2172952"/>
                    <a:gd name="connsiteX130" fmla="*/ 972827 w 2433669"/>
                    <a:gd name="connsiteY130" fmla="*/ 1171664 h 2172952"/>
                    <a:gd name="connsiteX131" fmla="*/ 968972 w 2433669"/>
                    <a:gd name="connsiteY131" fmla="*/ 1170781 h 2172952"/>
                    <a:gd name="connsiteX132" fmla="*/ 973631 w 2433669"/>
                    <a:gd name="connsiteY132" fmla="*/ 1169817 h 2172952"/>
                    <a:gd name="connsiteX133" fmla="*/ 969695 w 2433669"/>
                    <a:gd name="connsiteY133" fmla="*/ 1168531 h 2172952"/>
                    <a:gd name="connsiteX134" fmla="*/ 970176 w 2433669"/>
                    <a:gd name="connsiteY134" fmla="*/ 1166764 h 2172952"/>
                    <a:gd name="connsiteX135" fmla="*/ 965598 w 2433669"/>
                    <a:gd name="connsiteY135" fmla="*/ 1169576 h 2172952"/>
                    <a:gd name="connsiteX136" fmla="*/ 965999 w 2433669"/>
                    <a:gd name="connsiteY136" fmla="*/ 1168692 h 2172952"/>
                    <a:gd name="connsiteX137" fmla="*/ 965517 w 2433669"/>
                    <a:gd name="connsiteY137" fmla="*/ 1167969 h 2172952"/>
                    <a:gd name="connsiteX138" fmla="*/ 964393 w 2433669"/>
                    <a:gd name="connsiteY138" fmla="*/ 1167969 h 2172952"/>
                    <a:gd name="connsiteX139" fmla="*/ 966642 w 2433669"/>
                    <a:gd name="connsiteY139" fmla="*/ 1165238 h 2172952"/>
                    <a:gd name="connsiteX140" fmla="*/ 964473 w 2433669"/>
                    <a:gd name="connsiteY140" fmla="*/ 1163872 h 2172952"/>
                    <a:gd name="connsiteX141" fmla="*/ 962224 w 2433669"/>
                    <a:gd name="connsiteY141" fmla="*/ 1164997 h 2172952"/>
                    <a:gd name="connsiteX142" fmla="*/ 963108 w 2433669"/>
                    <a:gd name="connsiteY142" fmla="*/ 1162989 h 2172952"/>
                    <a:gd name="connsiteX143" fmla="*/ 958449 w 2433669"/>
                    <a:gd name="connsiteY143" fmla="*/ 1161784 h 2172952"/>
                    <a:gd name="connsiteX144" fmla="*/ 958047 w 2433669"/>
                    <a:gd name="connsiteY144" fmla="*/ 1163953 h 2172952"/>
                    <a:gd name="connsiteX145" fmla="*/ 948890 w 2433669"/>
                    <a:gd name="connsiteY145" fmla="*/ 1161543 h 2172952"/>
                    <a:gd name="connsiteX146" fmla="*/ 923104 w 2433669"/>
                    <a:gd name="connsiteY146" fmla="*/ 1156000 h 2172952"/>
                    <a:gd name="connsiteX147" fmla="*/ 909770 w 2433669"/>
                    <a:gd name="connsiteY147" fmla="*/ 1153510 h 2172952"/>
                    <a:gd name="connsiteX148" fmla="*/ 909449 w 2433669"/>
                    <a:gd name="connsiteY148" fmla="*/ 1152385 h 2172952"/>
                    <a:gd name="connsiteX149" fmla="*/ 908163 w 2433669"/>
                    <a:gd name="connsiteY149" fmla="*/ 1152546 h 2172952"/>
                    <a:gd name="connsiteX150" fmla="*/ 908886 w 2433669"/>
                    <a:gd name="connsiteY150" fmla="*/ 1152064 h 2172952"/>
                    <a:gd name="connsiteX151" fmla="*/ 898283 w 2433669"/>
                    <a:gd name="connsiteY151" fmla="*/ 1150939 h 2172952"/>
                    <a:gd name="connsiteX152" fmla="*/ 899729 w 2433669"/>
                    <a:gd name="connsiteY152" fmla="*/ 1149413 h 2172952"/>
                    <a:gd name="connsiteX153" fmla="*/ 894106 w 2433669"/>
                    <a:gd name="connsiteY153" fmla="*/ 1150618 h 2172952"/>
                    <a:gd name="connsiteX154" fmla="*/ 894427 w 2433669"/>
                    <a:gd name="connsiteY154" fmla="*/ 1148931 h 2172952"/>
                    <a:gd name="connsiteX155" fmla="*/ 892017 w 2433669"/>
                    <a:gd name="connsiteY155" fmla="*/ 1150056 h 2172952"/>
                    <a:gd name="connsiteX156" fmla="*/ 886153 w 2433669"/>
                    <a:gd name="connsiteY156" fmla="*/ 1146762 h 2172952"/>
                    <a:gd name="connsiteX157" fmla="*/ 886153 w 2433669"/>
                    <a:gd name="connsiteY157" fmla="*/ 1149494 h 2172952"/>
                    <a:gd name="connsiteX158" fmla="*/ 878844 w 2433669"/>
                    <a:gd name="connsiteY158" fmla="*/ 1144674 h 2172952"/>
                    <a:gd name="connsiteX159" fmla="*/ 841170 w 2433669"/>
                    <a:gd name="connsiteY159" fmla="*/ 1124672 h 2172952"/>
                    <a:gd name="connsiteX160" fmla="*/ 824462 w 2433669"/>
                    <a:gd name="connsiteY160" fmla="*/ 1135918 h 2172952"/>
                    <a:gd name="connsiteX161" fmla="*/ 829683 w 2433669"/>
                    <a:gd name="connsiteY161" fmla="*/ 1140015 h 2172952"/>
                    <a:gd name="connsiteX162" fmla="*/ 824703 w 2433669"/>
                    <a:gd name="connsiteY162" fmla="*/ 1138328 h 2172952"/>
                    <a:gd name="connsiteX163" fmla="*/ 824863 w 2433669"/>
                    <a:gd name="connsiteY163" fmla="*/ 1137123 h 2172952"/>
                    <a:gd name="connsiteX164" fmla="*/ 821248 w 2433669"/>
                    <a:gd name="connsiteY164" fmla="*/ 1138007 h 2172952"/>
                    <a:gd name="connsiteX165" fmla="*/ 821088 w 2433669"/>
                    <a:gd name="connsiteY165" fmla="*/ 1138649 h 2172952"/>
                    <a:gd name="connsiteX166" fmla="*/ 819642 w 2433669"/>
                    <a:gd name="connsiteY166" fmla="*/ 1138971 h 2172952"/>
                    <a:gd name="connsiteX167" fmla="*/ 825425 w 2433669"/>
                    <a:gd name="connsiteY167" fmla="*/ 1140898 h 2172952"/>
                    <a:gd name="connsiteX168" fmla="*/ 819963 w 2433669"/>
                    <a:gd name="connsiteY168" fmla="*/ 1140979 h 2172952"/>
                    <a:gd name="connsiteX169" fmla="*/ 821088 w 2433669"/>
                    <a:gd name="connsiteY169" fmla="*/ 1141380 h 2172952"/>
                    <a:gd name="connsiteX170" fmla="*/ 1295746 w 2433669"/>
                    <a:gd name="connsiteY170" fmla="*/ 1025628 h 2172952"/>
                    <a:gd name="connsiteX171" fmla="*/ 1296147 w 2433669"/>
                    <a:gd name="connsiteY171" fmla="*/ 1024985 h 2172952"/>
                    <a:gd name="connsiteX172" fmla="*/ 1294862 w 2433669"/>
                    <a:gd name="connsiteY172" fmla="*/ 1025708 h 2172952"/>
                    <a:gd name="connsiteX173" fmla="*/ 1295746 w 2433669"/>
                    <a:gd name="connsiteY173" fmla="*/ 1025628 h 2172952"/>
                    <a:gd name="connsiteX174" fmla="*/ 1363382 w 2433669"/>
                    <a:gd name="connsiteY174" fmla="*/ 1016390 h 2172952"/>
                    <a:gd name="connsiteX175" fmla="*/ 1364025 w 2433669"/>
                    <a:gd name="connsiteY175" fmla="*/ 1017675 h 2172952"/>
                    <a:gd name="connsiteX176" fmla="*/ 1364667 w 2433669"/>
                    <a:gd name="connsiteY176" fmla="*/ 1015908 h 2172952"/>
                    <a:gd name="connsiteX177" fmla="*/ 1363221 w 2433669"/>
                    <a:gd name="connsiteY177" fmla="*/ 1015346 h 2172952"/>
                    <a:gd name="connsiteX178" fmla="*/ 1363382 w 2433669"/>
                    <a:gd name="connsiteY178" fmla="*/ 1016390 h 2172952"/>
                    <a:gd name="connsiteX179" fmla="*/ 1296308 w 2433669"/>
                    <a:gd name="connsiteY179" fmla="*/ 1024824 h 2172952"/>
                    <a:gd name="connsiteX180" fmla="*/ 1299521 w 2433669"/>
                    <a:gd name="connsiteY180" fmla="*/ 1023138 h 2172952"/>
                    <a:gd name="connsiteX181" fmla="*/ 1300485 w 2433669"/>
                    <a:gd name="connsiteY181" fmla="*/ 1022575 h 2172952"/>
                    <a:gd name="connsiteX182" fmla="*/ 1296308 w 2433669"/>
                    <a:gd name="connsiteY182" fmla="*/ 1024583 h 2172952"/>
                    <a:gd name="connsiteX183" fmla="*/ 1296147 w 2433669"/>
                    <a:gd name="connsiteY183" fmla="*/ 1024905 h 2172952"/>
                    <a:gd name="connsiteX184" fmla="*/ 1296308 w 2433669"/>
                    <a:gd name="connsiteY184" fmla="*/ 1024824 h 2172952"/>
                    <a:gd name="connsiteX185" fmla="*/ 1296308 w 2433669"/>
                    <a:gd name="connsiteY185" fmla="*/ 1020728 h 2172952"/>
                    <a:gd name="connsiteX186" fmla="*/ 1298638 w 2433669"/>
                    <a:gd name="connsiteY186" fmla="*/ 1020647 h 2172952"/>
                    <a:gd name="connsiteX187" fmla="*/ 1305546 w 2433669"/>
                    <a:gd name="connsiteY187" fmla="*/ 1014703 h 2172952"/>
                    <a:gd name="connsiteX188" fmla="*/ 1302011 w 2433669"/>
                    <a:gd name="connsiteY188" fmla="*/ 1013016 h 2172952"/>
                    <a:gd name="connsiteX189" fmla="*/ 1295826 w 2433669"/>
                    <a:gd name="connsiteY189" fmla="*/ 1017836 h 2172952"/>
                    <a:gd name="connsiteX190" fmla="*/ 1296951 w 2433669"/>
                    <a:gd name="connsiteY190" fmla="*/ 1019443 h 2172952"/>
                    <a:gd name="connsiteX191" fmla="*/ 1295906 w 2433669"/>
                    <a:gd name="connsiteY191" fmla="*/ 1020728 h 2172952"/>
                    <a:gd name="connsiteX192" fmla="*/ 1296308 w 2433669"/>
                    <a:gd name="connsiteY192" fmla="*/ 1020728 h 2172952"/>
                    <a:gd name="connsiteX193" fmla="*/ 1353180 w 2433669"/>
                    <a:gd name="connsiteY193" fmla="*/ 988114 h 2172952"/>
                    <a:gd name="connsiteX194" fmla="*/ 1348843 w 2433669"/>
                    <a:gd name="connsiteY194" fmla="*/ 989079 h 2172952"/>
                    <a:gd name="connsiteX195" fmla="*/ 1353180 w 2433669"/>
                    <a:gd name="connsiteY195" fmla="*/ 988114 h 2172952"/>
                    <a:gd name="connsiteX196" fmla="*/ 779639 w 2433669"/>
                    <a:gd name="connsiteY196" fmla="*/ 1077439 h 2172952"/>
                    <a:gd name="connsiteX197" fmla="*/ 778032 w 2433669"/>
                    <a:gd name="connsiteY197" fmla="*/ 1075592 h 2172952"/>
                    <a:gd name="connsiteX198" fmla="*/ 776586 w 2433669"/>
                    <a:gd name="connsiteY198" fmla="*/ 1079930 h 2172952"/>
                    <a:gd name="connsiteX199" fmla="*/ 779639 w 2433669"/>
                    <a:gd name="connsiteY199" fmla="*/ 1077439 h 2172952"/>
                    <a:gd name="connsiteX200" fmla="*/ 1490380 w 2433669"/>
                    <a:gd name="connsiteY200" fmla="*/ 931805 h 2172952"/>
                    <a:gd name="connsiteX201" fmla="*/ 1505803 w 2433669"/>
                    <a:gd name="connsiteY201" fmla="*/ 937428 h 2172952"/>
                    <a:gd name="connsiteX202" fmla="*/ 1491826 w 2433669"/>
                    <a:gd name="connsiteY202" fmla="*/ 931323 h 2172952"/>
                    <a:gd name="connsiteX203" fmla="*/ 1492630 w 2433669"/>
                    <a:gd name="connsiteY203" fmla="*/ 932528 h 2172952"/>
                    <a:gd name="connsiteX204" fmla="*/ 1490380 w 2433669"/>
                    <a:gd name="connsiteY204" fmla="*/ 931805 h 2172952"/>
                    <a:gd name="connsiteX205" fmla="*/ 1490380 w 2433669"/>
                    <a:gd name="connsiteY205" fmla="*/ 931805 h 2172952"/>
                    <a:gd name="connsiteX206" fmla="*/ 793294 w 2433669"/>
                    <a:gd name="connsiteY206" fmla="*/ 1060490 h 2172952"/>
                    <a:gd name="connsiteX207" fmla="*/ 793294 w 2433669"/>
                    <a:gd name="connsiteY207" fmla="*/ 1060490 h 2172952"/>
                    <a:gd name="connsiteX208" fmla="*/ 793294 w 2433669"/>
                    <a:gd name="connsiteY208" fmla="*/ 1060490 h 2172952"/>
                    <a:gd name="connsiteX209" fmla="*/ 793294 w 2433669"/>
                    <a:gd name="connsiteY209" fmla="*/ 1060490 h 2172952"/>
                    <a:gd name="connsiteX210" fmla="*/ 793294 w 2433669"/>
                    <a:gd name="connsiteY210" fmla="*/ 1060490 h 2172952"/>
                    <a:gd name="connsiteX211" fmla="*/ 793294 w 2433669"/>
                    <a:gd name="connsiteY211" fmla="*/ 1060490 h 2172952"/>
                    <a:gd name="connsiteX212" fmla="*/ 793375 w 2433669"/>
                    <a:gd name="connsiteY212" fmla="*/ 1060490 h 2172952"/>
                    <a:gd name="connsiteX213" fmla="*/ 793455 w 2433669"/>
                    <a:gd name="connsiteY213" fmla="*/ 1060490 h 2172952"/>
                    <a:gd name="connsiteX214" fmla="*/ 793455 w 2433669"/>
                    <a:gd name="connsiteY214" fmla="*/ 1060490 h 2172952"/>
                    <a:gd name="connsiteX215" fmla="*/ 793455 w 2433669"/>
                    <a:gd name="connsiteY215" fmla="*/ 1060490 h 2172952"/>
                    <a:gd name="connsiteX216" fmla="*/ 793455 w 2433669"/>
                    <a:gd name="connsiteY216" fmla="*/ 1060490 h 2172952"/>
                    <a:gd name="connsiteX217" fmla="*/ 793455 w 2433669"/>
                    <a:gd name="connsiteY217" fmla="*/ 1060490 h 2172952"/>
                    <a:gd name="connsiteX218" fmla="*/ 793455 w 2433669"/>
                    <a:gd name="connsiteY218" fmla="*/ 1060490 h 2172952"/>
                    <a:gd name="connsiteX219" fmla="*/ 793455 w 2433669"/>
                    <a:gd name="connsiteY219" fmla="*/ 1060490 h 2172952"/>
                    <a:gd name="connsiteX220" fmla="*/ 793455 w 2433669"/>
                    <a:gd name="connsiteY220" fmla="*/ 1060490 h 2172952"/>
                    <a:gd name="connsiteX221" fmla="*/ 793455 w 2433669"/>
                    <a:gd name="connsiteY221" fmla="*/ 1060490 h 2172952"/>
                    <a:gd name="connsiteX222" fmla="*/ 793294 w 2433669"/>
                    <a:gd name="connsiteY222" fmla="*/ 1060490 h 2172952"/>
                    <a:gd name="connsiteX223" fmla="*/ 793294 w 2433669"/>
                    <a:gd name="connsiteY223" fmla="*/ 1060490 h 2172952"/>
                    <a:gd name="connsiteX224" fmla="*/ 734093 w 2433669"/>
                    <a:gd name="connsiteY224" fmla="*/ 1115756 h 2172952"/>
                    <a:gd name="connsiteX225" fmla="*/ 748552 w 2433669"/>
                    <a:gd name="connsiteY225" fmla="*/ 1133348 h 2172952"/>
                    <a:gd name="connsiteX226" fmla="*/ 764296 w 2433669"/>
                    <a:gd name="connsiteY226" fmla="*/ 1134954 h 2172952"/>
                    <a:gd name="connsiteX227" fmla="*/ 815063 w 2433669"/>
                    <a:gd name="connsiteY227" fmla="*/ 1125797 h 2172952"/>
                    <a:gd name="connsiteX228" fmla="*/ 793937 w 2433669"/>
                    <a:gd name="connsiteY228" fmla="*/ 1096798 h 2172952"/>
                    <a:gd name="connsiteX229" fmla="*/ 794740 w 2433669"/>
                    <a:gd name="connsiteY229" fmla="*/ 1089489 h 2172952"/>
                    <a:gd name="connsiteX230" fmla="*/ 796668 w 2433669"/>
                    <a:gd name="connsiteY230" fmla="*/ 1085633 h 2172952"/>
                    <a:gd name="connsiteX231" fmla="*/ 794901 w 2433669"/>
                    <a:gd name="connsiteY231" fmla="*/ 1087641 h 2172952"/>
                    <a:gd name="connsiteX232" fmla="*/ 790884 w 2433669"/>
                    <a:gd name="connsiteY232" fmla="*/ 1086838 h 2172952"/>
                    <a:gd name="connsiteX233" fmla="*/ 801568 w 2433669"/>
                    <a:gd name="connsiteY233" fmla="*/ 1074628 h 2172952"/>
                    <a:gd name="connsiteX234" fmla="*/ 798435 w 2433669"/>
                    <a:gd name="connsiteY234" fmla="*/ 1076877 h 2172952"/>
                    <a:gd name="connsiteX235" fmla="*/ 798837 w 2433669"/>
                    <a:gd name="connsiteY235" fmla="*/ 1070531 h 2172952"/>
                    <a:gd name="connsiteX236" fmla="*/ 798998 w 2433669"/>
                    <a:gd name="connsiteY236" fmla="*/ 1071736 h 2172952"/>
                    <a:gd name="connsiteX237" fmla="*/ 804139 w 2433669"/>
                    <a:gd name="connsiteY237" fmla="*/ 1065149 h 2172952"/>
                    <a:gd name="connsiteX238" fmla="*/ 803576 w 2433669"/>
                    <a:gd name="connsiteY238" fmla="*/ 1071736 h 2172952"/>
                    <a:gd name="connsiteX239" fmla="*/ 806870 w 2433669"/>
                    <a:gd name="connsiteY239" fmla="*/ 1055590 h 2172952"/>
                    <a:gd name="connsiteX240" fmla="*/ 812091 w 2433669"/>
                    <a:gd name="connsiteY240" fmla="*/ 1056715 h 2172952"/>
                    <a:gd name="connsiteX241" fmla="*/ 820124 w 2433669"/>
                    <a:gd name="connsiteY241" fmla="*/ 1039043 h 2172952"/>
                    <a:gd name="connsiteX242" fmla="*/ 813858 w 2433669"/>
                    <a:gd name="connsiteY242" fmla="*/ 1040488 h 2172952"/>
                    <a:gd name="connsiteX243" fmla="*/ 811609 w 2433669"/>
                    <a:gd name="connsiteY243" fmla="*/ 1049164 h 2172952"/>
                    <a:gd name="connsiteX244" fmla="*/ 808155 w 2433669"/>
                    <a:gd name="connsiteY244" fmla="*/ 1048280 h 2172952"/>
                    <a:gd name="connsiteX245" fmla="*/ 791607 w 2433669"/>
                    <a:gd name="connsiteY245" fmla="*/ 1067157 h 2172952"/>
                    <a:gd name="connsiteX246" fmla="*/ 794901 w 2433669"/>
                    <a:gd name="connsiteY246" fmla="*/ 1065952 h 2172952"/>
                    <a:gd name="connsiteX247" fmla="*/ 790724 w 2433669"/>
                    <a:gd name="connsiteY247" fmla="*/ 1084187 h 2172952"/>
                    <a:gd name="connsiteX248" fmla="*/ 778835 w 2433669"/>
                    <a:gd name="connsiteY248" fmla="*/ 1083544 h 2172952"/>
                    <a:gd name="connsiteX249" fmla="*/ 778996 w 2433669"/>
                    <a:gd name="connsiteY249" fmla="*/ 1081375 h 2172952"/>
                    <a:gd name="connsiteX250" fmla="*/ 774578 w 2433669"/>
                    <a:gd name="connsiteY250" fmla="*/ 1086597 h 2172952"/>
                    <a:gd name="connsiteX251" fmla="*/ 766465 w 2433669"/>
                    <a:gd name="connsiteY251" fmla="*/ 1104430 h 2172952"/>
                    <a:gd name="connsiteX252" fmla="*/ 733129 w 2433669"/>
                    <a:gd name="connsiteY252" fmla="*/ 1113346 h 2172952"/>
                    <a:gd name="connsiteX253" fmla="*/ 734093 w 2433669"/>
                    <a:gd name="connsiteY253" fmla="*/ 1115756 h 2172952"/>
                    <a:gd name="connsiteX254" fmla="*/ 1349807 w 2433669"/>
                    <a:gd name="connsiteY254" fmla="*/ 986026 h 2172952"/>
                    <a:gd name="connsiteX255" fmla="*/ 1349807 w 2433669"/>
                    <a:gd name="connsiteY255" fmla="*/ 986026 h 2172952"/>
                    <a:gd name="connsiteX256" fmla="*/ 1349807 w 2433669"/>
                    <a:gd name="connsiteY256" fmla="*/ 986026 h 2172952"/>
                    <a:gd name="connsiteX257" fmla="*/ 1349726 w 2433669"/>
                    <a:gd name="connsiteY257" fmla="*/ 986026 h 2172952"/>
                    <a:gd name="connsiteX258" fmla="*/ 1349726 w 2433669"/>
                    <a:gd name="connsiteY258" fmla="*/ 986026 h 2172952"/>
                    <a:gd name="connsiteX259" fmla="*/ 1349726 w 2433669"/>
                    <a:gd name="connsiteY259" fmla="*/ 986026 h 2172952"/>
                    <a:gd name="connsiteX260" fmla="*/ 1349726 w 2433669"/>
                    <a:gd name="connsiteY260" fmla="*/ 986026 h 2172952"/>
                    <a:gd name="connsiteX261" fmla="*/ 1349646 w 2433669"/>
                    <a:gd name="connsiteY261" fmla="*/ 986026 h 2172952"/>
                    <a:gd name="connsiteX262" fmla="*/ 1349726 w 2433669"/>
                    <a:gd name="connsiteY262" fmla="*/ 986026 h 2172952"/>
                    <a:gd name="connsiteX263" fmla="*/ 1349646 w 2433669"/>
                    <a:gd name="connsiteY263" fmla="*/ 986026 h 2172952"/>
                    <a:gd name="connsiteX264" fmla="*/ 1349646 w 2433669"/>
                    <a:gd name="connsiteY264" fmla="*/ 986026 h 2172952"/>
                    <a:gd name="connsiteX265" fmla="*/ 1349646 w 2433669"/>
                    <a:gd name="connsiteY265" fmla="*/ 986026 h 2172952"/>
                    <a:gd name="connsiteX266" fmla="*/ 1349566 w 2433669"/>
                    <a:gd name="connsiteY266" fmla="*/ 986026 h 2172952"/>
                    <a:gd name="connsiteX267" fmla="*/ 1349405 w 2433669"/>
                    <a:gd name="connsiteY267" fmla="*/ 986026 h 2172952"/>
                    <a:gd name="connsiteX268" fmla="*/ 1349566 w 2433669"/>
                    <a:gd name="connsiteY268" fmla="*/ 986026 h 2172952"/>
                    <a:gd name="connsiteX269" fmla="*/ 1349405 w 2433669"/>
                    <a:gd name="connsiteY269" fmla="*/ 986026 h 2172952"/>
                    <a:gd name="connsiteX270" fmla="*/ 1349325 w 2433669"/>
                    <a:gd name="connsiteY270" fmla="*/ 986026 h 2172952"/>
                    <a:gd name="connsiteX271" fmla="*/ 1349405 w 2433669"/>
                    <a:gd name="connsiteY271" fmla="*/ 986026 h 2172952"/>
                    <a:gd name="connsiteX272" fmla="*/ 1349325 w 2433669"/>
                    <a:gd name="connsiteY272" fmla="*/ 986026 h 2172952"/>
                    <a:gd name="connsiteX273" fmla="*/ 1349164 w 2433669"/>
                    <a:gd name="connsiteY273" fmla="*/ 986026 h 2172952"/>
                    <a:gd name="connsiteX274" fmla="*/ 1349325 w 2433669"/>
                    <a:gd name="connsiteY274" fmla="*/ 986026 h 2172952"/>
                    <a:gd name="connsiteX275" fmla="*/ 1349164 w 2433669"/>
                    <a:gd name="connsiteY275" fmla="*/ 986106 h 2172952"/>
                    <a:gd name="connsiteX276" fmla="*/ 1349003 w 2433669"/>
                    <a:gd name="connsiteY276" fmla="*/ 986106 h 2172952"/>
                    <a:gd name="connsiteX277" fmla="*/ 1349164 w 2433669"/>
                    <a:gd name="connsiteY277" fmla="*/ 986106 h 2172952"/>
                    <a:gd name="connsiteX278" fmla="*/ 1349003 w 2433669"/>
                    <a:gd name="connsiteY278" fmla="*/ 986106 h 2172952"/>
                    <a:gd name="connsiteX279" fmla="*/ 1348762 w 2433669"/>
                    <a:gd name="connsiteY279" fmla="*/ 986106 h 2172952"/>
                    <a:gd name="connsiteX280" fmla="*/ 1349003 w 2433669"/>
                    <a:gd name="connsiteY280" fmla="*/ 986106 h 2172952"/>
                    <a:gd name="connsiteX281" fmla="*/ 1348762 w 2433669"/>
                    <a:gd name="connsiteY281" fmla="*/ 986106 h 2172952"/>
                    <a:gd name="connsiteX282" fmla="*/ 1348602 w 2433669"/>
                    <a:gd name="connsiteY282" fmla="*/ 986106 h 2172952"/>
                    <a:gd name="connsiteX283" fmla="*/ 1348762 w 2433669"/>
                    <a:gd name="connsiteY283" fmla="*/ 986106 h 2172952"/>
                    <a:gd name="connsiteX284" fmla="*/ 1348602 w 2433669"/>
                    <a:gd name="connsiteY284" fmla="*/ 986187 h 2172952"/>
                    <a:gd name="connsiteX285" fmla="*/ 1348280 w 2433669"/>
                    <a:gd name="connsiteY285" fmla="*/ 986267 h 2172952"/>
                    <a:gd name="connsiteX286" fmla="*/ 1348602 w 2433669"/>
                    <a:gd name="connsiteY286" fmla="*/ 986187 h 2172952"/>
                    <a:gd name="connsiteX287" fmla="*/ 1348280 w 2433669"/>
                    <a:gd name="connsiteY287" fmla="*/ 986187 h 2172952"/>
                    <a:gd name="connsiteX288" fmla="*/ 1348120 w 2433669"/>
                    <a:gd name="connsiteY288" fmla="*/ 986187 h 2172952"/>
                    <a:gd name="connsiteX289" fmla="*/ 1348280 w 2433669"/>
                    <a:gd name="connsiteY289" fmla="*/ 986187 h 2172952"/>
                    <a:gd name="connsiteX290" fmla="*/ 1348200 w 2433669"/>
                    <a:gd name="connsiteY290" fmla="*/ 986187 h 2172952"/>
                    <a:gd name="connsiteX291" fmla="*/ 1347798 w 2433669"/>
                    <a:gd name="connsiteY291" fmla="*/ 986267 h 2172952"/>
                    <a:gd name="connsiteX292" fmla="*/ 1348200 w 2433669"/>
                    <a:gd name="connsiteY292" fmla="*/ 986187 h 2172952"/>
                    <a:gd name="connsiteX293" fmla="*/ 1347718 w 2433669"/>
                    <a:gd name="connsiteY293" fmla="*/ 986267 h 2172952"/>
                    <a:gd name="connsiteX294" fmla="*/ 1347638 w 2433669"/>
                    <a:gd name="connsiteY294" fmla="*/ 986267 h 2172952"/>
                    <a:gd name="connsiteX295" fmla="*/ 1347718 w 2433669"/>
                    <a:gd name="connsiteY295" fmla="*/ 986267 h 2172952"/>
                    <a:gd name="connsiteX296" fmla="*/ 1179431 w 2433669"/>
                    <a:gd name="connsiteY296" fmla="*/ 896059 h 2172952"/>
                    <a:gd name="connsiteX297" fmla="*/ 1205618 w 2433669"/>
                    <a:gd name="connsiteY297" fmla="*/ 926262 h 2172952"/>
                    <a:gd name="connsiteX298" fmla="*/ 1225941 w 2433669"/>
                    <a:gd name="connsiteY298" fmla="*/ 941203 h 2172952"/>
                    <a:gd name="connsiteX299" fmla="*/ 1228431 w 2433669"/>
                    <a:gd name="connsiteY299" fmla="*/ 941123 h 2172952"/>
                    <a:gd name="connsiteX300" fmla="*/ 1346513 w 2433669"/>
                    <a:gd name="connsiteY300" fmla="*/ 986669 h 2172952"/>
                    <a:gd name="connsiteX301" fmla="*/ 1347638 w 2433669"/>
                    <a:gd name="connsiteY301" fmla="*/ 986347 h 2172952"/>
                    <a:gd name="connsiteX302" fmla="*/ 1347075 w 2433669"/>
                    <a:gd name="connsiteY302" fmla="*/ 986428 h 2172952"/>
                    <a:gd name="connsiteX303" fmla="*/ 1359767 w 2433669"/>
                    <a:gd name="connsiteY303" fmla="*/ 984500 h 2172952"/>
                    <a:gd name="connsiteX304" fmla="*/ 1355188 w 2433669"/>
                    <a:gd name="connsiteY304" fmla="*/ 982411 h 2172952"/>
                    <a:gd name="connsiteX305" fmla="*/ 1362739 w 2433669"/>
                    <a:gd name="connsiteY305" fmla="*/ 980564 h 2172952"/>
                    <a:gd name="connsiteX306" fmla="*/ 1466282 w 2433669"/>
                    <a:gd name="connsiteY306" fmla="*/ 932849 h 2172952"/>
                    <a:gd name="connsiteX307" fmla="*/ 1462507 w 2433669"/>
                    <a:gd name="connsiteY307" fmla="*/ 932769 h 2172952"/>
                    <a:gd name="connsiteX308" fmla="*/ 1481143 w 2433669"/>
                    <a:gd name="connsiteY308" fmla="*/ 931885 h 2172952"/>
                    <a:gd name="connsiteX309" fmla="*/ 1481223 w 2433669"/>
                    <a:gd name="connsiteY309" fmla="*/ 911482 h 2172952"/>
                    <a:gd name="connsiteX310" fmla="*/ 1505562 w 2433669"/>
                    <a:gd name="connsiteY310" fmla="*/ 924495 h 2172952"/>
                    <a:gd name="connsiteX311" fmla="*/ 1484999 w 2433669"/>
                    <a:gd name="connsiteY311" fmla="*/ 889070 h 2172952"/>
                    <a:gd name="connsiteX312" fmla="*/ 1522753 w 2433669"/>
                    <a:gd name="connsiteY312" fmla="*/ 919515 h 2172952"/>
                    <a:gd name="connsiteX313" fmla="*/ 1538417 w 2433669"/>
                    <a:gd name="connsiteY313" fmla="*/ 912767 h 2172952"/>
                    <a:gd name="connsiteX314" fmla="*/ 1763737 w 2433669"/>
                    <a:gd name="connsiteY314" fmla="*/ 889472 h 2172952"/>
                    <a:gd name="connsiteX315" fmla="*/ 1902463 w 2433669"/>
                    <a:gd name="connsiteY315" fmla="*/ 893809 h 2172952"/>
                    <a:gd name="connsiteX316" fmla="*/ 1933309 w 2433669"/>
                    <a:gd name="connsiteY316" fmla="*/ 798139 h 2172952"/>
                    <a:gd name="connsiteX317" fmla="*/ 1924955 w 2433669"/>
                    <a:gd name="connsiteY317" fmla="*/ 794845 h 2172952"/>
                    <a:gd name="connsiteX318" fmla="*/ 1923348 w 2433669"/>
                    <a:gd name="connsiteY318" fmla="*/ 797095 h 2172952"/>
                    <a:gd name="connsiteX319" fmla="*/ 1921822 w 2433669"/>
                    <a:gd name="connsiteY319" fmla="*/ 795167 h 2172952"/>
                    <a:gd name="connsiteX320" fmla="*/ 1921822 w 2433669"/>
                    <a:gd name="connsiteY320" fmla="*/ 795167 h 2172952"/>
                    <a:gd name="connsiteX321" fmla="*/ 1921822 w 2433669"/>
                    <a:gd name="connsiteY321" fmla="*/ 795167 h 2172952"/>
                    <a:gd name="connsiteX322" fmla="*/ 1921822 w 2433669"/>
                    <a:gd name="connsiteY322" fmla="*/ 795167 h 2172952"/>
                    <a:gd name="connsiteX323" fmla="*/ 1921822 w 2433669"/>
                    <a:gd name="connsiteY323" fmla="*/ 795167 h 2172952"/>
                    <a:gd name="connsiteX324" fmla="*/ 1921822 w 2433669"/>
                    <a:gd name="connsiteY324" fmla="*/ 795167 h 2172952"/>
                    <a:gd name="connsiteX325" fmla="*/ 1921822 w 2433669"/>
                    <a:gd name="connsiteY325" fmla="*/ 795167 h 2172952"/>
                    <a:gd name="connsiteX326" fmla="*/ 1921822 w 2433669"/>
                    <a:gd name="connsiteY326" fmla="*/ 795167 h 2172952"/>
                    <a:gd name="connsiteX327" fmla="*/ 1915396 w 2433669"/>
                    <a:gd name="connsiteY327" fmla="*/ 741829 h 2172952"/>
                    <a:gd name="connsiteX328" fmla="*/ 1915476 w 2433669"/>
                    <a:gd name="connsiteY328" fmla="*/ 750103 h 2172952"/>
                    <a:gd name="connsiteX329" fmla="*/ 1749599 w 2433669"/>
                    <a:gd name="connsiteY329" fmla="*/ 686242 h 2172952"/>
                    <a:gd name="connsiteX330" fmla="*/ 1735943 w 2433669"/>
                    <a:gd name="connsiteY330" fmla="*/ 675960 h 2172952"/>
                    <a:gd name="connsiteX331" fmla="*/ 1738514 w 2433669"/>
                    <a:gd name="connsiteY331" fmla="*/ 672827 h 2172952"/>
                    <a:gd name="connsiteX332" fmla="*/ 1736345 w 2433669"/>
                    <a:gd name="connsiteY332" fmla="*/ 668972 h 2172952"/>
                    <a:gd name="connsiteX333" fmla="*/ 1722368 w 2433669"/>
                    <a:gd name="connsiteY333" fmla="*/ 669052 h 2172952"/>
                    <a:gd name="connsiteX334" fmla="*/ 1719797 w 2433669"/>
                    <a:gd name="connsiteY334" fmla="*/ 666240 h 2172952"/>
                    <a:gd name="connsiteX335" fmla="*/ 1722127 w 2433669"/>
                    <a:gd name="connsiteY335" fmla="*/ 662304 h 2172952"/>
                    <a:gd name="connsiteX336" fmla="*/ 1710720 w 2433669"/>
                    <a:gd name="connsiteY336" fmla="*/ 658931 h 2172952"/>
                    <a:gd name="connsiteX337" fmla="*/ 1713451 w 2433669"/>
                    <a:gd name="connsiteY337" fmla="*/ 656119 h 2172952"/>
                    <a:gd name="connsiteX338" fmla="*/ 1697225 w 2433669"/>
                    <a:gd name="connsiteY338" fmla="*/ 647926 h 2172952"/>
                    <a:gd name="connsiteX339" fmla="*/ 1695618 w 2433669"/>
                    <a:gd name="connsiteY339" fmla="*/ 647042 h 2172952"/>
                    <a:gd name="connsiteX340" fmla="*/ 1691843 w 2433669"/>
                    <a:gd name="connsiteY340" fmla="*/ 648327 h 2172952"/>
                    <a:gd name="connsiteX341" fmla="*/ 1652000 w 2433669"/>
                    <a:gd name="connsiteY341" fmla="*/ 658609 h 2172952"/>
                    <a:gd name="connsiteX342" fmla="*/ 1650314 w 2433669"/>
                    <a:gd name="connsiteY342" fmla="*/ 657404 h 2172952"/>
                    <a:gd name="connsiteX343" fmla="*/ 1629669 w 2433669"/>
                    <a:gd name="connsiteY343" fmla="*/ 657404 h 2172952"/>
                    <a:gd name="connsiteX344" fmla="*/ 1627099 w 2433669"/>
                    <a:gd name="connsiteY344" fmla="*/ 654352 h 2172952"/>
                    <a:gd name="connsiteX345" fmla="*/ 1622841 w 2433669"/>
                    <a:gd name="connsiteY345" fmla="*/ 656199 h 2172952"/>
                    <a:gd name="connsiteX346" fmla="*/ 1619548 w 2433669"/>
                    <a:gd name="connsiteY346" fmla="*/ 654030 h 2172952"/>
                    <a:gd name="connsiteX347" fmla="*/ 1621315 w 2433669"/>
                    <a:gd name="connsiteY347" fmla="*/ 651540 h 2172952"/>
                    <a:gd name="connsiteX348" fmla="*/ 1593602 w 2433669"/>
                    <a:gd name="connsiteY348" fmla="*/ 627844 h 2172952"/>
                    <a:gd name="connsiteX349" fmla="*/ 1593120 w 2433669"/>
                    <a:gd name="connsiteY349" fmla="*/ 625594 h 2172952"/>
                    <a:gd name="connsiteX350" fmla="*/ 1559784 w 2433669"/>
                    <a:gd name="connsiteY350" fmla="*/ 624470 h 2172952"/>
                    <a:gd name="connsiteX351" fmla="*/ 1562997 w 2433669"/>
                    <a:gd name="connsiteY351" fmla="*/ 615312 h 2172952"/>
                    <a:gd name="connsiteX352" fmla="*/ 1491987 w 2433669"/>
                    <a:gd name="connsiteY352" fmla="*/ 625594 h 2172952"/>
                    <a:gd name="connsiteX353" fmla="*/ 1493995 w 2433669"/>
                    <a:gd name="connsiteY353" fmla="*/ 626880 h 2172952"/>
                    <a:gd name="connsiteX354" fmla="*/ 1492790 w 2433669"/>
                    <a:gd name="connsiteY354" fmla="*/ 630735 h 2172952"/>
                    <a:gd name="connsiteX355" fmla="*/ 1488854 w 2433669"/>
                    <a:gd name="connsiteY355" fmla="*/ 631137 h 2172952"/>
                    <a:gd name="connsiteX356" fmla="*/ 1372700 w 2433669"/>
                    <a:gd name="connsiteY356" fmla="*/ 648568 h 2172952"/>
                    <a:gd name="connsiteX357" fmla="*/ 1375511 w 2433669"/>
                    <a:gd name="connsiteY357" fmla="*/ 644873 h 2172952"/>
                    <a:gd name="connsiteX358" fmla="*/ 1372138 w 2433669"/>
                    <a:gd name="connsiteY358" fmla="*/ 638768 h 2172952"/>
                    <a:gd name="connsiteX359" fmla="*/ 1370451 w 2433669"/>
                    <a:gd name="connsiteY359" fmla="*/ 639893 h 2172952"/>
                    <a:gd name="connsiteX360" fmla="*/ 1355108 w 2433669"/>
                    <a:gd name="connsiteY360" fmla="*/ 626076 h 2172952"/>
                    <a:gd name="connsiteX361" fmla="*/ 1245219 w 2433669"/>
                    <a:gd name="connsiteY361" fmla="*/ 759421 h 2172952"/>
                    <a:gd name="connsiteX362" fmla="*/ 1230038 w 2433669"/>
                    <a:gd name="connsiteY362" fmla="*/ 785929 h 2172952"/>
                    <a:gd name="connsiteX363" fmla="*/ 1227146 w 2433669"/>
                    <a:gd name="connsiteY363" fmla="*/ 788500 h 2172952"/>
                    <a:gd name="connsiteX364" fmla="*/ 1225941 w 2433669"/>
                    <a:gd name="connsiteY364" fmla="*/ 784885 h 2172952"/>
                    <a:gd name="connsiteX365" fmla="*/ 1179431 w 2433669"/>
                    <a:gd name="connsiteY365" fmla="*/ 896059 h 2172952"/>
                    <a:gd name="connsiteX366" fmla="*/ 1902383 w 2433669"/>
                    <a:gd name="connsiteY366" fmla="*/ 584386 h 2172952"/>
                    <a:gd name="connsiteX367" fmla="*/ 2046330 w 2433669"/>
                    <a:gd name="connsiteY367" fmla="*/ 576353 h 2172952"/>
                    <a:gd name="connsiteX368" fmla="*/ 2041832 w 2433669"/>
                    <a:gd name="connsiteY368" fmla="*/ 574104 h 2172952"/>
                    <a:gd name="connsiteX369" fmla="*/ 2018698 w 2433669"/>
                    <a:gd name="connsiteY369" fmla="*/ 565107 h 2172952"/>
                    <a:gd name="connsiteX370" fmla="*/ 2017975 w 2433669"/>
                    <a:gd name="connsiteY370" fmla="*/ 563822 h 2172952"/>
                    <a:gd name="connsiteX371" fmla="*/ 1893707 w 2433669"/>
                    <a:gd name="connsiteY371" fmla="*/ 584547 h 2172952"/>
                    <a:gd name="connsiteX372" fmla="*/ 1902383 w 2433669"/>
                    <a:gd name="connsiteY372" fmla="*/ 584386 h 2172952"/>
                    <a:gd name="connsiteX373" fmla="*/ 1727750 w 2433669"/>
                    <a:gd name="connsiteY373" fmla="*/ 487912 h 2172952"/>
                    <a:gd name="connsiteX374" fmla="*/ 1738514 w 2433669"/>
                    <a:gd name="connsiteY374" fmla="*/ 493294 h 2172952"/>
                    <a:gd name="connsiteX375" fmla="*/ 1728473 w 2433669"/>
                    <a:gd name="connsiteY375" fmla="*/ 486707 h 2172952"/>
                    <a:gd name="connsiteX376" fmla="*/ 1727428 w 2433669"/>
                    <a:gd name="connsiteY376" fmla="*/ 487671 h 2172952"/>
                    <a:gd name="connsiteX377" fmla="*/ 1727750 w 2433669"/>
                    <a:gd name="connsiteY377" fmla="*/ 487912 h 2172952"/>
                    <a:gd name="connsiteX378" fmla="*/ 1428769 w 2433669"/>
                    <a:gd name="connsiteY378" fmla="*/ 584145 h 2172952"/>
                    <a:gd name="connsiteX379" fmla="*/ 1446441 w 2433669"/>
                    <a:gd name="connsiteY379" fmla="*/ 583181 h 2172952"/>
                    <a:gd name="connsiteX380" fmla="*/ 1426279 w 2433669"/>
                    <a:gd name="connsiteY380" fmla="*/ 584306 h 2172952"/>
                    <a:gd name="connsiteX381" fmla="*/ 1428769 w 2433669"/>
                    <a:gd name="connsiteY381" fmla="*/ 584145 h 2172952"/>
                    <a:gd name="connsiteX382" fmla="*/ 1186500 w 2433669"/>
                    <a:gd name="connsiteY382" fmla="*/ 643186 h 2172952"/>
                    <a:gd name="connsiteX383" fmla="*/ 1194211 w 2433669"/>
                    <a:gd name="connsiteY383" fmla="*/ 642865 h 2172952"/>
                    <a:gd name="connsiteX384" fmla="*/ 1190918 w 2433669"/>
                    <a:gd name="connsiteY384" fmla="*/ 645355 h 2172952"/>
                    <a:gd name="connsiteX385" fmla="*/ 1235018 w 2433669"/>
                    <a:gd name="connsiteY385" fmla="*/ 634430 h 2172952"/>
                    <a:gd name="connsiteX386" fmla="*/ 1303216 w 2433669"/>
                    <a:gd name="connsiteY386" fmla="*/ 595150 h 2172952"/>
                    <a:gd name="connsiteX387" fmla="*/ 1325869 w 2433669"/>
                    <a:gd name="connsiteY387" fmla="*/ 591053 h 2172952"/>
                    <a:gd name="connsiteX388" fmla="*/ 1327716 w 2433669"/>
                    <a:gd name="connsiteY388" fmla="*/ 590170 h 2172952"/>
                    <a:gd name="connsiteX389" fmla="*/ 1322736 w 2433669"/>
                    <a:gd name="connsiteY389" fmla="*/ 596435 h 2172952"/>
                    <a:gd name="connsiteX390" fmla="*/ 1324744 w 2433669"/>
                    <a:gd name="connsiteY390" fmla="*/ 596194 h 2172952"/>
                    <a:gd name="connsiteX391" fmla="*/ 1331411 w 2433669"/>
                    <a:gd name="connsiteY391" fmla="*/ 596034 h 2172952"/>
                    <a:gd name="connsiteX392" fmla="*/ 1329966 w 2433669"/>
                    <a:gd name="connsiteY392" fmla="*/ 598604 h 2172952"/>
                    <a:gd name="connsiteX393" fmla="*/ 1358723 w 2433669"/>
                    <a:gd name="connsiteY393" fmla="*/ 595230 h 2172952"/>
                    <a:gd name="connsiteX394" fmla="*/ 1352779 w 2433669"/>
                    <a:gd name="connsiteY394" fmla="*/ 608404 h 2172952"/>
                    <a:gd name="connsiteX395" fmla="*/ 1400654 w 2433669"/>
                    <a:gd name="connsiteY395" fmla="*/ 587519 h 2172952"/>
                    <a:gd name="connsiteX396" fmla="*/ 1418326 w 2433669"/>
                    <a:gd name="connsiteY396" fmla="*/ 586394 h 2172952"/>
                    <a:gd name="connsiteX397" fmla="*/ 1427082 w 2433669"/>
                    <a:gd name="connsiteY397" fmla="*/ 577960 h 2172952"/>
                    <a:gd name="connsiteX398" fmla="*/ 1419531 w 2433669"/>
                    <a:gd name="connsiteY398" fmla="*/ 577076 h 2172952"/>
                    <a:gd name="connsiteX399" fmla="*/ 1428849 w 2433669"/>
                    <a:gd name="connsiteY399" fmla="*/ 573622 h 2172952"/>
                    <a:gd name="connsiteX400" fmla="*/ 1424833 w 2433669"/>
                    <a:gd name="connsiteY400" fmla="*/ 572658 h 2172952"/>
                    <a:gd name="connsiteX401" fmla="*/ 1432303 w 2433669"/>
                    <a:gd name="connsiteY401" fmla="*/ 560127 h 2172952"/>
                    <a:gd name="connsiteX402" fmla="*/ 1435838 w 2433669"/>
                    <a:gd name="connsiteY402" fmla="*/ 559404 h 2172952"/>
                    <a:gd name="connsiteX403" fmla="*/ 1432705 w 2433669"/>
                    <a:gd name="connsiteY403" fmla="*/ 558119 h 2172952"/>
                    <a:gd name="connsiteX404" fmla="*/ 1515041 w 2433669"/>
                    <a:gd name="connsiteY404" fmla="*/ 530245 h 2172952"/>
                    <a:gd name="connsiteX405" fmla="*/ 1518335 w 2433669"/>
                    <a:gd name="connsiteY405" fmla="*/ 520927 h 2172952"/>
                    <a:gd name="connsiteX406" fmla="*/ 1539220 w 2433669"/>
                    <a:gd name="connsiteY406" fmla="*/ 529281 h 2172952"/>
                    <a:gd name="connsiteX407" fmla="*/ 1555205 w 2433669"/>
                    <a:gd name="connsiteY407" fmla="*/ 515706 h 2172952"/>
                    <a:gd name="connsiteX408" fmla="*/ 1516728 w 2433669"/>
                    <a:gd name="connsiteY408" fmla="*/ 513456 h 2172952"/>
                    <a:gd name="connsiteX409" fmla="*/ 1518094 w 2433669"/>
                    <a:gd name="connsiteY409" fmla="*/ 512252 h 2172952"/>
                    <a:gd name="connsiteX410" fmla="*/ 1515041 w 2433669"/>
                    <a:gd name="connsiteY410" fmla="*/ 510163 h 2172952"/>
                    <a:gd name="connsiteX411" fmla="*/ 1533597 w 2433669"/>
                    <a:gd name="connsiteY411" fmla="*/ 511448 h 2172952"/>
                    <a:gd name="connsiteX412" fmla="*/ 1553679 w 2433669"/>
                    <a:gd name="connsiteY412" fmla="*/ 501729 h 2172952"/>
                    <a:gd name="connsiteX413" fmla="*/ 1568861 w 2433669"/>
                    <a:gd name="connsiteY413" fmla="*/ 498194 h 2172952"/>
                    <a:gd name="connsiteX414" fmla="*/ 1567897 w 2433669"/>
                    <a:gd name="connsiteY414" fmla="*/ 495624 h 2172952"/>
                    <a:gd name="connsiteX415" fmla="*/ 1505723 w 2433669"/>
                    <a:gd name="connsiteY415" fmla="*/ 519401 h 2172952"/>
                    <a:gd name="connsiteX416" fmla="*/ 1502430 w 2433669"/>
                    <a:gd name="connsiteY416" fmla="*/ 516509 h 2172952"/>
                    <a:gd name="connsiteX417" fmla="*/ 1498976 w 2433669"/>
                    <a:gd name="connsiteY417" fmla="*/ 519481 h 2172952"/>
                    <a:gd name="connsiteX418" fmla="*/ 1420575 w 2433669"/>
                    <a:gd name="connsiteY418" fmla="*/ 515224 h 2172952"/>
                    <a:gd name="connsiteX419" fmla="*/ 1334384 w 2433669"/>
                    <a:gd name="connsiteY419" fmla="*/ 537957 h 2172952"/>
                    <a:gd name="connsiteX420" fmla="*/ 1185696 w 2433669"/>
                    <a:gd name="connsiteY420" fmla="*/ 643347 h 2172952"/>
                    <a:gd name="connsiteX421" fmla="*/ 1186500 w 2433669"/>
                    <a:gd name="connsiteY421" fmla="*/ 643186 h 2172952"/>
                    <a:gd name="connsiteX422" fmla="*/ 1737469 w 2433669"/>
                    <a:gd name="connsiteY422" fmla="*/ 529361 h 2172952"/>
                    <a:gd name="connsiteX423" fmla="*/ 1782533 w 2433669"/>
                    <a:gd name="connsiteY423" fmla="*/ 543419 h 2172952"/>
                    <a:gd name="connsiteX424" fmla="*/ 1803178 w 2433669"/>
                    <a:gd name="connsiteY424" fmla="*/ 518758 h 2172952"/>
                    <a:gd name="connsiteX425" fmla="*/ 1786791 w 2433669"/>
                    <a:gd name="connsiteY425" fmla="*/ 487671 h 2172952"/>
                    <a:gd name="connsiteX426" fmla="*/ 1784622 w 2433669"/>
                    <a:gd name="connsiteY426" fmla="*/ 489599 h 2172952"/>
                    <a:gd name="connsiteX427" fmla="*/ 1774019 w 2433669"/>
                    <a:gd name="connsiteY427" fmla="*/ 484378 h 2172952"/>
                    <a:gd name="connsiteX428" fmla="*/ 1776027 w 2433669"/>
                    <a:gd name="connsiteY428" fmla="*/ 476827 h 2172952"/>
                    <a:gd name="connsiteX429" fmla="*/ 1752089 w 2433669"/>
                    <a:gd name="connsiteY429" fmla="*/ 472168 h 2172952"/>
                    <a:gd name="connsiteX430" fmla="*/ 1774019 w 2433669"/>
                    <a:gd name="connsiteY430" fmla="*/ 484378 h 2172952"/>
                    <a:gd name="connsiteX431" fmla="*/ 1738514 w 2433669"/>
                    <a:gd name="connsiteY431" fmla="*/ 493214 h 2172952"/>
                    <a:gd name="connsiteX432" fmla="*/ 1737309 w 2433669"/>
                    <a:gd name="connsiteY432" fmla="*/ 528478 h 2172952"/>
                    <a:gd name="connsiteX433" fmla="*/ 1737469 w 2433669"/>
                    <a:gd name="connsiteY433" fmla="*/ 529361 h 2172952"/>
                    <a:gd name="connsiteX434" fmla="*/ 1682043 w 2433669"/>
                    <a:gd name="connsiteY434" fmla="*/ 463171 h 2172952"/>
                    <a:gd name="connsiteX435" fmla="*/ 1752089 w 2433669"/>
                    <a:gd name="connsiteY435" fmla="*/ 472168 h 2172952"/>
                    <a:gd name="connsiteX436" fmla="*/ 1678348 w 2433669"/>
                    <a:gd name="connsiteY436" fmla="*/ 462609 h 2172952"/>
                    <a:gd name="connsiteX437" fmla="*/ 1682043 w 2433669"/>
                    <a:gd name="connsiteY437" fmla="*/ 463171 h 2172952"/>
                    <a:gd name="connsiteX438" fmla="*/ 2038458 w 2433669"/>
                    <a:gd name="connsiteY438" fmla="*/ 545668 h 2172952"/>
                    <a:gd name="connsiteX439" fmla="*/ 2056291 w 2433669"/>
                    <a:gd name="connsiteY439" fmla="*/ 565107 h 2172952"/>
                    <a:gd name="connsiteX440" fmla="*/ 2171642 w 2433669"/>
                    <a:gd name="connsiteY440" fmla="*/ 476024 h 2172952"/>
                    <a:gd name="connsiteX441" fmla="*/ 2138788 w 2433669"/>
                    <a:gd name="connsiteY441" fmla="*/ 471284 h 2172952"/>
                    <a:gd name="connsiteX442" fmla="*/ 2122963 w 2433669"/>
                    <a:gd name="connsiteY442" fmla="*/ 476104 h 2172952"/>
                    <a:gd name="connsiteX443" fmla="*/ 2115171 w 2433669"/>
                    <a:gd name="connsiteY443" fmla="*/ 480040 h 2172952"/>
                    <a:gd name="connsiteX444" fmla="*/ 2100231 w 2433669"/>
                    <a:gd name="connsiteY444" fmla="*/ 490804 h 2172952"/>
                    <a:gd name="connsiteX445" fmla="*/ 2092519 w 2433669"/>
                    <a:gd name="connsiteY445" fmla="*/ 491768 h 2172952"/>
                    <a:gd name="connsiteX446" fmla="*/ 2078462 w 2433669"/>
                    <a:gd name="connsiteY446" fmla="*/ 505263 h 2172952"/>
                    <a:gd name="connsiteX447" fmla="*/ 2062316 w 2433669"/>
                    <a:gd name="connsiteY447" fmla="*/ 503576 h 2172952"/>
                    <a:gd name="connsiteX448" fmla="*/ 2066332 w 2433669"/>
                    <a:gd name="connsiteY448" fmla="*/ 509440 h 2172952"/>
                    <a:gd name="connsiteX449" fmla="*/ 2038458 w 2433669"/>
                    <a:gd name="connsiteY449" fmla="*/ 545668 h 2172952"/>
                    <a:gd name="connsiteX450" fmla="*/ 1801169 w 2433669"/>
                    <a:gd name="connsiteY450" fmla="*/ 469758 h 2172952"/>
                    <a:gd name="connsiteX451" fmla="*/ 1816271 w 2433669"/>
                    <a:gd name="connsiteY451" fmla="*/ 468874 h 2172952"/>
                    <a:gd name="connsiteX452" fmla="*/ 1841815 w 2433669"/>
                    <a:gd name="connsiteY452" fmla="*/ 493776 h 2172952"/>
                    <a:gd name="connsiteX453" fmla="*/ 1851615 w 2433669"/>
                    <a:gd name="connsiteY453" fmla="*/ 502532 h 2172952"/>
                    <a:gd name="connsiteX454" fmla="*/ 1849045 w 2433669"/>
                    <a:gd name="connsiteY454" fmla="*/ 502371 h 2172952"/>
                    <a:gd name="connsiteX455" fmla="*/ 1851615 w 2433669"/>
                    <a:gd name="connsiteY455" fmla="*/ 506548 h 2172952"/>
                    <a:gd name="connsiteX456" fmla="*/ 1848161 w 2433669"/>
                    <a:gd name="connsiteY456" fmla="*/ 509199 h 2172952"/>
                    <a:gd name="connsiteX457" fmla="*/ 1852660 w 2433669"/>
                    <a:gd name="connsiteY457" fmla="*/ 511850 h 2172952"/>
                    <a:gd name="connsiteX458" fmla="*/ 1851294 w 2433669"/>
                    <a:gd name="connsiteY458" fmla="*/ 511448 h 2172952"/>
                    <a:gd name="connsiteX459" fmla="*/ 1855792 w 2433669"/>
                    <a:gd name="connsiteY459" fmla="*/ 515706 h 2172952"/>
                    <a:gd name="connsiteX460" fmla="*/ 1854347 w 2433669"/>
                    <a:gd name="connsiteY460" fmla="*/ 517714 h 2172952"/>
                    <a:gd name="connsiteX461" fmla="*/ 1885915 w 2433669"/>
                    <a:gd name="connsiteY461" fmla="*/ 522453 h 2172952"/>
                    <a:gd name="connsiteX462" fmla="*/ 1888968 w 2433669"/>
                    <a:gd name="connsiteY462" fmla="*/ 523417 h 2172952"/>
                    <a:gd name="connsiteX463" fmla="*/ 1889129 w 2433669"/>
                    <a:gd name="connsiteY463" fmla="*/ 521570 h 2172952"/>
                    <a:gd name="connsiteX464" fmla="*/ 1906479 w 2433669"/>
                    <a:gd name="connsiteY464" fmla="*/ 522293 h 2172952"/>
                    <a:gd name="connsiteX465" fmla="*/ 1911379 w 2433669"/>
                    <a:gd name="connsiteY465" fmla="*/ 519160 h 2172952"/>
                    <a:gd name="connsiteX466" fmla="*/ 1971866 w 2433669"/>
                    <a:gd name="connsiteY466" fmla="*/ 478996 h 2172952"/>
                    <a:gd name="connsiteX467" fmla="*/ 1969938 w 2433669"/>
                    <a:gd name="connsiteY467" fmla="*/ 478193 h 2172952"/>
                    <a:gd name="connsiteX468" fmla="*/ 1972107 w 2433669"/>
                    <a:gd name="connsiteY468" fmla="*/ 478594 h 2172952"/>
                    <a:gd name="connsiteX469" fmla="*/ 1960058 w 2433669"/>
                    <a:gd name="connsiteY469" fmla="*/ 468633 h 2172952"/>
                    <a:gd name="connsiteX470" fmla="*/ 1957327 w 2433669"/>
                    <a:gd name="connsiteY470" fmla="*/ 469517 h 2172952"/>
                    <a:gd name="connsiteX471" fmla="*/ 1934193 w 2433669"/>
                    <a:gd name="connsiteY471" fmla="*/ 472971 h 2172952"/>
                    <a:gd name="connsiteX472" fmla="*/ 1931702 w 2433669"/>
                    <a:gd name="connsiteY472" fmla="*/ 461484 h 2172952"/>
                    <a:gd name="connsiteX473" fmla="*/ 1859407 w 2433669"/>
                    <a:gd name="connsiteY473" fmla="*/ 428068 h 2172952"/>
                    <a:gd name="connsiteX474" fmla="*/ 1859969 w 2433669"/>
                    <a:gd name="connsiteY474" fmla="*/ 429353 h 2172952"/>
                    <a:gd name="connsiteX475" fmla="*/ 1848161 w 2433669"/>
                    <a:gd name="connsiteY475" fmla="*/ 421079 h 2172952"/>
                    <a:gd name="connsiteX476" fmla="*/ 1824545 w 2433669"/>
                    <a:gd name="connsiteY476" fmla="*/ 409110 h 2172952"/>
                    <a:gd name="connsiteX477" fmla="*/ 1812255 w 2433669"/>
                    <a:gd name="connsiteY477" fmla="*/ 414252 h 2172952"/>
                    <a:gd name="connsiteX478" fmla="*/ 1813299 w 2433669"/>
                    <a:gd name="connsiteY478" fmla="*/ 416340 h 2172952"/>
                    <a:gd name="connsiteX479" fmla="*/ 1803820 w 2433669"/>
                    <a:gd name="connsiteY479" fmla="*/ 414171 h 2172952"/>
                    <a:gd name="connsiteX480" fmla="*/ 1820609 w 2433669"/>
                    <a:gd name="connsiteY480" fmla="*/ 441001 h 2172952"/>
                    <a:gd name="connsiteX481" fmla="*/ 1825750 w 2433669"/>
                    <a:gd name="connsiteY481" fmla="*/ 441483 h 2172952"/>
                    <a:gd name="connsiteX482" fmla="*/ 1817315 w 2433669"/>
                    <a:gd name="connsiteY482" fmla="*/ 448471 h 2172952"/>
                    <a:gd name="connsiteX483" fmla="*/ 1818681 w 2433669"/>
                    <a:gd name="connsiteY483" fmla="*/ 448712 h 2172952"/>
                    <a:gd name="connsiteX484" fmla="*/ 1816351 w 2433669"/>
                    <a:gd name="connsiteY484" fmla="*/ 449114 h 2172952"/>
                    <a:gd name="connsiteX485" fmla="*/ 1817637 w 2433669"/>
                    <a:gd name="connsiteY485" fmla="*/ 449837 h 2172952"/>
                    <a:gd name="connsiteX486" fmla="*/ 1816592 w 2433669"/>
                    <a:gd name="connsiteY486" fmla="*/ 458512 h 2172952"/>
                    <a:gd name="connsiteX487" fmla="*/ 1800286 w 2433669"/>
                    <a:gd name="connsiteY487" fmla="*/ 468955 h 2172952"/>
                    <a:gd name="connsiteX488" fmla="*/ 1801169 w 2433669"/>
                    <a:gd name="connsiteY488" fmla="*/ 469758 h 2172952"/>
                    <a:gd name="connsiteX489" fmla="*/ 2314626 w 2433669"/>
                    <a:gd name="connsiteY489" fmla="*/ 512252 h 2172952"/>
                    <a:gd name="connsiteX490" fmla="*/ 2328683 w 2433669"/>
                    <a:gd name="connsiteY490" fmla="*/ 512412 h 2172952"/>
                    <a:gd name="connsiteX491" fmla="*/ 2327639 w 2433669"/>
                    <a:gd name="connsiteY491" fmla="*/ 509681 h 2172952"/>
                    <a:gd name="connsiteX492" fmla="*/ 2328282 w 2433669"/>
                    <a:gd name="connsiteY492" fmla="*/ 512492 h 2172952"/>
                    <a:gd name="connsiteX493" fmla="*/ 2321052 w 2433669"/>
                    <a:gd name="connsiteY493" fmla="*/ 493937 h 2172952"/>
                    <a:gd name="connsiteX494" fmla="*/ 2318723 w 2433669"/>
                    <a:gd name="connsiteY494" fmla="*/ 493294 h 2172952"/>
                    <a:gd name="connsiteX495" fmla="*/ 2314626 w 2433669"/>
                    <a:gd name="connsiteY495" fmla="*/ 512252 h 2172952"/>
                    <a:gd name="connsiteX496" fmla="*/ 1642602 w 2433669"/>
                    <a:gd name="connsiteY496" fmla="*/ 397945 h 2172952"/>
                    <a:gd name="connsiteX497" fmla="*/ 1649831 w 2433669"/>
                    <a:gd name="connsiteY497" fmla="*/ 410235 h 2172952"/>
                    <a:gd name="connsiteX498" fmla="*/ 1654571 w 2433669"/>
                    <a:gd name="connsiteY498" fmla="*/ 398989 h 2172952"/>
                    <a:gd name="connsiteX499" fmla="*/ 1676741 w 2433669"/>
                    <a:gd name="connsiteY499" fmla="*/ 411922 h 2172952"/>
                    <a:gd name="connsiteX500" fmla="*/ 1687345 w 2433669"/>
                    <a:gd name="connsiteY500" fmla="*/ 408869 h 2172952"/>
                    <a:gd name="connsiteX501" fmla="*/ 1705659 w 2433669"/>
                    <a:gd name="connsiteY501" fmla="*/ 394651 h 2172952"/>
                    <a:gd name="connsiteX502" fmla="*/ 1724296 w 2433669"/>
                    <a:gd name="connsiteY502" fmla="*/ 393527 h 2172952"/>
                    <a:gd name="connsiteX503" fmla="*/ 1697466 w 2433669"/>
                    <a:gd name="connsiteY503" fmla="*/ 391117 h 2172952"/>
                    <a:gd name="connsiteX504" fmla="*/ 1652643 w 2433669"/>
                    <a:gd name="connsiteY504" fmla="*/ 374007 h 2172952"/>
                    <a:gd name="connsiteX505" fmla="*/ 1642923 w 2433669"/>
                    <a:gd name="connsiteY505" fmla="*/ 378264 h 2172952"/>
                    <a:gd name="connsiteX506" fmla="*/ 1642602 w 2433669"/>
                    <a:gd name="connsiteY506" fmla="*/ 397945 h 2172952"/>
                    <a:gd name="connsiteX507" fmla="*/ 1673287 w 2433669"/>
                    <a:gd name="connsiteY507" fmla="*/ 339787 h 2172952"/>
                    <a:gd name="connsiteX508" fmla="*/ 1675697 w 2433669"/>
                    <a:gd name="connsiteY508" fmla="*/ 342759 h 2172952"/>
                    <a:gd name="connsiteX509" fmla="*/ 1736104 w 2433669"/>
                    <a:gd name="connsiteY509" fmla="*/ 330148 h 2172952"/>
                    <a:gd name="connsiteX510" fmla="*/ 1734176 w 2433669"/>
                    <a:gd name="connsiteY510" fmla="*/ 318822 h 2172952"/>
                    <a:gd name="connsiteX511" fmla="*/ 1737309 w 2433669"/>
                    <a:gd name="connsiteY511" fmla="*/ 319143 h 2172952"/>
                    <a:gd name="connsiteX512" fmla="*/ 1742610 w 2433669"/>
                    <a:gd name="connsiteY512" fmla="*/ 307576 h 2172952"/>
                    <a:gd name="connsiteX513" fmla="*/ 1741566 w 2433669"/>
                    <a:gd name="connsiteY513" fmla="*/ 305086 h 2172952"/>
                    <a:gd name="connsiteX514" fmla="*/ 1726384 w 2433669"/>
                    <a:gd name="connsiteY514" fmla="*/ 289261 h 2172952"/>
                    <a:gd name="connsiteX515" fmla="*/ 1693932 w 2433669"/>
                    <a:gd name="connsiteY515" fmla="*/ 280666 h 2172952"/>
                    <a:gd name="connsiteX516" fmla="*/ 1702527 w 2433669"/>
                    <a:gd name="connsiteY516" fmla="*/ 296973 h 2172952"/>
                    <a:gd name="connsiteX517" fmla="*/ 1705097 w 2433669"/>
                    <a:gd name="connsiteY517" fmla="*/ 327819 h 2172952"/>
                    <a:gd name="connsiteX518" fmla="*/ 1679553 w 2433669"/>
                    <a:gd name="connsiteY518" fmla="*/ 337056 h 2172952"/>
                    <a:gd name="connsiteX519" fmla="*/ 1672886 w 2433669"/>
                    <a:gd name="connsiteY519" fmla="*/ 337940 h 2172952"/>
                    <a:gd name="connsiteX520" fmla="*/ 1673287 w 2433669"/>
                    <a:gd name="connsiteY520" fmla="*/ 339787 h 2172952"/>
                    <a:gd name="connsiteX521" fmla="*/ 1891458 w 2433669"/>
                    <a:gd name="connsiteY521" fmla="*/ 279461 h 2172952"/>
                    <a:gd name="connsiteX522" fmla="*/ 1907845 w 2433669"/>
                    <a:gd name="connsiteY522" fmla="*/ 291751 h 2172952"/>
                    <a:gd name="connsiteX523" fmla="*/ 1926722 w 2433669"/>
                    <a:gd name="connsiteY523" fmla="*/ 291992 h 2172952"/>
                    <a:gd name="connsiteX524" fmla="*/ 1920215 w 2433669"/>
                    <a:gd name="connsiteY524" fmla="*/ 281951 h 2172952"/>
                    <a:gd name="connsiteX525" fmla="*/ 1916199 w 2433669"/>
                    <a:gd name="connsiteY525" fmla="*/ 280023 h 2172952"/>
                    <a:gd name="connsiteX526" fmla="*/ 1917806 w 2433669"/>
                    <a:gd name="connsiteY526" fmla="*/ 280104 h 2172952"/>
                    <a:gd name="connsiteX527" fmla="*/ 1897081 w 2433669"/>
                    <a:gd name="connsiteY527" fmla="*/ 275927 h 2172952"/>
                    <a:gd name="connsiteX528" fmla="*/ 1896760 w 2433669"/>
                    <a:gd name="connsiteY528" fmla="*/ 275043 h 2172952"/>
                    <a:gd name="connsiteX529" fmla="*/ 1891458 w 2433669"/>
                    <a:gd name="connsiteY529" fmla="*/ 279461 h 2172952"/>
                    <a:gd name="connsiteX530" fmla="*/ 1684373 w 2433669"/>
                    <a:gd name="connsiteY530" fmla="*/ 216725 h 2172952"/>
                    <a:gd name="connsiteX531" fmla="*/ 1708712 w 2433669"/>
                    <a:gd name="connsiteY531" fmla="*/ 245482 h 2172952"/>
                    <a:gd name="connsiteX532" fmla="*/ 1715941 w 2433669"/>
                    <a:gd name="connsiteY532" fmla="*/ 239297 h 2172952"/>
                    <a:gd name="connsiteX533" fmla="*/ 1716102 w 2433669"/>
                    <a:gd name="connsiteY533" fmla="*/ 239217 h 2172952"/>
                    <a:gd name="connsiteX534" fmla="*/ 1715941 w 2433669"/>
                    <a:gd name="connsiteY534" fmla="*/ 239297 h 2172952"/>
                    <a:gd name="connsiteX535" fmla="*/ 1718110 w 2433669"/>
                    <a:gd name="connsiteY535" fmla="*/ 232549 h 2172952"/>
                    <a:gd name="connsiteX536" fmla="*/ 1684132 w 2433669"/>
                    <a:gd name="connsiteY536" fmla="*/ 215681 h 2172952"/>
                    <a:gd name="connsiteX537" fmla="*/ 1684373 w 2433669"/>
                    <a:gd name="connsiteY537" fmla="*/ 216725 h 2172952"/>
                    <a:gd name="connsiteX538" fmla="*/ 1469977 w 2433669"/>
                    <a:gd name="connsiteY538" fmla="*/ 137120 h 2172952"/>
                    <a:gd name="connsiteX539" fmla="*/ 1497931 w 2433669"/>
                    <a:gd name="connsiteY539" fmla="*/ 154631 h 2172952"/>
                    <a:gd name="connsiteX540" fmla="*/ 1498574 w 2433669"/>
                    <a:gd name="connsiteY540" fmla="*/ 148526 h 2172952"/>
                    <a:gd name="connsiteX541" fmla="*/ 1506607 w 2433669"/>
                    <a:gd name="connsiteY541" fmla="*/ 150133 h 2172952"/>
                    <a:gd name="connsiteX542" fmla="*/ 1493513 w 2433669"/>
                    <a:gd name="connsiteY542" fmla="*/ 138084 h 2172952"/>
                    <a:gd name="connsiteX543" fmla="*/ 1496003 w 2433669"/>
                    <a:gd name="connsiteY543" fmla="*/ 137602 h 2172952"/>
                    <a:gd name="connsiteX544" fmla="*/ 1509740 w 2433669"/>
                    <a:gd name="connsiteY544" fmla="*/ 137843 h 2172952"/>
                    <a:gd name="connsiteX545" fmla="*/ 1509740 w 2433669"/>
                    <a:gd name="connsiteY545" fmla="*/ 132782 h 2172952"/>
                    <a:gd name="connsiteX546" fmla="*/ 1504679 w 2433669"/>
                    <a:gd name="connsiteY546" fmla="*/ 135192 h 2172952"/>
                    <a:gd name="connsiteX547" fmla="*/ 1510061 w 2433669"/>
                    <a:gd name="connsiteY547" fmla="*/ 129810 h 2172952"/>
                    <a:gd name="connsiteX548" fmla="*/ 1505723 w 2433669"/>
                    <a:gd name="connsiteY548" fmla="*/ 130212 h 2172952"/>
                    <a:gd name="connsiteX549" fmla="*/ 1474636 w 2433669"/>
                    <a:gd name="connsiteY549" fmla="*/ 132139 h 2172952"/>
                    <a:gd name="connsiteX550" fmla="*/ 1468130 w 2433669"/>
                    <a:gd name="connsiteY550" fmla="*/ 132702 h 2172952"/>
                    <a:gd name="connsiteX551" fmla="*/ 1469977 w 2433669"/>
                    <a:gd name="connsiteY551" fmla="*/ 137120 h 2172952"/>
                    <a:gd name="connsiteX552" fmla="*/ 1271005 w 2433669"/>
                    <a:gd name="connsiteY552" fmla="*/ 85308 h 2172952"/>
                    <a:gd name="connsiteX553" fmla="*/ 1314623 w 2433669"/>
                    <a:gd name="connsiteY553" fmla="*/ 122259 h 2172952"/>
                    <a:gd name="connsiteX554" fmla="*/ 1333339 w 2433669"/>
                    <a:gd name="connsiteY554" fmla="*/ 126597 h 2172952"/>
                    <a:gd name="connsiteX555" fmla="*/ 1332054 w 2433669"/>
                    <a:gd name="connsiteY555" fmla="*/ 124267 h 2172952"/>
                    <a:gd name="connsiteX556" fmla="*/ 1346674 w 2433669"/>
                    <a:gd name="connsiteY556" fmla="*/ 127480 h 2172952"/>
                    <a:gd name="connsiteX557" fmla="*/ 1367800 w 2433669"/>
                    <a:gd name="connsiteY557" fmla="*/ 125713 h 2172952"/>
                    <a:gd name="connsiteX558" fmla="*/ 1366515 w 2433669"/>
                    <a:gd name="connsiteY558" fmla="*/ 124508 h 2172952"/>
                    <a:gd name="connsiteX559" fmla="*/ 1369648 w 2433669"/>
                    <a:gd name="connsiteY559" fmla="*/ 120813 h 2172952"/>
                    <a:gd name="connsiteX560" fmla="*/ 1414471 w 2433669"/>
                    <a:gd name="connsiteY560" fmla="*/ 126758 h 2172952"/>
                    <a:gd name="connsiteX561" fmla="*/ 1414230 w 2433669"/>
                    <a:gd name="connsiteY561" fmla="*/ 129489 h 2172952"/>
                    <a:gd name="connsiteX562" fmla="*/ 1425797 w 2433669"/>
                    <a:gd name="connsiteY562" fmla="*/ 135433 h 2172952"/>
                    <a:gd name="connsiteX563" fmla="*/ 1456080 w 2433669"/>
                    <a:gd name="connsiteY563" fmla="*/ 138646 h 2172952"/>
                    <a:gd name="connsiteX564" fmla="*/ 1454313 w 2433669"/>
                    <a:gd name="connsiteY564" fmla="*/ 137281 h 2172952"/>
                    <a:gd name="connsiteX565" fmla="*/ 1458249 w 2433669"/>
                    <a:gd name="connsiteY565" fmla="*/ 136879 h 2172952"/>
                    <a:gd name="connsiteX566" fmla="*/ 1458089 w 2433669"/>
                    <a:gd name="connsiteY566" fmla="*/ 131497 h 2172952"/>
                    <a:gd name="connsiteX567" fmla="*/ 1465479 w 2433669"/>
                    <a:gd name="connsiteY567" fmla="*/ 131979 h 2172952"/>
                    <a:gd name="connsiteX568" fmla="*/ 1446200 w 2433669"/>
                    <a:gd name="connsiteY568" fmla="*/ 126838 h 2172952"/>
                    <a:gd name="connsiteX569" fmla="*/ 1483954 w 2433669"/>
                    <a:gd name="connsiteY569" fmla="*/ 124428 h 2172952"/>
                    <a:gd name="connsiteX570" fmla="*/ 1422664 w 2433669"/>
                    <a:gd name="connsiteY570" fmla="*/ 112620 h 2172952"/>
                    <a:gd name="connsiteX571" fmla="*/ 1374789 w 2433669"/>
                    <a:gd name="connsiteY571" fmla="*/ 107559 h 2172952"/>
                    <a:gd name="connsiteX572" fmla="*/ 1367318 w 2433669"/>
                    <a:gd name="connsiteY572" fmla="*/ 104346 h 2172952"/>
                    <a:gd name="connsiteX573" fmla="*/ 1354225 w 2433669"/>
                    <a:gd name="connsiteY573" fmla="*/ 95751 h 2172952"/>
                    <a:gd name="connsiteX574" fmla="*/ 1349726 w 2433669"/>
                    <a:gd name="connsiteY574" fmla="*/ 94144 h 2172952"/>
                    <a:gd name="connsiteX575" fmla="*/ 1278556 w 2433669"/>
                    <a:gd name="connsiteY575" fmla="*/ 62656 h 2172952"/>
                    <a:gd name="connsiteX576" fmla="*/ 1266828 w 2433669"/>
                    <a:gd name="connsiteY576" fmla="*/ 62817 h 2172952"/>
                    <a:gd name="connsiteX577" fmla="*/ 1271005 w 2433669"/>
                    <a:gd name="connsiteY577" fmla="*/ 85308 h 2172952"/>
                    <a:gd name="connsiteX578" fmla="*/ 1191400 w 2433669"/>
                    <a:gd name="connsiteY578" fmla="*/ 51651 h 2172952"/>
                    <a:gd name="connsiteX579" fmla="*/ 1271165 w 2433669"/>
                    <a:gd name="connsiteY579" fmla="*/ 57997 h 2172952"/>
                    <a:gd name="connsiteX580" fmla="*/ 1286026 w 2433669"/>
                    <a:gd name="connsiteY580" fmla="*/ 57997 h 2172952"/>
                    <a:gd name="connsiteX581" fmla="*/ 1286749 w 2433669"/>
                    <a:gd name="connsiteY581" fmla="*/ 47715 h 2172952"/>
                    <a:gd name="connsiteX582" fmla="*/ 1259277 w 2433669"/>
                    <a:gd name="connsiteY582" fmla="*/ 35184 h 2172952"/>
                    <a:gd name="connsiteX583" fmla="*/ 1251324 w 2433669"/>
                    <a:gd name="connsiteY583" fmla="*/ 21206 h 2172952"/>
                    <a:gd name="connsiteX584" fmla="*/ 1246103 w 2433669"/>
                    <a:gd name="connsiteY584" fmla="*/ 20644 h 2172952"/>
                    <a:gd name="connsiteX585" fmla="*/ 1201923 w 2433669"/>
                    <a:gd name="connsiteY585" fmla="*/ 40967 h 2172952"/>
                    <a:gd name="connsiteX586" fmla="*/ 1181921 w 2433669"/>
                    <a:gd name="connsiteY586" fmla="*/ 51570 h 2172952"/>
                    <a:gd name="connsiteX587" fmla="*/ 1191400 w 2433669"/>
                    <a:gd name="connsiteY587" fmla="*/ 51651 h 2172952"/>
                    <a:gd name="connsiteX588" fmla="*/ 2320410 w 2433669"/>
                    <a:gd name="connsiteY588" fmla="*/ 401238 h 2172952"/>
                    <a:gd name="connsiteX589" fmla="*/ 2320088 w 2433669"/>
                    <a:gd name="connsiteY589" fmla="*/ 400837 h 2172952"/>
                    <a:gd name="connsiteX590" fmla="*/ 2320570 w 2433669"/>
                    <a:gd name="connsiteY590" fmla="*/ 401399 h 2172952"/>
                    <a:gd name="connsiteX591" fmla="*/ 2320410 w 2433669"/>
                    <a:gd name="connsiteY591" fmla="*/ 401238 h 2172952"/>
                    <a:gd name="connsiteX592" fmla="*/ 424830 w 2433669"/>
                    <a:gd name="connsiteY592" fmla="*/ 763839 h 2172952"/>
                    <a:gd name="connsiteX593" fmla="*/ 440735 w 2433669"/>
                    <a:gd name="connsiteY593" fmla="*/ 206845 h 2172952"/>
                    <a:gd name="connsiteX594" fmla="*/ 1223049 w 2433669"/>
                    <a:gd name="connsiteY594" fmla="*/ 8113 h 2172952"/>
                    <a:gd name="connsiteX595" fmla="*/ 1218069 w 2433669"/>
                    <a:gd name="connsiteY595" fmla="*/ 18395 h 2172952"/>
                    <a:gd name="connsiteX596" fmla="*/ 1226744 w 2433669"/>
                    <a:gd name="connsiteY596" fmla="*/ 10844 h 2172952"/>
                    <a:gd name="connsiteX597" fmla="*/ 1238552 w 2433669"/>
                    <a:gd name="connsiteY597" fmla="*/ 13816 h 2172952"/>
                    <a:gd name="connsiteX598" fmla="*/ 1300967 w 2433669"/>
                    <a:gd name="connsiteY598" fmla="*/ 0 h 2172952"/>
                    <a:gd name="connsiteX599" fmla="*/ 1524761 w 2433669"/>
                    <a:gd name="connsiteY599" fmla="*/ 66592 h 2172952"/>
                    <a:gd name="connsiteX600" fmla="*/ 1503635 w 2433669"/>
                    <a:gd name="connsiteY600" fmla="*/ 104507 h 2172952"/>
                    <a:gd name="connsiteX601" fmla="*/ 1558017 w 2433669"/>
                    <a:gd name="connsiteY601" fmla="*/ 116877 h 2172952"/>
                    <a:gd name="connsiteX602" fmla="*/ 1561872 w 2433669"/>
                    <a:gd name="connsiteY602" fmla="*/ 113825 h 2172952"/>
                    <a:gd name="connsiteX603" fmla="*/ 1559543 w 2433669"/>
                    <a:gd name="connsiteY603" fmla="*/ 113182 h 2172952"/>
                    <a:gd name="connsiteX604" fmla="*/ 1556008 w 2433669"/>
                    <a:gd name="connsiteY604" fmla="*/ 92699 h 2172952"/>
                    <a:gd name="connsiteX605" fmla="*/ 1545646 w 2433669"/>
                    <a:gd name="connsiteY605" fmla="*/ 88923 h 2172952"/>
                    <a:gd name="connsiteX606" fmla="*/ 1577376 w 2433669"/>
                    <a:gd name="connsiteY606" fmla="*/ 78802 h 2172952"/>
                    <a:gd name="connsiteX607" fmla="*/ 1567576 w 2433669"/>
                    <a:gd name="connsiteY607" fmla="*/ 73821 h 2172952"/>
                    <a:gd name="connsiteX608" fmla="*/ 1570467 w 2433669"/>
                    <a:gd name="connsiteY608" fmla="*/ 63700 h 2172952"/>
                    <a:gd name="connsiteX609" fmla="*/ 1632400 w 2433669"/>
                    <a:gd name="connsiteY609" fmla="*/ 71170 h 2172952"/>
                    <a:gd name="connsiteX610" fmla="*/ 1632320 w 2433669"/>
                    <a:gd name="connsiteY610" fmla="*/ 64182 h 2172952"/>
                    <a:gd name="connsiteX611" fmla="*/ 1613925 w 2433669"/>
                    <a:gd name="connsiteY611" fmla="*/ 51169 h 2172952"/>
                    <a:gd name="connsiteX612" fmla="*/ 1698751 w 2433669"/>
                    <a:gd name="connsiteY612" fmla="*/ 74705 h 2172952"/>
                    <a:gd name="connsiteX613" fmla="*/ 1623163 w 2433669"/>
                    <a:gd name="connsiteY613" fmla="*/ 85630 h 2172952"/>
                    <a:gd name="connsiteX614" fmla="*/ 1678669 w 2433669"/>
                    <a:gd name="connsiteY614" fmla="*/ 117439 h 2172952"/>
                    <a:gd name="connsiteX615" fmla="*/ 1664291 w 2433669"/>
                    <a:gd name="connsiteY615" fmla="*/ 139369 h 2172952"/>
                    <a:gd name="connsiteX616" fmla="*/ 1685818 w 2433669"/>
                    <a:gd name="connsiteY616" fmla="*/ 142743 h 2172952"/>
                    <a:gd name="connsiteX617" fmla="*/ 1669431 w 2433669"/>
                    <a:gd name="connsiteY617" fmla="*/ 146197 h 2172952"/>
                    <a:gd name="connsiteX618" fmla="*/ 1690879 w 2433669"/>
                    <a:gd name="connsiteY618" fmla="*/ 160254 h 2172952"/>
                    <a:gd name="connsiteX619" fmla="*/ 1667182 w 2433669"/>
                    <a:gd name="connsiteY619" fmla="*/ 160977 h 2172952"/>
                    <a:gd name="connsiteX620" fmla="*/ 1677705 w 2433669"/>
                    <a:gd name="connsiteY620" fmla="*/ 180577 h 2172952"/>
                    <a:gd name="connsiteX621" fmla="*/ 1709676 w 2433669"/>
                    <a:gd name="connsiteY621" fmla="*/ 196964 h 2172952"/>
                    <a:gd name="connsiteX622" fmla="*/ 1710238 w 2433669"/>
                    <a:gd name="connsiteY622" fmla="*/ 195358 h 2172952"/>
                    <a:gd name="connsiteX623" fmla="*/ 1753696 w 2433669"/>
                    <a:gd name="connsiteY623" fmla="*/ 220902 h 2172952"/>
                    <a:gd name="connsiteX624" fmla="*/ 1763335 w 2433669"/>
                    <a:gd name="connsiteY624" fmla="*/ 228212 h 2172952"/>
                    <a:gd name="connsiteX625" fmla="*/ 1765102 w 2433669"/>
                    <a:gd name="connsiteY625" fmla="*/ 230300 h 2172952"/>
                    <a:gd name="connsiteX626" fmla="*/ 1903347 w 2433669"/>
                    <a:gd name="connsiteY626" fmla="*/ 272392 h 2172952"/>
                    <a:gd name="connsiteX627" fmla="*/ 1899330 w 2433669"/>
                    <a:gd name="connsiteY627" fmla="*/ 261227 h 2172952"/>
                    <a:gd name="connsiteX628" fmla="*/ 1901820 w 2433669"/>
                    <a:gd name="connsiteY628" fmla="*/ 260745 h 2172952"/>
                    <a:gd name="connsiteX629" fmla="*/ 1905114 w 2433669"/>
                    <a:gd name="connsiteY629" fmla="*/ 259781 h 2172952"/>
                    <a:gd name="connsiteX630" fmla="*/ 1968493 w 2433669"/>
                    <a:gd name="connsiteY630" fmla="*/ 307174 h 2172952"/>
                    <a:gd name="connsiteX631" fmla="*/ 1970179 w 2433669"/>
                    <a:gd name="connsiteY631" fmla="*/ 307014 h 2172952"/>
                    <a:gd name="connsiteX632" fmla="*/ 1935397 w 2433669"/>
                    <a:gd name="connsiteY632" fmla="*/ 343000 h 2172952"/>
                    <a:gd name="connsiteX633" fmla="*/ 1935719 w 2433669"/>
                    <a:gd name="connsiteY633" fmla="*/ 342117 h 2172952"/>
                    <a:gd name="connsiteX634" fmla="*/ 1936361 w 2433669"/>
                    <a:gd name="connsiteY634" fmla="*/ 353443 h 2172952"/>
                    <a:gd name="connsiteX635" fmla="*/ 1937647 w 2433669"/>
                    <a:gd name="connsiteY635" fmla="*/ 353604 h 2172952"/>
                    <a:gd name="connsiteX636" fmla="*/ 1940699 w 2433669"/>
                    <a:gd name="connsiteY636" fmla="*/ 357460 h 2172952"/>
                    <a:gd name="connsiteX637" fmla="*/ 1941743 w 2433669"/>
                    <a:gd name="connsiteY637" fmla="*/ 361717 h 2172952"/>
                    <a:gd name="connsiteX638" fmla="*/ 1988896 w 2433669"/>
                    <a:gd name="connsiteY638" fmla="*/ 383486 h 2172952"/>
                    <a:gd name="connsiteX639" fmla="*/ 2023437 w 2433669"/>
                    <a:gd name="connsiteY639" fmla="*/ 407745 h 2172952"/>
                    <a:gd name="connsiteX640" fmla="*/ 2021107 w 2433669"/>
                    <a:gd name="connsiteY640" fmla="*/ 405897 h 2172952"/>
                    <a:gd name="connsiteX641" fmla="*/ 2016288 w 2433669"/>
                    <a:gd name="connsiteY641" fmla="*/ 394973 h 2172952"/>
                    <a:gd name="connsiteX642" fmla="*/ 2037012 w 2433669"/>
                    <a:gd name="connsiteY642" fmla="*/ 387101 h 2172952"/>
                    <a:gd name="connsiteX643" fmla="*/ 2042876 w 2433669"/>
                    <a:gd name="connsiteY643" fmla="*/ 378425 h 2172952"/>
                    <a:gd name="connsiteX644" fmla="*/ 2043358 w 2433669"/>
                    <a:gd name="connsiteY644" fmla="*/ 379228 h 2172952"/>
                    <a:gd name="connsiteX645" fmla="*/ 2048178 w 2433669"/>
                    <a:gd name="connsiteY645" fmla="*/ 376015 h 2172952"/>
                    <a:gd name="connsiteX646" fmla="*/ 2052275 w 2433669"/>
                    <a:gd name="connsiteY646" fmla="*/ 374569 h 2172952"/>
                    <a:gd name="connsiteX647" fmla="*/ 2072758 w 2433669"/>
                    <a:gd name="connsiteY647" fmla="*/ 366135 h 2172952"/>
                    <a:gd name="connsiteX648" fmla="*/ 2092439 w 2433669"/>
                    <a:gd name="connsiteY648" fmla="*/ 432405 h 2172952"/>
                    <a:gd name="connsiteX649" fmla="*/ 2053239 w 2433669"/>
                    <a:gd name="connsiteY649" fmla="*/ 487832 h 2172952"/>
                    <a:gd name="connsiteX650" fmla="*/ 2097901 w 2433669"/>
                    <a:gd name="connsiteY650" fmla="*/ 469276 h 2172952"/>
                    <a:gd name="connsiteX651" fmla="*/ 2096535 w 2433669"/>
                    <a:gd name="connsiteY651" fmla="*/ 468312 h 2172952"/>
                    <a:gd name="connsiteX652" fmla="*/ 2120072 w 2433669"/>
                    <a:gd name="connsiteY652" fmla="*/ 427988 h 2172952"/>
                    <a:gd name="connsiteX653" fmla="*/ 2105693 w 2433669"/>
                    <a:gd name="connsiteY653" fmla="*/ 371196 h 2172952"/>
                    <a:gd name="connsiteX654" fmla="*/ 2108183 w 2433669"/>
                    <a:gd name="connsiteY654" fmla="*/ 373123 h 2172952"/>
                    <a:gd name="connsiteX655" fmla="*/ 2107862 w 2433669"/>
                    <a:gd name="connsiteY655" fmla="*/ 362761 h 2172952"/>
                    <a:gd name="connsiteX656" fmla="*/ 2106737 w 2433669"/>
                    <a:gd name="connsiteY656" fmla="*/ 362922 h 2172952"/>
                    <a:gd name="connsiteX657" fmla="*/ 2109629 w 2433669"/>
                    <a:gd name="connsiteY657" fmla="*/ 339948 h 2172952"/>
                    <a:gd name="connsiteX658" fmla="*/ 2147704 w 2433669"/>
                    <a:gd name="connsiteY658" fmla="*/ 361556 h 2172952"/>
                    <a:gd name="connsiteX659" fmla="*/ 2142483 w 2433669"/>
                    <a:gd name="connsiteY659" fmla="*/ 333200 h 2172952"/>
                    <a:gd name="connsiteX660" fmla="*/ 2144571 w 2433669"/>
                    <a:gd name="connsiteY660" fmla="*/ 322918 h 2172952"/>
                    <a:gd name="connsiteX661" fmla="*/ 2151239 w 2433669"/>
                    <a:gd name="connsiteY661" fmla="*/ 325569 h 2172952"/>
                    <a:gd name="connsiteX662" fmla="*/ 2152042 w 2433669"/>
                    <a:gd name="connsiteY662" fmla="*/ 322677 h 2172952"/>
                    <a:gd name="connsiteX663" fmla="*/ 2154693 w 2433669"/>
                    <a:gd name="connsiteY663" fmla="*/ 323240 h 2172952"/>
                    <a:gd name="connsiteX664" fmla="*/ 2157665 w 2433669"/>
                    <a:gd name="connsiteY664" fmla="*/ 305166 h 2172952"/>
                    <a:gd name="connsiteX665" fmla="*/ 2167465 w 2433669"/>
                    <a:gd name="connsiteY665" fmla="*/ 301551 h 2172952"/>
                    <a:gd name="connsiteX666" fmla="*/ 2167063 w 2433669"/>
                    <a:gd name="connsiteY666" fmla="*/ 298499 h 2172952"/>
                    <a:gd name="connsiteX667" fmla="*/ 2190519 w 2433669"/>
                    <a:gd name="connsiteY667" fmla="*/ 320428 h 2172952"/>
                    <a:gd name="connsiteX668" fmla="*/ 2191403 w 2433669"/>
                    <a:gd name="connsiteY668" fmla="*/ 320750 h 2172952"/>
                    <a:gd name="connsiteX669" fmla="*/ 2195178 w 2433669"/>
                    <a:gd name="connsiteY669" fmla="*/ 325409 h 2172952"/>
                    <a:gd name="connsiteX670" fmla="*/ 2226346 w 2433669"/>
                    <a:gd name="connsiteY670" fmla="*/ 352399 h 2172952"/>
                    <a:gd name="connsiteX671" fmla="*/ 2227470 w 2433669"/>
                    <a:gd name="connsiteY671" fmla="*/ 352559 h 2172952"/>
                    <a:gd name="connsiteX672" fmla="*/ 2306513 w 2433669"/>
                    <a:gd name="connsiteY672" fmla="*/ 449274 h 2172952"/>
                    <a:gd name="connsiteX673" fmla="*/ 2346355 w 2433669"/>
                    <a:gd name="connsiteY673" fmla="*/ 521007 h 2172952"/>
                    <a:gd name="connsiteX674" fmla="*/ 2344187 w 2433669"/>
                    <a:gd name="connsiteY674" fmla="*/ 471204 h 2172952"/>
                    <a:gd name="connsiteX675" fmla="*/ 2342660 w 2433669"/>
                    <a:gd name="connsiteY675" fmla="*/ 464617 h 2172952"/>
                    <a:gd name="connsiteX676" fmla="*/ 2342901 w 2433669"/>
                    <a:gd name="connsiteY676" fmla="*/ 463573 h 2172952"/>
                    <a:gd name="connsiteX677" fmla="*/ 2342178 w 2433669"/>
                    <a:gd name="connsiteY677" fmla="*/ 462287 h 2172952"/>
                    <a:gd name="connsiteX678" fmla="*/ 2324024 w 2433669"/>
                    <a:gd name="connsiteY678" fmla="*/ 406861 h 2172952"/>
                    <a:gd name="connsiteX679" fmla="*/ 2320650 w 2433669"/>
                    <a:gd name="connsiteY679" fmla="*/ 401801 h 2172952"/>
                    <a:gd name="connsiteX680" fmla="*/ 2322016 w 2433669"/>
                    <a:gd name="connsiteY680" fmla="*/ 401801 h 2172952"/>
                    <a:gd name="connsiteX681" fmla="*/ 2335029 w 2433669"/>
                    <a:gd name="connsiteY681" fmla="*/ 420196 h 2172952"/>
                    <a:gd name="connsiteX682" fmla="*/ 2330129 w 2433669"/>
                    <a:gd name="connsiteY682" fmla="*/ 408147 h 2172952"/>
                    <a:gd name="connsiteX683" fmla="*/ 2418892 w 2433669"/>
                    <a:gd name="connsiteY683" fmla="*/ 693070 h 2172952"/>
                    <a:gd name="connsiteX684" fmla="*/ 2349970 w 2433669"/>
                    <a:gd name="connsiteY684" fmla="*/ 1309186 h 2172952"/>
                    <a:gd name="connsiteX685" fmla="*/ 2108103 w 2433669"/>
                    <a:gd name="connsiteY685" fmla="*/ 1184918 h 2172952"/>
                    <a:gd name="connsiteX686" fmla="*/ 629827 w 2433669"/>
                    <a:gd name="connsiteY686" fmla="*/ 1370315 h 2172952"/>
                    <a:gd name="connsiteX687" fmla="*/ 424830 w 2433669"/>
                    <a:gd name="connsiteY687" fmla="*/ 763839 h 21729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</a:cxnLst>
                  <a:rect l="l" t="t" r="r" b="b"/>
                  <a:pathLst>
                    <a:path w="2433669" h="2172952">
                      <a:moveTo>
                        <a:pt x="2052355" y="1753480"/>
                      </a:moveTo>
                      <a:cubicBezTo>
                        <a:pt x="2076534" y="1729944"/>
                        <a:pt x="2099749" y="1705524"/>
                        <a:pt x="2121999" y="1680301"/>
                      </a:cubicBezTo>
                      <a:lnTo>
                        <a:pt x="2121035" y="1681827"/>
                      </a:lnTo>
                      <a:cubicBezTo>
                        <a:pt x="2115895" y="1690181"/>
                        <a:pt x="2113324" y="1699981"/>
                        <a:pt x="2106576" y="1707452"/>
                      </a:cubicBezTo>
                      <a:cubicBezTo>
                        <a:pt x="2105773" y="1708336"/>
                        <a:pt x="2104327" y="1708978"/>
                        <a:pt x="2103363" y="1709621"/>
                      </a:cubicBezTo>
                      <a:cubicBezTo>
                        <a:pt x="2092519" y="1716850"/>
                        <a:pt x="2063119" y="1746089"/>
                        <a:pt x="2028498" y="1784085"/>
                      </a:cubicBezTo>
                      <a:cubicBezTo>
                        <a:pt x="2036691" y="1774044"/>
                        <a:pt x="2043840" y="1763199"/>
                        <a:pt x="2052355" y="1753480"/>
                      </a:cubicBezTo>
                      <a:moveTo>
                        <a:pt x="1290765" y="2172149"/>
                      </a:moveTo>
                      <a:cubicBezTo>
                        <a:pt x="1285383" y="2172872"/>
                        <a:pt x="1278074" y="2172712"/>
                        <a:pt x="1272692" y="2172952"/>
                      </a:cubicBezTo>
                      <a:cubicBezTo>
                        <a:pt x="1282251" y="2172631"/>
                        <a:pt x="1291810" y="2171346"/>
                        <a:pt x="1301369" y="2169177"/>
                      </a:cubicBezTo>
                      <a:cubicBezTo>
                        <a:pt x="1301529" y="2169177"/>
                        <a:pt x="1301690" y="2169258"/>
                        <a:pt x="1301770" y="2169258"/>
                      </a:cubicBezTo>
                      <a:cubicBezTo>
                        <a:pt x="1301770" y="2169338"/>
                        <a:pt x="1301770" y="2169338"/>
                        <a:pt x="1301770" y="2169418"/>
                      </a:cubicBezTo>
                      <a:cubicBezTo>
                        <a:pt x="1301690" y="2169498"/>
                        <a:pt x="1301610" y="2169498"/>
                        <a:pt x="1301529" y="2169579"/>
                      </a:cubicBezTo>
                      <a:cubicBezTo>
                        <a:pt x="1302413" y="2169498"/>
                        <a:pt x="1303297" y="2169338"/>
                        <a:pt x="1304100" y="2169177"/>
                      </a:cubicBezTo>
                      <a:cubicBezTo>
                        <a:pt x="1299762" y="2170302"/>
                        <a:pt x="1294300" y="2171667"/>
                        <a:pt x="1290765" y="2172149"/>
                      </a:cubicBezTo>
                      <a:moveTo>
                        <a:pt x="1457848" y="2151425"/>
                      </a:moveTo>
                      <a:cubicBezTo>
                        <a:pt x="1461462" y="2150782"/>
                        <a:pt x="1466282" y="2149898"/>
                        <a:pt x="1469897" y="2149256"/>
                      </a:cubicBezTo>
                      <a:cubicBezTo>
                        <a:pt x="1434151" y="2156646"/>
                        <a:pt x="1425636" y="2158413"/>
                        <a:pt x="1381536" y="2164197"/>
                      </a:cubicBezTo>
                      <a:cubicBezTo>
                        <a:pt x="1369728" y="2165562"/>
                        <a:pt x="1353984" y="2167329"/>
                        <a:pt x="1342175" y="2168454"/>
                      </a:cubicBezTo>
                      <a:lnTo>
                        <a:pt x="1344103" y="2168294"/>
                      </a:lnTo>
                      <a:cubicBezTo>
                        <a:pt x="1348602" y="2167731"/>
                        <a:pt x="1349084" y="2167651"/>
                        <a:pt x="1352297" y="2166446"/>
                      </a:cubicBezTo>
                      <a:cubicBezTo>
                        <a:pt x="1339123" y="2168052"/>
                        <a:pt x="1326110" y="2163313"/>
                        <a:pt x="1312936" y="2165964"/>
                      </a:cubicBezTo>
                      <a:cubicBezTo>
                        <a:pt x="1326511" y="2161707"/>
                        <a:pt x="1340007" y="2155441"/>
                        <a:pt x="1353502" y="2147247"/>
                      </a:cubicBezTo>
                      <a:cubicBezTo>
                        <a:pt x="1353582" y="2147328"/>
                        <a:pt x="1364507" y="2154798"/>
                        <a:pt x="1372620" y="2146685"/>
                      </a:cubicBezTo>
                      <a:cubicBezTo>
                        <a:pt x="1380652" y="2138653"/>
                        <a:pt x="1381536" y="2140500"/>
                        <a:pt x="1382661" y="2142990"/>
                      </a:cubicBezTo>
                      <a:cubicBezTo>
                        <a:pt x="1376636" y="2151585"/>
                        <a:pt x="1374146" y="2155762"/>
                        <a:pt x="1384026" y="2156887"/>
                      </a:cubicBezTo>
                      <a:cubicBezTo>
                        <a:pt x="1385472" y="2157048"/>
                        <a:pt x="1387480" y="2157048"/>
                        <a:pt x="1388926" y="2156887"/>
                      </a:cubicBezTo>
                      <a:cubicBezTo>
                        <a:pt x="1390774" y="2156726"/>
                        <a:pt x="1393184" y="2156485"/>
                        <a:pt x="1395031" y="2156324"/>
                      </a:cubicBezTo>
                      <a:cubicBezTo>
                        <a:pt x="1396798" y="2156164"/>
                        <a:pt x="1399128" y="2156806"/>
                        <a:pt x="1400895" y="2157048"/>
                      </a:cubicBezTo>
                      <a:cubicBezTo>
                        <a:pt x="1402341" y="2157208"/>
                        <a:pt x="1416720" y="2158574"/>
                        <a:pt x="1457848" y="2151425"/>
                      </a:cubicBezTo>
                      <a:moveTo>
                        <a:pt x="2143768" y="1654998"/>
                      </a:moveTo>
                      <a:cubicBezTo>
                        <a:pt x="2230763" y="1550812"/>
                        <a:pt x="2300729" y="1433854"/>
                        <a:pt x="2350131" y="1309025"/>
                      </a:cubicBezTo>
                      <a:cubicBezTo>
                        <a:pt x="2374069" y="1344771"/>
                        <a:pt x="2376880" y="1384533"/>
                        <a:pt x="2358967" y="1426464"/>
                      </a:cubicBezTo>
                      <a:lnTo>
                        <a:pt x="2350131" y="1446627"/>
                      </a:lnTo>
                      <a:cubicBezTo>
                        <a:pt x="2298400" y="1551374"/>
                        <a:pt x="2294223" y="1559969"/>
                        <a:pt x="2250604" y="1626722"/>
                      </a:cubicBezTo>
                      <a:cubicBezTo>
                        <a:pt x="2186904" y="1715244"/>
                        <a:pt x="2178711" y="1726570"/>
                        <a:pt x="2118947" y="1791555"/>
                      </a:cubicBezTo>
                      <a:lnTo>
                        <a:pt x="2088342" y="1822642"/>
                      </a:lnTo>
                      <a:lnTo>
                        <a:pt x="2086976" y="1823927"/>
                      </a:lnTo>
                      <a:cubicBezTo>
                        <a:pt x="2203773" y="1687048"/>
                        <a:pt x="2196303" y="1677409"/>
                        <a:pt x="2191804" y="1671626"/>
                      </a:cubicBezTo>
                      <a:cubicBezTo>
                        <a:pt x="2187547" y="1674116"/>
                        <a:pt x="2186101" y="1674999"/>
                        <a:pt x="2180558" y="1685281"/>
                      </a:cubicBezTo>
                      <a:cubicBezTo>
                        <a:pt x="2183209" y="1662307"/>
                        <a:pt x="2173490" y="1637807"/>
                        <a:pt x="2143768" y="1654998"/>
                      </a:cubicBezTo>
                      <a:moveTo>
                        <a:pt x="629988" y="1370154"/>
                      </a:moveTo>
                      <a:cubicBezTo>
                        <a:pt x="324099" y="1503258"/>
                        <a:pt x="213648" y="1653471"/>
                        <a:pt x="309559" y="1760629"/>
                      </a:cubicBezTo>
                      <a:cubicBezTo>
                        <a:pt x="291164" y="1738217"/>
                        <a:pt x="265780" y="1709058"/>
                        <a:pt x="248269" y="1686004"/>
                      </a:cubicBezTo>
                      <a:cubicBezTo>
                        <a:pt x="178384" y="1585835"/>
                        <a:pt x="174207" y="1579811"/>
                        <a:pt x="139023" y="1513299"/>
                      </a:cubicBezTo>
                      <a:cubicBezTo>
                        <a:pt x="85926" y="1400759"/>
                        <a:pt x="82793" y="1394012"/>
                        <a:pt x="59338" y="1322440"/>
                      </a:cubicBezTo>
                      <a:cubicBezTo>
                        <a:pt x="44477" y="1269022"/>
                        <a:pt x="26885" y="1197048"/>
                        <a:pt x="16121" y="1142666"/>
                      </a:cubicBezTo>
                      <a:cubicBezTo>
                        <a:pt x="296" y="1012936"/>
                        <a:pt x="-266" y="1007875"/>
                        <a:pt x="56" y="932206"/>
                      </a:cubicBezTo>
                      <a:cubicBezTo>
                        <a:pt x="6321" y="805208"/>
                        <a:pt x="6562" y="800227"/>
                        <a:pt x="19415" y="726647"/>
                      </a:cubicBezTo>
                      <a:cubicBezTo>
                        <a:pt x="46324" y="604870"/>
                        <a:pt x="47369" y="600130"/>
                        <a:pt x="72431" y="529201"/>
                      </a:cubicBezTo>
                      <a:lnTo>
                        <a:pt x="98698" y="462448"/>
                      </a:lnTo>
                      <a:cubicBezTo>
                        <a:pt x="134123" y="380353"/>
                        <a:pt x="249072" y="290225"/>
                        <a:pt x="440815" y="206764"/>
                      </a:cubicBezTo>
                      <a:cubicBezTo>
                        <a:pt x="398322" y="361556"/>
                        <a:pt x="390369" y="551371"/>
                        <a:pt x="424910" y="763758"/>
                      </a:cubicBezTo>
                      <a:cubicBezTo>
                        <a:pt x="459371" y="975985"/>
                        <a:pt x="531987" y="1183793"/>
                        <a:pt x="629988" y="1370154"/>
                      </a:cubicBezTo>
                      <a:moveTo>
                        <a:pt x="954111" y="1199056"/>
                      </a:moveTo>
                      <a:cubicBezTo>
                        <a:pt x="956280" y="1200181"/>
                        <a:pt x="961019" y="1200984"/>
                        <a:pt x="967606" y="1200100"/>
                      </a:cubicBezTo>
                      <a:cubicBezTo>
                        <a:pt x="966321" y="1198735"/>
                        <a:pt x="965116" y="1198012"/>
                        <a:pt x="962706" y="1197208"/>
                      </a:cubicBezTo>
                      <a:cubicBezTo>
                        <a:pt x="961099" y="1192309"/>
                        <a:pt x="959413" y="1190782"/>
                        <a:pt x="955155" y="1197289"/>
                      </a:cubicBezTo>
                      <a:cubicBezTo>
                        <a:pt x="955637" y="1197048"/>
                        <a:pt x="956280" y="1196807"/>
                        <a:pt x="956762" y="1196566"/>
                      </a:cubicBezTo>
                      <a:cubicBezTo>
                        <a:pt x="956681" y="1197851"/>
                        <a:pt x="955637" y="1198654"/>
                        <a:pt x="953790" y="1198895"/>
                      </a:cubicBezTo>
                      <a:cubicBezTo>
                        <a:pt x="953870" y="1198895"/>
                        <a:pt x="954031" y="1198975"/>
                        <a:pt x="954111" y="1199056"/>
                      </a:cubicBezTo>
                      <a:moveTo>
                        <a:pt x="974193" y="1171343"/>
                      </a:moveTo>
                      <a:cubicBezTo>
                        <a:pt x="974354" y="1171584"/>
                        <a:pt x="975478" y="1171905"/>
                        <a:pt x="975960" y="1172066"/>
                      </a:cubicBezTo>
                      <a:cubicBezTo>
                        <a:pt x="976522" y="1171825"/>
                        <a:pt x="977245" y="1171423"/>
                        <a:pt x="977727" y="1171182"/>
                      </a:cubicBezTo>
                      <a:cubicBezTo>
                        <a:pt x="976040" y="1171102"/>
                        <a:pt x="974032" y="1171021"/>
                        <a:pt x="974193" y="1171343"/>
                      </a:cubicBezTo>
                      <a:moveTo>
                        <a:pt x="967526" y="1167085"/>
                      </a:moveTo>
                      <a:cubicBezTo>
                        <a:pt x="969373" y="1166282"/>
                        <a:pt x="969775" y="1165720"/>
                        <a:pt x="968650" y="1165318"/>
                      </a:cubicBezTo>
                      <a:cubicBezTo>
                        <a:pt x="968329" y="1165157"/>
                        <a:pt x="967927" y="1165157"/>
                        <a:pt x="967526" y="1165077"/>
                      </a:cubicBezTo>
                      <a:lnTo>
                        <a:pt x="967285" y="1167246"/>
                      </a:lnTo>
                      <a:cubicBezTo>
                        <a:pt x="967365" y="1167166"/>
                        <a:pt x="967445" y="1167085"/>
                        <a:pt x="967526" y="1167085"/>
                      </a:cubicBezTo>
                      <a:moveTo>
                        <a:pt x="1320808" y="1066997"/>
                      </a:moveTo>
                      <a:cubicBezTo>
                        <a:pt x="1321049" y="1067800"/>
                        <a:pt x="1321852" y="1068362"/>
                        <a:pt x="1321852" y="1068362"/>
                      </a:cubicBezTo>
                      <a:cubicBezTo>
                        <a:pt x="1321933" y="1068442"/>
                        <a:pt x="1322093" y="1068362"/>
                        <a:pt x="1322174" y="1068362"/>
                      </a:cubicBezTo>
                      <a:cubicBezTo>
                        <a:pt x="1322415" y="1068362"/>
                        <a:pt x="1322736" y="1068362"/>
                        <a:pt x="1322977" y="1068362"/>
                      </a:cubicBezTo>
                      <a:cubicBezTo>
                        <a:pt x="1324423" y="1068121"/>
                        <a:pt x="1325066" y="1067639"/>
                        <a:pt x="1325306" y="1066595"/>
                      </a:cubicBezTo>
                      <a:cubicBezTo>
                        <a:pt x="1323780" y="1066595"/>
                        <a:pt x="1322495" y="1066113"/>
                        <a:pt x="1321210" y="1064988"/>
                      </a:cubicBezTo>
                      <a:cubicBezTo>
                        <a:pt x="1320969" y="1065390"/>
                        <a:pt x="1320567" y="1066193"/>
                        <a:pt x="1320808" y="1066997"/>
                      </a:cubicBezTo>
                      <a:moveTo>
                        <a:pt x="1318720" y="1064426"/>
                      </a:moveTo>
                      <a:cubicBezTo>
                        <a:pt x="1318720" y="1064506"/>
                        <a:pt x="1318800" y="1064587"/>
                        <a:pt x="1318800" y="1064667"/>
                      </a:cubicBezTo>
                      <a:lnTo>
                        <a:pt x="1321290" y="1063061"/>
                      </a:lnTo>
                      <a:cubicBezTo>
                        <a:pt x="1320969" y="1062739"/>
                        <a:pt x="1320487" y="1062338"/>
                        <a:pt x="1320165" y="1062016"/>
                      </a:cubicBezTo>
                      <a:cubicBezTo>
                        <a:pt x="1319443" y="1062498"/>
                        <a:pt x="1318559" y="1063221"/>
                        <a:pt x="1318720" y="1064426"/>
                      </a:cubicBezTo>
                      <a:moveTo>
                        <a:pt x="1305224" y="1058321"/>
                      </a:moveTo>
                      <a:cubicBezTo>
                        <a:pt x="1305706" y="1058080"/>
                        <a:pt x="1307072" y="1057357"/>
                        <a:pt x="1306269" y="1057036"/>
                      </a:cubicBezTo>
                      <a:cubicBezTo>
                        <a:pt x="1305787" y="1056875"/>
                        <a:pt x="1304823" y="1056875"/>
                        <a:pt x="1304341" y="1056875"/>
                      </a:cubicBezTo>
                      <a:lnTo>
                        <a:pt x="1303939" y="1057518"/>
                      </a:lnTo>
                      <a:lnTo>
                        <a:pt x="1305224" y="1058321"/>
                      </a:lnTo>
                      <a:moveTo>
                        <a:pt x="824462" y="1133749"/>
                      </a:moveTo>
                      <a:cubicBezTo>
                        <a:pt x="825024" y="1134633"/>
                        <a:pt x="826229" y="1134954"/>
                        <a:pt x="828237" y="1134713"/>
                      </a:cubicBezTo>
                      <a:cubicBezTo>
                        <a:pt x="827675" y="1133187"/>
                        <a:pt x="826309" y="1132544"/>
                        <a:pt x="823980" y="1132705"/>
                      </a:cubicBezTo>
                      <a:cubicBezTo>
                        <a:pt x="824140" y="1133026"/>
                        <a:pt x="824301" y="1133428"/>
                        <a:pt x="824462" y="1133749"/>
                      </a:cubicBezTo>
                      <a:moveTo>
                        <a:pt x="1299682" y="1049244"/>
                      </a:moveTo>
                      <a:cubicBezTo>
                        <a:pt x="1299843" y="1050208"/>
                        <a:pt x="1299923" y="1051172"/>
                        <a:pt x="1300084" y="1052136"/>
                      </a:cubicBezTo>
                      <a:lnTo>
                        <a:pt x="1302493" y="1048682"/>
                      </a:lnTo>
                      <a:lnTo>
                        <a:pt x="1301610" y="1047397"/>
                      </a:lnTo>
                      <a:cubicBezTo>
                        <a:pt x="1304984" y="1051895"/>
                        <a:pt x="1310365" y="1061615"/>
                        <a:pt x="1312293" y="1065310"/>
                      </a:cubicBezTo>
                      <a:cubicBezTo>
                        <a:pt x="1311410" y="1060972"/>
                        <a:pt x="1312052" y="1058643"/>
                        <a:pt x="1318077" y="1061534"/>
                      </a:cubicBezTo>
                      <a:cubicBezTo>
                        <a:pt x="1318157" y="1059687"/>
                        <a:pt x="1318720" y="1058803"/>
                        <a:pt x="1320567" y="1057357"/>
                      </a:cubicBezTo>
                      <a:cubicBezTo>
                        <a:pt x="1320005" y="1061534"/>
                        <a:pt x="1320888" y="1064025"/>
                        <a:pt x="1326993" y="1062177"/>
                      </a:cubicBezTo>
                      <a:cubicBezTo>
                        <a:pt x="1326592" y="1062820"/>
                        <a:pt x="1326029" y="1063703"/>
                        <a:pt x="1325547" y="1064346"/>
                      </a:cubicBezTo>
                      <a:cubicBezTo>
                        <a:pt x="1332054" y="1071575"/>
                        <a:pt x="1345388" y="1067800"/>
                        <a:pt x="1346031" y="1064506"/>
                      </a:cubicBezTo>
                      <a:cubicBezTo>
                        <a:pt x="1346433" y="1062418"/>
                        <a:pt x="1342818" y="1063141"/>
                        <a:pt x="1341613" y="1063382"/>
                      </a:cubicBezTo>
                      <a:cubicBezTo>
                        <a:pt x="1352939" y="1058401"/>
                        <a:pt x="1357438" y="1053180"/>
                        <a:pt x="1358562" y="1043541"/>
                      </a:cubicBezTo>
                      <a:cubicBezTo>
                        <a:pt x="1355670" y="1045067"/>
                        <a:pt x="1354546" y="1046192"/>
                        <a:pt x="1354064" y="1048200"/>
                      </a:cubicBezTo>
                      <a:cubicBezTo>
                        <a:pt x="1352859" y="1046192"/>
                        <a:pt x="1353261" y="1044826"/>
                        <a:pt x="1355911" y="1042497"/>
                      </a:cubicBezTo>
                      <a:lnTo>
                        <a:pt x="1357839" y="1043059"/>
                      </a:lnTo>
                      <a:cubicBezTo>
                        <a:pt x="1364426" y="1034062"/>
                        <a:pt x="1366193" y="1027957"/>
                        <a:pt x="1364748" y="1018720"/>
                      </a:cubicBezTo>
                      <a:cubicBezTo>
                        <a:pt x="1348521" y="1024985"/>
                        <a:pt x="1328118" y="1032134"/>
                        <a:pt x="1322977" y="1030769"/>
                      </a:cubicBezTo>
                      <a:cubicBezTo>
                        <a:pt x="1315105" y="1028841"/>
                        <a:pt x="1308036" y="1029082"/>
                        <a:pt x="1305465" y="1030287"/>
                      </a:cubicBezTo>
                      <a:cubicBezTo>
                        <a:pt x="1297031" y="1034303"/>
                        <a:pt x="1298075" y="1040247"/>
                        <a:pt x="1299682" y="1049244"/>
                      </a:cubicBezTo>
                      <a:moveTo>
                        <a:pt x="1299200" y="1026511"/>
                      </a:moveTo>
                      <a:lnTo>
                        <a:pt x="1300405" y="1025306"/>
                      </a:lnTo>
                      <a:lnTo>
                        <a:pt x="1297995" y="1025547"/>
                      </a:lnTo>
                      <a:lnTo>
                        <a:pt x="1299200" y="1026511"/>
                      </a:lnTo>
                      <a:moveTo>
                        <a:pt x="821088" y="1141380"/>
                      </a:moveTo>
                      <a:cubicBezTo>
                        <a:pt x="824783" y="1143148"/>
                        <a:pt x="825827" y="1145316"/>
                        <a:pt x="826068" y="1146120"/>
                      </a:cubicBezTo>
                      <a:cubicBezTo>
                        <a:pt x="827835" y="1151341"/>
                        <a:pt x="837635" y="1158972"/>
                        <a:pt x="859404" y="1163230"/>
                      </a:cubicBezTo>
                      <a:cubicBezTo>
                        <a:pt x="859003" y="1163712"/>
                        <a:pt x="858601" y="1164435"/>
                        <a:pt x="858440" y="1164997"/>
                      </a:cubicBezTo>
                      <a:cubicBezTo>
                        <a:pt x="859324" y="1165720"/>
                        <a:pt x="859485" y="1165800"/>
                        <a:pt x="862055" y="1165639"/>
                      </a:cubicBezTo>
                      <a:cubicBezTo>
                        <a:pt x="856673" y="1169576"/>
                        <a:pt x="856030" y="1170218"/>
                        <a:pt x="854665" y="1172066"/>
                      </a:cubicBezTo>
                      <a:cubicBezTo>
                        <a:pt x="856111" y="1173190"/>
                        <a:pt x="856593" y="1173512"/>
                        <a:pt x="864786" y="1170941"/>
                      </a:cubicBezTo>
                      <a:cubicBezTo>
                        <a:pt x="864144" y="1170861"/>
                        <a:pt x="863260" y="1170700"/>
                        <a:pt x="862617" y="1170620"/>
                      </a:cubicBezTo>
                      <a:cubicBezTo>
                        <a:pt x="866232" y="1170700"/>
                        <a:pt x="868401" y="1170218"/>
                        <a:pt x="871694" y="1166684"/>
                      </a:cubicBezTo>
                      <a:cubicBezTo>
                        <a:pt x="871293" y="1167969"/>
                        <a:pt x="871212" y="1168290"/>
                        <a:pt x="870168" y="1170379"/>
                      </a:cubicBezTo>
                      <a:cubicBezTo>
                        <a:pt x="876193" y="1170620"/>
                        <a:pt x="882217" y="1170941"/>
                        <a:pt x="888242" y="1171262"/>
                      </a:cubicBezTo>
                      <a:cubicBezTo>
                        <a:pt x="889126" y="1177287"/>
                        <a:pt x="926719" y="1216005"/>
                        <a:pt x="972104" y="1176966"/>
                      </a:cubicBezTo>
                      <a:cubicBezTo>
                        <a:pt x="974354" y="1177528"/>
                        <a:pt x="974916" y="1177528"/>
                        <a:pt x="977245" y="1177126"/>
                      </a:cubicBezTo>
                      <a:cubicBezTo>
                        <a:pt x="976683" y="1176484"/>
                        <a:pt x="975880" y="1175680"/>
                        <a:pt x="975317" y="1175038"/>
                      </a:cubicBezTo>
                      <a:cubicBezTo>
                        <a:pt x="976763" y="1175680"/>
                        <a:pt x="977647" y="1175841"/>
                        <a:pt x="979736" y="1175198"/>
                      </a:cubicBezTo>
                      <a:cubicBezTo>
                        <a:pt x="978370" y="1172708"/>
                        <a:pt x="975880" y="1172307"/>
                        <a:pt x="969614" y="1173512"/>
                      </a:cubicBezTo>
                      <a:cubicBezTo>
                        <a:pt x="972104" y="1172628"/>
                        <a:pt x="972104" y="1172628"/>
                        <a:pt x="972827" y="1171664"/>
                      </a:cubicBezTo>
                      <a:cubicBezTo>
                        <a:pt x="971462" y="1171021"/>
                        <a:pt x="971462" y="1171021"/>
                        <a:pt x="968972" y="1170781"/>
                      </a:cubicBezTo>
                      <a:cubicBezTo>
                        <a:pt x="970337" y="1170459"/>
                        <a:pt x="972185" y="1170138"/>
                        <a:pt x="973631" y="1169817"/>
                      </a:cubicBezTo>
                      <a:cubicBezTo>
                        <a:pt x="973309" y="1168692"/>
                        <a:pt x="972988" y="1167326"/>
                        <a:pt x="969695" y="1168531"/>
                      </a:cubicBezTo>
                      <a:cubicBezTo>
                        <a:pt x="969855" y="1167969"/>
                        <a:pt x="970016" y="1167246"/>
                        <a:pt x="970176" y="1166764"/>
                      </a:cubicBezTo>
                      <a:cubicBezTo>
                        <a:pt x="968650" y="1167728"/>
                        <a:pt x="967124" y="1168692"/>
                        <a:pt x="965598" y="1169576"/>
                      </a:cubicBezTo>
                      <a:cubicBezTo>
                        <a:pt x="965758" y="1169335"/>
                        <a:pt x="965919" y="1168933"/>
                        <a:pt x="965999" y="1168692"/>
                      </a:cubicBezTo>
                      <a:cubicBezTo>
                        <a:pt x="965839" y="1168451"/>
                        <a:pt x="965678" y="1168210"/>
                        <a:pt x="965517" y="1167969"/>
                      </a:cubicBezTo>
                      <a:cubicBezTo>
                        <a:pt x="965196" y="1167969"/>
                        <a:pt x="964795" y="1167969"/>
                        <a:pt x="964393" y="1167969"/>
                      </a:cubicBezTo>
                      <a:cubicBezTo>
                        <a:pt x="966321" y="1166443"/>
                        <a:pt x="966321" y="1166443"/>
                        <a:pt x="966642" y="1165238"/>
                      </a:cubicBezTo>
                      <a:cubicBezTo>
                        <a:pt x="966080" y="1164756"/>
                        <a:pt x="965196" y="1164194"/>
                        <a:pt x="964473" y="1163872"/>
                      </a:cubicBezTo>
                      <a:cubicBezTo>
                        <a:pt x="963831" y="1164194"/>
                        <a:pt x="962947" y="1164675"/>
                        <a:pt x="962224" y="1164997"/>
                      </a:cubicBezTo>
                      <a:cubicBezTo>
                        <a:pt x="962626" y="1164515"/>
                        <a:pt x="962947" y="1163631"/>
                        <a:pt x="963108" y="1162989"/>
                      </a:cubicBezTo>
                      <a:cubicBezTo>
                        <a:pt x="961903" y="1162025"/>
                        <a:pt x="961742" y="1161864"/>
                        <a:pt x="958449" y="1161784"/>
                      </a:cubicBezTo>
                      <a:cubicBezTo>
                        <a:pt x="958368" y="1162426"/>
                        <a:pt x="958208" y="1163310"/>
                        <a:pt x="958047" y="1163953"/>
                      </a:cubicBezTo>
                      <a:cubicBezTo>
                        <a:pt x="957083" y="1161543"/>
                        <a:pt x="955155" y="1159133"/>
                        <a:pt x="948890" y="1161543"/>
                      </a:cubicBezTo>
                      <a:cubicBezTo>
                        <a:pt x="947444" y="1156964"/>
                        <a:pt x="941821" y="1152305"/>
                        <a:pt x="923104" y="1156000"/>
                      </a:cubicBezTo>
                      <a:cubicBezTo>
                        <a:pt x="920614" y="1153189"/>
                        <a:pt x="916999" y="1152546"/>
                        <a:pt x="909770" y="1153510"/>
                      </a:cubicBezTo>
                      <a:cubicBezTo>
                        <a:pt x="909690" y="1153108"/>
                        <a:pt x="909529" y="1152707"/>
                        <a:pt x="909449" y="1152385"/>
                      </a:cubicBezTo>
                      <a:lnTo>
                        <a:pt x="908163" y="1152546"/>
                      </a:lnTo>
                      <a:cubicBezTo>
                        <a:pt x="908404" y="1152385"/>
                        <a:pt x="908645" y="1152225"/>
                        <a:pt x="908886" y="1152064"/>
                      </a:cubicBezTo>
                      <a:cubicBezTo>
                        <a:pt x="904790" y="1150538"/>
                        <a:pt x="901898" y="1150217"/>
                        <a:pt x="898283" y="1150939"/>
                      </a:cubicBezTo>
                      <a:cubicBezTo>
                        <a:pt x="898685" y="1150458"/>
                        <a:pt x="899247" y="1149895"/>
                        <a:pt x="899729" y="1149413"/>
                      </a:cubicBezTo>
                      <a:cubicBezTo>
                        <a:pt x="896676" y="1148610"/>
                        <a:pt x="895471" y="1149574"/>
                        <a:pt x="894106" y="1150618"/>
                      </a:cubicBezTo>
                      <a:cubicBezTo>
                        <a:pt x="894347" y="1150136"/>
                        <a:pt x="894508" y="1149413"/>
                        <a:pt x="894427" y="1148931"/>
                      </a:cubicBezTo>
                      <a:cubicBezTo>
                        <a:pt x="893383" y="1149172"/>
                        <a:pt x="893383" y="1149172"/>
                        <a:pt x="892017" y="1150056"/>
                      </a:cubicBezTo>
                      <a:cubicBezTo>
                        <a:pt x="888804" y="1147485"/>
                        <a:pt x="888804" y="1147485"/>
                        <a:pt x="886153" y="1146762"/>
                      </a:cubicBezTo>
                      <a:lnTo>
                        <a:pt x="886153" y="1149494"/>
                      </a:lnTo>
                      <a:cubicBezTo>
                        <a:pt x="885270" y="1146441"/>
                        <a:pt x="883262" y="1145156"/>
                        <a:pt x="878844" y="1144674"/>
                      </a:cubicBezTo>
                      <a:cubicBezTo>
                        <a:pt x="870007" y="1133669"/>
                        <a:pt x="859083" y="1127805"/>
                        <a:pt x="841170" y="1124672"/>
                      </a:cubicBezTo>
                      <a:cubicBezTo>
                        <a:pt x="845186" y="1130054"/>
                        <a:pt x="846953" y="1136159"/>
                        <a:pt x="824462" y="1135918"/>
                      </a:cubicBezTo>
                      <a:cubicBezTo>
                        <a:pt x="826871" y="1137123"/>
                        <a:pt x="827916" y="1138007"/>
                        <a:pt x="829683" y="1140015"/>
                      </a:cubicBezTo>
                      <a:cubicBezTo>
                        <a:pt x="827193" y="1139533"/>
                        <a:pt x="826871" y="1139372"/>
                        <a:pt x="824703" y="1138328"/>
                      </a:cubicBezTo>
                      <a:lnTo>
                        <a:pt x="824863" y="1137123"/>
                      </a:lnTo>
                      <a:lnTo>
                        <a:pt x="821248" y="1138007"/>
                      </a:lnTo>
                      <a:lnTo>
                        <a:pt x="821088" y="1138649"/>
                      </a:lnTo>
                      <a:cubicBezTo>
                        <a:pt x="820686" y="1138729"/>
                        <a:pt x="820043" y="1138890"/>
                        <a:pt x="819642" y="1138971"/>
                      </a:cubicBezTo>
                      <a:cubicBezTo>
                        <a:pt x="821489" y="1140176"/>
                        <a:pt x="822534" y="1140738"/>
                        <a:pt x="825425" y="1140898"/>
                      </a:cubicBezTo>
                      <a:cubicBezTo>
                        <a:pt x="823176" y="1141380"/>
                        <a:pt x="822453" y="1141461"/>
                        <a:pt x="819963" y="1140979"/>
                      </a:cubicBezTo>
                      <a:cubicBezTo>
                        <a:pt x="820124" y="1140979"/>
                        <a:pt x="820686" y="1141220"/>
                        <a:pt x="821088" y="1141380"/>
                      </a:cubicBezTo>
                      <a:moveTo>
                        <a:pt x="1295746" y="1025628"/>
                      </a:moveTo>
                      <a:cubicBezTo>
                        <a:pt x="1295906" y="1025387"/>
                        <a:pt x="1296067" y="1025146"/>
                        <a:pt x="1296147" y="1024985"/>
                      </a:cubicBezTo>
                      <a:cubicBezTo>
                        <a:pt x="1295424" y="1025306"/>
                        <a:pt x="1295023" y="1025547"/>
                        <a:pt x="1294862" y="1025708"/>
                      </a:cubicBezTo>
                      <a:lnTo>
                        <a:pt x="1295746" y="1025628"/>
                      </a:lnTo>
                      <a:moveTo>
                        <a:pt x="1363382" y="1016390"/>
                      </a:moveTo>
                      <a:lnTo>
                        <a:pt x="1364025" y="1017675"/>
                      </a:lnTo>
                      <a:lnTo>
                        <a:pt x="1364667" y="1015908"/>
                      </a:lnTo>
                      <a:lnTo>
                        <a:pt x="1363221" y="1015346"/>
                      </a:lnTo>
                      <a:cubicBezTo>
                        <a:pt x="1363221" y="1015747"/>
                        <a:pt x="1363302" y="1016069"/>
                        <a:pt x="1363382" y="1016390"/>
                      </a:cubicBezTo>
                      <a:moveTo>
                        <a:pt x="1296308" y="1024824"/>
                      </a:moveTo>
                      <a:cubicBezTo>
                        <a:pt x="1297352" y="1024262"/>
                        <a:pt x="1298397" y="1023700"/>
                        <a:pt x="1299521" y="1023138"/>
                      </a:cubicBezTo>
                      <a:cubicBezTo>
                        <a:pt x="1299843" y="1022977"/>
                        <a:pt x="1300164" y="1022816"/>
                        <a:pt x="1300485" y="1022575"/>
                      </a:cubicBezTo>
                      <a:cubicBezTo>
                        <a:pt x="1300405" y="1022575"/>
                        <a:pt x="1300084" y="1022736"/>
                        <a:pt x="1296308" y="1024583"/>
                      </a:cubicBezTo>
                      <a:lnTo>
                        <a:pt x="1296147" y="1024905"/>
                      </a:lnTo>
                      <a:cubicBezTo>
                        <a:pt x="1296228" y="1024905"/>
                        <a:pt x="1296308" y="1024824"/>
                        <a:pt x="1296308" y="1024824"/>
                      </a:cubicBezTo>
                      <a:moveTo>
                        <a:pt x="1296308" y="1020728"/>
                      </a:moveTo>
                      <a:cubicBezTo>
                        <a:pt x="1297513" y="1020808"/>
                        <a:pt x="1298236" y="1020647"/>
                        <a:pt x="1298638" y="1020647"/>
                      </a:cubicBezTo>
                      <a:cubicBezTo>
                        <a:pt x="1301128" y="1020165"/>
                        <a:pt x="1303859" y="1019121"/>
                        <a:pt x="1305546" y="1014703"/>
                      </a:cubicBezTo>
                      <a:cubicBezTo>
                        <a:pt x="1304502" y="1014221"/>
                        <a:pt x="1303056" y="1013579"/>
                        <a:pt x="1302011" y="1013016"/>
                      </a:cubicBezTo>
                      <a:cubicBezTo>
                        <a:pt x="1300244" y="1014864"/>
                        <a:pt x="1298397" y="1016310"/>
                        <a:pt x="1295826" y="1017836"/>
                      </a:cubicBezTo>
                      <a:lnTo>
                        <a:pt x="1296951" y="1019443"/>
                      </a:lnTo>
                      <a:cubicBezTo>
                        <a:pt x="1296629" y="1019844"/>
                        <a:pt x="1296228" y="1020326"/>
                        <a:pt x="1295906" y="1020728"/>
                      </a:cubicBezTo>
                      <a:cubicBezTo>
                        <a:pt x="1296067" y="1020728"/>
                        <a:pt x="1296228" y="1020728"/>
                        <a:pt x="1296308" y="1020728"/>
                      </a:cubicBezTo>
                      <a:moveTo>
                        <a:pt x="1353180" y="988114"/>
                      </a:moveTo>
                      <a:cubicBezTo>
                        <a:pt x="1351172" y="986990"/>
                        <a:pt x="1349726" y="987311"/>
                        <a:pt x="1348843" y="989079"/>
                      </a:cubicBezTo>
                      <a:cubicBezTo>
                        <a:pt x="1350128" y="988838"/>
                        <a:pt x="1351895" y="988436"/>
                        <a:pt x="1353180" y="988114"/>
                      </a:cubicBezTo>
                      <a:moveTo>
                        <a:pt x="779639" y="1077439"/>
                      </a:moveTo>
                      <a:cubicBezTo>
                        <a:pt x="779157" y="1076877"/>
                        <a:pt x="778514" y="1076154"/>
                        <a:pt x="778032" y="1075592"/>
                      </a:cubicBezTo>
                      <a:cubicBezTo>
                        <a:pt x="776747" y="1077038"/>
                        <a:pt x="776345" y="1078403"/>
                        <a:pt x="776586" y="1079930"/>
                      </a:cubicBezTo>
                      <a:lnTo>
                        <a:pt x="779639" y="1077439"/>
                      </a:lnTo>
                      <a:moveTo>
                        <a:pt x="1490380" y="931805"/>
                      </a:moveTo>
                      <a:cubicBezTo>
                        <a:pt x="1490461" y="931885"/>
                        <a:pt x="1504277" y="937267"/>
                        <a:pt x="1505803" y="937428"/>
                      </a:cubicBezTo>
                      <a:cubicBezTo>
                        <a:pt x="1505643" y="937106"/>
                        <a:pt x="1500903" y="935098"/>
                        <a:pt x="1491826" y="931323"/>
                      </a:cubicBezTo>
                      <a:cubicBezTo>
                        <a:pt x="1492067" y="931644"/>
                        <a:pt x="1492389" y="932126"/>
                        <a:pt x="1492630" y="932528"/>
                      </a:cubicBezTo>
                      <a:cubicBezTo>
                        <a:pt x="1491826" y="932287"/>
                        <a:pt x="1491184" y="932046"/>
                        <a:pt x="1490380" y="931805"/>
                      </a:cubicBezTo>
                      <a:cubicBezTo>
                        <a:pt x="1490380" y="931805"/>
                        <a:pt x="1490380" y="931805"/>
                        <a:pt x="1490380" y="931805"/>
                      </a:cubicBezTo>
                      <a:moveTo>
                        <a:pt x="793294" y="1060490"/>
                      </a:moveTo>
                      <a:lnTo>
                        <a:pt x="793294" y="1060490"/>
                      </a:lnTo>
                      <a:lnTo>
                        <a:pt x="793294" y="1060490"/>
                      </a:lnTo>
                      <a:cubicBezTo>
                        <a:pt x="793294" y="1060490"/>
                        <a:pt x="793294" y="1060490"/>
                        <a:pt x="793294" y="1060490"/>
                      </a:cubicBezTo>
                      <a:cubicBezTo>
                        <a:pt x="793294" y="1060490"/>
                        <a:pt x="793294" y="1060490"/>
                        <a:pt x="793294" y="1060490"/>
                      </a:cubicBezTo>
                      <a:cubicBezTo>
                        <a:pt x="793294" y="1060490"/>
                        <a:pt x="793375" y="1060490"/>
                        <a:pt x="793294" y="1060490"/>
                      </a:cubicBezTo>
                      <a:cubicBezTo>
                        <a:pt x="793375" y="1060490"/>
                        <a:pt x="793375" y="1060490"/>
                        <a:pt x="793375" y="1060490"/>
                      </a:cubicBezTo>
                      <a:cubicBezTo>
                        <a:pt x="793375" y="1060490"/>
                        <a:pt x="79337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cubicBezTo>
                        <a:pt x="793455" y="1060490"/>
                        <a:pt x="793455" y="1060490"/>
                        <a:pt x="793455" y="1060490"/>
                      </a:cubicBezTo>
                      <a:lnTo>
                        <a:pt x="793455" y="1060490"/>
                      </a:lnTo>
                      <a:lnTo>
                        <a:pt x="793455" y="1060490"/>
                      </a:lnTo>
                      <a:cubicBezTo>
                        <a:pt x="793375" y="1060410"/>
                        <a:pt x="793294" y="1060410"/>
                        <a:pt x="793294" y="1060490"/>
                      </a:cubicBezTo>
                      <a:lnTo>
                        <a:pt x="793294" y="1060490"/>
                      </a:lnTo>
                      <a:moveTo>
                        <a:pt x="734093" y="1115756"/>
                      </a:moveTo>
                      <a:cubicBezTo>
                        <a:pt x="735378" y="1118487"/>
                        <a:pt x="739394" y="1125716"/>
                        <a:pt x="748552" y="1133348"/>
                      </a:cubicBezTo>
                      <a:cubicBezTo>
                        <a:pt x="764376" y="1123226"/>
                        <a:pt x="764296" y="1131741"/>
                        <a:pt x="764296" y="1134954"/>
                      </a:cubicBezTo>
                      <a:cubicBezTo>
                        <a:pt x="787832" y="1153349"/>
                        <a:pt x="818598" y="1160338"/>
                        <a:pt x="815063" y="1125797"/>
                      </a:cubicBezTo>
                      <a:cubicBezTo>
                        <a:pt x="813617" y="1111257"/>
                        <a:pt x="801327" y="1102180"/>
                        <a:pt x="793937" y="1096798"/>
                      </a:cubicBezTo>
                      <a:cubicBezTo>
                        <a:pt x="796025" y="1093666"/>
                        <a:pt x="796266" y="1091738"/>
                        <a:pt x="794740" y="1089489"/>
                      </a:cubicBezTo>
                      <a:cubicBezTo>
                        <a:pt x="795383" y="1088203"/>
                        <a:pt x="796106" y="1086998"/>
                        <a:pt x="796668" y="1085633"/>
                      </a:cubicBezTo>
                      <a:cubicBezTo>
                        <a:pt x="795865" y="1086115"/>
                        <a:pt x="795865" y="1086115"/>
                        <a:pt x="794901" y="1087641"/>
                      </a:cubicBezTo>
                      <a:cubicBezTo>
                        <a:pt x="794178" y="1086677"/>
                        <a:pt x="793696" y="1086115"/>
                        <a:pt x="790884" y="1086838"/>
                      </a:cubicBezTo>
                      <a:cubicBezTo>
                        <a:pt x="797391" y="1083223"/>
                        <a:pt x="799721" y="1080652"/>
                        <a:pt x="801568" y="1074628"/>
                      </a:cubicBezTo>
                      <a:cubicBezTo>
                        <a:pt x="799801" y="1074949"/>
                        <a:pt x="799239" y="1075431"/>
                        <a:pt x="798435" y="1076877"/>
                      </a:cubicBezTo>
                      <a:cubicBezTo>
                        <a:pt x="797712" y="1076556"/>
                        <a:pt x="795784" y="1074628"/>
                        <a:pt x="798837" y="1070531"/>
                      </a:cubicBezTo>
                      <a:cubicBezTo>
                        <a:pt x="798917" y="1070933"/>
                        <a:pt x="798998" y="1071415"/>
                        <a:pt x="798998" y="1071736"/>
                      </a:cubicBezTo>
                      <a:cubicBezTo>
                        <a:pt x="802452" y="1069567"/>
                        <a:pt x="803737" y="1067880"/>
                        <a:pt x="804139" y="1065149"/>
                      </a:cubicBezTo>
                      <a:cubicBezTo>
                        <a:pt x="803576" y="1070290"/>
                        <a:pt x="803576" y="1070772"/>
                        <a:pt x="803576" y="1071736"/>
                      </a:cubicBezTo>
                      <a:cubicBezTo>
                        <a:pt x="803817" y="1071254"/>
                        <a:pt x="804299" y="1070371"/>
                        <a:pt x="806870" y="1055590"/>
                      </a:cubicBezTo>
                      <a:cubicBezTo>
                        <a:pt x="809280" y="1055188"/>
                        <a:pt x="810645" y="1055510"/>
                        <a:pt x="812091" y="1056715"/>
                      </a:cubicBezTo>
                      <a:cubicBezTo>
                        <a:pt x="814260" y="1049726"/>
                        <a:pt x="815706" y="1046593"/>
                        <a:pt x="820124" y="1039043"/>
                      </a:cubicBezTo>
                      <a:cubicBezTo>
                        <a:pt x="817955" y="1039364"/>
                        <a:pt x="816509" y="1039685"/>
                        <a:pt x="813858" y="1040488"/>
                      </a:cubicBezTo>
                      <a:cubicBezTo>
                        <a:pt x="815224" y="1043139"/>
                        <a:pt x="814581" y="1045469"/>
                        <a:pt x="811609" y="1049164"/>
                      </a:cubicBezTo>
                      <a:cubicBezTo>
                        <a:pt x="810565" y="1048923"/>
                        <a:pt x="809199" y="1048521"/>
                        <a:pt x="808155" y="1048280"/>
                      </a:cubicBezTo>
                      <a:cubicBezTo>
                        <a:pt x="791447" y="1061856"/>
                        <a:pt x="791447" y="1061856"/>
                        <a:pt x="791607" y="1067157"/>
                      </a:cubicBezTo>
                      <a:cubicBezTo>
                        <a:pt x="792571" y="1066756"/>
                        <a:pt x="793937" y="1066274"/>
                        <a:pt x="794901" y="1065952"/>
                      </a:cubicBezTo>
                      <a:cubicBezTo>
                        <a:pt x="792009" y="1073744"/>
                        <a:pt x="790965" y="1078564"/>
                        <a:pt x="790724" y="1084187"/>
                      </a:cubicBezTo>
                      <a:cubicBezTo>
                        <a:pt x="787109" y="1087480"/>
                        <a:pt x="778514" y="1095272"/>
                        <a:pt x="778835" y="1083544"/>
                      </a:cubicBezTo>
                      <a:cubicBezTo>
                        <a:pt x="778835" y="1082902"/>
                        <a:pt x="778916" y="1082018"/>
                        <a:pt x="778996" y="1081375"/>
                      </a:cubicBezTo>
                      <a:cubicBezTo>
                        <a:pt x="778353" y="1083866"/>
                        <a:pt x="777068" y="1085311"/>
                        <a:pt x="774578" y="1086597"/>
                      </a:cubicBezTo>
                      <a:cubicBezTo>
                        <a:pt x="773453" y="1099931"/>
                        <a:pt x="773212" y="1100092"/>
                        <a:pt x="766465" y="1104430"/>
                      </a:cubicBezTo>
                      <a:cubicBezTo>
                        <a:pt x="763493" y="1106357"/>
                        <a:pt x="752327" y="1112703"/>
                        <a:pt x="733129" y="1113346"/>
                      </a:cubicBezTo>
                      <a:cubicBezTo>
                        <a:pt x="733370" y="1114069"/>
                        <a:pt x="733771" y="1115033"/>
                        <a:pt x="734093" y="1115756"/>
                      </a:cubicBezTo>
                      <a:moveTo>
                        <a:pt x="1349807" y="986026"/>
                      </a:moveTo>
                      <a:cubicBezTo>
                        <a:pt x="1349726" y="986026"/>
                        <a:pt x="1349726" y="986026"/>
                        <a:pt x="1349807" y="986026"/>
                      </a:cubicBezTo>
                      <a:cubicBezTo>
                        <a:pt x="1349726" y="986026"/>
                        <a:pt x="1349726" y="986026"/>
                        <a:pt x="1349807" y="986026"/>
                      </a:cubicBezTo>
                      <a:moveTo>
                        <a:pt x="1349726" y="986026"/>
                      </a:moveTo>
                      <a:cubicBezTo>
                        <a:pt x="1349726" y="986026"/>
                        <a:pt x="1349726" y="986026"/>
                        <a:pt x="1349726" y="986026"/>
                      </a:cubicBezTo>
                      <a:cubicBezTo>
                        <a:pt x="1349726" y="986026"/>
                        <a:pt x="1349726" y="986026"/>
                        <a:pt x="1349726" y="986026"/>
                      </a:cubicBezTo>
                      <a:moveTo>
                        <a:pt x="1349726" y="986026"/>
                      </a:moveTo>
                      <a:cubicBezTo>
                        <a:pt x="1349726" y="986026"/>
                        <a:pt x="1349646" y="986026"/>
                        <a:pt x="1349646" y="986026"/>
                      </a:cubicBezTo>
                      <a:cubicBezTo>
                        <a:pt x="1349646" y="986026"/>
                        <a:pt x="1349726" y="986026"/>
                        <a:pt x="1349726" y="986026"/>
                      </a:cubicBezTo>
                      <a:moveTo>
                        <a:pt x="1349646" y="986026"/>
                      </a:moveTo>
                      <a:cubicBezTo>
                        <a:pt x="1349646" y="986026"/>
                        <a:pt x="1349566" y="986026"/>
                        <a:pt x="1349646" y="986026"/>
                      </a:cubicBezTo>
                      <a:cubicBezTo>
                        <a:pt x="1349566" y="986026"/>
                        <a:pt x="1349646" y="986026"/>
                        <a:pt x="1349646" y="986026"/>
                      </a:cubicBezTo>
                      <a:moveTo>
                        <a:pt x="1349566" y="986026"/>
                      </a:moveTo>
                      <a:cubicBezTo>
                        <a:pt x="1349485" y="986026"/>
                        <a:pt x="1349485" y="986026"/>
                        <a:pt x="1349405" y="986026"/>
                      </a:cubicBezTo>
                      <a:cubicBezTo>
                        <a:pt x="1349485" y="986026"/>
                        <a:pt x="1349566" y="986026"/>
                        <a:pt x="1349566" y="986026"/>
                      </a:cubicBezTo>
                      <a:moveTo>
                        <a:pt x="1349405" y="986026"/>
                      </a:moveTo>
                      <a:cubicBezTo>
                        <a:pt x="1349405" y="986026"/>
                        <a:pt x="1349325" y="986026"/>
                        <a:pt x="1349325" y="986026"/>
                      </a:cubicBezTo>
                      <a:cubicBezTo>
                        <a:pt x="1349405" y="986026"/>
                        <a:pt x="1349405" y="986026"/>
                        <a:pt x="1349405" y="986026"/>
                      </a:cubicBezTo>
                      <a:moveTo>
                        <a:pt x="1349325" y="986026"/>
                      </a:moveTo>
                      <a:cubicBezTo>
                        <a:pt x="1349244" y="986026"/>
                        <a:pt x="1349164" y="986026"/>
                        <a:pt x="1349164" y="986026"/>
                      </a:cubicBezTo>
                      <a:cubicBezTo>
                        <a:pt x="1349244" y="986106"/>
                        <a:pt x="1349244" y="986106"/>
                        <a:pt x="1349325" y="986026"/>
                      </a:cubicBezTo>
                      <a:moveTo>
                        <a:pt x="1349164" y="986106"/>
                      </a:moveTo>
                      <a:cubicBezTo>
                        <a:pt x="1349084" y="986106"/>
                        <a:pt x="1349084" y="986106"/>
                        <a:pt x="1349003" y="986106"/>
                      </a:cubicBezTo>
                      <a:cubicBezTo>
                        <a:pt x="1349084" y="986106"/>
                        <a:pt x="1349084" y="986106"/>
                        <a:pt x="1349164" y="986106"/>
                      </a:cubicBezTo>
                      <a:moveTo>
                        <a:pt x="1349003" y="986106"/>
                      </a:moveTo>
                      <a:cubicBezTo>
                        <a:pt x="1348923" y="986106"/>
                        <a:pt x="1348843" y="986106"/>
                        <a:pt x="1348762" y="986106"/>
                      </a:cubicBezTo>
                      <a:cubicBezTo>
                        <a:pt x="1348843" y="986106"/>
                        <a:pt x="1348923" y="986106"/>
                        <a:pt x="1349003" y="986106"/>
                      </a:cubicBezTo>
                      <a:moveTo>
                        <a:pt x="1348762" y="986106"/>
                      </a:moveTo>
                      <a:cubicBezTo>
                        <a:pt x="1348682" y="986106"/>
                        <a:pt x="1348682" y="986106"/>
                        <a:pt x="1348602" y="986106"/>
                      </a:cubicBezTo>
                      <a:cubicBezTo>
                        <a:pt x="1348682" y="986187"/>
                        <a:pt x="1348762" y="986106"/>
                        <a:pt x="1348762" y="986106"/>
                      </a:cubicBezTo>
                      <a:moveTo>
                        <a:pt x="1348602" y="986187"/>
                      </a:moveTo>
                      <a:cubicBezTo>
                        <a:pt x="1348521" y="986187"/>
                        <a:pt x="1348361" y="986187"/>
                        <a:pt x="1348280" y="986267"/>
                      </a:cubicBezTo>
                      <a:cubicBezTo>
                        <a:pt x="1348441" y="986187"/>
                        <a:pt x="1348521" y="986187"/>
                        <a:pt x="1348602" y="986187"/>
                      </a:cubicBezTo>
                      <a:moveTo>
                        <a:pt x="1348280" y="986187"/>
                      </a:moveTo>
                      <a:cubicBezTo>
                        <a:pt x="1348200" y="986187"/>
                        <a:pt x="1348200" y="986187"/>
                        <a:pt x="1348120" y="986187"/>
                      </a:cubicBezTo>
                      <a:cubicBezTo>
                        <a:pt x="1348200" y="986187"/>
                        <a:pt x="1348280" y="986187"/>
                        <a:pt x="1348280" y="986187"/>
                      </a:cubicBezTo>
                      <a:moveTo>
                        <a:pt x="1348200" y="986187"/>
                      </a:moveTo>
                      <a:cubicBezTo>
                        <a:pt x="1348039" y="986187"/>
                        <a:pt x="1347879" y="986187"/>
                        <a:pt x="1347798" y="986267"/>
                      </a:cubicBezTo>
                      <a:cubicBezTo>
                        <a:pt x="1347879" y="986267"/>
                        <a:pt x="1348039" y="986267"/>
                        <a:pt x="1348200" y="986187"/>
                      </a:cubicBezTo>
                      <a:moveTo>
                        <a:pt x="1347718" y="986267"/>
                      </a:moveTo>
                      <a:cubicBezTo>
                        <a:pt x="1347718" y="986267"/>
                        <a:pt x="1347638" y="986267"/>
                        <a:pt x="1347638" y="986267"/>
                      </a:cubicBezTo>
                      <a:cubicBezTo>
                        <a:pt x="1347718" y="986267"/>
                        <a:pt x="1347718" y="986267"/>
                        <a:pt x="1347718" y="986267"/>
                      </a:cubicBezTo>
                      <a:moveTo>
                        <a:pt x="1179431" y="896059"/>
                      </a:moveTo>
                      <a:cubicBezTo>
                        <a:pt x="1185134" y="914293"/>
                        <a:pt x="1198469" y="922085"/>
                        <a:pt x="1205618" y="926262"/>
                      </a:cubicBezTo>
                      <a:cubicBezTo>
                        <a:pt x="1220398" y="932688"/>
                        <a:pt x="1221282" y="933090"/>
                        <a:pt x="1225941" y="941203"/>
                      </a:cubicBezTo>
                      <a:lnTo>
                        <a:pt x="1228431" y="941123"/>
                      </a:lnTo>
                      <a:cubicBezTo>
                        <a:pt x="1247951" y="987793"/>
                        <a:pt x="1333741" y="1013980"/>
                        <a:pt x="1346513" y="986669"/>
                      </a:cubicBezTo>
                      <a:cubicBezTo>
                        <a:pt x="1347316" y="986428"/>
                        <a:pt x="1347477" y="986428"/>
                        <a:pt x="1347638" y="986347"/>
                      </a:cubicBezTo>
                      <a:cubicBezTo>
                        <a:pt x="1347477" y="986347"/>
                        <a:pt x="1347236" y="986428"/>
                        <a:pt x="1347075" y="986428"/>
                      </a:cubicBezTo>
                      <a:cubicBezTo>
                        <a:pt x="1351895" y="985062"/>
                        <a:pt x="1352618" y="984821"/>
                        <a:pt x="1359767" y="984500"/>
                      </a:cubicBezTo>
                      <a:cubicBezTo>
                        <a:pt x="1358402" y="983857"/>
                        <a:pt x="1356554" y="983054"/>
                        <a:pt x="1355188" y="982411"/>
                      </a:cubicBezTo>
                      <a:cubicBezTo>
                        <a:pt x="1357197" y="981206"/>
                        <a:pt x="1360892" y="979198"/>
                        <a:pt x="1362739" y="980564"/>
                      </a:cubicBezTo>
                      <a:cubicBezTo>
                        <a:pt x="1363302" y="980965"/>
                        <a:pt x="1432946" y="998557"/>
                        <a:pt x="1466282" y="932849"/>
                      </a:cubicBezTo>
                      <a:cubicBezTo>
                        <a:pt x="1465158" y="932849"/>
                        <a:pt x="1463631" y="932769"/>
                        <a:pt x="1462507" y="932769"/>
                      </a:cubicBezTo>
                      <a:cubicBezTo>
                        <a:pt x="1467808" y="930198"/>
                        <a:pt x="1468371" y="929957"/>
                        <a:pt x="1481143" y="931885"/>
                      </a:cubicBezTo>
                      <a:cubicBezTo>
                        <a:pt x="1472789" y="923611"/>
                        <a:pt x="1472789" y="921201"/>
                        <a:pt x="1481223" y="911482"/>
                      </a:cubicBezTo>
                      <a:cubicBezTo>
                        <a:pt x="1485240" y="921041"/>
                        <a:pt x="1488533" y="924896"/>
                        <a:pt x="1505562" y="924495"/>
                      </a:cubicBezTo>
                      <a:cubicBezTo>
                        <a:pt x="1489979" y="914534"/>
                        <a:pt x="1484195" y="904654"/>
                        <a:pt x="1484999" y="889070"/>
                      </a:cubicBezTo>
                      <a:cubicBezTo>
                        <a:pt x="1499538" y="899914"/>
                        <a:pt x="1510141" y="908510"/>
                        <a:pt x="1522753" y="919515"/>
                      </a:cubicBezTo>
                      <a:cubicBezTo>
                        <a:pt x="1530625" y="915578"/>
                        <a:pt x="1538336" y="912767"/>
                        <a:pt x="1538417" y="912767"/>
                      </a:cubicBezTo>
                      <a:cubicBezTo>
                        <a:pt x="1528295" y="877744"/>
                        <a:pt x="1612559" y="869069"/>
                        <a:pt x="1763737" y="889472"/>
                      </a:cubicBezTo>
                      <a:cubicBezTo>
                        <a:pt x="1829846" y="898388"/>
                        <a:pt x="1863745" y="900959"/>
                        <a:pt x="1902463" y="893809"/>
                      </a:cubicBezTo>
                      <a:cubicBezTo>
                        <a:pt x="1892422" y="862562"/>
                        <a:pt x="1901901" y="833001"/>
                        <a:pt x="1933309" y="798139"/>
                      </a:cubicBezTo>
                      <a:cubicBezTo>
                        <a:pt x="1930819" y="797175"/>
                        <a:pt x="1927445" y="795890"/>
                        <a:pt x="1924955" y="794845"/>
                      </a:cubicBezTo>
                      <a:cubicBezTo>
                        <a:pt x="1924473" y="795488"/>
                        <a:pt x="1923830" y="796372"/>
                        <a:pt x="1923348" y="797095"/>
                      </a:cubicBezTo>
                      <a:cubicBezTo>
                        <a:pt x="1921822" y="795167"/>
                        <a:pt x="1921822" y="795167"/>
                        <a:pt x="1921822" y="795167"/>
                      </a:cubicBezTo>
                      <a:lnTo>
                        <a:pt x="1921822" y="795167"/>
                      </a:lnTo>
                      <a:lnTo>
                        <a:pt x="1921822" y="795167"/>
                      </a:lnTo>
                      <a:lnTo>
                        <a:pt x="1921822" y="795167"/>
                      </a:lnTo>
                      <a:lnTo>
                        <a:pt x="1921822" y="795167"/>
                      </a:lnTo>
                      <a:lnTo>
                        <a:pt x="1921822" y="795167"/>
                      </a:lnTo>
                      <a:lnTo>
                        <a:pt x="1921822" y="795167"/>
                      </a:lnTo>
                      <a:cubicBezTo>
                        <a:pt x="1921822" y="795167"/>
                        <a:pt x="1921822" y="795167"/>
                        <a:pt x="1921822" y="795167"/>
                      </a:cubicBezTo>
                      <a:cubicBezTo>
                        <a:pt x="1921260" y="761911"/>
                        <a:pt x="1918288" y="751709"/>
                        <a:pt x="1915396" y="741829"/>
                      </a:cubicBezTo>
                      <a:cubicBezTo>
                        <a:pt x="1915476" y="744319"/>
                        <a:pt x="1915556" y="747613"/>
                        <a:pt x="1915476" y="750103"/>
                      </a:cubicBezTo>
                      <a:cubicBezTo>
                        <a:pt x="1826232" y="709698"/>
                        <a:pt x="1761568" y="689776"/>
                        <a:pt x="1749599" y="686242"/>
                      </a:cubicBezTo>
                      <a:cubicBezTo>
                        <a:pt x="1737550" y="682627"/>
                        <a:pt x="1737550" y="682627"/>
                        <a:pt x="1735943" y="675960"/>
                      </a:cubicBezTo>
                      <a:cubicBezTo>
                        <a:pt x="1736746" y="674996"/>
                        <a:pt x="1737791" y="673791"/>
                        <a:pt x="1738514" y="672827"/>
                      </a:cubicBezTo>
                      <a:cubicBezTo>
                        <a:pt x="1737871" y="671703"/>
                        <a:pt x="1736987" y="670096"/>
                        <a:pt x="1736345" y="668972"/>
                      </a:cubicBezTo>
                      <a:cubicBezTo>
                        <a:pt x="1730882" y="668168"/>
                        <a:pt x="1730159" y="668088"/>
                        <a:pt x="1722368" y="669052"/>
                      </a:cubicBezTo>
                      <a:cubicBezTo>
                        <a:pt x="1721564" y="668168"/>
                        <a:pt x="1720520" y="667044"/>
                        <a:pt x="1719797" y="666240"/>
                      </a:cubicBezTo>
                      <a:cubicBezTo>
                        <a:pt x="1720520" y="665036"/>
                        <a:pt x="1721404" y="663509"/>
                        <a:pt x="1722127" y="662304"/>
                      </a:cubicBezTo>
                      <a:cubicBezTo>
                        <a:pt x="1720118" y="658770"/>
                        <a:pt x="1717548" y="654432"/>
                        <a:pt x="1710720" y="658931"/>
                      </a:cubicBezTo>
                      <a:cubicBezTo>
                        <a:pt x="1711523" y="658047"/>
                        <a:pt x="1712648" y="656922"/>
                        <a:pt x="1713451" y="656119"/>
                      </a:cubicBezTo>
                      <a:cubicBezTo>
                        <a:pt x="1705820" y="650898"/>
                        <a:pt x="1703651" y="650094"/>
                        <a:pt x="1697225" y="647926"/>
                      </a:cubicBezTo>
                      <a:lnTo>
                        <a:pt x="1695618" y="647042"/>
                      </a:lnTo>
                      <a:cubicBezTo>
                        <a:pt x="1694494" y="647444"/>
                        <a:pt x="1692968" y="647926"/>
                        <a:pt x="1691843" y="648327"/>
                      </a:cubicBezTo>
                      <a:cubicBezTo>
                        <a:pt x="1687586" y="642463"/>
                        <a:pt x="1660274" y="632021"/>
                        <a:pt x="1652000" y="658609"/>
                      </a:cubicBezTo>
                      <a:lnTo>
                        <a:pt x="1650314" y="657404"/>
                      </a:lnTo>
                      <a:cubicBezTo>
                        <a:pt x="1642200" y="651701"/>
                        <a:pt x="1641156" y="650978"/>
                        <a:pt x="1629669" y="657404"/>
                      </a:cubicBezTo>
                      <a:cubicBezTo>
                        <a:pt x="1628866" y="656440"/>
                        <a:pt x="1627902" y="655235"/>
                        <a:pt x="1627099" y="654352"/>
                      </a:cubicBezTo>
                      <a:cubicBezTo>
                        <a:pt x="1625813" y="654914"/>
                        <a:pt x="1624127" y="655637"/>
                        <a:pt x="1622841" y="656199"/>
                      </a:cubicBezTo>
                      <a:cubicBezTo>
                        <a:pt x="1621877" y="655557"/>
                        <a:pt x="1620512" y="654673"/>
                        <a:pt x="1619548" y="654030"/>
                      </a:cubicBezTo>
                      <a:cubicBezTo>
                        <a:pt x="1620110" y="653307"/>
                        <a:pt x="1620753" y="652263"/>
                        <a:pt x="1621315" y="651540"/>
                      </a:cubicBezTo>
                      <a:cubicBezTo>
                        <a:pt x="1613202" y="638045"/>
                        <a:pt x="1610230" y="632984"/>
                        <a:pt x="1593602" y="627844"/>
                      </a:cubicBezTo>
                      <a:lnTo>
                        <a:pt x="1593120" y="625594"/>
                      </a:lnTo>
                      <a:cubicBezTo>
                        <a:pt x="1582115" y="621658"/>
                        <a:pt x="1570789" y="629771"/>
                        <a:pt x="1559784" y="624470"/>
                      </a:cubicBezTo>
                      <a:cubicBezTo>
                        <a:pt x="1561310" y="621980"/>
                        <a:pt x="1562917" y="618204"/>
                        <a:pt x="1562997" y="615312"/>
                      </a:cubicBezTo>
                      <a:cubicBezTo>
                        <a:pt x="1553358" y="613786"/>
                        <a:pt x="1553358" y="613786"/>
                        <a:pt x="1491987" y="625594"/>
                      </a:cubicBezTo>
                      <a:lnTo>
                        <a:pt x="1493995" y="626880"/>
                      </a:lnTo>
                      <a:cubicBezTo>
                        <a:pt x="1493594" y="628004"/>
                        <a:pt x="1493112" y="629530"/>
                        <a:pt x="1492790" y="630735"/>
                      </a:cubicBezTo>
                      <a:cubicBezTo>
                        <a:pt x="1491585" y="630896"/>
                        <a:pt x="1490059" y="631057"/>
                        <a:pt x="1488854" y="631137"/>
                      </a:cubicBezTo>
                      <a:cubicBezTo>
                        <a:pt x="1467567" y="687608"/>
                        <a:pt x="1459615" y="708654"/>
                        <a:pt x="1372700" y="648568"/>
                      </a:cubicBezTo>
                      <a:cubicBezTo>
                        <a:pt x="1373584" y="647444"/>
                        <a:pt x="1374708" y="645998"/>
                        <a:pt x="1375511" y="644873"/>
                      </a:cubicBezTo>
                      <a:cubicBezTo>
                        <a:pt x="1374789" y="642865"/>
                        <a:pt x="1373744" y="640053"/>
                        <a:pt x="1372138" y="638768"/>
                      </a:cubicBezTo>
                      <a:lnTo>
                        <a:pt x="1370451" y="639893"/>
                      </a:lnTo>
                      <a:cubicBezTo>
                        <a:pt x="1367398" y="629691"/>
                        <a:pt x="1364346" y="628486"/>
                        <a:pt x="1355108" y="626076"/>
                      </a:cubicBezTo>
                      <a:cubicBezTo>
                        <a:pt x="1354787" y="627040"/>
                        <a:pt x="1318800" y="727531"/>
                        <a:pt x="1245219" y="759421"/>
                      </a:cubicBezTo>
                      <a:cubicBezTo>
                        <a:pt x="1243854" y="764722"/>
                        <a:pt x="1243854" y="764722"/>
                        <a:pt x="1230038" y="785929"/>
                      </a:cubicBezTo>
                      <a:cubicBezTo>
                        <a:pt x="1229154" y="786732"/>
                        <a:pt x="1228029" y="787696"/>
                        <a:pt x="1227146" y="788500"/>
                      </a:cubicBezTo>
                      <a:cubicBezTo>
                        <a:pt x="1226744" y="787455"/>
                        <a:pt x="1226262" y="786009"/>
                        <a:pt x="1225941" y="784885"/>
                      </a:cubicBezTo>
                      <a:cubicBezTo>
                        <a:pt x="1219675" y="785688"/>
                        <a:pt x="1157100" y="824486"/>
                        <a:pt x="1179431" y="896059"/>
                      </a:cubicBezTo>
                      <a:moveTo>
                        <a:pt x="1902383" y="584386"/>
                      </a:moveTo>
                      <a:cubicBezTo>
                        <a:pt x="1903829" y="584386"/>
                        <a:pt x="2044001" y="580530"/>
                        <a:pt x="2046330" y="576353"/>
                      </a:cubicBezTo>
                      <a:cubicBezTo>
                        <a:pt x="2045688" y="576996"/>
                        <a:pt x="2044081" y="578603"/>
                        <a:pt x="2041832" y="574104"/>
                      </a:cubicBezTo>
                      <a:cubicBezTo>
                        <a:pt x="2041350" y="573140"/>
                        <a:pt x="2036450" y="564465"/>
                        <a:pt x="2018698" y="565107"/>
                      </a:cubicBezTo>
                      <a:cubicBezTo>
                        <a:pt x="2018457" y="564706"/>
                        <a:pt x="2018135" y="564224"/>
                        <a:pt x="2017975" y="563822"/>
                      </a:cubicBezTo>
                      <a:cubicBezTo>
                        <a:pt x="1963914" y="561011"/>
                        <a:pt x="1929052" y="566875"/>
                        <a:pt x="1893707" y="584547"/>
                      </a:cubicBezTo>
                      <a:cubicBezTo>
                        <a:pt x="1896278" y="584466"/>
                        <a:pt x="1899812" y="584386"/>
                        <a:pt x="1902383" y="584386"/>
                      </a:cubicBezTo>
                      <a:moveTo>
                        <a:pt x="1727750" y="487912"/>
                      </a:moveTo>
                      <a:cubicBezTo>
                        <a:pt x="1732328" y="491447"/>
                        <a:pt x="1736987" y="492812"/>
                        <a:pt x="1738514" y="493294"/>
                      </a:cubicBezTo>
                      <a:cubicBezTo>
                        <a:pt x="1735702" y="490402"/>
                        <a:pt x="1732569" y="488314"/>
                        <a:pt x="1728473" y="486707"/>
                      </a:cubicBezTo>
                      <a:cubicBezTo>
                        <a:pt x="1728151" y="487029"/>
                        <a:pt x="1727750" y="487430"/>
                        <a:pt x="1727428" y="487671"/>
                      </a:cubicBezTo>
                      <a:cubicBezTo>
                        <a:pt x="1727589" y="487752"/>
                        <a:pt x="1727669" y="487832"/>
                        <a:pt x="1727750" y="487912"/>
                      </a:cubicBezTo>
                      <a:moveTo>
                        <a:pt x="1428769" y="584145"/>
                      </a:moveTo>
                      <a:cubicBezTo>
                        <a:pt x="1434633" y="583824"/>
                        <a:pt x="1440497" y="583502"/>
                        <a:pt x="1446441" y="583181"/>
                      </a:cubicBezTo>
                      <a:cubicBezTo>
                        <a:pt x="1439694" y="583422"/>
                        <a:pt x="1433026" y="583904"/>
                        <a:pt x="1426279" y="584306"/>
                      </a:cubicBezTo>
                      <a:cubicBezTo>
                        <a:pt x="1427002" y="584225"/>
                        <a:pt x="1427966" y="584225"/>
                        <a:pt x="1428769" y="584145"/>
                      </a:cubicBezTo>
                      <a:moveTo>
                        <a:pt x="1186500" y="643186"/>
                      </a:moveTo>
                      <a:cubicBezTo>
                        <a:pt x="1189151" y="643427"/>
                        <a:pt x="1190918" y="643347"/>
                        <a:pt x="1194211" y="642865"/>
                      </a:cubicBezTo>
                      <a:cubicBezTo>
                        <a:pt x="1193328" y="643748"/>
                        <a:pt x="1191962" y="644712"/>
                        <a:pt x="1190918" y="645355"/>
                      </a:cubicBezTo>
                      <a:cubicBezTo>
                        <a:pt x="1193087" y="645355"/>
                        <a:pt x="1213490" y="643186"/>
                        <a:pt x="1235018" y="634430"/>
                      </a:cubicBezTo>
                      <a:cubicBezTo>
                        <a:pt x="1259598" y="624470"/>
                        <a:pt x="1275423" y="599488"/>
                        <a:pt x="1303216" y="595150"/>
                      </a:cubicBezTo>
                      <a:cubicBezTo>
                        <a:pt x="1324021" y="591937"/>
                        <a:pt x="1324021" y="591937"/>
                        <a:pt x="1325869" y="591053"/>
                      </a:cubicBezTo>
                      <a:cubicBezTo>
                        <a:pt x="1326431" y="590812"/>
                        <a:pt x="1327154" y="590411"/>
                        <a:pt x="1327716" y="590170"/>
                      </a:cubicBezTo>
                      <a:cubicBezTo>
                        <a:pt x="1324423" y="592660"/>
                        <a:pt x="1323861" y="593383"/>
                        <a:pt x="1322736" y="596435"/>
                      </a:cubicBezTo>
                      <a:cubicBezTo>
                        <a:pt x="1323379" y="596355"/>
                        <a:pt x="1324102" y="596275"/>
                        <a:pt x="1324744" y="596194"/>
                      </a:cubicBezTo>
                      <a:cubicBezTo>
                        <a:pt x="1326833" y="596837"/>
                        <a:pt x="1326833" y="596837"/>
                        <a:pt x="1331411" y="596034"/>
                      </a:cubicBezTo>
                      <a:cubicBezTo>
                        <a:pt x="1331010" y="596837"/>
                        <a:pt x="1330367" y="597801"/>
                        <a:pt x="1329966" y="598604"/>
                      </a:cubicBezTo>
                      <a:cubicBezTo>
                        <a:pt x="1345790" y="598925"/>
                        <a:pt x="1354546" y="596435"/>
                        <a:pt x="1358723" y="595230"/>
                      </a:cubicBezTo>
                      <a:cubicBezTo>
                        <a:pt x="1351654" y="604629"/>
                        <a:pt x="1351895" y="605512"/>
                        <a:pt x="1352779" y="608404"/>
                      </a:cubicBezTo>
                      <a:cubicBezTo>
                        <a:pt x="1359125" y="609207"/>
                        <a:pt x="1367639" y="605512"/>
                        <a:pt x="1400654" y="587519"/>
                      </a:cubicBezTo>
                      <a:cubicBezTo>
                        <a:pt x="1411498" y="591053"/>
                        <a:pt x="1415113" y="588563"/>
                        <a:pt x="1418326" y="586394"/>
                      </a:cubicBezTo>
                      <a:cubicBezTo>
                        <a:pt x="1426118" y="588965"/>
                        <a:pt x="1426359" y="585993"/>
                        <a:pt x="1427082" y="577960"/>
                      </a:cubicBezTo>
                      <a:cubicBezTo>
                        <a:pt x="1424833" y="576835"/>
                        <a:pt x="1424833" y="576835"/>
                        <a:pt x="1419531" y="577076"/>
                      </a:cubicBezTo>
                      <a:cubicBezTo>
                        <a:pt x="1424913" y="576434"/>
                        <a:pt x="1426198" y="575470"/>
                        <a:pt x="1428849" y="573622"/>
                      </a:cubicBezTo>
                      <a:cubicBezTo>
                        <a:pt x="1427725" y="573060"/>
                        <a:pt x="1426038" y="572658"/>
                        <a:pt x="1424833" y="572658"/>
                      </a:cubicBezTo>
                      <a:cubicBezTo>
                        <a:pt x="1432223" y="565107"/>
                        <a:pt x="1432223" y="565107"/>
                        <a:pt x="1432303" y="560127"/>
                      </a:cubicBezTo>
                      <a:lnTo>
                        <a:pt x="1435838" y="559404"/>
                      </a:lnTo>
                      <a:cubicBezTo>
                        <a:pt x="1434874" y="559002"/>
                        <a:pt x="1433669" y="558521"/>
                        <a:pt x="1432705" y="558119"/>
                      </a:cubicBezTo>
                      <a:cubicBezTo>
                        <a:pt x="1459856" y="547837"/>
                        <a:pt x="1488372" y="541812"/>
                        <a:pt x="1515041" y="530245"/>
                      </a:cubicBezTo>
                      <a:cubicBezTo>
                        <a:pt x="1520905" y="527675"/>
                        <a:pt x="1519298" y="523497"/>
                        <a:pt x="1518335" y="520927"/>
                      </a:cubicBezTo>
                      <a:cubicBezTo>
                        <a:pt x="1525484" y="523176"/>
                        <a:pt x="1530625" y="530486"/>
                        <a:pt x="1539220" y="529281"/>
                      </a:cubicBezTo>
                      <a:cubicBezTo>
                        <a:pt x="1544843" y="528478"/>
                        <a:pt x="1552313" y="519240"/>
                        <a:pt x="1555205" y="515706"/>
                      </a:cubicBezTo>
                      <a:cubicBezTo>
                        <a:pt x="1542433" y="513938"/>
                        <a:pt x="1528938" y="523979"/>
                        <a:pt x="1516728" y="513456"/>
                      </a:cubicBezTo>
                      <a:cubicBezTo>
                        <a:pt x="1517130" y="513055"/>
                        <a:pt x="1517692" y="512573"/>
                        <a:pt x="1518094" y="512252"/>
                      </a:cubicBezTo>
                      <a:cubicBezTo>
                        <a:pt x="1517210" y="511609"/>
                        <a:pt x="1516005" y="510806"/>
                        <a:pt x="1515041" y="510163"/>
                      </a:cubicBezTo>
                      <a:cubicBezTo>
                        <a:pt x="1522833" y="511448"/>
                        <a:pt x="1527171" y="511689"/>
                        <a:pt x="1533597" y="511448"/>
                      </a:cubicBezTo>
                      <a:cubicBezTo>
                        <a:pt x="1544763" y="510404"/>
                        <a:pt x="1549662" y="507994"/>
                        <a:pt x="1553679" y="501729"/>
                      </a:cubicBezTo>
                      <a:cubicBezTo>
                        <a:pt x="1563238" y="500283"/>
                        <a:pt x="1565086" y="499881"/>
                        <a:pt x="1568861" y="498194"/>
                      </a:cubicBezTo>
                      <a:cubicBezTo>
                        <a:pt x="1568540" y="497391"/>
                        <a:pt x="1568218" y="496347"/>
                        <a:pt x="1567897" y="495624"/>
                      </a:cubicBezTo>
                      <a:cubicBezTo>
                        <a:pt x="1567254" y="495383"/>
                        <a:pt x="1502028" y="475943"/>
                        <a:pt x="1505723" y="519401"/>
                      </a:cubicBezTo>
                      <a:cubicBezTo>
                        <a:pt x="1505000" y="518276"/>
                        <a:pt x="1503635" y="517071"/>
                        <a:pt x="1502430" y="516509"/>
                      </a:cubicBezTo>
                      <a:cubicBezTo>
                        <a:pt x="1501225" y="517152"/>
                        <a:pt x="1499859" y="518357"/>
                        <a:pt x="1498976" y="519481"/>
                      </a:cubicBezTo>
                      <a:cubicBezTo>
                        <a:pt x="1472628" y="521650"/>
                        <a:pt x="1446923" y="512252"/>
                        <a:pt x="1420575" y="515224"/>
                      </a:cubicBezTo>
                      <a:cubicBezTo>
                        <a:pt x="1411177" y="516268"/>
                        <a:pt x="1377118" y="521007"/>
                        <a:pt x="1334384" y="537957"/>
                      </a:cubicBezTo>
                      <a:cubicBezTo>
                        <a:pt x="1295585" y="553299"/>
                        <a:pt x="1238392" y="583984"/>
                        <a:pt x="1185696" y="643347"/>
                      </a:cubicBezTo>
                      <a:cubicBezTo>
                        <a:pt x="1185857" y="643106"/>
                        <a:pt x="1186178" y="643106"/>
                        <a:pt x="1186500" y="643186"/>
                      </a:cubicBezTo>
                      <a:moveTo>
                        <a:pt x="1737469" y="529361"/>
                      </a:moveTo>
                      <a:cubicBezTo>
                        <a:pt x="1767271" y="510324"/>
                        <a:pt x="1782373" y="507271"/>
                        <a:pt x="1782533" y="543419"/>
                      </a:cubicBezTo>
                      <a:cubicBezTo>
                        <a:pt x="1794582" y="537957"/>
                        <a:pt x="1802214" y="531852"/>
                        <a:pt x="1803178" y="518758"/>
                      </a:cubicBezTo>
                      <a:cubicBezTo>
                        <a:pt x="1803740" y="511529"/>
                        <a:pt x="1796189" y="491848"/>
                        <a:pt x="1786791" y="487671"/>
                      </a:cubicBezTo>
                      <a:lnTo>
                        <a:pt x="1784622" y="489599"/>
                      </a:lnTo>
                      <a:cubicBezTo>
                        <a:pt x="1780445" y="487671"/>
                        <a:pt x="1777794" y="486386"/>
                        <a:pt x="1774019" y="484378"/>
                      </a:cubicBezTo>
                      <a:cubicBezTo>
                        <a:pt x="1775705" y="481727"/>
                        <a:pt x="1776187" y="479879"/>
                        <a:pt x="1776027" y="476827"/>
                      </a:cubicBezTo>
                      <a:cubicBezTo>
                        <a:pt x="1768476" y="474979"/>
                        <a:pt x="1762853" y="473935"/>
                        <a:pt x="1752089" y="472168"/>
                      </a:cubicBezTo>
                      <a:cubicBezTo>
                        <a:pt x="1759559" y="476024"/>
                        <a:pt x="1766709" y="480361"/>
                        <a:pt x="1774019" y="484378"/>
                      </a:cubicBezTo>
                      <a:cubicBezTo>
                        <a:pt x="1764138" y="496186"/>
                        <a:pt x="1747109" y="495463"/>
                        <a:pt x="1738514" y="493214"/>
                      </a:cubicBezTo>
                      <a:cubicBezTo>
                        <a:pt x="1747992" y="505263"/>
                        <a:pt x="1745100" y="515706"/>
                        <a:pt x="1737309" y="528478"/>
                      </a:cubicBezTo>
                      <a:cubicBezTo>
                        <a:pt x="1737389" y="528799"/>
                        <a:pt x="1737469" y="529040"/>
                        <a:pt x="1737469" y="529361"/>
                      </a:cubicBezTo>
                      <a:moveTo>
                        <a:pt x="1682043" y="463171"/>
                      </a:moveTo>
                      <a:cubicBezTo>
                        <a:pt x="1705338" y="466545"/>
                        <a:pt x="1728794" y="468633"/>
                        <a:pt x="1752089" y="472168"/>
                      </a:cubicBezTo>
                      <a:cubicBezTo>
                        <a:pt x="1736586" y="464938"/>
                        <a:pt x="1719315" y="458753"/>
                        <a:pt x="1678348" y="462609"/>
                      </a:cubicBezTo>
                      <a:cubicBezTo>
                        <a:pt x="1679472" y="462769"/>
                        <a:pt x="1680918" y="463010"/>
                        <a:pt x="1682043" y="463171"/>
                      </a:cubicBezTo>
                      <a:moveTo>
                        <a:pt x="2038458" y="545668"/>
                      </a:moveTo>
                      <a:cubicBezTo>
                        <a:pt x="2041511" y="554022"/>
                        <a:pt x="2050427" y="560689"/>
                        <a:pt x="2056291" y="565107"/>
                      </a:cubicBezTo>
                      <a:cubicBezTo>
                        <a:pt x="2067858" y="558119"/>
                        <a:pt x="2127622" y="520766"/>
                        <a:pt x="2171642" y="476024"/>
                      </a:cubicBezTo>
                      <a:cubicBezTo>
                        <a:pt x="2157424" y="468714"/>
                        <a:pt x="2143929" y="470320"/>
                        <a:pt x="2138788" y="471284"/>
                      </a:cubicBezTo>
                      <a:cubicBezTo>
                        <a:pt x="2133888" y="472248"/>
                        <a:pt x="2127462" y="474096"/>
                        <a:pt x="2122963" y="476104"/>
                      </a:cubicBezTo>
                      <a:cubicBezTo>
                        <a:pt x="2120553" y="477148"/>
                        <a:pt x="2117501" y="478835"/>
                        <a:pt x="2115171" y="480040"/>
                      </a:cubicBezTo>
                      <a:cubicBezTo>
                        <a:pt x="2110272" y="482530"/>
                        <a:pt x="2105130" y="488234"/>
                        <a:pt x="2100231" y="490804"/>
                      </a:cubicBezTo>
                      <a:cubicBezTo>
                        <a:pt x="2098142" y="491848"/>
                        <a:pt x="2094768" y="491045"/>
                        <a:pt x="2092519" y="491768"/>
                      </a:cubicBezTo>
                      <a:cubicBezTo>
                        <a:pt x="2083924" y="494419"/>
                        <a:pt x="2079185" y="498997"/>
                        <a:pt x="2078462" y="505263"/>
                      </a:cubicBezTo>
                      <a:cubicBezTo>
                        <a:pt x="2066412" y="500122"/>
                        <a:pt x="2060950" y="499479"/>
                        <a:pt x="2062316" y="503576"/>
                      </a:cubicBezTo>
                      <a:cubicBezTo>
                        <a:pt x="2062878" y="505183"/>
                        <a:pt x="2064966" y="507753"/>
                        <a:pt x="2066332" y="509440"/>
                      </a:cubicBezTo>
                      <a:cubicBezTo>
                        <a:pt x="2056773" y="514260"/>
                        <a:pt x="2031711" y="527273"/>
                        <a:pt x="2038458" y="545668"/>
                      </a:cubicBezTo>
                      <a:moveTo>
                        <a:pt x="1801169" y="469758"/>
                      </a:moveTo>
                      <a:cubicBezTo>
                        <a:pt x="1803338" y="470802"/>
                        <a:pt x="1813138" y="469356"/>
                        <a:pt x="1816271" y="468874"/>
                      </a:cubicBezTo>
                      <a:cubicBezTo>
                        <a:pt x="1820689" y="483253"/>
                        <a:pt x="1827597" y="490001"/>
                        <a:pt x="1841815" y="493776"/>
                      </a:cubicBezTo>
                      <a:cubicBezTo>
                        <a:pt x="1842779" y="497712"/>
                        <a:pt x="1845109" y="499881"/>
                        <a:pt x="1851615" y="502532"/>
                      </a:cubicBezTo>
                      <a:cubicBezTo>
                        <a:pt x="1850732" y="502451"/>
                        <a:pt x="1849928" y="502451"/>
                        <a:pt x="1849045" y="502371"/>
                      </a:cubicBezTo>
                      <a:cubicBezTo>
                        <a:pt x="1848563" y="504540"/>
                        <a:pt x="1849045" y="505022"/>
                        <a:pt x="1851615" y="506548"/>
                      </a:cubicBezTo>
                      <a:cubicBezTo>
                        <a:pt x="1848804" y="507593"/>
                        <a:pt x="1848804" y="507593"/>
                        <a:pt x="1848161" y="509199"/>
                      </a:cubicBezTo>
                      <a:cubicBezTo>
                        <a:pt x="1849848" y="510806"/>
                        <a:pt x="1849848" y="510806"/>
                        <a:pt x="1852660" y="511850"/>
                      </a:cubicBezTo>
                      <a:cubicBezTo>
                        <a:pt x="1852258" y="511770"/>
                        <a:pt x="1851696" y="511609"/>
                        <a:pt x="1851294" y="511448"/>
                      </a:cubicBezTo>
                      <a:cubicBezTo>
                        <a:pt x="1851535" y="513938"/>
                        <a:pt x="1852017" y="515706"/>
                        <a:pt x="1855792" y="515706"/>
                      </a:cubicBezTo>
                      <a:cubicBezTo>
                        <a:pt x="1855391" y="516348"/>
                        <a:pt x="1854828" y="517152"/>
                        <a:pt x="1854347" y="517714"/>
                      </a:cubicBezTo>
                      <a:cubicBezTo>
                        <a:pt x="1873706" y="532494"/>
                        <a:pt x="1882542" y="533860"/>
                        <a:pt x="1885915" y="522453"/>
                      </a:cubicBezTo>
                      <a:cubicBezTo>
                        <a:pt x="1887602" y="523256"/>
                        <a:pt x="1887602" y="523256"/>
                        <a:pt x="1888968" y="523417"/>
                      </a:cubicBezTo>
                      <a:cubicBezTo>
                        <a:pt x="1889209" y="522935"/>
                        <a:pt x="1889289" y="522132"/>
                        <a:pt x="1889129" y="521570"/>
                      </a:cubicBezTo>
                      <a:cubicBezTo>
                        <a:pt x="1894992" y="520686"/>
                        <a:pt x="1900615" y="523578"/>
                        <a:pt x="1906479" y="522293"/>
                      </a:cubicBezTo>
                      <a:cubicBezTo>
                        <a:pt x="1907925" y="521329"/>
                        <a:pt x="1909933" y="520124"/>
                        <a:pt x="1911379" y="519160"/>
                      </a:cubicBezTo>
                      <a:cubicBezTo>
                        <a:pt x="1953712" y="537314"/>
                        <a:pt x="1972509" y="505906"/>
                        <a:pt x="1971866" y="478996"/>
                      </a:cubicBezTo>
                      <a:lnTo>
                        <a:pt x="1969938" y="478193"/>
                      </a:lnTo>
                      <a:cubicBezTo>
                        <a:pt x="1970581" y="478353"/>
                        <a:pt x="1971465" y="478514"/>
                        <a:pt x="1972107" y="478594"/>
                      </a:cubicBezTo>
                      <a:cubicBezTo>
                        <a:pt x="1967288" y="470802"/>
                        <a:pt x="1960138" y="468633"/>
                        <a:pt x="1960058" y="468633"/>
                      </a:cubicBezTo>
                      <a:cubicBezTo>
                        <a:pt x="1959255" y="468473"/>
                        <a:pt x="1958130" y="469276"/>
                        <a:pt x="1957327" y="469517"/>
                      </a:cubicBezTo>
                      <a:cubicBezTo>
                        <a:pt x="1954837" y="470320"/>
                        <a:pt x="1947527" y="472328"/>
                        <a:pt x="1934193" y="472971"/>
                      </a:cubicBezTo>
                      <a:cubicBezTo>
                        <a:pt x="1935799" y="467429"/>
                        <a:pt x="1931702" y="461484"/>
                        <a:pt x="1931702" y="461484"/>
                      </a:cubicBezTo>
                      <a:cubicBezTo>
                        <a:pt x="1908809" y="447748"/>
                        <a:pt x="1883265" y="439715"/>
                        <a:pt x="1859407" y="428068"/>
                      </a:cubicBezTo>
                      <a:cubicBezTo>
                        <a:pt x="1859568" y="428469"/>
                        <a:pt x="1859809" y="428951"/>
                        <a:pt x="1859969" y="429353"/>
                      </a:cubicBezTo>
                      <a:cubicBezTo>
                        <a:pt x="1851374" y="427747"/>
                        <a:pt x="1848884" y="425979"/>
                        <a:pt x="1848161" y="421079"/>
                      </a:cubicBezTo>
                      <a:cubicBezTo>
                        <a:pt x="1829686" y="409753"/>
                        <a:pt x="1825428" y="409030"/>
                        <a:pt x="1824545" y="409110"/>
                      </a:cubicBezTo>
                      <a:cubicBezTo>
                        <a:pt x="1813219" y="405335"/>
                        <a:pt x="1809042" y="407102"/>
                        <a:pt x="1812255" y="414252"/>
                      </a:cubicBezTo>
                      <a:cubicBezTo>
                        <a:pt x="1812576" y="414894"/>
                        <a:pt x="1812978" y="415697"/>
                        <a:pt x="1813299" y="416340"/>
                      </a:cubicBezTo>
                      <a:cubicBezTo>
                        <a:pt x="1809684" y="416179"/>
                        <a:pt x="1807355" y="415778"/>
                        <a:pt x="1803820" y="414171"/>
                      </a:cubicBezTo>
                      <a:cubicBezTo>
                        <a:pt x="1777955" y="428229"/>
                        <a:pt x="1810166" y="438189"/>
                        <a:pt x="1820609" y="441001"/>
                      </a:cubicBezTo>
                      <a:cubicBezTo>
                        <a:pt x="1821573" y="441242"/>
                        <a:pt x="1823179" y="441483"/>
                        <a:pt x="1825750" y="441483"/>
                      </a:cubicBezTo>
                      <a:cubicBezTo>
                        <a:pt x="1823340" y="444294"/>
                        <a:pt x="1820046" y="445981"/>
                        <a:pt x="1817315" y="448471"/>
                      </a:cubicBezTo>
                      <a:lnTo>
                        <a:pt x="1818681" y="448712"/>
                      </a:lnTo>
                      <a:lnTo>
                        <a:pt x="1816351" y="449114"/>
                      </a:lnTo>
                      <a:cubicBezTo>
                        <a:pt x="1816753" y="449355"/>
                        <a:pt x="1817235" y="449596"/>
                        <a:pt x="1817637" y="449837"/>
                      </a:cubicBezTo>
                      <a:cubicBezTo>
                        <a:pt x="1810086" y="452889"/>
                        <a:pt x="1809764" y="455058"/>
                        <a:pt x="1816592" y="458512"/>
                      </a:cubicBezTo>
                      <a:cubicBezTo>
                        <a:pt x="1801571" y="465902"/>
                        <a:pt x="1801009" y="467188"/>
                        <a:pt x="1800286" y="468955"/>
                      </a:cubicBezTo>
                      <a:cubicBezTo>
                        <a:pt x="1800607" y="469196"/>
                        <a:pt x="1800848" y="469597"/>
                        <a:pt x="1801169" y="469758"/>
                      </a:cubicBezTo>
                      <a:moveTo>
                        <a:pt x="2314626" y="512252"/>
                      </a:moveTo>
                      <a:cubicBezTo>
                        <a:pt x="2315509" y="514983"/>
                        <a:pt x="2318642" y="517152"/>
                        <a:pt x="2328683" y="512412"/>
                      </a:cubicBezTo>
                      <a:cubicBezTo>
                        <a:pt x="2328362" y="511529"/>
                        <a:pt x="2328121" y="510565"/>
                        <a:pt x="2327639" y="509681"/>
                      </a:cubicBezTo>
                      <a:cubicBezTo>
                        <a:pt x="2328603" y="512252"/>
                        <a:pt x="2328603" y="512252"/>
                        <a:pt x="2328282" y="512492"/>
                      </a:cubicBezTo>
                      <a:cubicBezTo>
                        <a:pt x="2325470" y="505504"/>
                        <a:pt x="2323703" y="501006"/>
                        <a:pt x="2321052" y="493937"/>
                      </a:cubicBezTo>
                      <a:cubicBezTo>
                        <a:pt x="2320570" y="494097"/>
                        <a:pt x="2319928" y="494097"/>
                        <a:pt x="2318723" y="493294"/>
                      </a:cubicBezTo>
                      <a:cubicBezTo>
                        <a:pt x="2318642" y="493455"/>
                        <a:pt x="2312939" y="507111"/>
                        <a:pt x="2314626" y="512252"/>
                      </a:cubicBezTo>
                      <a:moveTo>
                        <a:pt x="1642602" y="397945"/>
                      </a:moveTo>
                      <a:cubicBezTo>
                        <a:pt x="1644369" y="402764"/>
                        <a:pt x="1647502" y="407102"/>
                        <a:pt x="1649831" y="410235"/>
                      </a:cubicBezTo>
                      <a:cubicBezTo>
                        <a:pt x="1650956" y="406058"/>
                        <a:pt x="1652081" y="403487"/>
                        <a:pt x="1654571" y="398989"/>
                      </a:cubicBezTo>
                      <a:cubicBezTo>
                        <a:pt x="1663166" y="408468"/>
                        <a:pt x="1668387" y="411520"/>
                        <a:pt x="1676741" y="411922"/>
                      </a:cubicBezTo>
                      <a:cubicBezTo>
                        <a:pt x="1679553" y="411601"/>
                        <a:pt x="1683489" y="411199"/>
                        <a:pt x="1687345" y="408869"/>
                      </a:cubicBezTo>
                      <a:lnTo>
                        <a:pt x="1705659" y="394651"/>
                      </a:lnTo>
                      <a:cubicBezTo>
                        <a:pt x="1720038" y="394250"/>
                        <a:pt x="1723171" y="394089"/>
                        <a:pt x="1724296" y="393527"/>
                      </a:cubicBezTo>
                      <a:cubicBezTo>
                        <a:pt x="1722448" y="392723"/>
                        <a:pt x="1715620" y="392161"/>
                        <a:pt x="1697466" y="391117"/>
                      </a:cubicBezTo>
                      <a:cubicBezTo>
                        <a:pt x="1687907" y="390555"/>
                        <a:pt x="1664291" y="383004"/>
                        <a:pt x="1652643" y="374007"/>
                      </a:cubicBezTo>
                      <a:cubicBezTo>
                        <a:pt x="1649269" y="376096"/>
                        <a:pt x="1646699" y="377220"/>
                        <a:pt x="1642923" y="378264"/>
                      </a:cubicBezTo>
                      <a:cubicBezTo>
                        <a:pt x="1641638" y="382281"/>
                        <a:pt x="1639469" y="389109"/>
                        <a:pt x="1642602" y="397945"/>
                      </a:cubicBezTo>
                      <a:moveTo>
                        <a:pt x="1673287" y="339787"/>
                      </a:moveTo>
                      <a:cubicBezTo>
                        <a:pt x="1673850" y="341153"/>
                        <a:pt x="1674974" y="342117"/>
                        <a:pt x="1675697" y="342759"/>
                      </a:cubicBezTo>
                      <a:cubicBezTo>
                        <a:pt x="1692968" y="329746"/>
                        <a:pt x="1704776" y="327337"/>
                        <a:pt x="1736104" y="330148"/>
                      </a:cubicBezTo>
                      <a:cubicBezTo>
                        <a:pt x="1724858" y="320830"/>
                        <a:pt x="1732489" y="319063"/>
                        <a:pt x="1734176" y="318822"/>
                      </a:cubicBezTo>
                      <a:cubicBezTo>
                        <a:pt x="1735220" y="318661"/>
                        <a:pt x="1736264" y="319143"/>
                        <a:pt x="1737309" y="319143"/>
                      </a:cubicBezTo>
                      <a:cubicBezTo>
                        <a:pt x="1740522" y="318822"/>
                        <a:pt x="1746466" y="318179"/>
                        <a:pt x="1742610" y="307576"/>
                      </a:cubicBezTo>
                      <a:cubicBezTo>
                        <a:pt x="1742369" y="306853"/>
                        <a:pt x="1742128" y="305728"/>
                        <a:pt x="1741566" y="305086"/>
                      </a:cubicBezTo>
                      <a:lnTo>
                        <a:pt x="1726384" y="289261"/>
                      </a:lnTo>
                      <a:cubicBezTo>
                        <a:pt x="1718432" y="282995"/>
                        <a:pt x="1706945" y="281630"/>
                        <a:pt x="1693932" y="280666"/>
                      </a:cubicBezTo>
                      <a:cubicBezTo>
                        <a:pt x="1696502" y="283960"/>
                        <a:pt x="1700759" y="289502"/>
                        <a:pt x="1702527" y="296973"/>
                      </a:cubicBezTo>
                      <a:cubicBezTo>
                        <a:pt x="1704936" y="307094"/>
                        <a:pt x="1703089" y="317617"/>
                        <a:pt x="1705097" y="327819"/>
                      </a:cubicBezTo>
                      <a:cubicBezTo>
                        <a:pt x="1681159" y="323320"/>
                        <a:pt x="1680035" y="332959"/>
                        <a:pt x="1679553" y="337056"/>
                      </a:cubicBezTo>
                      <a:cubicBezTo>
                        <a:pt x="1676741" y="337217"/>
                        <a:pt x="1675054" y="337458"/>
                        <a:pt x="1672886" y="337940"/>
                      </a:cubicBezTo>
                      <a:cubicBezTo>
                        <a:pt x="1672886" y="338341"/>
                        <a:pt x="1672966" y="339064"/>
                        <a:pt x="1673287" y="339787"/>
                      </a:cubicBezTo>
                      <a:moveTo>
                        <a:pt x="1891458" y="279461"/>
                      </a:moveTo>
                      <a:cubicBezTo>
                        <a:pt x="1893948" y="284200"/>
                        <a:pt x="1907684" y="291751"/>
                        <a:pt x="1907845" y="291751"/>
                      </a:cubicBezTo>
                      <a:cubicBezTo>
                        <a:pt x="1908006" y="291831"/>
                        <a:pt x="1925838" y="297374"/>
                        <a:pt x="1926722" y="291992"/>
                      </a:cubicBezTo>
                      <a:cubicBezTo>
                        <a:pt x="1927204" y="289100"/>
                        <a:pt x="1922625" y="284441"/>
                        <a:pt x="1920215" y="281951"/>
                      </a:cubicBezTo>
                      <a:lnTo>
                        <a:pt x="1916199" y="280023"/>
                      </a:lnTo>
                      <a:cubicBezTo>
                        <a:pt x="1916681" y="280023"/>
                        <a:pt x="1917324" y="280104"/>
                        <a:pt x="1917806" y="280104"/>
                      </a:cubicBezTo>
                      <a:cubicBezTo>
                        <a:pt x="1908407" y="276007"/>
                        <a:pt x="1900776" y="275686"/>
                        <a:pt x="1897081" y="275927"/>
                      </a:cubicBezTo>
                      <a:cubicBezTo>
                        <a:pt x="1897001" y="275605"/>
                        <a:pt x="1896920" y="275364"/>
                        <a:pt x="1896760" y="275043"/>
                      </a:cubicBezTo>
                      <a:cubicBezTo>
                        <a:pt x="1892663" y="275846"/>
                        <a:pt x="1889771" y="276328"/>
                        <a:pt x="1891458" y="279461"/>
                      </a:cubicBezTo>
                      <a:moveTo>
                        <a:pt x="1684373" y="216725"/>
                      </a:moveTo>
                      <a:cubicBezTo>
                        <a:pt x="1686461" y="221705"/>
                        <a:pt x="1698028" y="234236"/>
                        <a:pt x="1708712" y="245482"/>
                      </a:cubicBezTo>
                      <a:cubicBezTo>
                        <a:pt x="1710559" y="242912"/>
                        <a:pt x="1712327" y="241386"/>
                        <a:pt x="1715941" y="239297"/>
                      </a:cubicBezTo>
                      <a:lnTo>
                        <a:pt x="1716102" y="239217"/>
                      </a:lnTo>
                      <a:lnTo>
                        <a:pt x="1715941" y="239297"/>
                      </a:lnTo>
                      <a:cubicBezTo>
                        <a:pt x="1717628" y="236887"/>
                        <a:pt x="1718191" y="235120"/>
                        <a:pt x="1718110" y="232549"/>
                      </a:cubicBezTo>
                      <a:cubicBezTo>
                        <a:pt x="1695458" y="217287"/>
                        <a:pt x="1683409" y="211343"/>
                        <a:pt x="1684132" y="215681"/>
                      </a:cubicBezTo>
                      <a:cubicBezTo>
                        <a:pt x="1684132" y="216002"/>
                        <a:pt x="1684292" y="216404"/>
                        <a:pt x="1684373" y="216725"/>
                      </a:cubicBezTo>
                      <a:moveTo>
                        <a:pt x="1469977" y="137120"/>
                      </a:moveTo>
                      <a:cubicBezTo>
                        <a:pt x="1475761" y="144430"/>
                        <a:pt x="1485159" y="150294"/>
                        <a:pt x="1497931" y="154631"/>
                      </a:cubicBezTo>
                      <a:cubicBezTo>
                        <a:pt x="1495923" y="152221"/>
                        <a:pt x="1492549" y="148205"/>
                        <a:pt x="1498574" y="148526"/>
                      </a:cubicBezTo>
                      <a:cubicBezTo>
                        <a:pt x="1500984" y="148687"/>
                        <a:pt x="1504357" y="149571"/>
                        <a:pt x="1506607" y="150133"/>
                      </a:cubicBezTo>
                      <a:cubicBezTo>
                        <a:pt x="1504599" y="145795"/>
                        <a:pt x="1501466" y="142904"/>
                        <a:pt x="1493513" y="138084"/>
                      </a:cubicBezTo>
                      <a:cubicBezTo>
                        <a:pt x="1494236" y="137923"/>
                        <a:pt x="1495281" y="137762"/>
                        <a:pt x="1496003" y="137602"/>
                      </a:cubicBezTo>
                      <a:cubicBezTo>
                        <a:pt x="1494959" y="131577"/>
                        <a:pt x="1500261" y="133666"/>
                        <a:pt x="1509740" y="137843"/>
                      </a:cubicBezTo>
                      <a:cubicBezTo>
                        <a:pt x="1509017" y="135915"/>
                        <a:pt x="1509017" y="134790"/>
                        <a:pt x="1509740" y="132782"/>
                      </a:cubicBezTo>
                      <a:cubicBezTo>
                        <a:pt x="1508535" y="134148"/>
                        <a:pt x="1507330" y="134710"/>
                        <a:pt x="1504679" y="135192"/>
                      </a:cubicBezTo>
                      <a:cubicBezTo>
                        <a:pt x="1507089" y="133264"/>
                        <a:pt x="1508615" y="131738"/>
                        <a:pt x="1510061" y="129810"/>
                      </a:cubicBezTo>
                      <a:lnTo>
                        <a:pt x="1505723" y="130212"/>
                      </a:lnTo>
                      <a:cubicBezTo>
                        <a:pt x="1488131" y="124428"/>
                        <a:pt x="1477930" y="125071"/>
                        <a:pt x="1474636" y="132139"/>
                      </a:cubicBezTo>
                      <a:cubicBezTo>
                        <a:pt x="1473512" y="132300"/>
                        <a:pt x="1471343" y="132621"/>
                        <a:pt x="1468130" y="132702"/>
                      </a:cubicBezTo>
                      <a:cubicBezTo>
                        <a:pt x="1468933" y="134148"/>
                        <a:pt x="1469013" y="135835"/>
                        <a:pt x="1469977" y="137120"/>
                      </a:cubicBezTo>
                      <a:moveTo>
                        <a:pt x="1271005" y="85308"/>
                      </a:moveTo>
                      <a:cubicBezTo>
                        <a:pt x="1271728" y="87397"/>
                        <a:pt x="1288516" y="135754"/>
                        <a:pt x="1314623" y="122259"/>
                      </a:cubicBezTo>
                      <a:cubicBezTo>
                        <a:pt x="1316310" y="124267"/>
                        <a:pt x="1330769" y="127641"/>
                        <a:pt x="1333339" y="126597"/>
                      </a:cubicBezTo>
                      <a:cubicBezTo>
                        <a:pt x="1333179" y="125794"/>
                        <a:pt x="1332536" y="124910"/>
                        <a:pt x="1332054" y="124267"/>
                      </a:cubicBezTo>
                      <a:cubicBezTo>
                        <a:pt x="1338320" y="122741"/>
                        <a:pt x="1342497" y="123625"/>
                        <a:pt x="1346674" y="127480"/>
                      </a:cubicBezTo>
                      <a:cubicBezTo>
                        <a:pt x="1353903" y="125874"/>
                        <a:pt x="1360249" y="125312"/>
                        <a:pt x="1367800" y="125713"/>
                      </a:cubicBezTo>
                      <a:cubicBezTo>
                        <a:pt x="1367398" y="125392"/>
                        <a:pt x="1366916" y="124910"/>
                        <a:pt x="1366515" y="124508"/>
                      </a:cubicBezTo>
                      <a:cubicBezTo>
                        <a:pt x="1366916" y="123625"/>
                        <a:pt x="1366916" y="123625"/>
                        <a:pt x="1369648" y="120813"/>
                      </a:cubicBezTo>
                      <a:cubicBezTo>
                        <a:pt x="1387239" y="125312"/>
                        <a:pt x="1393987" y="126195"/>
                        <a:pt x="1414471" y="126758"/>
                      </a:cubicBezTo>
                      <a:cubicBezTo>
                        <a:pt x="1414551" y="127561"/>
                        <a:pt x="1414471" y="128685"/>
                        <a:pt x="1414230" y="129489"/>
                      </a:cubicBezTo>
                      <a:cubicBezTo>
                        <a:pt x="1417844" y="131898"/>
                        <a:pt x="1422744" y="131818"/>
                        <a:pt x="1425797" y="135433"/>
                      </a:cubicBezTo>
                      <a:cubicBezTo>
                        <a:pt x="1438730" y="131898"/>
                        <a:pt x="1448048" y="134871"/>
                        <a:pt x="1456080" y="138646"/>
                      </a:cubicBezTo>
                      <a:lnTo>
                        <a:pt x="1454313" y="137281"/>
                      </a:lnTo>
                      <a:cubicBezTo>
                        <a:pt x="1455518" y="137200"/>
                        <a:pt x="1457044" y="137040"/>
                        <a:pt x="1458249" y="136879"/>
                      </a:cubicBezTo>
                      <a:cubicBezTo>
                        <a:pt x="1457285" y="134308"/>
                        <a:pt x="1457285" y="133826"/>
                        <a:pt x="1458089" y="131497"/>
                      </a:cubicBezTo>
                      <a:cubicBezTo>
                        <a:pt x="1460900" y="131577"/>
                        <a:pt x="1461703" y="131577"/>
                        <a:pt x="1465479" y="131979"/>
                      </a:cubicBezTo>
                      <a:cubicBezTo>
                        <a:pt x="1456000" y="129248"/>
                        <a:pt x="1451984" y="128203"/>
                        <a:pt x="1446200" y="126838"/>
                      </a:cubicBezTo>
                      <a:cubicBezTo>
                        <a:pt x="1458892" y="126918"/>
                        <a:pt x="1471262" y="123705"/>
                        <a:pt x="1483954" y="124428"/>
                      </a:cubicBezTo>
                      <a:cubicBezTo>
                        <a:pt x="1454072" y="110371"/>
                        <a:pt x="1448610" y="110772"/>
                        <a:pt x="1422664" y="112620"/>
                      </a:cubicBezTo>
                      <a:cubicBezTo>
                        <a:pt x="1409972" y="113102"/>
                        <a:pt x="1392621" y="113744"/>
                        <a:pt x="1374789" y="107559"/>
                      </a:cubicBezTo>
                      <a:cubicBezTo>
                        <a:pt x="1372459" y="106756"/>
                        <a:pt x="1369487" y="105390"/>
                        <a:pt x="1367318" y="104346"/>
                      </a:cubicBezTo>
                      <a:cubicBezTo>
                        <a:pt x="1363061" y="102338"/>
                        <a:pt x="1358482" y="97759"/>
                        <a:pt x="1354225" y="95751"/>
                      </a:cubicBezTo>
                      <a:cubicBezTo>
                        <a:pt x="1352939" y="95108"/>
                        <a:pt x="1351092" y="94626"/>
                        <a:pt x="1349726" y="94144"/>
                      </a:cubicBezTo>
                      <a:cubicBezTo>
                        <a:pt x="1349084" y="93903"/>
                        <a:pt x="1280644" y="66431"/>
                        <a:pt x="1278556" y="62656"/>
                      </a:cubicBezTo>
                      <a:cubicBezTo>
                        <a:pt x="1278154" y="61933"/>
                        <a:pt x="1276065" y="59764"/>
                        <a:pt x="1266828" y="62817"/>
                      </a:cubicBezTo>
                      <a:cubicBezTo>
                        <a:pt x="1267390" y="69082"/>
                        <a:pt x="1268113" y="76874"/>
                        <a:pt x="1271005" y="85308"/>
                      </a:cubicBezTo>
                      <a:moveTo>
                        <a:pt x="1191400" y="51651"/>
                      </a:moveTo>
                      <a:cubicBezTo>
                        <a:pt x="1250119" y="51811"/>
                        <a:pt x="1267711" y="52615"/>
                        <a:pt x="1271165" y="57997"/>
                      </a:cubicBezTo>
                      <a:cubicBezTo>
                        <a:pt x="1278234" y="58398"/>
                        <a:pt x="1281769" y="58398"/>
                        <a:pt x="1286026" y="57997"/>
                      </a:cubicBezTo>
                      <a:cubicBezTo>
                        <a:pt x="1291006" y="57113"/>
                        <a:pt x="1298557" y="55908"/>
                        <a:pt x="1286749" y="47715"/>
                      </a:cubicBezTo>
                      <a:cubicBezTo>
                        <a:pt x="1278315" y="41931"/>
                        <a:pt x="1267551" y="41369"/>
                        <a:pt x="1259277" y="35184"/>
                      </a:cubicBezTo>
                      <a:cubicBezTo>
                        <a:pt x="1253092" y="30525"/>
                        <a:pt x="1252208" y="26910"/>
                        <a:pt x="1251324" y="21206"/>
                      </a:cubicBezTo>
                      <a:cubicBezTo>
                        <a:pt x="1249718" y="21046"/>
                        <a:pt x="1247549" y="20082"/>
                        <a:pt x="1246103" y="20644"/>
                      </a:cubicBezTo>
                      <a:cubicBezTo>
                        <a:pt x="1231001" y="26669"/>
                        <a:pt x="1216783" y="34461"/>
                        <a:pt x="1201923" y="40967"/>
                      </a:cubicBezTo>
                      <a:cubicBezTo>
                        <a:pt x="1189311" y="46430"/>
                        <a:pt x="1185937" y="48839"/>
                        <a:pt x="1181921" y="51570"/>
                      </a:cubicBezTo>
                      <a:cubicBezTo>
                        <a:pt x="1184733" y="51651"/>
                        <a:pt x="1188508" y="51651"/>
                        <a:pt x="1191400" y="51651"/>
                      </a:cubicBezTo>
                      <a:moveTo>
                        <a:pt x="2320410" y="401238"/>
                      </a:moveTo>
                      <a:cubicBezTo>
                        <a:pt x="2320329" y="401078"/>
                        <a:pt x="2320169" y="400917"/>
                        <a:pt x="2320088" y="400837"/>
                      </a:cubicBezTo>
                      <a:cubicBezTo>
                        <a:pt x="2320249" y="400997"/>
                        <a:pt x="2320410" y="401238"/>
                        <a:pt x="2320570" y="401399"/>
                      </a:cubicBezTo>
                      <a:cubicBezTo>
                        <a:pt x="2320570" y="401399"/>
                        <a:pt x="2320490" y="401319"/>
                        <a:pt x="2320410" y="401238"/>
                      </a:cubicBezTo>
                      <a:moveTo>
                        <a:pt x="424830" y="763839"/>
                      </a:moveTo>
                      <a:cubicBezTo>
                        <a:pt x="390208" y="551452"/>
                        <a:pt x="398161" y="361637"/>
                        <a:pt x="440735" y="206845"/>
                      </a:cubicBezTo>
                      <a:cubicBezTo>
                        <a:pt x="664047" y="109648"/>
                        <a:pt x="947926" y="40485"/>
                        <a:pt x="1223049" y="8113"/>
                      </a:cubicBezTo>
                      <a:cubicBezTo>
                        <a:pt x="1221523" y="11165"/>
                        <a:pt x="1219595" y="15262"/>
                        <a:pt x="1218069" y="18395"/>
                      </a:cubicBezTo>
                      <a:cubicBezTo>
                        <a:pt x="1220639" y="16146"/>
                        <a:pt x="1224093" y="13094"/>
                        <a:pt x="1226744" y="10844"/>
                      </a:cubicBezTo>
                      <a:cubicBezTo>
                        <a:pt x="1230278" y="11728"/>
                        <a:pt x="1235018" y="12933"/>
                        <a:pt x="1238552" y="13816"/>
                      </a:cubicBezTo>
                      <a:cubicBezTo>
                        <a:pt x="1259679" y="4016"/>
                        <a:pt x="1280323" y="1928"/>
                        <a:pt x="1300967" y="0"/>
                      </a:cubicBezTo>
                      <a:cubicBezTo>
                        <a:pt x="1372620" y="32131"/>
                        <a:pt x="1451421" y="40164"/>
                        <a:pt x="1524761" y="66592"/>
                      </a:cubicBezTo>
                      <a:cubicBezTo>
                        <a:pt x="1504036" y="84907"/>
                        <a:pt x="1503795" y="94867"/>
                        <a:pt x="1503635" y="104507"/>
                      </a:cubicBezTo>
                      <a:cubicBezTo>
                        <a:pt x="1520503" y="113985"/>
                        <a:pt x="1539943" y="112539"/>
                        <a:pt x="1558017" y="116877"/>
                      </a:cubicBezTo>
                      <a:cubicBezTo>
                        <a:pt x="1559141" y="115994"/>
                        <a:pt x="1560748" y="114708"/>
                        <a:pt x="1561872" y="113825"/>
                      </a:cubicBezTo>
                      <a:lnTo>
                        <a:pt x="1559543" y="113182"/>
                      </a:lnTo>
                      <a:cubicBezTo>
                        <a:pt x="1557213" y="107398"/>
                        <a:pt x="1555687" y="98964"/>
                        <a:pt x="1556008" y="92699"/>
                      </a:cubicBezTo>
                      <a:cubicBezTo>
                        <a:pt x="1552876" y="91574"/>
                        <a:pt x="1548779" y="90048"/>
                        <a:pt x="1545646" y="88923"/>
                      </a:cubicBezTo>
                      <a:cubicBezTo>
                        <a:pt x="1550787" y="85710"/>
                        <a:pt x="1550787" y="85710"/>
                        <a:pt x="1577376" y="78802"/>
                      </a:cubicBezTo>
                      <a:cubicBezTo>
                        <a:pt x="1574403" y="77275"/>
                        <a:pt x="1570548" y="75348"/>
                        <a:pt x="1567576" y="73821"/>
                      </a:cubicBezTo>
                      <a:cubicBezTo>
                        <a:pt x="1568459" y="70769"/>
                        <a:pt x="1569584" y="66672"/>
                        <a:pt x="1570467" y="63700"/>
                      </a:cubicBezTo>
                      <a:cubicBezTo>
                        <a:pt x="1584766" y="58880"/>
                        <a:pt x="1586533" y="59282"/>
                        <a:pt x="1632400" y="71170"/>
                      </a:cubicBezTo>
                      <a:cubicBezTo>
                        <a:pt x="1632400" y="69082"/>
                        <a:pt x="1632400" y="66271"/>
                        <a:pt x="1632320" y="64182"/>
                      </a:cubicBezTo>
                      <a:cubicBezTo>
                        <a:pt x="1625894" y="62013"/>
                        <a:pt x="1617540" y="56872"/>
                        <a:pt x="1613925" y="51169"/>
                      </a:cubicBezTo>
                      <a:cubicBezTo>
                        <a:pt x="1628946" y="52133"/>
                        <a:pt x="1631276" y="52293"/>
                        <a:pt x="1698751" y="74705"/>
                      </a:cubicBezTo>
                      <a:cubicBezTo>
                        <a:pt x="1689754" y="80890"/>
                        <a:pt x="1689754" y="80890"/>
                        <a:pt x="1623163" y="85630"/>
                      </a:cubicBezTo>
                      <a:cubicBezTo>
                        <a:pt x="1672725" y="107077"/>
                        <a:pt x="1672725" y="107077"/>
                        <a:pt x="1678669" y="117439"/>
                      </a:cubicBezTo>
                      <a:cubicBezTo>
                        <a:pt x="1676581" y="124990"/>
                        <a:pt x="1669994" y="133907"/>
                        <a:pt x="1664291" y="139369"/>
                      </a:cubicBezTo>
                      <a:cubicBezTo>
                        <a:pt x="1670556" y="141056"/>
                        <a:pt x="1679232" y="142421"/>
                        <a:pt x="1685818" y="142743"/>
                      </a:cubicBezTo>
                      <a:cubicBezTo>
                        <a:pt x="1680918" y="143787"/>
                        <a:pt x="1674332" y="145153"/>
                        <a:pt x="1669431" y="146197"/>
                      </a:cubicBezTo>
                      <a:cubicBezTo>
                        <a:pt x="1674412" y="152061"/>
                        <a:pt x="1683409" y="158567"/>
                        <a:pt x="1690879" y="160254"/>
                      </a:cubicBezTo>
                      <a:cubicBezTo>
                        <a:pt x="1683810" y="159853"/>
                        <a:pt x="1674251" y="160094"/>
                        <a:pt x="1667182" y="160977"/>
                      </a:cubicBezTo>
                      <a:cubicBezTo>
                        <a:pt x="1670476" y="166761"/>
                        <a:pt x="1674733" y="174633"/>
                        <a:pt x="1677705" y="180577"/>
                      </a:cubicBezTo>
                      <a:cubicBezTo>
                        <a:pt x="1678750" y="180818"/>
                        <a:pt x="1678750" y="180818"/>
                        <a:pt x="1709676" y="196964"/>
                      </a:cubicBezTo>
                      <a:cubicBezTo>
                        <a:pt x="1709836" y="196482"/>
                        <a:pt x="1710077" y="195840"/>
                        <a:pt x="1710238" y="195358"/>
                      </a:cubicBezTo>
                      <a:cubicBezTo>
                        <a:pt x="1742932" y="220179"/>
                        <a:pt x="1742932" y="220179"/>
                        <a:pt x="1753696" y="220902"/>
                      </a:cubicBezTo>
                      <a:lnTo>
                        <a:pt x="1763335" y="228212"/>
                      </a:lnTo>
                      <a:lnTo>
                        <a:pt x="1765102" y="230300"/>
                      </a:lnTo>
                      <a:cubicBezTo>
                        <a:pt x="1778999" y="233433"/>
                        <a:pt x="1888807" y="266930"/>
                        <a:pt x="1903347" y="272392"/>
                      </a:cubicBezTo>
                      <a:cubicBezTo>
                        <a:pt x="1902142" y="269018"/>
                        <a:pt x="1900535" y="264600"/>
                        <a:pt x="1899330" y="261227"/>
                      </a:cubicBezTo>
                      <a:cubicBezTo>
                        <a:pt x="1900053" y="261066"/>
                        <a:pt x="1901097" y="260905"/>
                        <a:pt x="1901820" y="260745"/>
                      </a:cubicBezTo>
                      <a:lnTo>
                        <a:pt x="1905114" y="259781"/>
                      </a:lnTo>
                      <a:cubicBezTo>
                        <a:pt x="1939976" y="266528"/>
                        <a:pt x="1967529" y="271830"/>
                        <a:pt x="1968493" y="307174"/>
                      </a:cubicBezTo>
                      <a:cubicBezTo>
                        <a:pt x="1968975" y="307094"/>
                        <a:pt x="1969697" y="307014"/>
                        <a:pt x="1970179" y="307014"/>
                      </a:cubicBezTo>
                      <a:cubicBezTo>
                        <a:pt x="1945438" y="317858"/>
                        <a:pt x="1941583" y="321954"/>
                        <a:pt x="1935397" y="343000"/>
                      </a:cubicBezTo>
                      <a:cubicBezTo>
                        <a:pt x="1935478" y="342759"/>
                        <a:pt x="1935638" y="342438"/>
                        <a:pt x="1935719" y="342117"/>
                      </a:cubicBezTo>
                      <a:cubicBezTo>
                        <a:pt x="1935879" y="345491"/>
                        <a:pt x="1936201" y="350069"/>
                        <a:pt x="1936361" y="353443"/>
                      </a:cubicBezTo>
                      <a:cubicBezTo>
                        <a:pt x="1936763" y="353523"/>
                        <a:pt x="1937245" y="353523"/>
                        <a:pt x="1937647" y="353604"/>
                      </a:cubicBezTo>
                      <a:lnTo>
                        <a:pt x="1940699" y="357460"/>
                      </a:lnTo>
                      <a:lnTo>
                        <a:pt x="1941743" y="361717"/>
                      </a:lnTo>
                      <a:cubicBezTo>
                        <a:pt x="1952588" y="370633"/>
                        <a:pt x="1963834" y="379871"/>
                        <a:pt x="1988896" y="383486"/>
                      </a:cubicBezTo>
                      <a:cubicBezTo>
                        <a:pt x="1993957" y="393446"/>
                        <a:pt x="1996527" y="398427"/>
                        <a:pt x="2023437" y="407745"/>
                      </a:cubicBezTo>
                      <a:cubicBezTo>
                        <a:pt x="2022714" y="407183"/>
                        <a:pt x="2021750" y="406460"/>
                        <a:pt x="2021107" y="405897"/>
                      </a:cubicBezTo>
                      <a:cubicBezTo>
                        <a:pt x="2019662" y="402604"/>
                        <a:pt x="2017734" y="398266"/>
                        <a:pt x="2016288" y="394973"/>
                      </a:cubicBezTo>
                      <a:cubicBezTo>
                        <a:pt x="2021830" y="391278"/>
                        <a:pt x="2030425" y="387824"/>
                        <a:pt x="2037012" y="387101"/>
                      </a:cubicBezTo>
                      <a:cubicBezTo>
                        <a:pt x="2038780" y="384530"/>
                        <a:pt x="2041109" y="381076"/>
                        <a:pt x="2042876" y="378425"/>
                      </a:cubicBezTo>
                      <a:cubicBezTo>
                        <a:pt x="2043037" y="378666"/>
                        <a:pt x="2043198" y="378987"/>
                        <a:pt x="2043358" y="379228"/>
                      </a:cubicBezTo>
                      <a:lnTo>
                        <a:pt x="2048178" y="376015"/>
                      </a:lnTo>
                      <a:lnTo>
                        <a:pt x="2052275" y="374569"/>
                      </a:lnTo>
                      <a:cubicBezTo>
                        <a:pt x="2058942" y="374248"/>
                        <a:pt x="2068019" y="370714"/>
                        <a:pt x="2072758" y="366135"/>
                      </a:cubicBezTo>
                      <a:cubicBezTo>
                        <a:pt x="2100070" y="392081"/>
                        <a:pt x="2100070" y="392081"/>
                        <a:pt x="2092439" y="432405"/>
                      </a:cubicBezTo>
                      <a:cubicBezTo>
                        <a:pt x="2053801" y="455058"/>
                        <a:pt x="2052194" y="478674"/>
                        <a:pt x="2053239" y="487832"/>
                      </a:cubicBezTo>
                      <a:cubicBezTo>
                        <a:pt x="2079104" y="486627"/>
                        <a:pt x="2085370" y="483976"/>
                        <a:pt x="2097901" y="469276"/>
                      </a:cubicBezTo>
                      <a:cubicBezTo>
                        <a:pt x="2097499" y="469035"/>
                        <a:pt x="2096937" y="468633"/>
                        <a:pt x="2096535" y="468312"/>
                      </a:cubicBezTo>
                      <a:cubicBezTo>
                        <a:pt x="2100150" y="443892"/>
                        <a:pt x="2100150" y="443892"/>
                        <a:pt x="2120072" y="427988"/>
                      </a:cubicBezTo>
                      <a:cubicBezTo>
                        <a:pt x="2104648" y="380594"/>
                        <a:pt x="2104648" y="380594"/>
                        <a:pt x="2105693" y="371196"/>
                      </a:cubicBezTo>
                      <a:cubicBezTo>
                        <a:pt x="2106416" y="371758"/>
                        <a:pt x="2107460" y="372561"/>
                        <a:pt x="2108183" y="373123"/>
                      </a:cubicBezTo>
                      <a:cubicBezTo>
                        <a:pt x="2108103" y="369991"/>
                        <a:pt x="2107942" y="365894"/>
                        <a:pt x="2107862" y="362761"/>
                      </a:cubicBezTo>
                      <a:cubicBezTo>
                        <a:pt x="2107540" y="362841"/>
                        <a:pt x="2107058" y="362841"/>
                        <a:pt x="2106737" y="362922"/>
                      </a:cubicBezTo>
                      <a:cubicBezTo>
                        <a:pt x="2107058" y="356014"/>
                        <a:pt x="2108183" y="346696"/>
                        <a:pt x="2109629" y="339948"/>
                      </a:cubicBezTo>
                      <a:cubicBezTo>
                        <a:pt x="2128265" y="353523"/>
                        <a:pt x="2140395" y="358504"/>
                        <a:pt x="2147704" y="361556"/>
                      </a:cubicBezTo>
                      <a:cubicBezTo>
                        <a:pt x="2149231" y="345812"/>
                        <a:pt x="2149231" y="345812"/>
                        <a:pt x="2142483" y="333200"/>
                      </a:cubicBezTo>
                      <a:lnTo>
                        <a:pt x="2144571" y="322918"/>
                      </a:lnTo>
                      <a:lnTo>
                        <a:pt x="2151239" y="325569"/>
                      </a:lnTo>
                      <a:lnTo>
                        <a:pt x="2152042" y="322677"/>
                      </a:lnTo>
                      <a:lnTo>
                        <a:pt x="2154693" y="323240"/>
                      </a:lnTo>
                      <a:cubicBezTo>
                        <a:pt x="2156701" y="318099"/>
                        <a:pt x="2158468" y="310628"/>
                        <a:pt x="2157665" y="305166"/>
                      </a:cubicBezTo>
                      <a:cubicBezTo>
                        <a:pt x="2160557" y="304042"/>
                        <a:pt x="2164493" y="302595"/>
                        <a:pt x="2167465" y="301551"/>
                      </a:cubicBezTo>
                      <a:cubicBezTo>
                        <a:pt x="2167385" y="300587"/>
                        <a:pt x="2167224" y="299382"/>
                        <a:pt x="2167063" y="298499"/>
                      </a:cubicBezTo>
                      <a:cubicBezTo>
                        <a:pt x="2173008" y="311432"/>
                        <a:pt x="2173650" y="312797"/>
                        <a:pt x="2190519" y="320428"/>
                      </a:cubicBezTo>
                      <a:cubicBezTo>
                        <a:pt x="2190840" y="320509"/>
                        <a:pt x="2191081" y="320669"/>
                        <a:pt x="2191403" y="320750"/>
                      </a:cubicBezTo>
                      <a:lnTo>
                        <a:pt x="2195178" y="325409"/>
                      </a:lnTo>
                      <a:cubicBezTo>
                        <a:pt x="2211244" y="331995"/>
                        <a:pt x="2211244" y="331995"/>
                        <a:pt x="2226346" y="352399"/>
                      </a:cubicBezTo>
                      <a:cubicBezTo>
                        <a:pt x="2226667" y="352479"/>
                        <a:pt x="2227149" y="352479"/>
                        <a:pt x="2227470" y="352559"/>
                      </a:cubicBezTo>
                      <a:cubicBezTo>
                        <a:pt x="2228032" y="353041"/>
                        <a:pt x="2284904" y="400997"/>
                        <a:pt x="2306513" y="449274"/>
                      </a:cubicBezTo>
                      <a:cubicBezTo>
                        <a:pt x="2327559" y="508316"/>
                        <a:pt x="2332298" y="511529"/>
                        <a:pt x="2346355" y="521007"/>
                      </a:cubicBezTo>
                      <a:cubicBezTo>
                        <a:pt x="2347480" y="504460"/>
                        <a:pt x="2347641" y="501970"/>
                        <a:pt x="2344187" y="471204"/>
                      </a:cubicBezTo>
                      <a:cubicBezTo>
                        <a:pt x="2343142" y="465099"/>
                        <a:pt x="2342901" y="464858"/>
                        <a:pt x="2342660" y="464617"/>
                      </a:cubicBezTo>
                      <a:lnTo>
                        <a:pt x="2342901" y="463573"/>
                      </a:lnTo>
                      <a:lnTo>
                        <a:pt x="2342178" y="462287"/>
                      </a:lnTo>
                      <a:cubicBezTo>
                        <a:pt x="2340251" y="452969"/>
                        <a:pt x="2340251" y="452969"/>
                        <a:pt x="2324024" y="406861"/>
                      </a:cubicBezTo>
                      <a:lnTo>
                        <a:pt x="2320650" y="401801"/>
                      </a:lnTo>
                      <a:lnTo>
                        <a:pt x="2322016" y="401801"/>
                      </a:lnTo>
                      <a:cubicBezTo>
                        <a:pt x="2325952" y="407343"/>
                        <a:pt x="2331173" y="414653"/>
                        <a:pt x="2335029" y="420196"/>
                      </a:cubicBezTo>
                      <a:cubicBezTo>
                        <a:pt x="2333583" y="416581"/>
                        <a:pt x="2331575" y="411761"/>
                        <a:pt x="2330129" y="408147"/>
                      </a:cubicBezTo>
                      <a:cubicBezTo>
                        <a:pt x="2373105" y="497391"/>
                        <a:pt x="2402505" y="592339"/>
                        <a:pt x="2418892" y="693070"/>
                      </a:cubicBezTo>
                      <a:cubicBezTo>
                        <a:pt x="2453433" y="905216"/>
                        <a:pt x="2426201" y="1116639"/>
                        <a:pt x="2349970" y="1309186"/>
                      </a:cubicBezTo>
                      <a:cubicBezTo>
                        <a:pt x="2314947" y="1256973"/>
                        <a:pt x="2234699" y="1213515"/>
                        <a:pt x="2108103" y="1184918"/>
                      </a:cubicBezTo>
                      <a:cubicBezTo>
                        <a:pt x="1725179" y="1098646"/>
                        <a:pt x="1063357" y="1181625"/>
                        <a:pt x="629827" y="1370315"/>
                      </a:cubicBezTo>
                      <a:cubicBezTo>
                        <a:pt x="531987" y="1183793"/>
                        <a:pt x="459371" y="975985"/>
                        <a:pt x="424830" y="763839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7" name="Freeform: Shape 416">
                  <a:extLst>
                    <a:ext uri="{FF2B5EF4-FFF2-40B4-BE49-F238E27FC236}">
                      <a16:creationId xmlns:a16="http://schemas.microsoft.com/office/drawing/2014/main" id="{1F74FA0E-DCD5-2908-09E7-0874A984A21E}"/>
                    </a:ext>
                  </a:extLst>
                </p:cNvPr>
                <p:cNvSpPr/>
                <p:nvPr/>
              </p:nvSpPr>
              <p:spPr>
                <a:xfrm>
                  <a:off x="-5089695" y="1921823"/>
                  <a:ext cx="1957914" cy="1433372"/>
                </a:xfrm>
                <a:custGeom>
                  <a:avLst/>
                  <a:gdLst>
                    <a:gd name="connsiteX0" fmla="*/ 620453 w 1957914"/>
                    <a:gd name="connsiteY0" fmla="*/ 1428633 h 1433372"/>
                    <a:gd name="connsiteX1" fmla="*/ 620132 w 1957914"/>
                    <a:gd name="connsiteY1" fmla="*/ 1428473 h 1433372"/>
                    <a:gd name="connsiteX2" fmla="*/ 620293 w 1957914"/>
                    <a:gd name="connsiteY2" fmla="*/ 1428553 h 1433372"/>
                    <a:gd name="connsiteX3" fmla="*/ 620453 w 1957914"/>
                    <a:gd name="connsiteY3" fmla="*/ 1428633 h 1433372"/>
                    <a:gd name="connsiteX4" fmla="*/ 621578 w 1957914"/>
                    <a:gd name="connsiteY4" fmla="*/ 1433212 h 1433372"/>
                    <a:gd name="connsiteX5" fmla="*/ 621337 w 1957914"/>
                    <a:gd name="connsiteY5" fmla="*/ 1433373 h 1433372"/>
                    <a:gd name="connsiteX6" fmla="*/ 620534 w 1957914"/>
                    <a:gd name="connsiteY6" fmla="*/ 1428714 h 1433372"/>
                    <a:gd name="connsiteX7" fmla="*/ 621658 w 1957914"/>
                    <a:gd name="connsiteY7" fmla="*/ 1429356 h 1433372"/>
                    <a:gd name="connsiteX8" fmla="*/ 621899 w 1957914"/>
                    <a:gd name="connsiteY8" fmla="*/ 1427910 h 1433372"/>
                    <a:gd name="connsiteX9" fmla="*/ 622060 w 1957914"/>
                    <a:gd name="connsiteY9" fmla="*/ 1428071 h 1433372"/>
                    <a:gd name="connsiteX10" fmla="*/ 621578 w 1957914"/>
                    <a:gd name="connsiteY10" fmla="*/ 1433212 h 1433372"/>
                    <a:gd name="connsiteX11" fmla="*/ 617642 w 1957914"/>
                    <a:gd name="connsiteY11" fmla="*/ 1432328 h 1433372"/>
                    <a:gd name="connsiteX12" fmla="*/ 616758 w 1957914"/>
                    <a:gd name="connsiteY12" fmla="*/ 1432650 h 1433372"/>
                    <a:gd name="connsiteX13" fmla="*/ 615071 w 1957914"/>
                    <a:gd name="connsiteY13" fmla="*/ 1425420 h 1433372"/>
                    <a:gd name="connsiteX14" fmla="*/ 616437 w 1957914"/>
                    <a:gd name="connsiteY14" fmla="*/ 1425982 h 1433372"/>
                    <a:gd name="connsiteX15" fmla="*/ 617642 w 1957914"/>
                    <a:gd name="connsiteY15" fmla="*/ 1432328 h 1433372"/>
                    <a:gd name="connsiteX16" fmla="*/ 606878 w 1957914"/>
                    <a:gd name="connsiteY16" fmla="*/ 1427187 h 1433372"/>
                    <a:gd name="connsiteX17" fmla="*/ 606798 w 1957914"/>
                    <a:gd name="connsiteY17" fmla="*/ 1427027 h 1433372"/>
                    <a:gd name="connsiteX18" fmla="*/ 608966 w 1957914"/>
                    <a:gd name="connsiteY18" fmla="*/ 1425822 h 1433372"/>
                    <a:gd name="connsiteX19" fmla="*/ 609047 w 1957914"/>
                    <a:gd name="connsiteY19" fmla="*/ 1425982 h 1433372"/>
                    <a:gd name="connsiteX20" fmla="*/ 610894 w 1957914"/>
                    <a:gd name="connsiteY20" fmla="*/ 1431445 h 1433372"/>
                    <a:gd name="connsiteX21" fmla="*/ 606878 w 1957914"/>
                    <a:gd name="connsiteY21" fmla="*/ 1427187 h 1433372"/>
                    <a:gd name="connsiteX22" fmla="*/ 489760 w 1957914"/>
                    <a:gd name="connsiteY22" fmla="*/ 1384935 h 1433372"/>
                    <a:gd name="connsiteX23" fmla="*/ 489599 w 1957914"/>
                    <a:gd name="connsiteY23" fmla="*/ 1384855 h 1433372"/>
                    <a:gd name="connsiteX24" fmla="*/ 492491 w 1957914"/>
                    <a:gd name="connsiteY24" fmla="*/ 1382123 h 1433372"/>
                    <a:gd name="connsiteX25" fmla="*/ 495463 w 1957914"/>
                    <a:gd name="connsiteY25" fmla="*/ 1384935 h 1433372"/>
                    <a:gd name="connsiteX26" fmla="*/ 489760 w 1957914"/>
                    <a:gd name="connsiteY26" fmla="*/ 1384935 h 1433372"/>
                    <a:gd name="connsiteX27" fmla="*/ 1346217 w 1957914"/>
                    <a:gd name="connsiteY27" fmla="*/ 937187 h 1433372"/>
                    <a:gd name="connsiteX28" fmla="*/ 1345654 w 1957914"/>
                    <a:gd name="connsiteY28" fmla="*/ 936705 h 1433372"/>
                    <a:gd name="connsiteX29" fmla="*/ 1349671 w 1957914"/>
                    <a:gd name="connsiteY29" fmla="*/ 935500 h 1433372"/>
                    <a:gd name="connsiteX30" fmla="*/ 1350153 w 1957914"/>
                    <a:gd name="connsiteY30" fmla="*/ 935660 h 1433372"/>
                    <a:gd name="connsiteX31" fmla="*/ 1352000 w 1957914"/>
                    <a:gd name="connsiteY31" fmla="*/ 943934 h 1433372"/>
                    <a:gd name="connsiteX32" fmla="*/ 1346217 w 1957914"/>
                    <a:gd name="connsiteY32" fmla="*/ 937187 h 1433372"/>
                    <a:gd name="connsiteX33" fmla="*/ 1136320 w 1957914"/>
                    <a:gd name="connsiteY33" fmla="*/ 852200 h 1433372"/>
                    <a:gd name="connsiteX34" fmla="*/ 1136320 w 1957914"/>
                    <a:gd name="connsiteY34" fmla="*/ 852200 h 1433372"/>
                    <a:gd name="connsiteX35" fmla="*/ 1136320 w 1957914"/>
                    <a:gd name="connsiteY35" fmla="*/ 852200 h 1433372"/>
                    <a:gd name="connsiteX36" fmla="*/ 1137203 w 1957914"/>
                    <a:gd name="connsiteY36" fmla="*/ 852119 h 1433372"/>
                    <a:gd name="connsiteX37" fmla="*/ 1137203 w 1957914"/>
                    <a:gd name="connsiteY37" fmla="*/ 852119 h 1433372"/>
                    <a:gd name="connsiteX38" fmla="*/ 1136320 w 1957914"/>
                    <a:gd name="connsiteY38" fmla="*/ 852200 h 1433372"/>
                    <a:gd name="connsiteX39" fmla="*/ 1837020 w 1957914"/>
                    <a:gd name="connsiteY39" fmla="*/ 758778 h 1433372"/>
                    <a:gd name="connsiteX40" fmla="*/ 1843929 w 1957914"/>
                    <a:gd name="connsiteY40" fmla="*/ 756047 h 1433372"/>
                    <a:gd name="connsiteX41" fmla="*/ 1843848 w 1957914"/>
                    <a:gd name="connsiteY41" fmla="*/ 756127 h 1433372"/>
                    <a:gd name="connsiteX42" fmla="*/ 1839752 w 1957914"/>
                    <a:gd name="connsiteY42" fmla="*/ 757573 h 1433372"/>
                    <a:gd name="connsiteX43" fmla="*/ 1839270 w 1957914"/>
                    <a:gd name="connsiteY43" fmla="*/ 758296 h 1433372"/>
                    <a:gd name="connsiteX44" fmla="*/ 1841519 w 1957914"/>
                    <a:gd name="connsiteY44" fmla="*/ 758537 h 1433372"/>
                    <a:gd name="connsiteX45" fmla="*/ 1842322 w 1957914"/>
                    <a:gd name="connsiteY45" fmla="*/ 758859 h 1433372"/>
                    <a:gd name="connsiteX46" fmla="*/ 1837020 w 1957914"/>
                    <a:gd name="connsiteY46" fmla="*/ 758778 h 1433372"/>
                    <a:gd name="connsiteX47" fmla="*/ 1726811 w 1957914"/>
                    <a:gd name="connsiteY47" fmla="*/ 634993 h 1433372"/>
                    <a:gd name="connsiteX48" fmla="*/ 1726328 w 1957914"/>
                    <a:gd name="connsiteY48" fmla="*/ 634832 h 1433372"/>
                    <a:gd name="connsiteX49" fmla="*/ 1735566 w 1957914"/>
                    <a:gd name="connsiteY49" fmla="*/ 629932 h 1433372"/>
                    <a:gd name="connsiteX50" fmla="*/ 1735566 w 1957914"/>
                    <a:gd name="connsiteY50" fmla="*/ 629932 h 1433372"/>
                    <a:gd name="connsiteX51" fmla="*/ 1726811 w 1957914"/>
                    <a:gd name="connsiteY51" fmla="*/ 634993 h 1433372"/>
                    <a:gd name="connsiteX52" fmla="*/ 1732755 w 1957914"/>
                    <a:gd name="connsiteY52" fmla="*/ 575148 h 1433372"/>
                    <a:gd name="connsiteX53" fmla="*/ 1732594 w 1957914"/>
                    <a:gd name="connsiteY53" fmla="*/ 574988 h 1433372"/>
                    <a:gd name="connsiteX54" fmla="*/ 1737253 w 1957914"/>
                    <a:gd name="connsiteY54" fmla="*/ 574747 h 1433372"/>
                    <a:gd name="connsiteX55" fmla="*/ 1736289 w 1957914"/>
                    <a:gd name="connsiteY55" fmla="*/ 574827 h 1433372"/>
                    <a:gd name="connsiteX56" fmla="*/ 1732755 w 1957914"/>
                    <a:gd name="connsiteY56" fmla="*/ 575148 h 1433372"/>
                    <a:gd name="connsiteX57" fmla="*/ 1911324 w 1957914"/>
                    <a:gd name="connsiteY57" fmla="*/ 588884 h 1433372"/>
                    <a:gd name="connsiteX58" fmla="*/ 1911324 w 1957914"/>
                    <a:gd name="connsiteY58" fmla="*/ 588884 h 1433372"/>
                    <a:gd name="connsiteX59" fmla="*/ 1911163 w 1957914"/>
                    <a:gd name="connsiteY59" fmla="*/ 588081 h 1433372"/>
                    <a:gd name="connsiteX60" fmla="*/ 1911163 w 1957914"/>
                    <a:gd name="connsiteY60" fmla="*/ 588081 h 1433372"/>
                    <a:gd name="connsiteX61" fmla="*/ 1911324 w 1957914"/>
                    <a:gd name="connsiteY61" fmla="*/ 588884 h 1433372"/>
                    <a:gd name="connsiteX62" fmla="*/ 1846740 w 1957914"/>
                    <a:gd name="connsiteY62" fmla="*/ 507111 h 1433372"/>
                    <a:gd name="connsiteX63" fmla="*/ 1846338 w 1957914"/>
                    <a:gd name="connsiteY63" fmla="*/ 506950 h 1433372"/>
                    <a:gd name="connsiteX64" fmla="*/ 1850034 w 1957914"/>
                    <a:gd name="connsiteY64" fmla="*/ 506307 h 1433372"/>
                    <a:gd name="connsiteX65" fmla="*/ 1852042 w 1957914"/>
                    <a:gd name="connsiteY65" fmla="*/ 507271 h 1433372"/>
                    <a:gd name="connsiteX66" fmla="*/ 1851962 w 1957914"/>
                    <a:gd name="connsiteY66" fmla="*/ 508637 h 1433372"/>
                    <a:gd name="connsiteX67" fmla="*/ 1846740 w 1957914"/>
                    <a:gd name="connsiteY67" fmla="*/ 507111 h 1433372"/>
                    <a:gd name="connsiteX68" fmla="*/ 1467672 w 1957914"/>
                    <a:gd name="connsiteY68" fmla="*/ 441724 h 1433372"/>
                    <a:gd name="connsiteX69" fmla="*/ 1467030 w 1957914"/>
                    <a:gd name="connsiteY69" fmla="*/ 441643 h 1433372"/>
                    <a:gd name="connsiteX70" fmla="*/ 1472813 w 1957914"/>
                    <a:gd name="connsiteY70" fmla="*/ 441483 h 1433372"/>
                    <a:gd name="connsiteX71" fmla="*/ 1472412 w 1957914"/>
                    <a:gd name="connsiteY71" fmla="*/ 440760 h 1433372"/>
                    <a:gd name="connsiteX72" fmla="*/ 1475304 w 1957914"/>
                    <a:gd name="connsiteY72" fmla="*/ 436020 h 1433372"/>
                    <a:gd name="connsiteX73" fmla="*/ 1475464 w 1957914"/>
                    <a:gd name="connsiteY73" fmla="*/ 436502 h 1433372"/>
                    <a:gd name="connsiteX74" fmla="*/ 1475223 w 1957914"/>
                    <a:gd name="connsiteY74" fmla="*/ 443169 h 1433372"/>
                    <a:gd name="connsiteX75" fmla="*/ 1472171 w 1957914"/>
                    <a:gd name="connsiteY75" fmla="*/ 443410 h 1433372"/>
                    <a:gd name="connsiteX76" fmla="*/ 1468556 w 1957914"/>
                    <a:gd name="connsiteY76" fmla="*/ 442125 h 1433372"/>
                    <a:gd name="connsiteX77" fmla="*/ 1467672 w 1957914"/>
                    <a:gd name="connsiteY77" fmla="*/ 441724 h 1433372"/>
                    <a:gd name="connsiteX78" fmla="*/ 1519645 w 1957914"/>
                    <a:gd name="connsiteY78" fmla="*/ 437145 h 1433372"/>
                    <a:gd name="connsiteX79" fmla="*/ 1519323 w 1957914"/>
                    <a:gd name="connsiteY79" fmla="*/ 437145 h 1433372"/>
                    <a:gd name="connsiteX80" fmla="*/ 1519404 w 1957914"/>
                    <a:gd name="connsiteY80" fmla="*/ 437145 h 1433372"/>
                    <a:gd name="connsiteX81" fmla="*/ 1522055 w 1957914"/>
                    <a:gd name="connsiteY81" fmla="*/ 437466 h 1433372"/>
                    <a:gd name="connsiteX82" fmla="*/ 1519645 w 1957914"/>
                    <a:gd name="connsiteY82" fmla="*/ 437145 h 1433372"/>
                    <a:gd name="connsiteX83" fmla="*/ 1507435 w 1957914"/>
                    <a:gd name="connsiteY83" fmla="*/ 436341 h 1433372"/>
                    <a:gd name="connsiteX84" fmla="*/ 1507113 w 1957914"/>
                    <a:gd name="connsiteY84" fmla="*/ 436261 h 1433372"/>
                    <a:gd name="connsiteX85" fmla="*/ 1508399 w 1957914"/>
                    <a:gd name="connsiteY85" fmla="*/ 434976 h 1433372"/>
                    <a:gd name="connsiteX86" fmla="*/ 1510246 w 1957914"/>
                    <a:gd name="connsiteY86" fmla="*/ 435458 h 1433372"/>
                    <a:gd name="connsiteX87" fmla="*/ 1509523 w 1957914"/>
                    <a:gd name="connsiteY87" fmla="*/ 436261 h 1433372"/>
                    <a:gd name="connsiteX88" fmla="*/ 1507435 w 1957914"/>
                    <a:gd name="connsiteY88" fmla="*/ 436341 h 1433372"/>
                    <a:gd name="connsiteX89" fmla="*/ 1472251 w 1957914"/>
                    <a:gd name="connsiteY89" fmla="*/ 433530 h 1433372"/>
                    <a:gd name="connsiteX90" fmla="*/ 1472733 w 1957914"/>
                    <a:gd name="connsiteY90" fmla="*/ 432245 h 1433372"/>
                    <a:gd name="connsiteX91" fmla="*/ 1475625 w 1957914"/>
                    <a:gd name="connsiteY91" fmla="*/ 432887 h 1433372"/>
                    <a:gd name="connsiteX92" fmla="*/ 1472251 w 1957914"/>
                    <a:gd name="connsiteY92" fmla="*/ 433530 h 1433372"/>
                    <a:gd name="connsiteX93" fmla="*/ 1504543 w 1957914"/>
                    <a:gd name="connsiteY93" fmla="*/ 434815 h 1433372"/>
                    <a:gd name="connsiteX94" fmla="*/ 1504302 w 1957914"/>
                    <a:gd name="connsiteY94" fmla="*/ 434735 h 1433372"/>
                    <a:gd name="connsiteX95" fmla="*/ 1504463 w 1957914"/>
                    <a:gd name="connsiteY95" fmla="*/ 433369 h 1433372"/>
                    <a:gd name="connsiteX96" fmla="*/ 1504543 w 1957914"/>
                    <a:gd name="connsiteY96" fmla="*/ 433450 h 1433372"/>
                    <a:gd name="connsiteX97" fmla="*/ 1506310 w 1957914"/>
                    <a:gd name="connsiteY97" fmla="*/ 435538 h 1433372"/>
                    <a:gd name="connsiteX98" fmla="*/ 1504543 w 1957914"/>
                    <a:gd name="connsiteY98" fmla="*/ 434815 h 1433372"/>
                    <a:gd name="connsiteX99" fmla="*/ 1465584 w 1957914"/>
                    <a:gd name="connsiteY99" fmla="*/ 430558 h 1433372"/>
                    <a:gd name="connsiteX100" fmla="*/ 1465504 w 1957914"/>
                    <a:gd name="connsiteY100" fmla="*/ 430397 h 1433372"/>
                    <a:gd name="connsiteX101" fmla="*/ 1468877 w 1957914"/>
                    <a:gd name="connsiteY101" fmla="*/ 430237 h 1433372"/>
                    <a:gd name="connsiteX102" fmla="*/ 1469199 w 1957914"/>
                    <a:gd name="connsiteY102" fmla="*/ 430317 h 1433372"/>
                    <a:gd name="connsiteX103" fmla="*/ 1465584 w 1957914"/>
                    <a:gd name="connsiteY103" fmla="*/ 430558 h 1433372"/>
                    <a:gd name="connsiteX104" fmla="*/ 1497795 w 1957914"/>
                    <a:gd name="connsiteY104" fmla="*/ 432646 h 1433372"/>
                    <a:gd name="connsiteX105" fmla="*/ 1499884 w 1957914"/>
                    <a:gd name="connsiteY105" fmla="*/ 430799 h 1433372"/>
                    <a:gd name="connsiteX106" fmla="*/ 1500125 w 1957914"/>
                    <a:gd name="connsiteY106" fmla="*/ 430960 h 1433372"/>
                    <a:gd name="connsiteX107" fmla="*/ 1501410 w 1957914"/>
                    <a:gd name="connsiteY107" fmla="*/ 433771 h 1433372"/>
                    <a:gd name="connsiteX108" fmla="*/ 1498358 w 1957914"/>
                    <a:gd name="connsiteY108" fmla="*/ 433450 h 1433372"/>
                    <a:gd name="connsiteX109" fmla="*/ 1497795 w 1957914"/>
                    <a:gd name="connsiteY109" fmla="*/ 432646 h 1433372"/>
                    <a:gd name="connsiteX110" fmla="*/ 1497394 w 1957914"/>
                    <a:gd name="connsiteY110" fmla="*/ 430960 h 1433372"/>
                    <a:gd name="connsiteX111" fmla="*/ 1494743 w 1957914"/>
                    <a:gd name="connsiteY111" fmla="*/ 429835 h 1433372"/>
                    <a:gd name="connsiteX112" fmla="*/ 1495948 w 1957914"/>
                    <a:gd name="connsiteY112" fmla="*/ 429192 h 1433372"/>
                    <a:gd name="connsiteX113" fmla="*/ 1496832 w 1957914"/>
                    <a:gd name="connsiteY113" fmla="*/ 429273 h 1433372"/>
                    <a:gd name="connsiteX114" fmla="*/ 1499161 w 1957914"/>
                    <a:gd name="connsiteY114" fmla="*/ 430076 h 1433372"/>
                    <a:gd name="connsiteX115" fmla="*/ 1497394 w 1957914"/>
                    <a:gd name="connsiteY115" fmla="*/ 430960 h 1433372"/>
                    <a:gd name="connsiteX116" fmla="*/ 1493779 w 1957914"/>
                    <a:gd name="connsiteY116" fmla="*/ 427506 h 1433372"/>
                    <a:gd name="connsiteX117" fmla="*/ 1493940 w 1957914"/>
                    <a:gd name="connsiteY117" fmla="*/ 426622 h 1433372"/>
                    <a:gd name="connsiteX118" fmla="*/ 1496591 w 1957914"/>
                    <a:gd name="connsiteY118" fmla="*/ 427747 h 1433372"/>
                    <a:gd name="connsiteX119" fmla="*/ 1493779 w 1957914"/>
                    <a:gd name="connsiteY119" fmla="*/ 427506 h 1433372"/>
                    <a:gd name="connsiteX120" fmla="*/ 1929317 w 1957914"/>
                    <a:gd name="connsiteY120" fmla="*/ 530807 h 1433372"/>
                    <a:gd name="connsiteX121" fmla="*/ 1928594 w 1957914"/>
                    <a:gd name="connsiteY121" fmla="*/ 529281 h 1433372"/>
                    <a:gd name="connsiteX122" fmla="*/ 1928675 w 1957914"/>
                    <a:gd name="connsiteY122" fmla="*/ 529281 h 1433372"/>
                    <a:gd name="connsiteX123" fmla="*/ 1930602 w 1957914"/>
                    <a:gd name="connsiteY123" fmla="*/ 531611 h 1433372"/>
                    <a:gd name="connsiteX124" fmla="*/ 1929558 w 1957914"/>
                    <a:gd name="connsiteY124" fmla="*/ 531289 h 1433372"/>
                    <a:gd name="connsiteX125" fmla="*/ 1929317 w 1957914"/>
                    <a:gd name="connsiteY125" fmla="*/ 530807 h 1433372"/>
                    <a:gd name="connsiteX126" fmla="*/ 1889716 w 1957914"/>
                    <a:gd name="connsiteY126" fmla="*/ 509038 h 1433372"/>
                    <a:gd name="connsiteX127" fmla="*/ 1887707 w 1957914"/>
                    <a:gd name="connsiteY127" fmla="*/ 506789 h 1433372"/>
                    <a:gd name="connsiteX128" fmla="*/ 1891001 w 1957914"/>
                    <a:gd name="connsiteY128" fmla="*/ 507914 h 1433372"/>
                    <a:gd name="connsiteX129" fmla="*/ 1891081 w 1957914"/>
                    <a:gd name="connsiteY129" fmla="*/ 508797 h 1433372"/>
                    <a:gd name="connsiteX130" fmla="*/ 1889716 w 1957914"/>
                    <a:gd name="connsiteY130" fmla="*/ 509038 h 1433372"/>
                    <a:gd name="connsiteX131" fmla="*/ 1877666 w 1957914"/>
                    <a:gd name="connsiteY131" fmla="*/ 500122 h 1433372"/>
                    <a:gd name="connsiteX132" fmla="*/ 1877827 w 1957914"/>
                    <a:gd name="connsiteY132" fmla="*/ 498756 h 1433372"/>
                    <a:gd name="connsiteX133" fmla="*/ 1878148 w 1957914"/>
                    <a:gd name="connsiteY133" fmla="*/ 499158 h 1433372"/>
                    <a:gd name="connsiteX134" fmla="*/ 1882807 w 1957914"/>
                    <a:gd name="connsiteY134" fmla="*/ 505102 h 1433372"/>
                    <a:gd name="connsiteX135" fmla="*/ 1877666 w 1957914"/>
                    <a:gd name="connsiteY135" fmla="*/ 500122 h 1433372"/>
                    <a:gd name="connsiteX136" fmla="*/ 1392084 w 1957914"/>
                    <a:gd name="connsiteY136" fmla="*/ 419151 h 1433372"/>
                    <a:gd name="connsiteX137" fmla="*/ 1391522 w 1957914"/>
                    <a:gd name="connsiteY137" fmla="*/ 418991 h 1433372"/>
                    <a:gd name="connsiteX138" fmla="*/ 1395056 w 1957914"/>
                    <a:gd name="connsiteY138" fmla="*/ 418910 h 1433372"/>
                    <a:gd name="connsiteX139" fmla="*/ 1393931 w 1957914"/>
                    <a:gd name="connsiteY139" fmla="*/ 415537 h 1433372"/>
                    <a:gd name="connsiteX140" fmla="*/ 1397144 w 1957914"/>
                    <a:gd name="connsiteY140" fmla="*/ 414814 h 1433372"/>
                    <a:gd name="connsiteX141" fmla="*/ 1400920 w 1957914"/>
                    <a:gd name="connsiteY141" fmla="*/ 416018 h 1433372"/>
                    <a:gd name="connsiteX142" fmla="*/ 1401000 w 1957914"/>
                    <a:gd name="connsiteY142" fmla="*/ 419714 h 1433372"/>
                    <a:gd name="connsiteX143" fmla="*/ 1392084 w 1957914"/>
                    <a:gd name="connsiteY143" fmla="*/ 419151 h 1433372"/>
                    <a:gd name="connsiteX144" fmla="*/ 1418753 w 1957914"/>
                    <a:gd name="connsiteY144" fmla="*/ 415135 h 1433372"/>
                    <a:gd name="connsiteX145" fmla="*/ 1418592 w 1957914"/>
                    <a:gd name="connsiteY145" fmla="*/ 414974 h 1433372"/>
                    <a:gd name="connsiteX146" fmla="*/ 1422367 w 1957914"/>
                    <a:gd name="connsiteY146" fmla="*/ 415135 h 1433372"/>
                    <a:gd name="connsiteX147" fmla="*/ 1418753 w 1957914"/>
                    <a:gd name="connsiteY147" fmla="*/ 415135 h 1433372"/>
                    <a:gd name="connsiteX148" fmla="*/ 1907789 w 1957914"/>
                    <a:gd name="connsiteY148" fmla="*/ 512814 h 1433372"/>
                    <a:gd name="connsiteX149" fmla="*/ 1907629 w 1957914"/>
                    <a:gd name="connsiteY149" fmla="*/ 512733 h 1433372"/>
                    <a:gd name="connsiteX150" fmla="*/ 1909235 w 1957914"/>
                    <a:gd name="connsiteY150" fmla="*/ 512252 h 1433372"/>
                    <a:gd name="connsiteX151" fmla="*/ 1911163 w 1957914"/>
                    <a:gd name="connsiteY151" fmla="*/ 513778 h 1433372"/>
                    <a:gd name="connsiteX152" fmla="*/ 1907789 w 1957914"/>
                    <a:gd name="connsiteY152" fmla="*/ 512814 h 1433372"/>
                    <a:gd name="connsiteX153" fmla="*/ 1436586 w 1957914"/>
                    <a:gd name="connsiteY153" fmla="*/ 415858 h 1433372"/>
                    <a:gd name="connsiteX154" fmla="*/ 1436023 w 1957914"/>
                    <a:gd name="connsiteY154" fmla="*/ 415858 h 1433372"/>
                    <a:gd name="connsiteX155" fmla="*/ 1439477 w 1957914"/>
                    <a:gd name="connsiteY155" fmla="*/ 414814 h 1433372"/>
                    <a:gd name="connsiteX156" fmla="*/ 1439799 w 1957914"/>
                    <a:gd name="connsiteY156" fmla="*/ 414814 h 1433372"/>
                    <a:gd name="connsiteX157" fmla="*/ 1441646 w 1957914"/>
                    <a:gd name="connsiteY157" fmla="*/ 415215 h 1433372"/>
                    <a:gd name="connsiteX158" fmla="*/ 1445341 w 1957914"/>
                    <a:gd name="connsiteY158" fmla="*/ 415537 h 1433372"/>
                    <a:gd name="connsiteX159" fmla="*/ 1445904 w 1957914"/>
                    <a:gd name="connsiteY159" fmla="*/ 415617 h 1433372"/>
                    <a:gd name="connsiteX160" fmla="*/ 1445904 w 1957914"/>
                    <a:gd name="connsiteY160" fmla="*/ 415697 h 1433372"/>
                    <a:gd name="connsiteX161" fmla="*/ 1436586 w 1957914"/>
                    <a:gd name="connsiteY161" fmla="*/ 415858 h 1433372"/>
                    <a:gd name="connsiteX162" fmla="*/ 1849070 w 1957914"/>
                    <a:gd name="connsiteY162" fmla="*/ 483655 h 1433372"/>
                    <a:gd name="connsiteX163" fmla="*/ 1848427 w 1957914"/>
                    <a:gd name="connsiteY163" fmla="*/ 483092 h 1433372"/>
                    <a:gd name="connsiteX164" fmla="*/ 1853006 w 1957914"/>
                    <a:gd name="connsiteY164" fmla="*/ 484217 h 1433372"/>
                    <a:gd name="connsiteX165" fmla="*/ 1855978 w 1957914"/>
                    <a:gd name="connsiteY165" fmla="*/ 485743 h 1433372"/>
                    <a:gd name="connsiteX166" fmla="*/ 1849070 w 1957914"/>
                    <a:gd name="connsiteY166" fmla="*/ 483655 h 1433372"/>
                    <a:gd name="connsiteX167" fmla="*/ 1865698 w 1957914"/>
                    <a:gd name="connsiteY167" fmla="*/ 488956 h 1433372"/>
                    <a:gd name="connsiteX168" fmla="*/ 1865617 w 1957914"/>
                    <a:gd name="connsiteY168" fmla="*/ 488715 h 1433372"/>
                    <a:gd name="connsiteX169" fmla="*/ 1865698 w 1957914"/>
                    <a:gd name="connsiteY169" fmla="*/ 488715 h 1433372"/>
                    <a:gd name="connsiteX170" fmla="*/ 1867625 w 1957914"/>
                    <a:gd name="connsiteY170" fmla="*/ 490402 h 1433372"/>
                    <a:gd name="connsiteX171" fmla="*/ 1866501 w 1957914"/>
                    <a:gd name="connsiteY171" fmla="*/ 489920 h 1433372"/>
                    <a:gd name="connsiteX172" fmla="*/ 1865698 w 1957914"/>
                    <a:gd name="connsiteY172" fmla="*/ 488956 h 1433372"/>
                    <a:gd name="connsiteX173" fmla="*/ 1957914 w 1957914"/>
                    <a:gd name="connsiteY173" fmla="*/ 543017 h 1433372"/>
                    <a:gd name="connsiteX174" fmla="*/ 1957914 w 1957914"/>
                    <a:gd name="connsiteY174" fmla="*/ 543017 h 1433372"/>
                    <a:gd name="connsiteX175" fmla="*/ 1957914 w 1957914"/>
                    <a:gd name="connsiteY175" fmla="*/ 541973 h 1433372"/>
                    <a:gd name="connsiteX176" fmla="*/ 1957914 w 1957914"/>
                    <a:gd name="connsiteY176" fmla="*/ 541973 h 1433372"/>
                    <a:gd name="connsiteX177" fmla="*/ 1957914 w 1957914"/>
                    <a:gd name="connsiteY177" fmla="*/ 543017 h 1433372"/>
                    <a:gd name="connsiteX178" fmla="*/ 1823284 w 1957914"/>
                    <a:gd name="connsiteY178" fmla="*/ 472489 h 1433372"/>
                    <a:gd name="connsiteX179" fmla="*/ 1823284 w 1957914"/>
                    <a:gd name="connsiteY179" fmla="*/ 472489 h 1433372"/>
                    <a:gd name="connsiteX180" fmla="*/ 1822481 w 1957914"/>
                    <a:gd name="connsiteY180" fmla="*/ 470802 h 1433372"/>
                    <a:gd name="connsiteX181" fmla="*/ 1822561 w 1957914"/>
                    <a:gd name="connsiteY181" fmla="*/ 470883 h 1433372"/>
                    <a:gd name="connsiteX182" fmla="*/ 1823847 w 1957914"/>
                    <a:gd name="connsiteY182" fmla="*/ 472569 h 1433372"/>
                    <a:gd name="connsiteX183" fmla="*/ 1823284 w 1957914"/>
                    <a:gd name="connsiteY183" fmla="*/ 472489 h 1433372"/>
                    <a:gd name="connsiteX184" fmla="*/ 1405418 w 1957914"/>
                    <a:gd name="connsiteY184" fmla="*/ 399953 h 1433372"/>
                    <a:gd name="connsiteX185" fmla="*/ 1407908 w 1957914"/>
                    <a:gd name="connsiteY185" fmla="*/ 398909 h 1433372"/>
                    <a:gd name="connsiteX186" fmla="*/ 1408551 w 1957914"/>
                    <a:gd name="connsiteY186" fmla="*/ 398909 h 1433372"/>
                    <a:gd name="connsiteX187" fmla="*/ 1409515 w 1957914"/>
                    <a:gd name="connsiteY187" fmla="*/ 402925 h 1433372"/>
                    <a:gd name="connsiteX188" fmla="*/ 1409756 w 1957914"/>
                    <a:gd name="connsiteY188" fmla="*/ 403166 h 1433372"/>
                    <a:gd name="connsiteX189" fmla="*/ 1405418 w 1957914"/>
                    <a:gd name="connsiteY189" fmla="*/ 399953 h 1433372"/>
                    <a:gd name="connsiteX190" fmla="*/ 1831799 w 1957914"/>
                    <a:gd name="connsiteY190" fmla="*/ 463010 h 1433372"/>
                    <a:gd name="connsiteX191" fmla="*/ 1831880 w 1957914"/>
                    <a:gd name="connsiteY191" fmla="*/ 462528 h 1433372"/>
                    <a:gd name="connsiteX192" fmla="*/ 1832201 w 1957914"/>
                    <a:gd name="connsiteY192" fmla="*/ 462609 h 1433372"/>
                    <a:gd name="connsiteX193" fmla="*/ 1834289 w 1957914"/>
                    <a:gd name="connsiteY193" fmla="*/ 463733 h 1433372"/>
                    <a:gd name="connsiteX194" fmla="*/ 1834289 w 1957914"/>
                    <a:gd name="connsiteY194" fmla="*/ 465501 h 1433372"/>
                    <a:gd name="connsiteX195" fmla="*/ 1832602 w 1957914"/>
                    <a:gd name="connsiteY195" fmla="*/ 463894 h 1433372"/>
                    <a:gd name="connsiteX196" fmla="*/ 1831799 w 1957914"/>
                    <a:gd name="connsiteY196" fmla="*/ 463010 h 1433372"/>
                    <a:gd name="connsiteX197" fmla="*/ 1414897 w 1957914"/>
                    <a:gd name="connsiteY197" fmla="*/ 395696 h 1433372"/>
                    <a:gd name="connsiteX198" fmla="*/ 1414495 w 1957914"/>
                    <a:gd name="connsiteY198" fmla="*/ 394330 h 1433372"/>
                    <a:gd name="connsiteX199" fmla="*/ 1414656 w 1957914"/>
                    <a:gd name="connsiteY199" fmla="*/ 394330 h 1433372"/>
                    <a:gd name="connsiteX200" fmla="*/ 1416745 w 1957914"/>
                    <a:gd name="connsiteY200" fmla="*/ 396418 h 1433372"/>
                    <a:gd name="connsiteX201" fmla="*/ 1423492 w 1957914"/>
                    <a:gd name="connsiteY201" fmla="*/ 397463 h 1433372"/>
                    <a:gd name="connsiteX202" fmla="*/ 1422046 w 1957914"/>
                    <a:gd name="connsiteY202" fmla="*/ 399712 h 1433372"/>
                    <a:gd name="connsiteX203" fmla="*/ 1425099 w 1957914"/>
                    <a:gd name="connsiteY203" fmla="*/ 400114 h 1433372"/>
                    <a:gd name="connsiteX204" fmla="*/ 1425099 w 1957914"/>
                    <a:gd name="connsiteY204" fmla="*/ 400114 h 1433372"/>
                    <a:gd name="connsiteX205" fmla="*/ 1425099 w 1957914"/>
                    <a:gd name="connsiteY205" fmla="*/ 400114 h 1433372"/>
                    <a:gd name="connsiteX206" fmla="*/ 1425099 w 1957914"/>
                    <a:gd name="connsiteY206" fmla="*/ 400114 h 1433372"/>
                    <a:gd name="connsiteX207" fmla="*/ 1425099 w 1957914"/>
                    <a:gd name="connsiteY207" fmla="*/ 400114 h 1433372"/>
                    <a:gd name="connsiteX208" fmla="*/ 1425099 w 1957914"/>
                    <a:gd name="connsiteY208" fmla="*/ 400114 h 1433372"/>
                    <a:gd name="connsiteX209" fmla="*/ 1425099 w 1957914"/>
                    <a:gd name="connsiteY209" fmla="*/ 400114 h 1433372"/>
                    <a:gd name="connsiteX210" fmla="*/ 1425099 w 1957914"/>
                    <a:gd name="connsiteY210" fmla="*/ 400114 h 1433372"/>
                    <a:gd name="connsiteX211" fmla="*/ 1425099 w 1957914"/>
                    <a:gd name="connsiteY211" fmla="*/ 400114 h 1433372"/>
                    <a:gd name="connsiteX212" fmla="*/ 1424858 w 1957914"/>
                    <a:gd name="connsiteY212" fmla="*/ 400596 h 1433372"/>
                    <a:gd name="connsiteX213" fmla="*/ 1427830 w 1957914"/>
                    <a:gd name="connsiteY213" fmla="*/ 401319 h 1433372"/>
                    <a:gd name="connsiteX214" fmla="*/ 1425822 w 1957914"/>
                    <a:gd name="connsiteY214" fmla="*/ 401319 h 1433372"/>
                    <a:gd name="connsiteX215" fmla="*/ 1426063 w 1957914"/>
                    <a:gd name="connsiteY215" fmla="*/ 401720 h 1433372"/>
                    <a:gd name="connsiteX216" fmla="*/ 1416664 w 1957914"/>
                    <a:gd name="connsiteY216" fmla="*/ 399471 h 1433372"/>
                    <a:gd name="connsiteX217" fmla="*/ 1414897 w 1957914"/>
                    <a:gd name="connsiteY217" fmla="*/ 395696 h 1433372"/>
                    <a:gd name="connsiteX218" fmla="*/ 1826658 w 1957914"/>
                    <a:gd name="connsiteY218" fmla="*/ 460842 h 1433372"/>
                    <a:gd name="connsiteX219" fmla="*/ 1826257 w 1957914"/>
                    <a:gd name="connsiteY219" fmla="*/ 458914 h 1433372"/>
                    <a:gd name="connsiteX220" fmla="*/ 1826417 w 1957914"/>
                    <a:gd name="connsiteY220" fmla="*/ 459235 h 1433372"/>
                    <a:gd name="connsiteX221" fmla="*/ 1831157 w 1957914"/>
                    <a:gd name="connsiteY221" fmla="*/ 462930 h 1433372"/>
                    <a:gd name="connsiteX222" fmla="*/ 1826658 w 1957914"/>
                    <a:gd name="connsiteY222" fmla="*/ 460842 h 1433372"/>
                    <a:gd name="connsiteX223" fmla="*/ 1928193 w 1957914"/>
                    <a:gd name="connsiteY223" fmla="*/ 509842 h 1433372"/>
                    <a:gd name="connsiteX224" fmla="*/ 1927550 w 1957914"/>
                    <a:gd name="connsiteY224" fmla="*/ 509199 h 1433372"/>
                    <a:gd name="connsiteX225" fmla="*/ 1929317 w 1957914"/>
                    <a:gd name="connsiteY225" fmla="*/ 509038 h 1433372"/>
                    <a:gd name="connsiteX226" fmla="*/ 1929237 w 1957914"/>
                    <a:gd name="connsiteY226" fmla="*/ 508797 h 1433372"/>
                    <a:gd name="connsiteX227" fmla="*/ 1929880 w 1957914"/>
                    <a:gd name="connsiteY227" fmla="*/ 509440 h 1433372"/>
                    <a:gd name="connsiteX228" fmla="*/ 1928594 w 1957914"/>
                    <a:gd name="connsiteY228" fmla="*/ 510002 h 1433372"/>
                    <a:gd name="connsiteX229" fmla="*/ 1928193 w 1957914"/>
                    <a:gd name="connsiteY229" fmla="*/ 509842 h 1433372"/>
                    <a:gd name="connsiteX230" fmla="*/ 1433453 w 1957914"/>
                    <a:gd name="connsiteY230" fmla="*/ 384691 h 1433372"/>
                    <a:gd name="connsiteX231" fmla="*/ 1435702 w 1957914"/>
                    <a:gd name="connsiteY231" fmla="*/ 383405 h 1433372"/>
                    <a:gd name="connsiteX232" fmla="*/ 1435863 w 1957914"/>
                    <a:gd name="connsiteY232" fmla="*/ 383566 h 1433372"/>
                    <a:gd name="connsiteX233" fmla="*/ 1434818 w 1957914"/>
                    <a:gd name="connsiteY233" fmla="*/ 385655 h 1433372"/>
                    <a:gd name="connsiteX234" fmla="*/ 1433453 w 1957914"/>
                    <a:gd name="connsiteY234" fmla="*/ 384691 h 1433372"/>
                    <a:gd name="connsiteX235" fmla="*/ 1733317 w 1957914"/>
                    <a:gd name="connsiteY235" fmla="*/ 420035 h 1433372"/>
                    <a:gd name="connsiteX236" fmla="*/ 1733076 w 1957914"/>
                    <a:gd name="connsiteY236" fmla="*/ 419874 h 1433372"/>
                    <a:gd name="connsiteX237" fmla="*/ 1733478 w 1957914"/>
                    <a:gd name="connsiteY237" fmla="*/ 419955 h 1433372"/>
                    <a:gd name="connsiteX238" fmla="*/ 1738056 w 1957914"/>
                    <a:gd name="connsiteY238" fmla="*/ 421401 h 1433372"/>
                    <a:gd name="connsiteX239" fmla="*/ 1733317 w 1957914"/>
                    <a:gd name="connsiteY239" fmla="*/ 420035 h 1433372"/>
                    <a:gd name="connsiteX240" fmla="*/ 1728899 w 1957914"/>
                    <a:gd name="connsiteY240" fmla="*/ 420196 h 1433372"/>
                    <a:gd name="connsiteX241" fmla="*/ 1728497 w 1957914"/>
                    <a:gd name="connsiteY241" fmla="*/ 419955 h 1433372"/>
                    <a:gd name="connsiteX242" fmla="*/ 1728658 w 1957914"/>
                    <a:gd name="connsiteY242" fmla="*/ 417706 h 1433372"/>
                    <a:gd name="connsiteX243" fmla="*/ 1728979 w 1957914"/>
                    <a:gd name="connsiteY243" fmla="*/ 417866 h 1433372"/>
                    <a:gd name="connsiteX244" fmla="*/ 1732112 w 1957914"/>
                    <a:gd name="connsiteY244" fmla="*/ 420678 h 1433372"/>
                    <a:gd name="connsiteX245" fmla="*/ 1728899 w 1957914"/>
                    <a:gd name="connsiteY245" fmla="*/ 420196 h 1433372"/>
                    <a:gd name="connsiteX246" fmla="*/ 1093023 w 1957914"/>
                    <a:gd name="connsiteY246" fmla="*/ 383807 h 1433372"/>
                    <a:gd name="connsiteX247" fmla="*/ 1093023 w 1957914"/>
                    <a:gd name="connsiteY247" fmla="*/ 383807 h 1433372"/>
                    <a:gd name="connsiteX248" fmla="*/ 1093023 w 1957914"/>
                    <a:gd name="connsiteY248" fmla="*/ 383807 h 1433372"/>
                    <a:gd name="connsiteX249" fmla="*/ 1099047 w 1957914"/>
                    <a:gd name="connsiteY249" fmla="*/ 386538 h 1433372"/>
                    <a:gd name="connsiteX250" fmla="*/ 1099288 w 1957914"/>
                    <a:gd name="connsiteY250" fmla="*/ 387422 h 1433372"/>
                    <a:gd name="connsiteX251" fmla="*/ 1093023 w 1957914"/>
                    <a:gd name="connsiteY251" fmla="*/ 383807 h 1433372"/>
                    <a:gd name="connsiteX252" fmla="*/ 1804006 w 1957914"/>
                    <a:gd name="connsiteY252" fmla="*/ 435297 h 1433372"/>
                    <a:gd name="connsiteX253" fmla="*/ 1803845 w 1957914"/>
                    <a:gd name="connsiteY253" fmla="*/ 435297 h 1433372"/>
                    <a:gd name="connsiteX254" fmla="*/ 1805452 w 1957914"/>
                    <a:gd name="connsiteY254" fmla="*/ 435538 h 1433372"/>
                    <a:gd name="connsiteX255" fmla="*/ 1806335 w 1957914"/>
                    <a:gd name="connsiteY255" fmla="*/ 435699 h 1433372"/>
                    <a:gd name="connsiteX256" fmla="*/ 1806656 w 1957914"/>
                    <a:gd name="connsiteY256" fmla="*/ 435779 h 1433372"/>
                    <a:gd name="connsiteX257" fmla="*/ 1804006 w 1957914"/>
                    <a:gd name="connsiteY257" fmla="*/ 435297 h 1433372"/>
                    <a:gd name="connsiteX258" fmla="*/ 1678373 w 1957914"/>
                    <a:gd name="connsiteY258" fmla="*/ 391117 h 1433372"/>
                    <a:gd name="connsiteX259" fmla="*/ 1677891 w 1957914"/>
                    <a:gd name="connsiteY259" fmla="*/ 391117 h 1433372"/>
                    <a:gd name="connsiteX260" fmla="*/ 1689619 w 1957914"/>
                    <a:gd name="connsiteY260" fmla="*/ 391840 h 1433372"/>
                    <a:gd name="connsiteX261" fmla="*/ 1689619 w 1957914"/>
                    <a:gd name="connsiteY261" fmla="*/ 391840 h 1433372"/>
                    <a:gd name="connsiteX262" fmla="*/ 1678373 w 1957914"/>
                    <a:gd name="connsiteY262" fmla="*/ 391117 h 1433372"/>
                    <a:gd name="connsiteX263" fmla="*/ 1808825 w 1957914"/>
                    <a:gd name="connsiteY263" fmla="*/ 421160 h 1433372"/>
                    <a:gd name="connsiteX264" fmla="*/ 1808584 w 1957914"/>
                    <a:gd name="connsiteY264" fmla="*/ 420999 h 1433372"/>
                    <a:gd name="connsiteX265" fmla="*/ 1811155 w 1957914"/>
                    <a:gd name="connsiteY265" fmla="*/ 421160 h 1433372"/>
                    <a:gd name="connsiteX266" fmla="*/ 1813966 w 1957914"/>
                    <a:gd name="connsiteY266" fmla="*/ 422686 h 1433372"/>
                    <a:gd name="connsiteX267" fmla="*/ 1808825 w 1957914"/>
                    <a:gd name="connsiteY267" fmla="*/ 421160 h 1433372"/>
                    <a:gd name="connsiteX268" fmla="*/ 1901283 w 1957914"/>
                    <a:gd name="connsiteY268" fmla="*/ 449515 h 1433372"/>
                    <a:gd name="connsiteX269" fmla="*/ 1901042 w 1957914"/>
                    <a:gd name="connsiteY269" fmla="*/ 449274 h 1433372"/>
                    <a:gd name="connsiteX270" fmla="*/ 1902247 w 1957914"/>
                    <a:gd name="connsiteY270" fmla="*/ 450238 h 1433372"/>
                    <a:gd name="connsiteX271" fmla="*/ 1905058 w 1957914"/>
                    <a:gd name="connsiteY271" fmla="*/ 453692 h 1433372"/>
                    <a:gd name="connsiteX272" fmla="*/ 1901283 w 1957914"/>
                    <a:gd name="connsiteY272" fmla="*/ 449515 h 1433372"/>
                    <a:gd name="connsiteX273" fmla="*/ 1865537 w 1957914"/>
                    <a:gd name="connsiteY273" fmla="*/ 415778 h 1433372"/>
                    <a:gd name="connsiteX274" fmla="*/ 1865216 w 1957914"/>
                    <a:gd name="connsiteY274" fmla="*/ 415376 h 1433372"/>
                    <a:gd name="connsiteX275" fmla="*/ 1866019 w 1957914"/>
                    <a:gd name="connsiteY275" fmla="*/ 415858 h 1433372"/>
                    <a:gd name="connsiteX276" fmla="*/ 1864332 w 1957914"/>
                    <a:gd name="connsiteY276" fmla="*/ 414091 h 1433372"/>
                    <a:gd name="connsiteX277" fmla="*/ 1865376 w 1957914"/>
                    <a:gd name="connsiteY277" fmla="*/ 414974 h 1433372"/>
                    <a:gd name="connsiteX278" fmla="*/ 1878148 w 1957914"/>
                    <a:gd name="connsiteY278" fmla="*/ 426461 h 1433372"/>
                    <a:gd name="connsiteX279" fmla="*/ 1865537 w 1957914"/>
                    <a:gd name="connsiteY279" fmla="*/ 415778 h 1433372"/>
                    <a:gd name="connsiteX280" fmla="*/ 1121539 w 1957914"/>
                    <a:gd name="connsiteY280" fmla="*/ 280827 h 1433372"/>
                    <a:gd name="connsiteX281" fmla="*/ 1121138 w 1957914"/>
                    <a:gd name="connsiteY281" fmla="*/ 280505 h 1433372"/>
                    <a:gd name="connsiteX282" fmla="*/ 1129411 w 1957914"/>
                    <a:gd name="connsiteY282" fmla="*/ 277051 h 1433372"/>
                    <a:gd name="connsiteX283" fmla="*/ 1129492 w 1957914"/>
                    <a:gd name="connsiteY283" fmla="*/ 284441 h 1433372"/>
                    <a:gd name="connsiteX284" fmla="*/ 1121539 w 1957914"/>
                    <a:gd name="connsiteY284" fmla="*/ 280827 h 1433372"/>
                    <a:gd name="connsiteX285" fmla="*/ 1811316 w 1957914"/>
                    <a:gd name="connsiteY285" fmla="*/ 363163 h 1433372"/>
                    <a:gd name="connsiteX286" fmla="*/ 1809468 w 1957914"/>
                    <a:gd name="connsiteY286" fmla="*/ 362761 h 1433372"/>
                    <a:gd name="connsiteX287" fmla="*/ 1807219 w 1957914"/>
                    <a:gd name="connsiteY287" fmla="*/ 358102 h 1433372"/>
                    <a:gd name="connsiteX288" fmla="*/ 1807379 w 1957914"/>
                    <a:gd name="connsiteY288" fmla="*/ 358182 h 1433372"/>
                    <a:gd name="connsiteX289" fmla="*/ 1811316 w 1957914"/>
                    <a:gd name="connsiteY289" fmla="*/ 363163 h 1433372"/>
                    <a:gd name="connsiteX290" fmla="*/ 1838225 w 1957914"/>
                    <a:gd name="connsiteY290" fmla="*/ 378024 h 1433372"/>
                    <a:gd name="connsiteX291" fmla="*/ 1837422 w 1957914"/>
                    <a:gd name="connsiteY291" fmla="*/ 377301 h 1433372"/>
                    <a:gd name="connsiteX292" fmla="*/ 1842001 w 1957914"/>
                    <a:gd name="connsiteY292" fmla="*/ 381076 h 1433372"/>
                    <a:gd name="connsiteX293" fmla="*/ 1867706 w 1957914"/>
                    <a:gd name="connsiteY293" fmla="*/ 408709 h 1433372"/>
                    <a:gd name="connsiteX294" fmla="*/ 1838225 w 1957914"/>
                    <a:gd name="connsiteY294" fmla="*/ 378024 h 1433372"/>
                    <a:gd name="connsiteX295" fmla="*/ 1821678 w 1957914"/>
                    <a:gd name="connsiteY295" fmla="*/ 365814 h 1433372"/>
                    <a:gd name="connsiteX296" fmla="*/ 1820875 w 1957914"/>
                    <a:gd name="connsiteY296" fmla="*/ 364689 h 1433372"/>
                    <a:gd name="connsiteX297" fmla="*/ 1821196 w 1957914"/>
                    <a:gd name="connsiteY297" fmla="*/ 364850 h 1433372"/>
                    <a:gd name="connsiteX298" fmla="*/ 1822401 w 1957914"/>
                    <a:gd name="connsiteY298" fmla="*/ 365814 h 1433372"/>
                    <a:gd name="connsiteX299" fmla="*/ 1823686 w 1957914"/>
                    <a:gd name="connsiteY299" fmla="*/ 366697 h 1433372"/>
                    <a:gd name="connsiteX300" fmla="*/ 1824971 w 1957914"/>
                    <a:gd name="connsiteY300" fmla="*/ 367822 h 1433372"/>
                    <a:gd name="connsiteX301" fmla="*/ 1821678 w 1957914"/>
                    <a:gd name="connsiteY301" fmla="*/ 365814 h 1433372"/>
                    <a:gd name="connsiteX302" fmla="*/ 1689297 w 1957914"/>
                    <a:gd name="connsiteY302" fmla="*/ 294482 h 1433372"/>
                    <a:gd name="connsiteX303" fmla="*/ 1688815 w 1957914"/>
                    <a:gd name="connsiteY303" fmla="*/ 293759 h 1433372"/>
                    <a:gd name="connsiteX304" fmla="*/ 1689779 w 1957914"/>
                    <a:gd name="connsiteY304" fmla="*/ 293679 h 1433372"/>
                    <a:gd name="connsiteX305" fmla="*/ 1692270 w 1957914"/>
                    <a:gd name="connsiteY305" fmla="*/ 295687 h 1433372"/>
                    <a:gd name="connsiteX306" fmla="*/ 1692992 w 1957914"/>
                    <a:gd name="connsiteY306" fmla="*/ 296089 h 1433372"/>
                    <a:gd name="connsiteX307" fmla="*/ 1691305 w 1957914"/>
                    <a:gd name="connsiteY307" fmla="*/ 294081 h 1433372"/>
                    <a:gd name="connsiteX308" fmla="*/ 1691788 w 1957914"/>
                    <a:gd name="connsiteY308" fmla="*/ 294322 h 1433372"/>
                    <a:gd name="connsiteX309" fmla="*/ 1699660 w 1957914"/>
                    <a:gd name="connsiteY309" fmla="*/ 301310 h 1433372"/>
                    <a:gd name="connsiteX310" fmla="*/ 1690342 w 1957914"/>
                    <a:gd name="connsiteY310" fmla="*/ 295205 h 1433372"/>
                    <a:gd name="connsiteX311" fmla="*/ 1689297 w 1957914"/>
                    <a:gd name="connsiteY311" fmla="*/ 294482 h 1433372"/>
                    <a:gd name="connsiteX312" fmla="*/ 1670581 w 1957914"/>
                    <a:gd name="connsiteY312" fmla="*/ 281469 h 1433372"/>
                    <a:gd name="connsiteX313" fmla="*/ 1670179 w 1957914"/>
                    <a:gd name="connsiteY313" fmla="*/ 281389 h 1433372"/>
                    <a:gd name="connsiteX314" fmla="*/ 1677088 w 1957914"/>
                    <a:gd name="connsiteY314" fmla="*/ 282594 h 1433372"/>
                    <a:gd name="connsiteX315" fmla="*/ 1670581 w 1957914"/>
                    <a:gd name="connsiteY315" fmla="*/ 281469 h 1433372"/>
                    <a:gd name="connsiteX316" fmla="*/ 1344851 w 1957914"/>
                    <a:gd name="connsiteY316" fmla="*/ 235040 h 1433372"/>
                    <a:gd name="connsiteX317" fmla="*/ 1343405 w 1957914"/>
                    <a:gd name="connsiteY317" fmla="*/ 234558 h 1433372"/>
                    <a:gd name="connsiteX318" fmla="*/ 1345494 w 1957914"/>
                    <a:gd name="connsiteY318" fmla="*/ 231345 h 1433372"/>
                    <a:gd name="connsiteX319" fmla="*/ 1346458 w 1957914"/>
                    <a:gd name="connsiteY319" fmla="*/ 231826 h 1433372"/>
                    <a:gd name="connsiteX320" fmla="*/ 1358426 w 1957914"/>
                    <a:gd name="connsiteY320" fmla="*/ 238494 h 1433372"/>
                    <a:gd name="connsiteX321" fmla="*/ 1344851 w 1957914"/>
                    <a:gd name="connsiteY321" fmla="*/ 235040 h 1433372"/>
                    <a:gd name="connsiteX322" fmla="*/ 1767216 w 1957914"/>
                    <a:gd name="connsiteY322" fmla="*/ 322999 h 1433372"/>
                    <a:gd name="connsiteX323" fmla="*/ 1759745 w 1957914"/>
                    <a:gd name="connsiteY323" fmla="*/ 314163 h 1433372"/>
                    <a:gd name="connsiteX324" fmla="*/ 1760468 w 1957914"/>
                    <a:gd name="connsiteY324" fmla="*/ 314725 h 1433372"/>
                    <a:gd name="connsiteX325" fmla="*/ 1772838 w 1957914"/>
                    <a:gd name="connsiteY325" fmla="*/ 328541 h 1433372"/>
                    <a:gd name="connsiteX326" fmla="*/ 1770429 w 1957914"/>
                    <a:gd name="connsiteY326" fmla="*/ 326292 h 1433372"/>
                    <a:gd name="connsiteX327" fmla="*/ 1767216 w 1957914"/>
                    <a:gd name="connsiteY327" fmla="*/ 322999 h 1433372"/>
                    <a:gd name="connsiteX328" fmla="*/ 1663994 w 1957914"/>
                    <a:gd name="connsiteY328" fmla="*/ 270384 h 1433372"/>
                    <a:gd name="connsiteX329" fmla="*/ 1663110 w 1957914"/>
                    <a:gd name="connsiteY329" fmla="*/ 269982 h 1433372"/>
                    <a:gd name="connsiteX330" fmla="*/ 1665842 w 1957914"/>
                    <a:gd name="connsiteY330" fmla="*/ 268376 h 1433372"/>
                    <a:gd name="connsiteX331" fmla="*/ 1669055 w 1957914"/>
                    <a:gd name="connsiteY331" fmla="*/ 269822 h 1433372"/>
                    <a:gd name="connsiteX332" fmla="*/ 1673874 w 1957914"/>
                    <a:gd name="connsiteY332" fmla="*/ 274641 h 1433372"/>
                    <a:gd name="connsiteX333" fmla="*/ 1663994 w 1957914"/>
                    <a:gd name="connsiteY333" fmla="*/ 270384 h 1433372"/>
                    <a:gd name="connsiteX334" fmla="*/ 1567038 w 1957914"/>
                    <a:gd name="connsiteY334" fmla="*/ 237369 h 1433372"/>
                    <a:gd name="connsiteX335" fmla="*/ 1566556 w 1957914"/>
                    <a:gd name="connsiteY335" fmla="*/ 234477 h 1433372"/>
                    <a:gd name="connsiteX336" fmla="*/ 1567199 w 1957914"/>
                    <a:gd name="connsiteY336" fmla="*/ 234879 h 1433372"/>
                    <a:gd name="connsiteX337" fmla="*/ 1581819 w 1957914"/>
                    <a:gd name="connsiteY337" fmla="*/ 247410 h 1433372"/>
                    <a:gd name="connsiteX338" fmla="*/ 1567038 w 1957914"/>
                    <a:gd name="connsiteY338" fmla="*/ 237369 h 1433372"/>
                    <a:gd name="connsiteX339" fmla="*/ 1748419 w 1957914"/>
                    <a:gd name="connsiteY339" fmla="*/ 291430 h 1433372"/>
                    <a:gd name="connsiteX340" fmla="*/ 1749142 w 1957914"/>
                    <a:gd name="connsiteY340" fmla="*/ 291912 h 1433372"/>
                    <a:gd name="connsiteX341" fmla="*/ 1748419 w 1957914"/>
                    <a:gd name="connsiteY341" fmla="*/ 291430 h 1433372"/>
                    <a:gd name="connsiteX342" fmla="*/ 1748419 w 1957914"/>
                    <a:gd name="connsiteY342" fmla="*/ 291430 h 1433372"/>
                    <a:gd name="connsiteX343" fmla="*/ 1749302 w 1957914"/>
                    <a:gd name="connsiteY343" fmla="*/ 291912 h 1433372"/>
                    <a:gd name="connsiteX344" fmla="*/ 1749383 w 1957914"/>
                    <a:gd name="connsiteY344" fmla="*/ 291992 h 1433372"/>
                    <a:gd name="connsiteX345" fmla="*/ 1749302 w 1957914"/>
                    <a:gd name="connsiteY345" fmla="*/ 291912 h 1433372"/>
                    <a:gd name="connsiteX346" fmla="*/ 1749302 w 1957914"/>
                    <a:gd name="connsiteY346" fmla="*/ 291912 h 1433372"/>
                    <a:gd name="connsiteX347" fmla="*/ 1749543 w 1957914"/>
                    <a:gd name="connsiteY347" fmla="*/ 292072 h 1433372"/>
                    <a:gd name="connsiteX348" fmla="*/ 1749543 w 1957914"/>
                    <a:gd name="connsiteY348" fmla="*/ 292072 h 1433372"/>
                    <a:gd name="connsiteX349" fmla="*/ 1749543 w 1957914"/>
                    <a:gd name="connsiteY349" fmla="*/ 292072 h 1433372"/>
                    <a:gd name="connsiteX350" fmla="*/ 1749543 w 1957914"/>
                    <a:gd name="connsiteY350" fmla="*/ 292072 h 1433372"/>
                    <a:gd name="connsiteX351" fmla="*/ 1749784 w 1957914"/>
                    <a:gd name="connsiteY351" fmla="*/ 292233 h 1433372"/>
                    <a:gd name="connsiteX352" fmla="*/ 1749784 w 1957914"/>
                    <a:gd name="connsiteY352" fmla="*/ 292233 h 1433372"/>
                    <a:gd name="connsiteX353" fmla="*/ 1749784 w 1957914"/>
                    <a:gd name="connsiteY353" fmla="*/ 292233 h 1433372"/>
                    <a:gd name="connsiteX354" fmla="*/ 1749784 w 1957914"/>
                    <a:gd name="connsiteY354" fmla="*/ 292233 h 1433372"/>
                    <a:gd name="connsiteX355" fmla="*/ 1749784 w 1957914"/>
                    <a:gd name="connsiteY355" fmla="*/ 292233 h 1433372"/>
                    <a:gd name="connsiteX356" fmla="*/ 1749784 w 1957914"/>
                    <a:gd name="connsiteY356" fmla="*/ 292233 h 1433372"/>
                    <a:gd name="connsiteX357" fmla="*/ 1749784 w 1957914"/>
                    <a:gd name="connsiteY357" fmla="*/ 292233 h 1433372"/>
                    <a:gd name="connsiteX358" fmla="*/ 1749784 w 1957914"/>
                    <a:gd name="connsiteY358" fmla="*/ 292233 h 1433372"/>
                    <a:gd name="connsiteX359" fmla="*/ 1749784 w 1957914"/>
                    <a:gd name="connsiteY359" fmla="*/ 292233 h 1433372"/>
                    <a:gd name="connsiteX360" fmla="*/ 1749784 w 1957914"/>
                    <a:gd name="connsiteY360" fmla="*/ 292233 h 1433372"/>
                    <a:gd name="connsiteX361" fmla="*/ 1749784 w 1957914"/>
                    <a:gd name="connsiteY361" fmla="*/ 292233 h 1433372"/>
                    <a:gd name="connsiteX362" fmla="*/ 1749784 w 1957914"/>
                    <a:gd name="connsiteY362" fmla="*/ 292233 h 1433372"/>
                    <a:gd name="connsiteX363" fmla="*/ 1749784 w 1957914"/>
                    <a:gd name="connsiteY363" fmla="*/ 292233 h 1433372"/>
                    <a:gd name="connsiteX364" fmla="*/ 1749784 w 1957914"/>
                    <a:gd name="connsiteY364" fmla="*/ 292233 h 1433372"/>
                    <a:gd name="connsiteX365" fmla="*/ 1749784 w 1957914"/>
                    <a:gd name="connsiteY365" fmla="*/ 292233 h 1433372"/>
                    <a:gd name="connsiteX366" fmla="*/ 1749784 w 1957914"/>
                    <a:gd name="connsiteY366" fmla="*/ 292233 h 1433372"/>
                    <a:gd name="connsiteX367" fmla="*/ 1749784 w 1957914"/>
                    <a:gd name="connsiteY367" fmla="*/ 292233 h 1433372"/>
                    <a:gd name="connsiteX368" fmla="*/ 1749784 w 1957914"/>
                    <a:gd name="connsiteY368" fmla="*/ 292233 h 1433372"/>
                    <a:gd name="connsiteX369" fmla="*/ 1749784 w 1957914"/>
                    <a:gd name="connsiteY369" fmla="*/ 292233 h 1433372"/>
                    <a:gd name="connsiteX370" fmla="*/ 1749784 w 1957914"/>
                    <a:gd name="connsiteY370" fmla="*/ 292233 h 1433372"/>
                    <a:gd name="connsiteX371" fmla="*/ 1749784 w 1957914"/>
                    <a:gd name="connsiteY371" fmla="*/ 292233 h 1433372"/>
                    <a:gd name="connsiteX372" fmla="*/ 1749784 w 1957914"/>
                    <a:gd name="connsiteY372" fmla="*/ 292233 h 1433372"/>
                    <a:gd name="connsiteX373" fmla="*/ 1749784 w 1957914"/>
                    <a:gd name="connsiteY373" fmla="*/ 292233 h 1433372"/>
                    <a:gd name="connsiteX374" fmla="*/ 1749784 w 1957914"/>
                    <a:gd name="connsiteY374" fmla="*/ 292233 h 1433372"/>
                    <a:gd name="connsiteX375" fmla="*/ 1749784 w 1957914"/>
                    <a:gd name="connsiteY375" fmla="*/ 292233 h 1433372"/>
                    <a:gd name="connsiteX376" fmla="*/ 1749784 w 1957914"/>
                    <a:gd name="connsiteY376" fmla="*/ 292233 h 1433372"/>
                    <a:gd name="connsiteX377" fmla="*/ 1749784 w 1957914"/>
                    <a:gd name="connsiteY377" fmla="*/ 292233 h 1433372"/>
                    <a:gd name="connsiteX378" fmla="*/ 1749784 w 1957914"/>
                    <a:gd name="connsiteY378" fmla="*/ 292233 h 1433372"/>
                    <a:gd name="connsiteX379" fmla="*/ 1749784 w 1957914"/>
                    <a:gd name="connsiteY379" fmla="*/ 292233 h 1433372"/>
                    <a:gd name="connsiteX380" fmla="*/ 1749784 w 1957914"/>
                    <a:gd name="connsiteY380" fmla="*/ 292233 h 1433372"/>
                    <a:gd name="connsiteX381" fmla="*/ 1749784 w 1957914"/>
                    <a:gd name="connsiteY381" fmla="*/ 292233 h 1433372"/>
                    <a:gd name="connsiteX382" fmla="*/ 1749784 w 1957914"/>
                    <a:gd name="connsiteY382" fmla="*/ 292233 h 1433372"/>
                    <a:gd name="connsiteX383" fmla="*/ 1749784 w 1957914"/>
                    <a:gd name="connsiteY383" fmla="*/ 292233 h 1433372"/>
                    <a:gd name="connsiteX384" fmla="*/ 1749784 w 1957914"/>
                    <a:gd name="connsiteY384" fmla="*/ 292233 h 1433372"/>
                    <a:gd name="connsiteX385" fmla="*/ 1749784 w 1957914"/>
                    <a:gd name="connsiteY385" fmla="*/ 292233 h 1433372"/>
                    <a:gd name="connsiteX386" fmla="*/ 1749784 w 1957914"/>
                    <a:gd name="connsiteY386" fmla="*/ 292233 h 1433372"/>
                    <a:gd name="connsiteX387" fmla="*/ 1749784 w 1957914"/>
                    <a:gd name="connsiteY387" fmla="*/ 292233 h 1433372"/>
                    <a:gd name="connsiteX388" fmla="*/ 1749784 w 1957914"/>
                    <a:gd name="connsiteY388" fmla="*/ 292233 h 1433372"/>
                    <a:gd name="connsiteX389" fmla="*/ 1749784 w 1957914"/>
                    <a:gd name="connsiteY389" fmla="*/ 292233 h 1433372"/>
                    <a:gd name="connsiteX390" fmla="*/ 1749784 w 1957914"/>
                    <a:gd name="connsiteY390" fmla="*/ 292233 h 1433372"/>
                    <a:gd name="connsiteX391" fmla="*/ 1749784 w 1957914"/>
                    <a:gd name="connsiteY391" fmla="*/ 292233 h 1433372"/>
                    <a:gd name="connsiteX392" fmla="*/ 1749784 w 1957914"/>
                    <a:gd name="connsiteY392" fmla="*/ 292233 h 1433372"/>
                    <a:gd name="connsiteX393" fmla="*/ 1749784 w 1957914"/>
                    <a:gd name="connsiteY393" fmla="*/ 292233 h 1433372"/>
                    <a:gd name="connsiteX394" fmla="*/ 1749784 w 1957914"/>
                    <a:gd name="connsiteY394" fmla="*/ 292233 h 1433372"/>
                    <a:gd name="connsiteX395" fmla="*/ 1749784 w 1957914"/>
                    <a:gd name="connsiteY395" fmla="*/ 292233 h 1433372"/>
                    <a:gd name="connsiteX396" fmla="*/ 1749784 w 1957914"/>
                    <a:gd name="connsiteY396" fmla="*/ 292233 h 1433372"/>
                    <a:gd name="connsiteX397" fmla="*/ 1749784 w 1957914"/>
                    <a:gd name="connsiteY397" fmla="*/ 292233 h 1433372"/>
                    <a:gd name="connsiteX398" fmla="*/ 1749784 w 1957914"/>
                    <a:gd name="connsiteY398" fmla="*/ 292233 h 1433372"/>
                    <a:gd name="connsiteX399" fmla="*/ 1749784 w 1957914"/>
                    <a:gd name="connsiteY399" fmla="*/ 292233 h 1433372"/>
                    <a:gd name="connsiteX400" fmla="*/ 1749784 w 1957914"/>
                    <a:gd name="connsiteY400" fmla="*/ 292233 h 1433372"/>
                    <a:gd name="connsiteX401" fmla="*/ 1749784 w 1957914"/>
                    <a:gd name="connsiteY401" fmla="*/ 292233 h 1433372"/>
                    <a:gd name="connsiteX402" fmla="*/ 1749784 w 1957914"/>
                    <a:gd name="connsiteY402" fmla="*/ 292233 h 1433372"/>
                    <a:gd name="connsiteX403" fmla="*/ 1749784 w 1957914"/>
                    <a:gd name="connsiteY403" fmla="*/ 292233 h 1433372"/>
                    <a:gd name="connsiteX404" fmla="*/ 1749784 w 1957914"/>
                    <a:gd name="connsiteY404" fmla="*/ 292233 h 1433372"/>
                    <a:gd name="connsiteX405" fmla="*/ 1749704 w 1957914"/>
                    <a:gd name="connsiteY405" fmla="*/ 292233 h 1433372"/>
                    <a:gd name="connsiteX406" fmla="*/ 1749704 w 1957914"/>
                    <a:gd name="connsiteY406" fmla="*/ 292233 h 1433372"/>
                    <a:gd name="connsiteX407" fmla="*/ 1749704 w 1957914"/>
                    <a:gd name="connsiteY407" fmla="*/ 292233 h 1433372"/>
                    <a:gd name="connsiteX408" fmla="*/ 1749704 w 1957914"/>
                    <a:gd name="connsiteY408" fmla="*/ 292233 h 1433372"/>
                    <a:gd name="connsiteX409" fmla="*/ 1749704 w 1957914"/>
                    <a:gd name="connsiteY409" fmla="*/ 292233 h 1433372"/>
                    <a:gd name="connsiteX410" fmla="*/ 1749704 w 1957914"/>
                    <a:gd name="connsiteY410" fmla="*/ 292233 h 1433372"/>
                    <a:gd name="connsiteX411" fmla="*/ 1749704 w 1957914"/>
                    <a:gd name="connsiteY411" fmla="*/ 292233 h 1433372"/>
                    <a:gd name="connsiteX412" fmla="*/ 1749704 w 1957914"/>
                    <a:gd name="connsiteY412" fmla="*/ 292233 h 1433372"/>
                    <a:gd name="connsiteX413" fmla="*/ 1749704 w 1957914"/>
                    <a:gd name="connsiteY413" fmla="*/ 292233 h 1433372"/>
                    <a:gd name="connsiteX414" fmla="*/ 1749704 w 1957914"/>
                    <a:gd name="connsiteY414" fmla="*/ 292233 h 1433372"/>
                    <a:gd name="connsiteX415" fmla="*/ 1749704 w 1957914"/>
                    <a:gd name="connsiteY415" fmla="*/ 292233 h 1433372"/>
                    <a:gd name="connsiteX416" fmla="*/ 1749704 w 1957914"/>
                    <a:gd name="connsiteY416" fmla="*/ 292233 h 1433372"/>
                    <a:gd name="connsiteX417" fmla="*/ 1749704 w 1957914"/>
                    <a:gd name="connsiteY417" fmla="*/ 292153 h 1433372"/>
                    <a:gd name="connsiteX418" fmla="*/ 1749704 w 1957914"/>
                    <a:gd name="connsiteY418" fmla="*/ 292153 h 1433372"/>
                    <a:gd name="connsiteX419" fmla="*/ 1749704 w 1957914"/>
                    <a:gd name="connsiteY419" fmla="*/ 292153 h 1433372"/>
                    <a:gd name="connsiteX420" fmla="*/ 1749704 w 1957914"/>
                    <a:gd name="connsiteY420" fmla="*/ 292153 h 1433372"/>
                    <a:gd name="connsiteX421" fmla="*/ 1749704 w 1957914"/>
                    <a:gd name="connsiteY421" fmla="*/ 292153 h 1433372"/>
                    <a:gd name="connsiteX422" fmla="*/ 1749704 w 1957914"/>
                    <a:gd name="connsiteY422" fmla="*/ 292153 h 1433372"/>
                    <a:gd name="connsiteX423" fmla="*/ 1749704 w 1957914"/>
                    <a:gd name="connsiteY423" fmla="*/ 292153 h 1433372"/>
                    <a:gd name="connsiteX424" fmla="*/ 1749704 w 1957914"/>
                    <a:gd name="connsiteY424" fmla="*/ 292153 h 1433372"/>
                    <a:gd name="connsiteX425" fmla="*/ 1749704 w 1957914"/>
                    <a:gd name="connsiteY425" fmla="*/ 292153 h 1433372"/>
                    <a:gd name="connsiteX426" fmla="*/ 1749704 w 1957914"/>
                    <a:gd name="connsiteY426" fmla="*/ 292153 h 1433372"/>
                    <a:gd name="connsiteX427" fmla="*/ 1749704 w 1957914"/>
                    <a:gd name="connsiteY427" fmla="*/ 292153 h 1433372"/>
                    <a:gd name="connsiteX428" fmla="*/ 1749704 w 1957914"/>
                    <a:gd name="connsiteY428" fmla="*/ 292153 h 1433372"/>
                    <a:gd name="connsiteX429" fmla="*/ 1749704 w 1957914"/>
                    <a:gd name="connsiteY429" fmla="*/ 292153 h 1433372"/>
                    <a:gd name="connsiteX430" fmla="*/ 1749704 w 1957914"/>
                    <a:gd name="connsiteY430" fmla="*/ 292153 h 1433372"/>
                    <a:gd name="connsiteX431" fmla="*/ 1749704 w 1957914"/>
                    <a:gd name="connsiteY431" fmla="*/ 292153 h 1433372"/>
                    <a:gd name="connsiteX432" fmla="*/ 1749704 w 1957914"/>
                    <a:gd name="connsiteY432" fmla="*/ 292153 h 1433372"/>
                    <a:gd name="connsiteX433" fmla="*/ 1749704 w 1957914"/>
                    <a:gd name="connsiteY433" fmla="*/ 292153 h 1433372"/>
                    <a:gd name="connsiteX434" fmla="*/ 1749704 w 1957914"/>
                    <a:gd name="connsiteY434" fmla="*/ 292153 h 1433372"/>
                    <a:gd name="connsiteX435" fmla="*/ 1749704 w 1957914"/>
                    <a:gd name="connsiteY435" fmla="*/ 292153 h 1433372"/>
                    <a:gd name="connsiteX436" fmla="*/ 1749704 w 1957914"/>
                    <a:gd name="connsiteY436" fmla="*/ 292153 h 1433372"/>
                    <a:gd name="connsiteX437" fmla="*/ 1749704 w 1957914"/>
                    <a:gd name="connsiteY437" fmla="*/ 292153 h 1433372"/>
                    <a:gd name="connsiteX438" fmla="*/ 1749704 w 1957914"/>
                    <a:gd name="connsiteY438" fmla="*/ 292153 h 1433372"/>
                    <a:gd name="connsiteX439" fmla="*/ 1749704 w 1957914"/>
                    <a:gd name="connsiteY439" fmla="*/ 292153 h 1433372"/>
                    <a:gd name="connsiteX440" fmla="*/ 1749704 w 1957914"/>
                    <a:gd name="connsiteY440" fmla="*/ 292153 h 1433372"/>
                    <a:gd name="connsiteX441" fmla="*/ 1749704 w 1957914"/>
                    <a:gd name="connsiteY441" fmla="*/ 292153 h 1433372"/>
                    <a:gd name="connsiteX442" fmla="*/ 1749704 w 1957914"/>
                    <a:gd name="connsiteY442" fmla="*/ 292153 h 1433372"/>
                    <a:gd name="connsiteX443" fmla="*/ 1749704 w 1957914"/>
                    <a:gd name="connsiteY443" fmla="*/ 292153 h 1433372"/>
                    <a:gd name="connsiteX444" fmla="*/ 1749704 w 1957914"/>
                    <a:gd name="connsiteY444" fmla="*/ 292153 h 1433372"/>
                    <a:gd name="connsiteX445" fmla="*/ 1749704 w 1957914"/>
                    <a:gd name="connsiteY445" fmla="*/ 292153 h 1433372"/>
                    <a:gd name="connsiteX446" fmla="*/ 1749704 w 1957914"/>
                    <a:gd name="connsiteY446" fmla="*/ 292153 h 1433372"/>
                    <a:gd name="connsiteX447" fmla="*/ 964980 w 1957914"/>
                    <a:gd name="connsiteY447" fmla="*/ 200338 h 1433372"/>
                    <a:gd name="connsiteX448" fmla="*/ 966105 w 1957914"/>
                    <a:gd name="connsiteY448" fmla="*/ 199695 h 1433372"/>
                    <a:gd name="connsiteX449" fmla="*/ 969157 w 1957914"/>
                    <a:gd name="connsiteY449" fmla="*/ 200900 h 1433372"/>
                    <a:gd name="connsiteX450" fmla="*/ 967069 w 1957914"/>
                    <a:gd name="connsiteY450" fmla="*/ 201703 h 1433372"/>
                    <a:gd name="connsiteX451" fmla="*/ 964980 w 1957914"/>
                    <a:gd name="connsiteY451" fmla="*/ 200338 h 1433372"/>
                    <a:gd name="connsiteX452" fmla="*/ 1736129 w 1957914"/>
                    <a:gd name="connsiteY452" fmla="*/ 277935 h 1433372"/>
                    <a:gd name="connsiteX453" fmla="*/ 1736129 w 1957914"/>
                    <a:gd name="connsiteY453" fmla="*/ 277935 h 1433372"/>
                    <a:gd name="connsiteX454" fmla="*/ 1739181 w 1957914"/>
                    <a:gd name="connsiteY454" fmla="*/ 280184 h 1433372"/>
                    <a:gd name="connsiteX455" fmla="*/ 1739181 w 1957914"/>
                    <a:gd name="connsiteY455" fmla="*/ 280104 h 1433372"/>
                    <a:gd name="connsiteX456" fmla="*/ 1739904 w 1957914"/>
                    <a:gd name="connsiteY456" fmla="*/ 280666 h 1433372"/>
                    <a:gd name="connsiteX457" fmla="*/ 1743840 w 1957914"/>
                    <a:gd name="connsiteY457" fmla="*/ 284040 h 1433372"/>
                    <a:gd name="connsiteX458" fmla="*/ 1736129 w 1957914"/>
                    <a:gd name="connsiteY458" fmla="*/ 277935 h 1433372"/>
                    <a:gd name="connsiteX459" fmla="*/ 1712512 w 1957914"/>
                    <a:gd name="connsiteY459" fmla="*/ 260022 h 1433372"/>
                    <a:gd name="connsiteX460" fmla="*/ 1712271 w 1957914"/>
                    <a:gd name="connsiteY460" fmla="*/ 259861 h 1433372"/>
                    <a:gd name="connsiteX461" fmla="*/ 1712351 w 1957914"/>
                    <a:gd name="connsiteY461" fmla="*/ 259941 h 1433372"/>
                    <a:gd name="connsiteX462" fmla="*/ 1715484 w 1957914"/>
                    <a:gd name="connsiteY462" fmla="*/ 262030 h 1433372"/>
                    <a:gd name="connsiteX463" fmla="*/ 1712512 w 1957914"/>
                    <a:gd name="connsiteY463" fmla="*/ 260022 h 1433372"/>
                    <a:gd name="connsiteX464" fmla="*/ 1411684 w 1957914"/>
                    <a:gd name="connsiteY464" fmla="*/ 178248 h 1433372"/>
                    <a:gd name="connsiteX465" fmla="*/ 1407346 w 1957914"/>
                    <a:gd name="connsiteY465" fmla="*/ 174151 h 1433372"/>
                    <a:gd name="connsiteX466" fmla="*/ 1408471 w 1957914"/>
                    <a:gd name="connsiteY466" fmla="*/ 174633 h 1433372"/>
                    <a:gd name="connsiteX467" fmla="*/ 1485023 w 1957914"/>
                    <a:gd name="connsiteY467" fmla="*/ 211423 h 1433372"/>
                    <a:gd name="connsiteX468" fmla="*/ 1524946 w 1957914"/>
                    <a:gd name="connsiteY468" fmla="*/ 226605 h 1433372"/>
                    <a:gd name="connsiteX469" fmla="*/ 1411684 w 1957914"/>
                    <a:gd name="connsiteY469" fmla="*/ 178248 h 1433372"/>
                    <a:gd name="connsiteX470" fmla="*/ 1509604 w 1957914"/>
                    <a:gd name="connsiteY470" fmla="*/ 206764 h 1433372"/>
                    <a:gd name="connsiteX471" fmla="*/ 1509122 w 1957914"/>
                    <a:gd name="connsiteY471" fmla="*/ 206604 h 1433372"/>
                    <a:gd name="connsiteX472" fmla="*/ 1505427 w 1957914"/>
                    <a:gd name="connsiteY472" fmla="*/ 198892 h 1433372"/>
                    <a:gd name="connsiteX473" fmla="*/ 1504864 w 1957914"/>
                    <a:gd name="connsiteY473" fmla="*/ 200418 h 1433372"/>
                    <a:gd name="connsiteX474" fmla="*/ 1490486 w 1957914"/>
                    <a:gd name="connsiteY474" fmla="*/ 179372 h 1433372"/>
                    <a:gd name="connsiteX475" fmla="*/ 1492895 w 1957914"/>
                    <a:gd name="connsiteY475" fmla="*/ 179051 h 1433372"/>
                    <a:gd name="connsiteX476" fmla="*/ 1494743 w 1957914"/>
                    <a:gd name="connsiteY476" fmla="*/ 180176 h 1433372"/>
                    <a:gd name="connsiteX477" fmla="*/ 1497233 w 1957914"/>
                    <a:gd name="connsiteY477" fmla="*/ 180658 h 1433372"/>
                    <a:gd name="connsiteX478" fmla="*/ 1502454 w 1957914"/>
                    <a:gd name="connsiteY478" fmla="*/ 182746 h 1433372"/>
                    <a:gd name="connsiteX479" fmla="*/ 1502454 w 1957914"/>
                    <a:gd name="connsiteY479" fmla="*/ 182344 h 1433372"/>
                    <a:gd name="connsiteX480" fmla="*/ 1512094 w 1957914"/>
                    <a:gd name="connsiteY480" fmla="*/ 185879 h 1433372"/>
                    <a:gd name="connsiteX481" fmla="*/ 1504784 w 1957914"/>
                    <a:gd name="connsiteY481" fmla="*/ 188369 h 1433372"/>
                    <a:gd name="connsiteX482" fmla="*/ 1512174 w 1957914"/>
                    <a:gd name="connsiteY482" fmla="*/ 193912 h 1433372"/>
                    <a:gd name="connsiteX483" fmla="*/ 1503499 w 1957914"/>
                    <a:gd name="connsiteY483" fmla="*/ 188610 h 1433372"/>
                    <a:gd name="connsiteX484" fmla="*/ 1494823 w 1957914"/>
                    <a:gd name="connsiteY484" fmla="*/ 182264 h 1433372"/>
                    <a:gd name="connsiteX485" fmla="*/ 1511692 w 1957914"/>
                    <a:gd name="connsiteY485" fmla="*/ 204756 h 1433372"/>
                    <a:gd name="connsiteX486" fmla="*/ 1516191 w 1957914"/>
                    <a:gd name="connsiteY486" fmla="*/ 205720 h 1433372"/>
                    <a:gd name="connsiteX487" fmla="*/ 1512897 w 1957914"/>
                    <a:gd name="connsiteY487" fmla="*/ 208451 h 1433372"/>
                    <a:gd name="connsiteX488" fmla="*/ 1509604 w 1957914"/>
                    <a:gd name="connsiteY488" fmla="*/ 206764 h 1433372"/>
                    <a:gd name="connsiteX489" fmla="*/ 20484 w 1957914"/>
                    <a:gd name="connsiteY489" fmla="*/ 436181 h 1433372"/>
                    <a:gd name="connsiteX490" fmla="*/ 20484 w 1957914"/>
                    <a:gd name="connsiteY490" fmla="*/ 436181 h 1433372"/>
                    <a:gd name="connsiteX491" fmla="*/ 20725 w 1957914"/>
                    <a:gd name="connsiteY491" fmla="*/ 436261 h 1433372"/>
                    <a:gd name="connsiteX492" fmla="*/ 20484 w 1957914"/>
                    <a:gd name="connsiteY492" fmla="*/ 436181 h 1433372"/>
                    <a:gd name="connsiteX493" fmla="*/ 16467 w 1957914"/>
                    <a:gd name="connsiteY493" fmla="*/ 437948 h 1433372"/>
                    <a:gd name="connsiteX494" fmla="*/ 24179 w 1957914"/>
                    <a:gd name="connsiteY494" fmla="*/ 430237 h 1433372"/>
                    <a:gd name="connsiteX495" fmla="*/ 24098 w 1957914"/>
                    <a:gd name="connsiteY495" fmla="*/ 430558 h 1433372"/>
                    <a:gd name="connsiteX496" fmla="*/ 16226 w 1957914"/>
                    <a:gd name="connsiteY496" fmla="*/ 439555 h 1433372"/>
                    <a:gd name="connsiteX497" fmla="*/ 16467 w 1957914"/>
                    <a:gd name="connsiteY497" fmla="*/ 437948 h 1433372"/>
                    <a:gd name="connsiteX498" fmla="*/ 20082 w 1957914"/>
                    <a:gd name="connsiteY498" fmla="*/ 428550 h 1433372"/>
                    <a:gd name="connsiteX499" fmla="*/ 19841 w 1957914"/>
                    <a:gd name="connsiteY499" fmla="*/ 428630 h 1433372"/>
                    <a:gd name="connsiteX500" fmla="*/ 27552 w 1957914"/>
                    <a:gd name="connsiteY500" fmla="*/ 422766 h 1433372"/>
                    <a:gd name="connsiteX501" fmla="*/ 27954 w 1957914"/>
                    <a:gd name="connsiteY501" fmla="*/ 422605 h 1433372"/>
                    <a:gd name="connsiteX502" fmla="*/ 18877 w 1957914"/>
                    <a:gd name="connsiteY502" fmla="*/ 430237 h 1433372"/>
                    <a:gd name="connsiteX503" fmla="*/ 20805 w 1957914"/>
                    <a:gd name="connsiteY503" fmla="*/ 428229 h 1433372"/>
                    <a:gd name="connsiteX504" fmla="*/ 20082 w 1957914"/>
                    <a:gd name="connsiteY504" fmla="*/ 428550 h 1433372"/>
                    <a:gd name="connsiteX505" fmla="*/ 53579 w 1957914"/>
                    <a:gd name="connsiteY505" fmla="*/ 401399 h 1433372"/>
                    <a:gd name="connsiteX506" fmla="*/ 56631 w 1957914"/>
                    <a:gd name="connsiteY506" fmla="*/ 398266 h 1433372"/>
                    <a:gd name="connsiteX507" fmla="*/ 56551 w 1957914"/>
                    <a:gd name="connsiteY507" fmla="*/ 398346 h 1433372"/>
                    <a:gd name="connsiteX508" fmla="*/ 53418 w 1957914"/>
                    <a:gd name="connsiteY508" fmla="*/ 401720 h 1433372"/>
                    <a:gd name="connsiteX509" fmla="*/ 53579 w 1957914"/>
                    <a:gd name="connsiteY509" fmla="*/ 401399 h 1433372"/>
                    <a:gd name="connsiteX510" fmla="*/ 53739 w 1957914"/>
                    <a:gd name="connsiteY510" fmla="*/ 399310 h 1433372"/>
                    <a:gd name="connsiteX511" fmla="*/ 53257 w 1957914"/>
                    <a:gd name="connsiteY511" fmla="*/ 399712 h 1433372"/>
                    <a:gd name="connsiteX512" fmla="*/ 56069 w 1957914"/>
                    <a:gd name="connsiteY512" fmla="*/ 396660 h 1433372"/>
                    <a:gd name="connsiteX513" fmla="*/ 55507 w 1957914"/>
                    <a:gd name="connsiteY513" fmla="*/ 396740 h 1433372"/>
                    <a:gd name="connsiteX514" fmla="*/ 60166 w 1957914"/>
                    <a:gd name="connsiteY514" fmla="*/ 393286 h 1433372"/>
                    <a:gd name="connsiteX515" fmla="*/ 60005 w 1957914"/>
                    <a:gd name="connsiteY515" fmla="*/ 393527 h 1433372"/>
                    <a:gd name="connsiteX516" fmla="*/ 53739 w 1957914"/>
                    <a:gd name="connsiteY516" fmla="*/ 399310 h 1433372"/>
                    <a:gd name="connsiteX517" fmla="*/ 20002 w 1957914"/>
                    <a:gd name="connsiteY517" fmla="*/ 420356 h 1433372"/>
                    <a:gd name="connsiteX518" fmla="*/ 19841 w 1957914"/>
                    <a:gd name="connsiteY518" fmla="*/ 420196 h 1433372"/>
                    <a:gd name="connsiteX519" fmla="*/ 21689 w 1957914"/>
                    <a:gd name="connsiteY519" fmla="*/ 418830 h 1433372"/>
                    <a:gd name="connsiteX520" fmla="*/ 31810 w 1957914"/>
                    <a:gd name="connsiteY520" fmla="*/ 413207 h 1433372"/>
                    <a:gd name="connsiteX521" fmla="*/ 20002 w 1957914"/>
                    <a:gd name="connsiteY521" fmla="*/ 420356 h 1433372"/>
                    <a:gd name="connsiteX522" fmla="*/ 55507 w 1957914"/>
                    <a:gd name="connsiteY522" fmla="*/ 393928 h 1433372"/>
                    <a:gd name="connsiteX523" fmla="*/ 55346 w 1957914"/>
                    <a:gd name="connsiteY523" fmla="*/ 394009 h 1433372"/>
                    <a:gd name="connsiteX524" fmla="*/ 59041 w 1957914"/>
                    <a:gd name="connsiteY524" fmla="*/ 391037 h 1433372"/>
                    <a:gd name="connsiteX525" fmla="*/ 63218 w 1957914"/>
                    <a:gd name="connsiteY525" fmla="*/ 388868 h 1433372"/>
                    <a:gd name="connsiteX526" fmla="*/ 55507 w 1957914"/>
                    <a:gd name="connsiteY526" fmla="*/ 393928 h 1433372"/>
                    <a:gd name="connsiteX527" fmla="*/ 0 w 1957914"/>
                    <a:gd name="connsiteY527" fmla="*/ 434092 h 1433372"/>
                    <a:gd name="connsiteX528" fmla="*/ 0 w 1957914"/>
                    <a:gd name="connsiteY528" fmla="*/ 434092 h 1433372"/>
                    <a:gd name="connsiteX529" fmla="*/ 1687 w 1957914"/>
                    <a:gd name="connsiteY529" fmla="*/ 431924 h 1433372"/>
                    <a:gd name="connsiteX530" fmla="*/ 1687 w 1957914"/>
                    <a:gd name="connsiteY530" fmla="*/ 431924 h 1433372"/>
                    <a:gd name="connsiteX531" fmla="*/ 1767 w 1957914"/>
                    <a:gd name="connsiteY531" fmla="*/ 432084 h 1433372"/>
                    <a:gd name="connsiteX532" fmla="*/ 0 w 1957914"/>
                    <a:gd name="connsiteY532" fmla="*/ 434092 h 1433372"/>
                    <a:gd name="connsiteX533" fmla="*/ 62736 w 1957914"/>
                    <a:gd name="connsiteY533" fmla="*/ 387101 h 1433372"/>
                    <a:gd name="connsiteX534" fmla="*/ 62575 w 1957914"/>
                    <a:gd name="connsiteY534" fmla="*/ 387181 h 1433372"/>
                    <a:gd name="connsiteX535" fmla="*/ 64102 w 1957914"/>
                    <a:gd name="connsiteY535" fmla="*/ 385414 h 1433372"/>
                    <a:gd name="connsiteX536" fmla="*/ 64262 w 1957914"/>
                    <a:gd name="connsiteY536" fmla="*/ 385333 h 1433372"/>
                    <a:gd name="connsiteX537" fmla="*/ 65869 w 1957914"/>
                    <a:gd name="connsiteY537" fmla="*/ 384771 h 1433372"/>
                    <a:gd name="connsiteX538" fmla="*/ 65869 w 1957914"/>
                    <a:gd name="connsiteY538" fmla="*/ 385012 h 1433372"/>
                    <a:gd name="connsiteX539" fmla="*/ 62736 w 1957914"/>
                    <a:gd name="connsiteY539" fmla="*/ 387101 h 1433372"/>
                    <a:gd name="connsiteX540" fmla="*/ 107880 w 1957914"/>
                    <a:gd name="connsiteY540" fmla="*/ 358102 h 1433372"/>
                    <a:gd name="connsiteX541" fmla="*/ 107479 w 1957914"/>
                    <a:gd name="connsiteY541" fmla="*/ 358102 h 1433372"/>
                    <a:gd name="connsiteX542" fmla="*/ 110049 w 1957914"/>
                    <a:gd name="connsiteY542" fmla="*/ 356415 h 1433372"/>
                    <a:gd name="connsiteX543" fmla="*/ 111817 w 1957914"/>
                    <a:gd name="connsiteY543" fmla="*/ 355853 h 1433372"/>
                    <a:gd name="connsiteX544" fmla="*/ 110612 w 1957914"/>
                    <a:gd name="connsiteY544" fmla="*/ 356897 h 1433372"/>
                    <a:gd name="connsiteX545" fmla="*/ 112138 w 1957914"/>
                    <a:gd name="connsiteY545" fmla="*/ 356496 h 1433372"/>
                    <a:gd name="connsiteX546" fmla="*/ 111736 w 1957914"/>
                    <a:gd name="connsiteY546" fmla="*/ 356897 h 1433372"/>
                    <a:gd name="connsiteX547" fmla="*/ 108121 w 1957914"/>
                    <a:gd name="connsiteY547" fmla="*/ 359869 h 1433372"/>
                    <a:gd name="connsiteX548" fmla="*/ 107880 w 1957914"/>
                    <a:gd name="connsiteY548" fmla="*/ 358102 h 1433372"/>
                    <a:gd name="connsiteX549" fmla="*/ 24661 w 1957914"/>
                    <a:gd name="connsiteY549" fmla="*/ 411842 h 1433372"/>
                    <a:gd name="connsiteX550" fmla="*/ 24500 w 1957914"/>
                    <a:gd name="connsiteY550" fmla="*/ 411842 h 1433372"/>
                    <a:gd name="connsiteX551" fmla="*/ 24902 w 1957914"/>
                    <a:gd name="connsiteY551" fmla="*/ 411601 h 1433372"/>
                    <a:gd name="connsiteX552" fmla="*/ 27472 w 1957914"/>
                    <a:gd name="connsiteY552" fmla="*/ 410556 h 1433372"/>
                    <a:gd name="connsiteX553" fmla="*/ 28195 w 1957914"/>
                    <a:gd name="connsiteY553" fmla="*/ 410476 h 1433372"/>
                    <a:gd name="connsiteX554" fmla="*/ 28356 w 1957914"/>
                    <a:gd name="connsiteY554" fmla="*/ 410476 h 1433372"/>
                    <a:gd name="connsiteX555" fmla="*/ 28838 w 1957914"/>
                    <a:gd name="connsiteY555" fmla="*/ 410637 h 1433372"/>
                    <a:gd name="connsiteX556" fmla="*/ 29079 w 1957914"/>
                    <a:gd name="connsiteY556" fmla="*/ 410637 h 1433372"/>
                    <a:gd name="connsiteX557" fmla="*/ 29159 w 1957914"/>
                    <a:gd name="connsiteY557" fmla="*/ 410717 h 1433372"/>
                    <a:gd name="connsiteX558" fmla="*/ 28275 w 1957914"/>
                    <a:gd name="connsiteY558" fmla="*/ 411842 h 1433372"/>
                    <a:gd name="connsiteX559" fmla="*/ 24661 w 1957914"/>
                    <a:gd name="connsiteY559" fmla="*/ 411842 h 1433372"/>
                    <a:gd name="connsiteX560" fmla="*/ 99928 w 1957914"/>
                    <a:gd name="connsiteY560" fmla="*/ 358825 h 1433372"/>
                    <a:gd name="connsiteX561" fmla="*/ 102659 w 1957914"/>
                    <a:gd name="connsiteY561" fmla="*/ 355853 h 1433372"/>
                    <a:gd name="connsiteX562" fmla="*/ 102659 w 1957914"/>
                    <a:gd name="connsiteY562" fmla="*/ 355933 h 1433372"/>
                    <a:gd name="connsiteX563" fmla="*/ 99928 w 1957914"/>
                    <a:gd name="connsiteY563" fmla="*/ 358825 h 1433372"/>
                    <a:gd name="connsiteX564" fmla="*/ 99928 w 1957914"/>
                    <a:gd name="connsiteY564" fmla="*/ 358825 h 1433372"/>
                    <a:gd name="connsiteX565" fmla="*/ 106756 w 1957914"/>
                    <a:gd name="connsiteY565" fmla="*/ 352720 h 1433372"/>
                    <a:gd name="connsiteX566" fmla="*/ 106756 w 1957914"/>
                    <a:gd name="connsiteY566" fmla="*/ 352720 h 1433372"/>
                    <a:gd name="connsiteX567" fmla="*/ 108925 w 1957914"/>
                    <a:gd name="connsiteY567" fmla="*/ 351274 h 1433372"/>
                    <a:gd name="connsiteX568" fmla="*/ 109808 w 1957914"/>
                    <a:gd name="connsiteY568" fmla="*/ 350873 h 1433372"/>
                    <a:gd name="connsiteX569" fmla="*/ 106756 w 1957914"/>
                    <a:gd name="connsiteY569" fmla="*/ 352720 h 1433372"/>
                    <a:gd name="connsiteX570" fmla="*/ 116395 w 1957914"/>
                    <a:gd name="connsiteY570" fmla="*/ 345972 h 1433372"/>
                    <a:gd name="connsiteX571" fmla="*/ 116154 w 1957914"/>
                    <a:gd name="connsiteY571" fmla="*/ 345892 h 1433372"/>
                    <a:gd name="connsiteX572" fmla="*/ 116315 w 1957914"/>
                    <a:gd name="connsiteY572" fmla="*/ 345892 h 1433372"/>
                    <a:gd name="connsiteX573" fmla="*/ 118082 w 1957914"/>
                    <a:gd name="connsiteY573" fmla="*/ 345651 h 1433372"/>
                    <a:gd name="connsiteX574" fmla="*/ 118564 w 1957914"/>
                    <a:gd name="connsiteY574" fmla="*/ 345651 h 1433372"/>
                    <a:gd name="connsiteX575" fmla="*/ 116395 w 1957914"/>
                    <a:gd name="connsiteY575" fmla="*/ 345972 h 1433372"/>
                    <a:gd name="connsiteX576" fmla="*/ 85148 w 1957914"/>
                    <a:gd name="connsiteY576" fmla="*/ 363323 h 1433372"/>
                    <a:gd name="connsiteX577" fmla="*/ 84746 w 1957914"/>
                    <a:gd name="connsiteY577" fmla="*/ 363404 h 1433372"/>
                    <a:gd name="connsiteX578" fmla="*/ 86433 w 1957914"/>
                    <a:gd name="connsiteY578" fmla="*/ 362118 h 1433372"/>
                    <a:gd name="connsiteX579" fmla="*/ 86433 w 1957914"/>
                    <a:gd name="connsiteY579" fmla="*/ 362118 h 1433372"/>
                    <a:gd name="connsiteX580" fmla="*/ 85148 w 1957914"/>
                    <a:gd name="connsiteY580" fmla="*/ 363323 h 1433372"/>
                    <a:gd name="connsiteX581" fmla="*/ 120251 w 1957914"/>
                    <a:gd name="connsiteY581" fmla="*/ 341233 h 1433372"/>
                    <a:gd name="connsiteX582" fmla="*/ 124428 w 1957914"/>
                    <a:gd name="connsiteY582" fmla="*/ 337619 h 1433372"/>
                    <a:gd name="connsiteX583" fmla="*/ 124267 w 1957914"/>
                    <a:gd name="connsiteY583" fmla="*/ 337779 h 1433372"/>
                    <a:gd name="connsiteX584" fmla="*/ 120010 w 1957914"/>
                    <a:gd name="connsiteY584" fmla="*/ 341635 h 1433372"/>
                    <a:gd name="connsiteX585" fmla="*/ 120251 w 1957914"/>
                    <a:gd name="connsiteY585" fmla="*/ 341233 h 1433372"/>
                    <a:gd name="connsiteX586" fmla="*/ 1327339 w 1957914"/>
                    <a:gd name="connsiteY586" fmla="*/ 105551 h 1433372"/>
                    <a:gd name="connsiteX587" fmla="*/ 1326938 w 1957914"/>
                    <a:gd name="connsiteY587" fmla="*/ 105471 h 1433372"/>
                    <a:gd name="connsiteX588" fmla="*/ 1327339 w 1957914"/>
                    <a:gd name="connsiteY588" fmla="*/ 105551 h 1433372"/>
                    <a:gd name="connsiteX589" fmla="*/ 1337541 w 1957914"/>
                    <a:gd name="connsiteY589" fmla="*/ 106595 h 1433372"/>
                    <a:gd name="connsiteX590" fmla="*/ 1338184 w 1957914"/>
                    <a:gd name="connsiteY590" fmla="*/ 106676 h 1433372"/>
                    <a:gd name="connsiteX591" fmla="*/ 1341959 w 1957914"/>
                    <a:gd name="connsiteY591" fmla="*/ 109487 h 1433372"/>
                    <a:gd name="connsiteX592" fmla="*/ 1327339 w 1957914"/>
                    <a:gd name="connsiteY592" fmla="*/ 105551 h 1433372"/>
                    <a:gd name="connsiteX593" fmla="*/ 2329 w 1957914"/>
                    <a:gd name="connsiteY593" fmla="*/ 420838 h 1433372"/>
                    <a:gd name="connsiteX594" fmla="*/ 2249 w 1957914"/>
                    <a:gd name="connsiteY594" fmla="*/ 420919 h 1433372"/>
                    <a:gd name="connsiteX595" fmla="*/ 6025 w 1957914"/>
                    <a:gd name="connsiteY595" fmla="*/ 416420 h 1433372"/>
                    <a:gd name="connsiteX596" fmla="*/ 5462 w 1957914"/>
                    <a:gd name="connsiteY596" fmla="*/ 417224 h 1433372"/>
                    <a:gd name="connsiteX597" fmla="*/ 2329 w 1957914"/>
                    <a:gd name="connsiteY597" fmla="*/ 420838 h 1433372"/>
                    <a:gd name="connsiteX598" fmla="*/ 130453 w 1957914"/>
                    <a:gd name="connsiteY598" fmla="*/ 325328 h 1433372"/>
                    <a:gd name="connsiteX599" fmla="*/ 130131 w 1957914"/>
                    <a:gd name="connsiteY599" fmla="*/ 325409 h 1433372"/>
                    <a:gd name="connsiteX600" fmla="*/ 130935 w 1957914"/>
                    <a:gd name="connsiteY600" fmla="*/ 324686 h 1433372"/>
                    <a:gd name="connsiteX601" fmla="*/ 131979 w 1957914"/>
                    <a:gd name="connsiteY601" fmla="*/ 324364 h 1433372"/>
                    <a:gd name="connsiteX602" fmla="*/ 129971 w 1957914"/>
                    <a:gd name="connsiteY602" fmla="*/ 326373 h 1433372"/>
                    <a:gd name="connsiteX603" fmla="*/ 130453 w 1957914"/>
                    <a:gd name="connsiteY603" fmla="*/ 325328 h 1433372"/>
                    <a:gd name="connsiteX604" fmla="*/ 1293200 w 1957914"/>
                    <a:gd name="connsiteY604" fmla="*/ 94305 h 1433372"/>
                    <a:gd name="connsiteX605" fmla="*/ 1292397 w 1957914"/>
                    <a:gd name="connsiteY605" fmla="*/ 93743 h 1433372"/>
                    <a:gd name="connsiteX606" fmla="*/ 1289826 w 1957914"/>
                    <a:gd name="connsiteY606" fmla="*/ 89726 h 1433372"/>
                    <a:gd name="connsiteX607" fmla="*/ 1294566 w 1957914"/>
                    <a:gd name="connsiteY607" fmla="*/ 90530 h 1433372"/>
                    <a:gd name="connsiteX608" fmla="*/ 1298984 w 1957914"/>
                    <a:gd name="connsiteY608" fmla="*/ 92377 h 1433372"/>
                    <a:gd name="connsiteX609" fmla="*/ 1299225 w 1957914"/>
                    <a:gd name="connsiteY609" fmla="*/ 91815 h 1433372"/>
                    <a:gd name="connsiteX610" fmla="*/ 1304366 w 1957914"/>
                    <a:gd name="connsiteY610" fmla="*/ 93421 h 1433372"/>
                    <a:gd name="connsiteX611" fmla="*/ 1302116 w 1957914"/>
                    <a:gd name="connsiteY611" fmla="*/ 90851 h 1433372"/>
                    <a:gd name="connsiteX612" fmla="*/ 1310069 w 1957914"/>
                    <a:gd name="connsiteY612" fmla="*/ 95430 h 1433372"/>
                    <a:gd name="connsiteX613" fmla="*/ 1314005 w 1957914"/>
                    <a:gd name="connsiteY613" fmla="*/ 91172 h 1433372"/>
                    <a:gd name="connsiteX614" fmla="*/ 1320110 w 1957914"/>
                    <a:gd name="connsiteY614" fmla="*/ 92377 h 1433372"/>
                    <a:gd name="connsiteX615" fmla="*/ 1313041 w 1957914"/>
                    <a:gd name="connsiteY615" fmla="*/ 92538 h 1433372"/>
                    <a:gd name="connsiteX616" fmla="*/ 1318102 w 1957914"/>
                    <a:gd name="connsiteY616" fmla="*/ 94385 h 1433372"/>
                    <a:gd name="connsiteX617" fmla="*/ 1313844 w 1957914"/>
                    <a:gd name="connsiteY617" fmla="*/ 94626 h 1433372"/>
                    <a:gd name="connsiteX618" fmla="*/ 1316415 w 1957914"/>
                    <a:gd name="connsiteY618" fmla="*/ 96153 h 1433372"/>
                    <a:gd name="connsiteX619" fmla="*/ 1310872 w 1957914"/>
                    <a:gd name="connsiteY619" fmla="*/ 97759 h 1433372"/>
                    <a:gd name="connsiteX620" fmla="*/ 1318102 w 1957914"/>
                    <a:gd name="connsiteY620" fmla="*/ 100410 h 1433372"/>
                    <a:gd name="connsiteX621" fmla="*/ 1317780 w 1957914"/>
                    <a:gd name="connsiteY621" fmla="*/ 100892 h 1433372"/>
                    <a:gd name="connsiteX622" fmla="*/ 1320110 w 1957914"/>
                    <a:gd name="connsiteY622" fmla="*/ 104025 h 1433372"/>
                    <a:gd name="connsiteX623" fmla="*/ 1312077 w 1957914"/>
                    <a:gd name="connsiteY623" fmla="*/ 102739 h 1433372"/>
                    <a:gd name="connsiteX624" fmla="*/ 1313443 w 1957914"/>
                    <a:gd name="connsiteY624" fmla="*/ 102097 h 1433372"/>
                    <a:gd name="connsiteX625" fmla="*/ 1310069 w 1957914"/>
                    <a:gd name="connsiteY625" fmla="*/ 101695 h 1433372"/>
                    <a:gd name="connsiteX626" fmla="*/ 1302679 w 1957914"/>
                    <a:gd name="connsiteY626" fmla="*/ 95751 h 1433372"/>
                    <a:gd name="connsiteX627" fmla="*/ 1302598 w 1957914"/>
                    <a:gd name="connsiteY627" fmla="*/ 96233 h 1433372"/>
                    <a:gd name="connsiteX628" fmla="*/ 1293200 w 1957914"/>
                    <a:gd name="connsiteY628" fmla="*/ 94305 h 1433372"/>
                    <a:gd name="connsiteX629" fmla="*/ 441804 w 1957914"/>
                    <a:gd name="connsiteY629" fmla="*/ 178569 h 1433372"/>
                    <a:gd name="connsiteX630" fmla="*/ 442687 w 1957914"/>
                    <a:gd name="connsiteY630" fmla="*/ 177445 h 1433372"/>
                    <a:gd name="connsiteX631" fmla="*/ 442607 w 1957914"/>
                    <a:gd name="connsiteY631" fmla="*/ 177605 h 1433372"/>
                    <a:gd name="connsiteX632" fmla="*/ 443571 w 1957914"/>
                    <a:gd name="connsiteY632" fmla="*/ 177364 h 1433372"/>
                    <a:gd name="connsiteX633" fmla="*/ 441804 w 1957914"/>
                    <a:gd name="connsiteY633" fmla="*/ 178569 h 1433372"/>
                    <a:gd name="connsiteX634" fmla="*/ 441804 w 1957914"/>
                    <a:gd name="connsiteY634" fmla="*/ 178569 h 1433372"/>
                    <a:gd name="connsiteX635" fmla="*/ 177926 w 1957914"/>
                    <a:gd name="connsiteY635" fmla="*/ 278015 h 1433372"/>
                    <a:gd name="connsiteX636" fmla="*/ 177926 w 1957914"/>
                    <a:gd name="connsiteY636" fmla="*/ 277935 h 1433372"/>
                    <a:gd name="connsiteX637" fmla="*/ 178007 w 1957914"/>
                    <a:gd name="connsiteY637" fmla="*/ 277854 h 1433372"/>
                    <a:gd name="connsiteX638" fmla="*/ 181863 w 1957914"/>
                    <a:gd name="connsiteY638" fmla="*/ 275926 h 1433372"/>
                    <a:gd name="connsiteX639" fmla="*/ 177926 w 1957914"/>
                    <a:gd name="connsiteY639" fmla="*/ 278015 h 1433372"/>
                    <a:gd name="connsiteX640" fmla="*/ 146518 w 1957914"/>
                    <a:gd name="connsiteY640" fmla="*/ 287092 h 1433372"/>
                    <a:gd name="connsiteX641" fmla="*/ 146518 w 1957914"/>
                    <a:gd name="connsiteY641" fmla="*/ 287092 h 1433372"/>
                    <a:gd name="connsiteX642" fmla="*/ 150936 w 1957914"/>
                    <a:gd name="connsiteY642" fmla="*/ 283558 h 1433372"/>
                    <a:gd name="connsiteX643" fmla="*/ 151579 w 1957914"/>
                    <a:gd name="connsiteY643" fmla="*/ 283156 h 1433372"/>
                    <a:gd name="connsiteX644" fmla="*/ 146518 w 1957914"/>
                    <a:gd name="connsiteY644" fmla="*/ 287092 h 1433372"/>
                    <a:gd name="connsiteX645" fmla="*/ 1400438 w 1957914"/>
                    <a:gd name="connsiteY645" fmla="*/ 75508 h 1433372"/>
                    <a:gd name="connsiteX646" fmla="*/ 1399876 w 1957914"/>
                    <a:gd name="connsiteY646" fmla="*/ 75348 h 1433372"/>
                    <a:gd name="connsiteX647" fmla="*/ 1404695 w 1957914"/>
                    <a:gd name="connsiteY647" fmla="*/ 76954 h 1433372"/>
                    <a:gd name="connsiteX648" fmla="*/ 1422367 w 1957914"/>
                    <a:gd name="connsiteY648" fmla="*/ 83461 h 1433372"/>
                    <a:gd name="connsiteX649" fmla="*/ 1423572 w 1957914"/>
                    <a:gd name="connsiteY649" fmla="*/ 84023 h 1433372"/>
                    <a:gd name="connsiteX650" fmla="*/ 1400438 w 1957914"/>
                    <a:gd name="connsiteY650" fmla="*/ 75508 h 1433372"/>
                    <a:gd name="connsiteX651" fmla="*/ 1395377 w 1957914"/>
                    <a:gd name="connsiteY651" fmla="*/ 72777 h 1433372"/>
                    <a:gd name="connsiteX652" fmla="*/ 1394413 w 1957914"/>
                    <a:gd name="connsiteY652" fmla="*/ 72456 h 1433372"/>
                    <a:gd name="connsiteX653" fmla="*/ 1395217 w 1957914"/>
                    <a:gd name="connsiteY653" fmla="*/ 72777 h 1433372"/>
                    <a:gd name="connsiteX654" fmla="*/ 1410640 w 1957914"/>
                    <a:gd name="connsiteY654" fmla="*/ 78400 h 1433372"/>
                    <a:gd name="connsiteX655" fmla="*/ 1395377 w 1957914"/>
                    <a:gd name="connsiteY655" fmla="*/ 72777 h 1433372"/>
                    <a:gd name="connsiteX656" fmla="*/ 639170 w 1957914"/>
                    <a:gd name="connsiteY656" fmla="*/ 78802 h 1433372"/>
                    <a:gd name="connsiteX657" fmla="*/ 638688 w 1957914"/>
                    <a:gd name="connsiteY657" fmla="*/ 78721 h 1433372"/>
                    <a:gd name="connsiteX658" fmla="*/ 646560 w 1957914"/>
                    <a:gd name="connsiteY658" fmla="*/ 75749 h 1433372"/>
                    <a:gd name="connsiteX659" fmla="*/ 646480 w 1957914"/>
                    <a:gd name="connsiteY659" fmla="*/ 75830 h 1433372"/>
                    <a:gd name="connsiteX660" fmla="*/ 639170 w 1957914"/>
                    <a:gd name="connsiteY660" fmla="*/ 78802 h 1433372"/>
                    <a:gd name="connsiteX661" fmla="*/ 642383 w 1957914"/>
                    <a:gd name="connsiteY661" fmla="*/ 76231 h 1433372"/>
                    <a:gd name="connsiteX662" fmla="*/ 639571 w 1957914"/>
                    <a:gd name="connsiteY662" fmla="*/ 76633 h 1433372"/>
                    <a:gd name="connsiteX663" fmla="*/ 644391 w 1957914"/>
                    <a:gd name="connsiteY663" fmla="*/ 74544 h 1433372"/>
                    <a:gd name="connsiteX664" fmla="*/ 644230 w 1957914"/>
                    <a:gd name="connsiteY664" fmla="*/ 74785 h 1433372"/>
                    <a:gd name="connsiteX665" fmla="*/ 644632 w 1957914"/>
                    <a:gd name="connsiteY665" fmla="*/ 75267 h 1433372"/>
                    <a:gd name="connsiteX666" fmla="*/ 642383 w 1957914"/>
                    <a:gd name="connsiteY666" fmla="*/ 76392 h 1433372"/>
                    <a:gd name="connsiteX667" fmla="*/ 642383 w 1957914"/>
                    <a:gd name="connsiteY667" fmla="*/ 76231 h 1433372"/>
                    <a:gd name="connsiteX668" fmla="*/ 1382926 w 1957914"/>
                    <a:gd name="connsiteY668" fmla="*/ 67395 h 1433372"/>
                    <a:gd name="connsiteX669" fmla="*/ 1382284 w 1957914"/>
                    <a:gd name="connsiteY669" fmla="*/ 67154 h 1433372"/>
                    <a:gd name="connsiteX670" fmla="*/ 1387505 w 1957914"/>
                    <a:gd name="connsiteY670" fmla="*/ 68761 h 1433372"/>
                    <a:gd name="connsiteX671" fmla="*/ 1402848 w 1957914"/>
                    <a:gd name="connsiteY671" fmla="*/ 74785 h 1433372"/>
                    <a:gd name="connsiteX672" fmla="*/ 1382926 w 1957914"/>
                    <a:gd name="connsiteY672" fmla="*/ 67395 h 1433372"/>
                    <a:gd name="connsiteX673" fmla="*/ 178489 w 1957914"/>
                    <a:gd name="connsiteY673" fmla="*/ 248294 h 1433372"/>
                    <a:gd name="connsiteX674" fmla="*/ 178328 w 1957914"/>
                    <a:gd name="connsiteY674" fmla="*/ 248374 h 1433372"/>
                    <a:gd name="connsiteX675" fmla="*/ 185799 w 1957914"/>
                    <a:gd name="connsiteY675" fmla="*/ 242510 h 1433372"/>
                    <a:gd name="connsiteX676" fmla="*/ 185959 w 1957914"/>
                    <a:gd name="connsiteY676" fmla="*/ 242349 h 1433372"/>
                    <a:gd name="connsiteX677" fmla="*/ 186361 w 1957914"/>
                    <a:gd name="connsiteY677" fmla="*/ 242028 h 1433372"/>
                    <a:gd name="connsiteX678" fmla="*/ 178489 w 1957914"/>
                    <a:gd name="connsiteY678" fmla="*/ 248294 h 1433372"/>
                    <a:gd name="connsiteX679" fmla="*/ 801593 w 1957914"/>
                    <a:gd name="connsiteY679" fmla="*/ 24018 h 1433372"/>
                    <a:gd name="connsiteX680" fmla="*/ 800147 w 1957914"/>
                    <a:gd name="connsiteY680" fmla="*/ 23456 h 1433372"/>
                    <a:gd name="connsiteX681" fmla="*/ 800308 w 1957914"/>
                    <a:gd name="connsiteY681" fmla="*/ 23456 h 1433372"/>
                    <a:gd name="connsiteX682" fmla="*/ 801754 w 1957914"/>
                    <a:gd name="connsiteY682" fmla="*/ 23857 h 1433372"/>
                    <a:gd name="connsiteX683" fmla="*/ 801593 w 1957914"/>
                    <a:gd name="connsiteY683" fmla="*/ 24018 h 1433372"/>
                    <a:gd name="connsiteX684" fmla="*/ 842319 w 1957914"/>
                    <a:gd name="connsiteY684" fmla="*/ 14860 h 1433372"/>
                    <a:gd name="connsiteX685" fmla="*/ 841998 w 1957914"/>
                    <a:gd name="connsiteY685" fmla="*/ 14860 h 1433372"/>
                    <a:gd name="connsiteX686" fmla="*/ 842319 w 1957914"/>
                    <a:gd name="connsiteY686" fmla="*/ 14860 h 1433372"/>
                    <a:gd name="connsiteX687" fmla="*/ 846898 w 1957914"/>
                    <a:gd name="connsiteY687" fmla="*/ 14459 h 1433372"/>
                    <a:gd name="connsiteX688" fmla="*/ 842319 w 1957914"/>
                    <a:gd name="connsiteY688" fmla="*/ 14860 h 1433372"/>
                    <a:gd name="connsiteX689" fmla="*/ 1195762 w 1957914"/>
                    <a:gd name="connsiteY689" fmla="*/ 11246 h 1433372"/>
                    <a:gd name="connsiteX690" fmla="*/ 1176002 w 1957914"/>
                    <a:gd name="connsiteY690" fmla="*/ 7069 h 1433372"/>
                    <a:gd name="connsiteX691" fmla="*/ 1186444 w 1957914"/>
                    <a:gd name="connsiteY691" fmla="*/ 9157 h 1433372"/>
                    <a:gd name="connsiteX692" fmla="*/ 1186605 w 1957914"/>
                    <a:gd name="connsiteY692" fmla="*/ 9157 h 1433372"/>
                    <a:gd name="connsiteX693" fmla="*/ 1195762 w 1957914"/>
                    <a:gd name="connsiteY693" fmla="*/ 11246 h 1433372"/>
                    <a:gd name="connsiteX694" fmla="*/ 1140015 w 1957914"/>
                    <a:gd name="connsiteY694" fmla="*/ 643 h 1433372"/>
                    <a:gd name="connsiteX695" fmla="*/ 1136882 w 1957914"/>
                    <a:gd name="connsiteY695" fmla="*/ 0 h 1433372"/>
                    <a:gd name="connsiteX696" fmla="*/ 1175841 w 1957914"/>
                    <a:gd name="connsiteY696" fmla="*/ 6988 h 1433372"/>
                    <a:gd name="connsiteX697" fmla="*/ 1176002 w 1957914"/>
                    <a:gd name="connsiteY697" fmla="*/ 6988 h 1433372"/>
                    <a:gd name="connsiteX698" fmla="*/ 1140015 w 1957914"/>
                    <a:gd name="connsiteY698" fmla="*/ 643 h 14333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</a:cxnLst>
                  <a:rect l="l" t="t" r="r" b="b"/>
                  <a:pathLst>
                    <a:path w="1957914" h="1433372">
                      <a:moveTo>
                        <a:pt x="620453" y="1428633"/>
                      </a:moveTo>
                      <a:lnTo>
                        <a:pt x="620132" y="1428473"/>
                      </a:lnTo>
                      <a:lnTo>
                        <a:pt x="620293" y="1428553"/>
                      </a:lnTo>
                      <a:cubicBezTo>
                        <a:pt x="620373" y="1428633"/>
                        <a:pt x="620453" y="1428633"/>
                        <a:pt x="620453" y="1428633"/>
                      </a:cubicBezTo>
                      <a:moveTo>
                        <a:pt x="621578" y="1433212"/>
                      </a:moveTo>
                      <a:cubicBezTo>
                        <a:pt x="621498" y="1433292"/>
                        <a:pt x="621417" y="1433292"/>
                        <a:pt x="621337" y="1433373"/>
                      </a:cubicBezTo>
                      <a:cubicBezTo>
                        <a:pt x="623104" y="1430883"/>
                        <a:pt x="621578" y="1429356"/>
                        <a:pt x="620534" y="1428714"/>
                      </a:cubicBezTo>
                      <a:cubicBezTo>
                        <a:pt x="620855" y="1428955"/>
                        <a:pt x="621337" y="1429196"/>
                        <a:pt x="621658" y="1429356"/>
                      </a:cubicBezTo>
                      <a:lnTo>
                        <a:pt x="621899" y="1427910"/>
                      </a:lnTo>
                      <a:lnTo>
                        <a:pt x="622060" y="1428071"/>
                      </a:lnTo>
                      <a:cubicBezTo>
                        <a:pt x="624550" y="1430722"/>
                        <a:pt x="622783" y="1432409"/>
                        <a:pt x="621578" y="1433212"/>
                      </a:cubicBezTo>
                      <a:moveTo>
                        <a:pt x="617642" y="1432328"/>
                      </a:moveTo>
                      <a:lnTo>
                        <a:pt x="616758" y="1432650"/>
                      </a:lnTo>
                      <a:cubicBezTo>
                        <a:pt x="616357" y="1430240"/>
                        <a:pt x="615794" y="1427830"/>
                        <a:pt x="615071" y="1425420"/>
                      </a:cubicBezTo>
                      <a:cubicBezTo>
                        <a:pt x="615473" y="1425581"/>
                        <a:pt x="616035" y="1425822"/>
                        <a:pt x="616437" y="1425982"/>
                      </a:cubicBezTo>
                      <a:cubicBezTo>
                        <a:pt x="616678" y="1428071"/>
                        <a:pt x="616999" y="1429597"/>
                        <a:pt x="617642" y="1432328"/>
                      </a:cubicBezTo>
                      <a:moveTo>
                        <a:pt x="606878" y="1427187"/>
                      </a:moveTo>
                      <a:cubicBezTo>
                        <a:pt x="606878" y="1427107"/>
                        <a:pt x="606798" y="1427107"/>
                        <a:pt x="606798" y="1427027"/>
                      </a:cubicBezTo>
                      <a:cubicBezTo>
                        <a:pt x="609047" y="1427750"/>
                        <a:pt x="609207" y="1426866"/>
                        <a:pt x="608966" y="1425822"/>
                      </a:cubicBezTo>
                      <a:cubicBezTo>
                        <a:pt x="608966" y="1425902"/>
                        <a:pt x="609047" y="1425982"/>
                        <a:pt x="609047" y="1425982"/>
                      </a:cubicBezTo>
                      <a:cubicBezTo>
                        <a:pt x="609689" y="1427830"/>
                        <a:pt x="610332" y="1429597"/>
                        <a:pt x="610894" y="1431445"/>
                      </a:cubicBezTo>
                      <a:cubicBezTo>
                        <a:pt x="608886" y="1429677"/>
                        <a:pt x="607601" y="1428151"/>
                        <a:pt x="606878" y="1427187"/>
                      </a:cubicBezTo>
                      <a:moveTo>
                        <a:pt x="489760" y="1384935"/>
                      </a:moveTo>
                      <a:cubicBezTo>
                        <a:pt x="489679" y="1384935"/>
                        <a:pt x="489679" y="1384855"/>
                        <a:pt x="489599" y="1384855"/>
                      </a:cubicBezTo>
                      <a:cubicBezTo>
                        <a:pt x="490884" y="1382846"/>
                        <a:pt x="491688" y="1382364"/>
                        <a:pt x="492491" y="1382123"/>
                      </a:cubicBezTo>
                      <a:cubicBezTo>
                        <a:pt x="493696" y="1381963"/>
                        <a:pt x="494499" y="1382846"/>
                        <a:pt x="495463" y="1384935"/>
                      </a:cubicBezTo>
                      <a:cubicBezTo>
                        <a:pt x="492571" y="1385818"/>
                        <a:pt x="490483" y="1385256"/>
                        <a:pt x="489760" y="1384935"/>
                      </a:cubicBezTo>
                      <a:moveTo>
                        <a:pt x="1346217" y="937187"/>
                      </a:moveTo>
                      <a:cubicBezTo>
                        <a:pt x="1346056" y="937026"/>
                        <a:pt x="1345815" y="936865"/>
                        <a:pt x="1345654" y="936705"/>
                      </a:cubicBezTo>
                      <a:cubicBezTo>
                        <a:pt x="1348707" y="936785"/>
                        <a:pt x="1349430" y="936383"/>
                        <a:pt x="1349671" y="935500"/>
                      </a:cubicBezTo>
                      <a:cubicBezTo>
                        <a:pt x="1349831" y="935580"/>
                        <a:pt x="1349992" y="935660"/>
                        <a:pt x="1350153" y="935660"/>
                      </a:cubicBezTo>
                      <a:cubicBezTo>
                        <a:pt x="1355294" y="937909"/>
                        <a:pt x="1355936" y="940641"/>
                        <a:pt x="1352000" y="943934"/>
                      </a:cubicBezTo>
                      <a:cubicBezTo>
                        <a:pt x="1350474" y="941203"/>
                        <a:pt x="1349269" y="939597"/>
                        <a:pt x="1346217" y="937187"/>
                      </a:cubicBezTo>
                      <a:moveTo>
                        <a:pt x="1136320" y="852200"/>
                      </a:moveTo>
                      <a:cubicBezTo>
                        <a:pt x="1136320" y="852200"/>
                        <a:pt x="1136320" y="852200"/>
                        <a:pt x="1136320" y="852200"/>
                      </a:cubicBezTo>
                      <a:cubicBezTo>
                        <a:pt x="1136320" y="852200"/>
                        <a:pt x="1136320" y="852200"/>
                        <a:pt x="1136320" y="852200"/>
                      </a:cubicBezTo>
                      <a:cubicBezTo>
                        <a:pt x="1136641" y="852200"/>
                        <a:pt x="1136882" y="852200"/>
                        <a:pt x="1137203" y="852119"/>
                      </a:cubicBezTo>
                      <a:cubicBezTo>
                        <a:pt x="1137203" y="852119"/>
                        <a:pt x="1137203" y="852119"/>
                        <a:pt x="1137203" y="852119"/>
                      </a:cubicBezTo>
                      <a:cubicBezTo>
                        <a:pt x="1136882" y="852119"/>
                        <a:pt x="1136641" y="852200"/>
                        <a:pt x="1136320" y="852200"/>
                      </a:cubicBezTo>
                      <a:moveTo>
                        <a:pt x="1837020" y="758778"/>
                      </a:moveTo>
                      <a:cubicBezTo>
                        <a:pt x="1836458" y="758296"/>
                        <a:pt x="1840474" y="757011"/>
                        <a:pt x="1843929" y="756047"/>
                      </a:cubicBezTo>
                      <a:cubicBezTo>
                        <a:pt x="1843929" y="756047"/>
                        <a:pt x="1843848" y="756047"/>
                        <a:pt x="1843848" y="756127"/>
                      </a:cubicBezTo>
                      <a:cubicBezTo>
                        <a:pt x="1842483" y="756609"/>
                        <a:pt x="1841037" y="756931"/>
                        <a:pt x="1839752" y="757573"/>
                      </a:cubicBezTo>
                      <a:cubicBezTo>
                        <a:pt x="1839270" y="757814"/>
                        <a:pt x="1838868" y="758136"/>
                        <a:pt x="1839270" y="758296"/>
                      </a:cubicBezTo>
                      <a:cubicBezTo>
                        <a:pt x="1839752" y="758537"/>
                        <a:pt x="1841117" y="758537"/>
                        <a:pt x="1841519" y="758537"/>
                      </a:cubicBezTo>
                      <a:cubicBezTo>
                        <a:pt x="1841760" y="758537"/>
                        <a:pt x="1842162" y="758698"/>
                        <a:pt x="1842322" y="758859"/>
                      </a:cubicBezTo>
                      <a:cubicBezTo>
                        <a:pt x="1840957" y="758939"/>
                        <a:pt x="1837422" y="759260"/>
                        <a:pt x="1837020" y="758778"/>
                      </a:cubicBezTo>
                      <a:moveTo>
                        <a:pt x="1726811" y="634993"/>
                      </a:moveTo>
                      <a:lnTo>
                        <a:pt x="1726328" y="634832"/>
                      </a:lnTo>
                      <a:cubicBezTo>
                        <a:pt x="1734120" y="630575"/>
                        <a:pt x="1735325" y="630012"/>
                        <a:pt x="1735566" y="629932"/>
                      </a:cubicBezTo>
                      <a:cubicBezTo>
                        <a:pt x="1735566" y="629932"/>
                        <a:pt x="1735566" y="629932"/>
                        <a:pt x="1735566" y="629932"/>
                      </a:cubicBezTo>
                      <a:cubicBezTo>
                        <a:pt x="1735406" y="630093"/>
                        <a:pt x="1734201" y="630816"/>
                        <a:pt x="1726811" y="634993"/>
                      </a:cubicBezTo>
                      <a:moveTo>
                        <a:pt x="1732755" y="575148"/>
                      </a:moveTo>
                      <a:lnTo>
                        <a:pt x="1732594" y="574988"/>
                      </a:lnTo>
                      <a:cubicBezTo>
                        <a:pt x="1736289" y="574747"/>
                        <a:pt x="1737173" y="574747"/>
                        <a:pt x="1737253" y="574747"/>
                      </a:cubicBezTo>
                      <a:cubicBezTo>
                        <a:pt x="1736932" y="574827"/>
                        <a:pt x="1736610" y="574827"/>
                        <a:pt x="1736289" y="574827"/>
                      </a:cubicBezTo>
                      <a:cubicBezTo>
                        <a:pt x="1735084" y="574907"/>
                        <a:pt x="1733960" y="575068"/>
                        <a:pt x="1732755" y="575148"/>
                      </a:cubicBezTo>
                      <a:moveTo>
                        <a:pt x="1911324" y="588884"/>
                      </a:moveTo>
                      <a:cubicBezTo>
                        <a:pt x="1911324" y="588884"/>
                        <a:pt x="1911324" y="588884"/>
                        <a:pt x="1911324" y="588884"/>
                      </a:cubicBezTo>
                      <a:cubicBezTo>
                        <a:pt x="1911244" y="588644"/>
                        <a:pt x="1911244" y="588403"/>
                        <a:pt x="1911163" y="588081"/>
                      </a:cubicBezTo>
                      <a:cubicBezTo>
                        <a:pt x="1911163" y="588081"/>
                        <a:pt x="1911163" y="588081"/>
                        <a:pt x="1911163" y="588081"/>
                      </a:cubicBezTo>
                      <a:cubicBezTo>
                        <a:pt x="1911324" y="588403"/>
                        <a:pt x="1911324" y="588644"/>
                        <a:pt x="1911324" y="588884"/>
                      </a:cubicBezTo>
                      <a:moveTo>
                        <a:pt x="1846740" y="507111"/>
                      </a:moveTo>
                      <a:cubicBezTo>
                        <a:pt x="1846579" y="507030"/>
                        <a:pt x="1846419" y="506950"/>
                        <a:pt x="1846338" y="506950"/>
                      </a:cubicBezTo>
                      <a:cubicBezTo>
                        <a:pt x="1846820" y="505665"/>
                        <a:pt x="1847945" y="505504"/>
                        <a:pt x="1850034" y="506307"/>
                      </a:cubicBezTo>
                      <a:cubicBezTo>
                        <a:pt x="1851158" y="506789"/>
                        <a:pt x="1852042" y="507271"/>
                        <a:pt x="1852042" y="507271"/>
                      </a:cubicBezTo>
                      <a:cubicBezTo>
                        <a:pt x="1852042" y="507271"/>
                        <a:pt x="1852524" y="508316"/>
                        <a:pt x="1851962" y="508637"/>
                      </a:cubicBezTo>
                      <a:cubicBezTo>
                        <a:pt x="1851239" y="508878"/>
                        <a:pt x="1849632" y="508396"/>
                        <a:pt x="1846740" y="507111"/>
                      </a:cubicBezTo>
                      <a:moveTo>
                        <a:pt x="1467672" y="441724"/>
                      </a:moveTo>
                      <a:lnTo>
                        <a:pt x="1467030" y="441643"/>
                      </a:lnTo>
                      <a:cubicBezTo>
                        <a:pt x="1467351" y="440519"/>
                        <a:pt x="1468395" y="439474"/>
                        <a:pt x="1472813" y="441483"/>
                      </a:cubicBezTo>
                      <a:cubicBezTo>
                        <a:pt x="1472653" y="441242"/>
                        <a:pt x="1472492" y="441001"/>
                        <a:pt x="1472412" y="440760"/>
                      </a:cubicBezTo>
                      <a:cubicBezTo>
                        <a:pt x="1474902" y="439073"/>
                        <a:pt x="1475464" y="436824"/>
                        <a:pt x="1475304" y="436020"/>
                      </a:cubicBezTo>
                      <a:cubicBezTo>
                        <a:pt x="1475384" y="436181"/>
                        <a:pt x="1475384" y="436341"/>
                        <a:pt x="1475464" y="436502"/>
                      </a:cubicBezTo>
                      <a:cubicBezTo>
                        <a:pt x="1476187" y="438832"/>
                        <a:pt x="1476991" y="441965"/>
                        <a:pt x="1475223" y="443169"/>
                      </a:cubicBezTo>
                      <a:cubicBezTo>
                        <a:pt x="1474259" y="443812"/>
                        <a:pt x="1472733" y="443571"/>
                        <a:pt x="1472171" y="443410"/>
                      </a:cubicBezTo>
                      <a:cubicBezTo>
                        <a:pt x="1471127" y="443169"/>
                        <a:pt x="1469440" y="442527"/>
                        <a:pt x="1468556" y="442125"/>
                      </a:cubicBezTo>
                      <a:cubicBezTo>
                        <a:pt x="1468235" y="442045"/>
                        <a:pt x="1467913" y="441804"/>
                        <a:pt x="1467672" y="441724"/>
                      </a:cubicBezTo>
                      <a:moveTo>
                        <a:pt x="1519645" y="437145"/>
                      </a:moveTo>
                      <a:cubicBezTo>
                        <a:pt x="1519564" y="437145"/>
                        <a:pt x="1519404" y="437145"/>
                        <a:pt x="1519323" y="437145"/>
                      </a:cubicBezTo>
                      <a:cubicBezTo>
                        <a:pt x="1519323" y="437145"/>
                        <a:pt x="1519404" y="437145"/>
                        <a:pt x="1519404" y="437145"/>
                      </a:cubicBezTo>
                      <a:cubicBezTo>
                        <a:pt x="1520287" y="437225"/>
                        <a:pt x="1521171" y="437306"/>
                        <a:pt x="1522055" y="437466"/>
                      </a:cubicBezTo>
                      <a:cubicBezTo>
                        <a:pt x="1521251" y="437386"/>
                        <a:pt x="1520448" y="437225"/>
                        <a:pt x="1519645" y="437145"/>
                      </a:cubicBezTo>
                      <a:moveTo>
                        <a:pt x="1507435" y="436341"/>
                      </a:moveTo>
                      <a:lnTo>
                        <a:pt x="1507113" y="436261"/>
                      </a:lnTo>
                      <a:cubicBezTo>
                        <a:pt x="1506953" y="435619"/>
                        <a:pt x="1506953" y="434815"/>
                        <a:pt x="1508399" y="434976"/>
                      </a:cubicBezTo>
                      <a:cubicBezTo>
                        <a:pt x="1508961" y="435056"/>
                        <a:pt x="1509443" y="435137"/>
                        <a:pt x="1510246" y="435458"/>
                      </a:cubicBezTo>
                      <a:cubicBezTo>
                        <a:pt x="1510166" y="435860"/>
                        <a:pt x="1510005" y="436100"/>
                        <a:pt x="1509523" y="436261"/>
                      </a:cubicBezTo>
                      <a:cubicBezTo>
                        <a:pt x="1508961" y="436341"/>
                        <a:pt x="1507435" y="436341"/>
                        <a:pt x="1507435" y="436341"/>
                      </a:cubicBezTo>
                      <a:moveTo>
                        <a:pt x="1472251" y="433530"/>
                      </a:moveTo>
                      <a:cubicBezTo>
                        <a:pt x="1472010" y="433209"/>
                        <a:pt x="1472492" y="432566"/>
                        <a:pt x="1472733" y="432245"/>
                      </a:cubicBezTo>
                      <a:cubicBezTo>
                        <a:pt x="1473617" y="432405"/>
                        <a:pt x="1474741" y="432646"/>
                        <a:pt x="1475625" y="432887"/>
                      </a:cubicBezTo>
                      <a:cubicBezTo>
                        <a:pt x="1474581" y="433289"/>
                        <a:pt x="1472653" y="434012"/>
                        <a:pt x="1472251" y="433530"/>
                      </a:cubicBezTo>
                      <a:moveTo>
                        <a:pt x="1504543" y="434815"/>
                      </a:moveTo>
                      <a:cubicBezTo>
                        <a:pt x="1504463" y="434815"/>
                        <a:pt x="1504382" y="434735"/>
                        <a:pt x="1504302" y="434735"/>
                      </a:cubicBezTo>
                      <a:cubicBezTo>
                        <a:pt x="1504382" y="434333"/>
                        <a:pt x="1504382" y="433771"/>
                        <a:pt x="1504463" y="433369"/>
                      </a:cubicBezTo>
                      <a:lnTo>
                        <a:pt x="1504543" y="433450"/>
                      </a:lnTo>
                      <a:cubicBezTo>
                        <a:pt x="1505668" y="434414"/>
                        <a:pt x="1506792" y="435538"/>
                        <a:pt x="1506310" y="435538"/>
                      </a:cubicBezTo>
                      <a:cubicBezTo>
                        <a:pt x="1506150" y="435538"/>
                        <a:pt x="1505507" y="435297"/>
                        <a:pt x="1504543" y="434815"/>
                      </a:cubicBezTo>
                      <a:moveTo>
                        <a:pt x="1465584" y="430558"/>
                      </a:moveTo>
                      <a:cubicBezTo>
                        <a:pt x="1465584" y="430478"/>
                        <a:pt x="1465504" y="430478"/>
                        <a:pt x="1465504" y="430397"/>
                      </a:cubicBezTo>
                      <a:cubicBezTo>
                        <a:pt x="1466548" y="430317"/>
                        <a:pt x="1467833" y="430317"/>
                        <a:pt x="1468877" y="430237"/>
                      </a:cubicBezTo>
                      <a:lnTo>
                        <a:pt x="1469199" y="430317"/>
                      </a:lnTo>
                      <a:cubicBezTo>
                        <a:pt x="1468315" y="431442"/>
                        <a:pt x="1467110" y="432486"/>
                        <a:pt x="1465584" y="430558"/>
                      </a:cubicBezTo>
                      <a:moveTo>
                        <a:pt x="1497795" y="432646"/>
                      </a:moveTo>
                      <a:cubicBezTo>
                        <a:pt x="1496912" y="430879"/>
                        <a:pt x="1499884" y="430799"/>
                        <a:pt x="1499884" y="430799"/>
                      </a:cubicBezTo>
                      <a:cubicBezTo>
                        <a:pt x="1499964" y="430799"/>
                        <a:pt x="1500045" y="430879"/>
                        <a:pt x="1500125" y="430960"/>
                      </a:cubicBezTo>
                      <a:cubicBezTo>
                        <a:pt x="1501732" y="432084"/>
                        <a:pt x="1501732" y="432968"/>
                        <a:pt x="1501410" y="433771"/>
                      </a:cubicBezTo>
                      <a:cubicBezTo>
                        <a:pt x="1500125" y="432325"/>
                        <a:pt x="1499241" y="432245"/>
                        <a:pt x="1498358" y="433450"/>
                      </a:cubicBezTo>
                      <a:cubicBezTo>
                        <a:pt x="1498197" y="433128"/>
                        <a:pt x="1497956" y="432887"/>
                        <a:pt x="1497795" y="432646"/>
                      </a:cubicBezTo>
                      <a:moveTo>
                        <a:pt x="1497394" y="430960"/>
                      </a:moveTo>
                      <a:lnTo>
                        <a:pt x="1494743" y="429835"/>
                      </a:lnTo>
                      <a:cubicBezTo>
                        <a:pt x="1494663" y="429433"/>
                        <a:pt x="1494743" y="429032"/>
                        <a:pt x="1495948" y="429192"/>
                      </a:cubicBezTo>
                      <a:cubicBezTo>
                        <a:pt x="1496269" y="429192"/>
                        <a:pt x="1496510" y="429273"/>
                        <a:pt x="1496832" y="429273"/>
                      </a:cubicBezTo>
                      <a:cubicBezTo>
                        <a:pt x="1496751" y="429674"/>
                        <a:pt x="1496591" y="430558"/>
                        <a:pt x="1499161" y="430076"/>
                      </a:cubicBezTo>
                      <a:cubicBezTo>
                        <a:pt x="1498679" y="430317"/>
                        <a:pt x="1497956" y="430638"/>
                        <a:pt x="1497394" y="430960"/>
                      </a:cubicBezTo>
                      <a:moveTo>
                        <a:pt x="1493779" y="427506"/>
                      </a:moveTo>
                      <a:cubicBezTo>
                        <a:pt x="1493618" y="427184"/>
                        <a:pt x="1493779" y="426783"/>
                        <a:pt x="1493940" y="426622"/>
                      </a:cubicBezTo>
                      <a:cubicBezTo>
                        <a:pt x="1494743" y="426943"/>
                        <a:pt x="1495787" y="427345"/>
                        <a:pt x="1496591" y="427747"/>
                      </a:cubicBezTo>
                      <a:cubicBezTo>
                        <a:pt x="1494984" y="427907"/>
                        <a:pt x="1494100" y="427907"/>
                        <a:pt x="1493779" y="427506"/>
                      </a:cubicBezTo>
                      <a:moveTo>
                        <a:pt x="1929317" y="530807"/>
                      </a:moveTo>
                      <a:cubicBezTo>
                        <a:pt x="1928514" y="529442"/>
                        <a:pt x="1928594" y="529361"/>
                        <a:pt x="1928594" y="529281"/>
                      </a:cubicBezTo>
                      <a:cubicBezTo>
                        <a:pt x="1928594" y="529281"/>
                        <a:pt x="1928675" y="529281"/>
                        <a:pt x="1928675" y="529281"/>
                      </a:cubicBezTo>
                      <a:cubicBezTo>
                        <a:pt x="1928916" y="529442"/>
                        <a:pt x="1929558" y="530245"/>
                        <a:pt x="1930602" y="531611"/>
                      </a:cubicBezTo>
                      <a:cubicBezTo>
                        <a:pt x="1930281" y="531530"/>
                        <a:pt x="1929880" y="531370"/>
                        <a:pt x="1929558" y="531289"/>
                      </a:cubicBezTo>
                      <a:cubicBezTo>
                        <a:pt x="1929478" y="531129"/>
                        <a:pt x="1929398" y="530888"/>
                        <a:pt x="1929317" y="530807"/>
                      </a:cubicBezTo>
                      <a:moveTo>
                        <a:pt x="1889716" y="509038"/>
                      </a:moveTo>
                      <a:lnTo>
                        <a:pt x="1887707" y="506789"/>
                      </a:lnTo>
                      <a:cubicBezTo>
                        <a:pt x="1889314" y="507191"/>
                        <a:pt x="1890358" y="507512"/>
                        <a:pt x="1891001" y="507914"/>
                      </a:cubicBezTo>
                      <a:cubicBezTo>
                        <a:pt x="1891322" y="508075"/>
                        <a:pt x="1892126" y="508476"/>
                        <a:pt x="1891081" y="508797"/>
                      </a:cubicBezTo>
                      <a:cubicBezTo>
                        <a:pt x="1890679" y="508958"/>
                        <a:pt x="1890037" y="509038"/>
                        <a:pt x="1889716" y="509038"/>
                      </a:cubicBezTo>
                      <a:moveTo>
                        <a:pt x="1877666" y="500122"/>
                      </a:moveTo>
                      <a:cubicBezTo>
                        <a:pt x="1876783" y="498676"/>
                        <a:pt x="1877506" y="498756"/>
                        <a:pt x="1877827" y="498756"/>
                      </a:cubicBezTo>
                      <a:cubicBezTo>
                        <a:pt x="1877907" y="498837"/>
                        <a:pt x="1878068" y="498997"/>
                        <a:pt x="1878148" y="499158"/>
                      </a:cubicBezTo>
                      <a:cubicBezTo>
                        <a:pt x="1882968" y="504701"/>
                        <a:pt x="1882807" y="505022"/>
                        <a:pt x="1882807" y="505102"/>
                      </a:cubicBezTo>
                      <a:cubicBezTo>
                        <a:pt x="1882566" y="505022"/>
                        <a:pt x="1878550" y="501568"/>
                        <a:pt x="1877666" y="500122"/>
                      </a:cubicBezTo>
                      <a:moveTo>
                        <a:pt x="1392084" y="419151"/>
                      </a:moveTo>
                      <a:cubicBezTo>
                        <a:pt x="1391923" y="419071"/>
                        <a:pt x="1391682" y="419071"/>
                        <a:pt x="1391522" y="418991"/>
                      </a:cubicBezTo>
                      <a:cubicBezTo>
                        <a:pt x="1392566" y="418991"/>
                        <a:pt x="1394012" y="418910"/>
                        <a:pt x="1395056" y="418910"/>
                      </a:cubicBezTo>
                      <a:cubicBezTo>
                        <a:pt x="1394895" y="417625"/>
                        <a:pt x="1394654" y="416822"/>
                        <a:pt x="1393931" y="415537"/>
                      </a:cubicBezTo>
                      <a:cubicBezTo>
                        <a:pt x="1395136" y="414894"/>
                        <a:pt x="1396020" y="414814"/>
                        <a:pt x="1397144" y="414814"/>
                      </a:cubicBezTo>
                      <a:cubicBezTo>
                        <a:pt x="1399313" y="415135"/>
                        <a:pt x="1400920" y="416018"/>
                        <a:pt x="1400920" y="416018"/>
                      </a:cubicBezTo>
                      <a:cubicBezTo>
                        <a:pt x="1400920" y="416018"/>
                        <a:pt x="1402526" y="418589"/>
                        <a:pt x="1401000" y="419714"/>
                      </a:cubicBezTo>
                      <a:cubicBezTo>
                        <a:pt x="1399795" y="420758"/>
                        <a:pt x="1396823" y="420517"/>
                        <a:pt x="1392084" y="419151"/>
                      </a:cubicBezTo>
                      <a:moveTo>
                        <a:pt x="1418753" y="415135"/>
                      </a:moveTo>
                      <a:cubicBezTo>
                        <a:pt x="1418672" y="415055"/>
                        <a:pt x="1418672" y="415055"/>
                        <a:pt x="1418592" y="414974"/>
                      </a:cubicBezTo>
                      <a:cubicBezTo>
                        <a:pt x="1419717" y="415055"/>
                        <a:pt x="1421243" y="415135"/>
                        <a:pt x="1422367" y="415135"/>
                      </a:cubicBezTo>
                      <a:cubicBezTo>
                        <a:pt x="1421243" y="417545"/>
                        <a:pt x="1419476" y="415938"/>
                        <a:pt x="1418753" y="415135"/>
                      </a:cubicBezTo>
                      <a:moveTo>
                        <a:pt x="1907789" y="512814"/>
                      </a:moveTo>
                      <a:cubicBezTo>
                        <a:pt x="1907709" y="512814"/>
                        <a:pt x="1907709" y="512733"/>
                        <a:pt x="1907629" y="512733"/>
                      </a:cubicBezTo>
                      <a:cubicBezTo>
                        <a:pt x="1907629" y="511689"/>
                        <a:pt x="1908111" y="511609"/>
                        <a:pt x="1909235" y="512252"/>
                      </a:cubicBezTo>
                      <a:cubicBezTo>
                        <a:pt x="1909878" y="512653"/>
                        <a:pt x="1910279" y="512974"/>
                        <a:pt x="1911163" y="513778"/>
                      </a:cubicBezTo>
                      <a:cubicBezTo>
                        <a:pt x="1910119" y="513778"/>
                        <a:pt x="1908753" y="513296"/>
                        <a:pt x="1907789" y="512814"/>
                      </a:cubicBezTo>
                      <a:moveTo>
                        <a:pt x="1436586" y="415858"/>
                      </a:moveTo>
                      <a:cubicBezTo>
                        <a:pt x="1436425" y="415858"/>
                        <a:pt x="1436184" y="415858"/>
                        <a:pt x="1436023" y="415858"/>
                      </a:cubicBezTo>
                      <a:cubicBezTo>
                        <a:pt x="1436505" y="415456"/>
                        <a:pt x="1437308" y="414653"/>
                        <a:pt x="1439477" y="414814"/>
                      </a:cubicBezTo>
                      <a:cubicBezTo>
                        <a:pt x="1439558" y="414814"/>
                        <a:pt x="1439638" y="414814"/>
                        <a:pt x="1439799" y="414814"/>
                      </a:cubicBezTo>
                      <a:cubicBezTo>
                        <a:pt x="1440441" y="414894"/>
                        <a:pt x="1441004" y="415135"/>
                        <a:pt x="1441646" y="415215"/>
                      </a:cubicBezTo>
                      <a:cubicBezTo>
                        <a:pt x="1442851" y="415376"/>
                        <a:pt x="1444136" y="415376"/>
                        <a:pt x="1445341" y="415537"/>
                      </a:cubicBezTo>
                      <a:cubicBezTo>
                        <a:pt x="1445502" y="415537"/>
                        <a:pt x="1445743" y="415617"/>
                        <a:pt x="1445904" y="415617"/>
                      </a:cubicBezTo>
                      <a:cubicBezTo>
                        <a:pt x="1445904" y="415617"/>
                        <a:pt x="1445904" y="415617"/>
                        <a:pt x="1445904" y="415697"/>
                      </a:cubicBezTo>
                      <a:cubicBezTo>
                        <a:pt x="1445181" y="415858"/>
                        <a:pt x="1442289" y="415858"/>
                        <a:pt x="1436586" y="415858"/>
                      </a:cubicBezTo>
                      <a:moveTo>
                        <a:pt x="1849070" y="483655"/>
                      </a:moveTo>
                      <a:cubicBezTo>
                        <a:pt x="1848909" y="483494"/>
                        <a:pt x="1848588" y="483253"/>
                        <a:pt x="1848427" y="483092"/>
                      </a:cubicBezTo>
                      <a:cubicBezTo>
                        <a:pt x="1849632" y="483092"/>
                        <a:pt x="1850998" y="483414"/>
                        <a:pt x="1853006" y="484217"/>
                      </a:cubicBezTo>
                      <a:cubicBezTo>
                        <a:pt x="1854291" y="484779"/>
                        <a:pt x="1855014" y="485181"/>
                        <a:pt x="1855978" y="485743"/>
                      </a:cubicBezTo>
                      <a:cubicBezTo>
                        <a:pt x="1855094" y="486546"/>
                        <a:pt x="1853488" y="487270"/>
                        <a:pt x="1849070" y="483655"/>
                      </a:cubicBezTo>
                      <a:moveTo>
                        <a:pt x="1865698" y="488956"/>
                      </a:moveTo>
                      <a:cubicBezTo>
                        <a:pt x="1865617" y="488796"/>
                        <a:pt x="1865617" y="488715"/>
                        <a:pt x="1865617" y="488715"/>
                      </a:cubicBezTo>
                      <a:cubicBezTo>
                        <a:pt x="1865617" y="488715"/>
                        <a:pt x="1865617" y="488715"/>
                        <a:pt x="1865698" y="488715"/>
                      </a:cubicBezTo>
                      <a:cubicBezTo>
                        <a:pt x="1865939" y="488876"/>
                        <a:pt x="1866501" y="489358"/>
                        <a:pt x="1867625" y="490402"/>
                      </a:cubicBezTo>
                      <a:cubicBezTo>
                        <a:pt x="1867224" y="490242"/>
                        <a:pt x="1866822" y="490081"/>
                        <a:pt x="1866501" y="489920"/>
                      </a:cubicBezTo>
                      <a:cubicBezTo>
                        <a:pt x="1866180" y="489599"/>
                        <a:pt x="1865858" y="489278"/>
                        <a:pt x="1865698" y="488956"/>
                      </a:cubicBezTo>
                      <a:moveTo>
                        <a:pt x="1957914" y="543017"/>
                      </a:moveTo>
                      <a:cubicBezTo>
                        <a:pt x="1957914" y="543017"/>
                        <a:pt x="1957914" y="543017"/>
                        <a:pt x="1957914" y="543017"/>
                      </a:cubicBezTo>
                      <a:cubicBezTo>
                        <a:pt x="1957914" y="542696"/>
                        <a:pt x="1957914" y="542375"/>
                        <a:pt x="1957914" y="541973"/>
                      </a:cubicBezTo>
                      <a:lnTo>
                        <a:pt x="1957914" y="541973"/>
                      </a:lnTo>
                      <a:cubicBezTo>
                        <a:pt x="1957914" y="542294"/>
                        <a:pt x="1957914" y="542615"/>
                        <a:pt x="1957914" y="543017"/>
                      </a:cubicBezTo>
                      <a:moveTo>
                        <a:pt x="1823284" y="472489"/>
                      </a:moveTo>
                      <a:cubicBezTo>
                        <a:pt x="1823284" y="472489"/>
                        <a:pt x="1823284" y="472489"/>
                        <a:pt x="1823284" y="472489"/>
                      </a:cubicBezTo>
                      <a:cubicBezTo>
                        <a:pt x="1822963" y="472007"/>
                        <a:pt x="1822722" y="471284"/>
                        <a:pt x="1822481" y="470802"/>
                      </a:cubicBezTo>
                      <a:lnTo>
                        <a:pt x="1822561" y="470883"/>
                      </a:lnTo>
                      <a:cubicBezTo>
                        <a:pt x="1823847" y="472007"/>
                        <a:pt x="1824248" y="472569"/>
                        <a:pt x="1823847" y="472569"/>
                      </a:cubicBezTo>
                      <a:cubicBezTo>
                        <a:pt x="1823606" y="472569"/>
                        <a:pt x="1823445" y="472569"/>
                        <a:pt x="1823284" y="472489"/>
                      </a:cubicBezTo>
                      <a:moveTo>
                        <a:pt x="1405418" y="399953"/>
                      </a:moveTo>
                      <a:cubicBezTo>
                        <a:pt x="1405017" y="399150"/>
                        <a:pt x="1405820" y="398828"/>
                        <a:pt x="1407908" y="398909"/>
                      </a:cubicBezTo>
                      <a:cubicBezTo>
                        <a:pt x="1408149" y="398909"/>
                        <a:pt x="1408310" y="398909"/>
                        <a:pt x="1408551" y="398909"/>
                      </a:cubicBezTo>
                      <a:cubicBezTo>
                        <a:pt x="1406061" y="399150"/>
                        <a:pt x="1406382" y="400274"/>
                        <a:pt x="1409515" y="402925"/>
                      </a:cubicBezTo>
                      <a:cubicBezTo>
                        <a:pt x="1409595" y="403005"/>
                        <a:pt x="1409676" y="403086"/>
                        <a:pt x="1409756" y="403166"/>
                      </a:cubicBezTo>
                      <a:cubicBezTo>
                        <a:pt x="1408872" y="402684"/>
                        <a:pt x="1405981" y="401078"/>
                        <a:pt x="1405418" y="399953"/>
                      </a:cubicBezTo>
                      <a:moveTo>
                        <a:pt x="1831799" y="463010"/>
                      </a:moveTo>
                      <a:cubicBezTo>
                        <a:pt x="1831558" y="462609"/>
                        <a:pt x="1831558" y="462528"/>
                        <a:pt x="1831880" y="462528"/>
                      </a:cubicBezTo>
                      <a:cubicBezTo>
                        <a:pt x="1831960" y="462528"/>
                        <a:pt x="1832040" y="462609"/>
                        <a:pt x="1832201" y="462609"/>
                      </a:cubicBezTo>
                      <a:cubicBezTo>
                        <a:pt x="1832924" y="462930"/>
                        <a:pt x="1833566" y="463332"/>
                        <a:pt x="1834289" y="463733"/>
                      </a:cubicBezTo>
                      <a:cubicBezTo>
                        <a:pt x="1833727" y="464135"/>
                        <a:pt x="1833727" y="464617"/>
                        <a:pt x="1834289" y="465501"/>
                      </a:cubicBezTo>
                      <a:cubicBezTo>
                        <a:pt x="1833807" y="465019"/>
                        <a:pt x="1833084" y="464376"/>
                        <a:pt x="1832602" y="463894"/>
                      </a:cubicBezTo>
                      <a:cubicBezTo>
                        <a:pt x="1832281" y="463653"/>
                        <a:pt x="1832040" y="463332"/>
                        <a:pt x="1831799" y="463010"/>
                      </a:cubicBezTo>
                      <a:moveTo>
                        <a:pt x="1414897" y="395696"/>
                      </a:moveTo>
                      <a:cubicBezTo>
                        <a:pt x="1414415" y="394571"/>
                        <a:pt x="1414415" y="394410"/>
                        <a:pt x="1414495" y="394330"/>
                      </a:cubicBezTo>
                      <a:cubicBezTo>
                        <a:pt x="1414576" y="394330"/>
                        <a:pt x="1414656" y="394330"/>
                        <a:pt x="1414656" y="394330"/>
                      </a:cubicBezTo>
                      <a:cubicBezTo>
                        <a:pt x="1415058" y="394571"/>
                        <a:pt x="1415540" y="395053"/>
                        <a:pt x="1416745" y="396418"/>
                      </a:cubicBezTo>
                      <a:cubicBezTo>
                        <a:pt x="1420440" y="396418"/>
                        <a:pt x="1422689" y="397222"/>
                        <a:pt x="1423492" y="397463"/>
                      </a:cubicBezTo>
                      <a:cubicBezTo>
                        <a:pt x="1422367" y="398025"/>
                        <a:pt x="1420279" y="399150"/>
                        <a:pt x="1422046" y="399712"/>
                      </a:cubicBezTo>
                      <a:cubicBezTo>
                        <a:pt x="1422849" y="399953"/>
                        <a:pt x="1424295" y="400033"/>
                        <a:pt x="1425099" y="400114"/>
                      </a:cubicBezTo>
                      <a:cubicBezTo>
                        <a:pt x="1425099" y="400114"/>
                        <a:pt x="1425099" y="400114"/>
                        <a:pt x="1425099" y="400114"/>
                      </a:cubicBezTo>
                      <a:lnTo>
                        <a:pt x="1425099" y="400114"/>
                      </a:lnTo>
                      <a:lnTo>
                        <a:pt x="1425099" y="400114"/>
                      </a:lnTo>
                      <a:cubicBezTo>
                        <a:pt x="1425099" y="400114"/>
                        <a:pt x="1425099" y="400114"/>
                        <a:pt x="1425099" y="400114"/>
                      </a:cubicBezTo>
                      <a:cubicBezTo>
                        <a:pt x="1425099" y="400114"/>
                        <a:pt x="1425099" y="400114"/>
                        <a:pt x="1425099" y="400114"/>
                      </a:cubicBezTo>
                      <a:lnTo>
                        <a:pt x="1425099" y="400114"/>
                      </a:lnTo>
                      <a:lnTo>
                        <a:pt x="1425099" y="400114"/>
                      </a:lnTo>
                      <a:cubicBezTo>
                        <a:pt x="1425099" y="400114"/>
                        <a:pt x="1425099" y="400114"/>
                        <a:pt x="1425099" y="400114"/>
                      </a:cubicBezTo>
                      <a:cubicBezTo>
                        <a:pt x="1425018" y="400274"/>
                        <a:pt x="1424938" y="400435"/>
                        <a:pt x="1424858" y="400596"/>
                      </a:cubicBezTo>
                      <a:cubicBezTo>
                        <a:pt x="1426946" y="400033"/>
                        <a:pt x="1427508" y="400676"/>
                        <a:pt x="1427830" y="401319"/>
                      </a:cubicBezTo>
                      <a:cubicBezTo>
                        <a:pt x="1427187" y="401078"/>
                        <a:pt x="1425340" y="400355"/>
                        <a:pt x="1425822" y="401319"/>
                      </a:cubicBezTo>
                      <a:cubicBezTo>
                        <a:pt x="1425902" y="401399"/>
                        <a:pt x="1425982" y="401560"/>
                        <a:pt x="1426063" y="401720"/>
                      </a:cubicBezTo>
                      <a:cubicBezTo>
                        <a:pt x="1421564" y="400033"/>
                        <a:pt x="1418190" y="398989"/>
                        <a:pt x="1416664" y="399471"/>
                      </a:cubicBezTo>
                      <a:cubicBezTo>
                        <a:pt x="1416102" y="398186"/>
                        <a:pt x="1415459" y="396981"/>
                        <a:pt x="1414897" y="395696"/>
                      </a:cubicBezTo>
                      <a:moveTo>
                        <a:pt x="1826658" y="460842"/>
                      </a:moveTo>
                      <a:cubicBezTo>
                        <a:pt x="1825935" y="459878"/>
                        <a:pt x="1826176" y="459235"/>
                        <a:pt x="1826257" y="458914"/>
                      </a:cubicBezTo>
                      <a:cubicBezTo>
                        <a:pt x="1826337" y="458994"/>
                        <a:pt x="1826417" y="459155"/>
                        <a:pt x="1826417" y="459235"/>
                      </a:cubicBezTo>
                      <a:cubicBezTo>
                        <a:pt x="1827301" y="460681"/>
                        <a:pt x="1828586" y="462287"/>
                        <a:pt x="1831157" y="462930"/>
                      </a:cubicBezTo>
                      <a:cubicBezTo>
                        <a:pt x="1830916" y="464055"/>
                        <a:pt x="1828265" y="463091"/>
                        <a:pt x="1826658" y="460842"/>
                      </a:cubicBezTo>
                      <a:moveTo>
                        <a:pt x="1928193" y="509842"/>
                      </a:moveTo>
                      <a:lnTo>
                        <a:pt x="1927550" y="509199"/>
                      </a:lnTo>
                      <a:cubicBezTo>
                        <a:pt x="1928916" y="510163"/>
                        <a:pt x="1929478" y="510083"/>
                        <a:pt x="1929317" y="509038"/>
                      </a:cubicBezTo>
                      <a:cubicBezTo>
                        <a:pt x="1929317" y="508958"/>
                        <a:pt x="1929317" y="508878"/>
                        <a:pt x="1929237" y="508797"/>
                      </a:cubicBezTo>
                      <a:cubicBezTo>
                        <a:pt x="1929398" y="508958"/>
                        <a:pt x="1929639" y="509279"/>
                        <a:pt x="1929880" y="509440"/>
                      </a:cubicBezTo>
                      <a:cubicBezTo>
                        <a:pt x="1929960" y="509922"/>
                        <a:pt x="1930201" y="511047"/>
                        <a:pt x="1928594" y="510002"/>
                      </a:cubicBezTo>
                      <a:cubicBezTo>
                        <a:pt x="1928434" y="510002"/>
                        <a:pt x="1928273" y="509922"/>
                        <a:pt x="1928193" y="509842"/>
                      </a:cubicBezTo>
                      <a:moveTo>
                        <a:pt x="1433453" y="384691"/>
                      </a:moveTo>
                      <a:cubicBezTo>
                        <a:pt x="1432971" y="383887"/>
                        <a:pt x="1434497" y="383566"/>
                        <a:pt x="1435702" y="383405"/>
                      </a:cubicBezTo>
                      <a:cubicBezTo>
                        <a:pt x="1435702" y="383486"/>
                        <a:pt x="1435782" y="383566"/>
                        <a:pt x="1435863" y="383566"/>
                      </a:cubicBezTo>
                      <a:cubicBezTo>
                        <a:pt x="1436907" y="385333"/>
                        <a:pt x="1434818" y="385655"/>
                        <a:pt x="1434818" y="385655"/>
                      </a:cubicBezTo>
                      <a:cubicBezTo>
                        <a:pt x="1434818" y="385735"/>
                        <a:pt x="1433774" y="385173"/>
                        <a:pt x="1433453" y="384691"/>
                      </a:cubicBezTo>
                      <a:moveTo>
                        <a:pt x="1733317" y="420035"/>
                      </a:moveTo>
                      <a:lnTo>
                        <a:pt x="1733076" y="419874"/>
                      </a:lnTo>
                      <a:lnTo>
                        <a:pt x="1733478" y="419955"/>
                      </a:lnTo>
                      <a:cubicBezTo>
                        <a:pt x="1735004" y="420437"/>
                        <a:pt x="1736530" y="420838"/>
                        <a:pt x="1738056" y="421401"/>
                      </a:cubicBezTo>
                      <a:cubicBezTo>
                        <a:pt x="1737976" y="421401"/>
                        <a:pt x="1733317" y="420035"/>
                        <a:pt x="1733317" y="420035"/>
                      </a:cubicBezTo>
                      <a:moveTo>
                        <a:pt x="1728899" y="420196"/>
                      </a:moveTo>
                      <a:lnTo>
                        <a:pt x="1728497" y="419955"/>
                      </a:lnTo>
                      <a:cubicBezTo>
                        <a:pt x="1728899" y="419312"/>
                        <a:pt x="1728979" y="418669"/>
                        <a:pt x="1728658" y="417706"/>
                      </a:cubicBezTo>
                      <a:cubicBezTo>
                        <a:pt x="1728738" y="417786"/>
                        <a:pt x="1728899" y="417866"/>
                        <a:pt x="1728979" y="417866"/>
                      </a:cubicBezTo>
                      <a:cubicBezTo>
                        <a:pt x="1730024" y="418509"/>
                        <a:pt x="1733156" y="420437"/>
                        <a:pt x="1732112" y="420678"/>
                      </a:cubicBezTo>
                      <a:cubicBezTo>
                        <a:pt x="1731389" y="420919"/>
                        <a:pt x="1728899" y="420276"/>
                        <a:pt x="1728899" y="420196"/>
                      </a:cubicBezTo>
                      <a:moveTo>
                        <a:pt x="1093023" y="383807"/>
                      </a:moveTo>
                      <a:cubicBezTo>
                        <a:pt x="1093023" y="383807"/>
                        <a:pt x="1093023" y="383807"/>
                        <a:pt x="1093023" y="383807"/>
                      </a:cubicBezTo>
                      <a:cubicBezTo>
                        <a:pt x="1093023" y="383807"/>
                        <a:pt x="1093023" y="383807"/>
                        <a:pt x="1093023" y="383807"/>
                      </a:cubicBezTo>
                      <a:cubicBezTo>
                        <a:pt x="1093344" y="383807"/>
                        <a:pt x="1094629" y="384369"/>
                        <a:pt x="1099047" y="386538"/>
                      </a:cubicBezTo>
                      <a:cubicBezTo>
                        <a:pt x="1099128" y="386860"/>
                        <a:pt x="1099208" y="387181"/>
                        <a:pt x="1099288" y="387422"/>
                      </a:cubicBezTo>
                      <a:cubicBezTo>
                        <a:pt x="1094388" y="384771"/>
                        <a:pt x="1093183" y="383968"/>
                        <a:pt x="1093023" y="383807"/>
                      </a:cubicBezTo>
                      <a:moveTo>
                        <a:pt x="1804006" y="435297"/>
                      </a:moveTo>
                      <a:cubicBezTo>
                        <a:pt x="1803925" y="435297"/>
                        <a:pt x="1803845" y="435297"/>
                        <a:pt x="1803845" y="435297"/>
                      </a:cubicBezTo>
                      <a:cubicBezTo>
                        <a:pt x="1804407" y="435378"/>
                        <a:pt x="1804970" y="435458"/>
                        <a:pt x="1805452" y="435538"/>
                      </a:cubicBezTo>
                      <a:cubicBezTo>
                        <a:pt x="1805773" y="435619"/>
                        <a:pt x="1806014" y="435619"/>
                        <a:pt x="1806335" y="435699"/>
                      </a:cubicBezTo>
                      <a:cubicBezTo>
                        <a:pt x="1806415" y="435699"/>
                        <a:pt x="1806576" y="435699"/>
                        <a:pt x="1806656" y="435779"/>
                      </a:cubicBezTo>
                      <a:cubicBezTo>
                        <a:pt x="1805773" y="435699"/>
                        <a:pt x="1804889" y="435458"/>
                        <a:pt x="1804006" y="435297"/>
                      </a:cubicBezTo>
                      <a:moveTo>
                        <a:pt x="1678373" y="391117"/>
                      </a:moveTo>
                      <a:cubicBezTo>
                        <a:pt x="1678212" y="391117"/>
                        <a:pt x="1678051" y="391117"/>
                        <a:pt x="1677891" y="391117"/>
                      </a:cubicBezTo>
                      <a:cubicBezTo>
                        <a:pt x="1681827" y="391358"/>
                        <a:pt x="1685683" y="391599"/>
                        <a:pt x="1689619" y="391840"/>
                      </a:cubicBezTo>
                      <a:cubicBezTo>
                        <a:pt x="1689619" y="391840"/>
                        <a:pt x="1689619" y="391840"/>
                        <a:pt x="1689619" y="391840"/>
                      </a:cubicBezTo>
                      <a:cubicBezTo>
                        <a:pt x="1685843" y="391599"/>
                        <a:pt x="1682148" y="391358"/>
                        <a:pt x="1678373" y="391117"/>
                      </a:cubicBezTo>
                      <a:moveTo>
                        <a:pt x="1808825" y="421160"/>
                      </a:moveTo>
                      <a:cubicBezTo>
                        <a:pt x="1808745" y="421079"/>
                        <a:pt x="1808665" y="421079"/>
                        <a:pt x="1808584" y="420999"/>
                      </a:cubicBezTo>
                      <a:cubicBezTo>
                        <a:pt x="1808745" y="420437"/>
                        <a:pt x="1809548" y="420517"/>
                        <a:pt x="1811155" y="421160"/>
                      </a:cubicBezTo>
                      <a:cubicBezTo>
                        <a:pt x="1812119" y="421561"/>
                        <a:pt x="1812761" y="421963"/>
                        <a:pt x="1813966" y="422686"/>
                      </a:cubicBezTo>
                      <a:cubicBezTo>
                        <a:pt x="1812681" y="422846"/>
                        <a:pt x="1810512" y="422043"/>
                        <a:pt x="1808825" y="421160"/>
                      </a:cubicBezTo>
                      <a:moveTo>
                        <a:pt x="1901283" y="449515"/>
                      </a:moveTo>
                      <a:lnTo>
                        <a:pt x="1901042" y="449274"/>
                      </a:lnTo>
                      <a:cubicBezTo>
                        <a:pt x="1901283" y="449274"/>
                        <a:pt x="1901604" y="449596"/>
                        <a:pt x="1902247" y="450238"/>
                      </a:cubicBezTo>
                      <a:cubicBezTo>
                        <a:pt x="1902970" y="451042"/>
                        <a:pt x="1903773" y="452086"/>
                        <a:pt x="1905058" y="453692"/>
                      </a:cubicBezTo>
                      <a:cubicBezTo>
                        <a:pt x="1903853" y="452246"/>
                        <a:pt x="1902568" y="450881"/>
                        <a:pt x="1901283" y="449515"/>
                      </a:cubicBezTo>
                      <a:moveTo>
                        <a:pt x="1865537" y="415778"/>
                      </a:moveTo>
                      <a:lnTo>
                        <a:pt x="1865216" y="415376"/>
                      </a:lnTo>
                      <a:cubicBezTo>
                        <a:pt x="1865778" y="415778"/>
                        <a:pt x="1865858" y="415858"/>
                        <a:pt x="1866019" y="415858"/>
                      </a:cubicBezTo>
                      <a:cubicBezTo>
                        <a:pt x="1865939" y="415617"/>
                        <a:pt x="1865537" y="415215"/>
                        <a:pt x="1864332" y="414091"/>
                      </a:cubicBezTo>
                      <a:cubicBezTo>
                        <a:pt x="1864653" y="414332"/>
                        <a:pt x="1865055" y="414733"/>
                        <a:pt x="1865376" y="414974"/>
                      </a:cubicBezTo>
                      <a:cubicBezTo>
                        <a:pt x="1874293" y="422605"/>
                        <a:pt x="1878148" y="426461"/>
                        <a:pt x="1878148" y="426461"/>
                      </a:cubicBezTo>
                      <a:lnTo>
                        <a:pt x="1865537" y="415778"/>
                      </a:lnTo>
                      <a:moveTo>
                        <a:pt x="1121539" y="280827"/>
                      </a:moveTo>
                      <a:cubicBezTo>
                        <a:pt x="1121459" y="280746"/>
                        <a:pt x="1121298" y="280586"/>
                        <a:pt x="1121138" y="280505"/>
                      </a:cubicBezTo>
                      <a:cubicBezTo>
                        <a:pt x="1125154" y="278095"/>
                        <a:pt x="1127644" y="277051"/>
                        <a:pt x="1129411" y="277051"/>
                      </a:cubicBezTo>
                      <a:cubicBezTo>
                        <a:pt x="1131821" y="277132"/>
                        <a:pt x="1131821" y="279541"/>
                        <a:pt x="1129492" y="284441"/>
                      </a:cubicBezTo>
                      <a:cubicBezTo>
                        <a:pt x="1126760" y="283638"/>
                        <a:pt x="1123788" y="282674"/>
                        <a:pt x="1121539" y="280827"/>
                      </a:cubicBezTo>
                      <a:moveTo>
                        <a:pt x="1811316" y="363163"/>
                      </a:moveTo>
                      <a:lnTo>
                        <a:pt x="1809468" y="362761"/>
                      </a:lnTo>
                      <a:cubicBezTo>
                        <a:pt x="1807861" y="359709"/>
                        <a:pt x="1807219" y="358343"/>
                        <a:pt x="1807219" y="358102"/>
                      </a:cubicBezTo>
                      <a:cubicBezTo>
                        <a:pt x="1807299" y="358022"/>
                        <a:pt x="1807379" y="358102"/>
                        <a:pt x="1807379" y="358182"/>
                      </a:cubicBezTo>
                      <a:cubicBezTo>
                        <a:pt x="1808022" y="358664"/>
                        <a:pt x="1809307" y="360271"/>
                        <a:pt x="1811316" y="363163"/>
                      </a:cubicBezTo>
                      <a:moveTo>
                        <a:pt x="1838225" y="378024"/>
                      </a:moveTo>
                      <a:cubicBezTo>
                        <a:pt x="1837984" y="377783"/>
                        <a:pt x="1837663" y="377542"/>
                        <a:pt x="1837422" y="377301"/>
                      </a:cubicBezTo>
                      <a:cubicBezTo>
                        <a:pt x="1839511" y="378827"/>
                        <a:pt x="1840555" y="379791"/>
                        <a:pt x="1842001" y="381076"/>
                      </a:cubicBezTo>
                      <a:cubicBezTo>
                        <a:pt x="1852684" y="390474"/>
                        <a:pt x="1863529" y="403568"/>
                        <a:pt x="1867706" y="408709"/>
                      </a:cubicBezTo>
                      <a:cubicBezTo>
                        <a:pt x="1855978" y="395214"/>
                        <a:pt x="1846258" y="385173"/>
                        <a:pt x="1838225" y="378024"/>
                      </a:cubicBezTo>
                      <a:moveTo>
                        <a:pt x="1821678" y="365814"/>
                      </a:moveTo>
                      <a:cubicBezTo>
                        <a:pt x="1821357" y="365653"/>
                        <a:pt x="1820875" y="364769"/>
                        <a:pt x="1820875" y="364689"/>
                      </a:cubicBezTo>
                      <a:cubicBezTo>
                        <a:pt x="1820955" y="364689"/>
                        <a:pt x="1821035" y="364769"/>
                        <a:pt x="1821196" y="364850"/>
                      </a:cubicBezTo>
                      <a:cubicBezTo>
                        <a:pt x="1821598" y="365171"/>
                        <a:pt x="1821919" y="365573"/>
                        <a:pt x="1822401" y="365814"/>
                      </a:cubicBezTo>
                      <a:cubicBezTo>
                        <a:pt x="1822883" y="366054"/>
                        <a:pt x="1823445" y="366537"/>
                        <a:pt x="1823686" y="366697"/>
                      </a:cubicBezTo>
                      <a:cubicBezTo>
                        <a:pt x="1824168" y="367019"/>
                        <a:pt x="1824570" y="367420"/>
                        <a:pt x="1824971" y="367822"/>
                      </a:cubicBezTo>
                      <a:cubicBezTo>
                        <a:pt x="1823847" y="367099"/>
                        <a:pt x="1822722" y="366456"/>
                        <a:pt x="1821678" y="365814"/>
                      </a:cubicBezTo>
                      <a:moveTo>
                        <a:pt x="1689297" y="294482"/>
                      </a:moveTo>
                      <a:cubicBezTo>
                        <a:pt x="1688896" y="294081"/>
                        <a:pt x="1688896" y="293920"/>
                        <a:pt x="1688815" y="293759"/>
                      </a:cubicBezTo>
                      <a:cubicBezTo>
                        <a:pt x="1689056" y="293438"/>
                        <a:pt x="1689779" y="293679"/>
                        <a:pt x="1689779" y="293679"/>
                      </a:cubicBezTo>
                      <a:cubicBezTo>
                        <a:pt x="1690743" y="294241"/>
                        <a:pt x="1691466" y="295045"/>
                        <a:pt x="1692270" y="295687"/>
                      </a:cubicBezTo>
                      <a:cubicBezTo>
                        <a:pt x="1692832" y="296089"/>
                        <a:pt x="1692992" y="296089"/>
                        <a:pt x="1692992" y="296089"/>
                      </a:cubicBezTo>
                      <a:cubicBezTo>
                        <a:pt x="1692992" y="295928"/>
                        <a:pt x="1692591" y="295446"/>
                        <a:pt x="1691305" y="294081"/>
                      </a:cubicBezTo>
                      <a:cubicBezTo>
                        <a:pt x="1691466" y="294161"/>
                        <a:pt x="1691627" y="294241"/>
                        <a:pt x="1691788" y="294322"/>
                      </a:cubicBezTo>
                      <a:cubicBezTo>
                        <a:pt x="1694679" y="295767"/>
                        <a:pt x="1699579" y="298659"/>
                        <a:pt x="1699660" y="301310"/>
                      </a:cubicBezTo>
                      <a:cubicBezTo>
                        <a:pt x="1698535" y="300427"/>
                        <a:pt x="1695242" y="297696"/>
                        <a:pt x="1690342" y="295205"/>
                      </a:cubicBezTo>
                      <a:cubicBezTo>
                        <a:pt x="1690101" y="294964"/>
                        <a:pt x="1689619" y="294723"/>
                        <a:pt x="1689297" y="294482"/>
                      </a:cubicBezTo>
                      <a:moveTo>
                        <a:pt x="1670581" y="281469"/>
                      </a:moveTo>
                      <a:cubicBezTo>
                        <a:pt x="1670420" y="281469"/>
                        <a:pt x="1670260" y="281389"/>
                        <a:pt x="1670179" y="281389"/>
                      </a:cubicBezTo>
                      <a:cubicBezTo>
                        <a:pt x="1672509" y="281790"/>
                        <a:pt x="1674838" y="282192"/>
                        <a:pt x="1677088" y="282594"/>
                      </a:cubicBezTo>
                      <a:cubicBezTo>
                        <a:pt x="1674919" y="282272"/>
                        <a:pt x="1672750" y="281871"/>
                        <a:pt x="1670581" y="281469"/>
                      </a:cubicBezTo>
                      <a:moveTo>
                        <a:pt x="1344851" y="235040"/>
                      </a:moveTo>
                      <a:cubicBezTo>
                        <a:pt x="1344449" y="234879"/>
                        <a:pt x="1343807" y="234718"/>
                        <a:pt x="1343405" y="234558"/>
                      </a:cubicBezTo>
                      <a:cubicBezTo>
                        <a:pt x="1344369" y="234156"/>
                        <a:pt x="1345574" y="233353"/>
                        <a:pt x="1345494" y="231345"/>
                      </a:cubicBezTo>
                      <a:cubicBezTo>
                        <a:pt x="1345815" y="231505"/>
                        <a:pt x="1346217" y="231666"/>
                        <a:pt x="1346458" y="231826"/>
                      </a:cubicBezTo>
                      <a:cubicBezTo>
                        <a:pt x="1355294" y="235923"/>
                        <a:pt x="1359390" y="238172"/>
                        <a:pt x="1358426" y="238494"/>
                      </a:cubicBezTo>
                      <a:cubicBezTo>
                        <a:pt x="1357462" y="238895"/>
                        <a:pt x="1350233" y="236727"/>
                        <a:pt x="1344851" y="235040"/>
                      </a:cubicBezTo>
                      <a:moveTo>
                        <a:pt x="1767216" y="322999"/>
                      </a:moveTo>
                      <a:cubicBezTo>
                        <a:pt x="1763761" y="319223"/>
                        <a:pt x="1762717" y="318018"/>
                        <a:pt x="1759745" y="314163"/>
                      </a:cubicBezTo>
                      <a:cubicBezTo>
                        <a:pt x="1759986" y="314323"/>
                        <a:pt x="1760227" y="314564"/>
                        <a:pt x="1760468" y="314725"/>
                      </a:cubicBezTo>
                      <a:cubicBezTo>
                        <a:pt x="1768421" y="321633"/>
                        <a:pt x="1772597" y="326212"/>
                        <a:pt x="1772838" y="328541"/>
                      </a:cubicBezTo>
                      <a:cubicBezTo>
                        <a:pt x="1772357" y="327899"/>
                        <a:pt x="1771473" y="327096"/>
                        <a:pt x="1770429" y="326292"/>
                      </a:cubicBezTo>
                      <a:cubicBezTo>
                        <a:pt x="1769866" y="325810"/>
                        <a:pt x="1769866" y="325810"/>
                        <a:pt x="1767216" y="322999"/>
                      </a:cubicBezTo>
                      <a:moveTo>
                        <a:pt x="1663994" y="270384"/>
                      </a:moveTo>
                      <a:cubicBezTo>
                        <a:pt x="1663753" y="270223"/>
                        <a:pt x="1663432" y="270063"/>
                        <a:pt x="1663110" y="269982"/>
                      </a:cubicBezTo>
                      <a:cubicBezTo>
                        <a:pt x="1662548" y="267974"/>
                        <a:pt x="1663351" y="267573"/>
                        <a:pt x="1665842" y="268376"/>
                      </a:cubicBezTo>
                      <a:cubicBezTo>
                        <a:pt x="1667528" y="269018"/>
                        <a:pt x="1669055" y="269822"/>
                        <a:pt x="1669055" y="269822"/>
                      </a:cubicBezTo>
                      <a:cubicBezTo>
                        <a:pt x="1670340" y="270866"/>
                        <a:pt x="1674678" y="274240"/>
                        <a:pt x="1673874" y="274641"/>
                      </a:cubicBezTo>
                      <a:cubicBezTo>
                        <a:pt x="1673151" y="275043"/>
                        <a:pt x="1667850" y="272392"/>
                        <a:pt x="1663994" y="270384"/>
                      </a:cubicBezTo>
                      <a:moveTo>
                        <a:pt x="1567038" y="237369"/>
                      </a:moveTo>
                      <a:cubicBezTo>
                        <a:pt x="1565753" y="236084"/>
                        <a:pt x="1565030" y="235281"/>
                        <a:pt x="1566556" y="234477"/>
                      </a:cubicBezTo>
                      <a:cubicBezTo>
                        <a:pt x="1566717" y="234558"/>
                        <a:pt x="1566958" y="234718"/>
                        <a:pt x="1567199" y="234879"/>
                      </a:cubicBezTo>
                      <a:cubicBezTo>
                        <a:pt x="1573625" y="238976"/>
                        <a:pt x="1578525" y="243233"/>
                        <a:pt x="1581819" y="247410"/>
                      </a:cubicBezTo>
                      <a:cubicBezTo>
                        <a:pt x="1573464" y="243474"/>
                        <a:pt x="1569287" y="239538"/>
                        <a:pt x="1567038" y="237369"/>
                      </a:cubicBezTo>
                      <a:moveTo>
                        <a:pt x="1748419" y="291430"/>
                      </a:moveTo>
                      <a:cubicBezTo>
                        <a:pt x="1748660" y="291591"/>
                        <a:pt x="1748901" y="291751"/>
                        <a:pt x="1749142" y="291912"/>
                      </a:cubicBezTo>
                      <a:cubicBezTo>
                        <a:pt x="1748981" y="291751"/>
                        <a:pt x="1748660" y="291591"/>
                        <a:pt x="1748419" y="291430"/>
                      </a:cubicBezTo>
                      <a:cubicBezTo>
                        <a:pt x="1748419" y="291430"/>
                        <a:pt x="1748419" y="291430"/>
                        <a:pt x="1748419" y="291430"/>
                      </a:cubicBezTo>
                      <a:moveTo>
                        <a:pt x="1749302" y="291912"/>
                      </a:moveTo>
                      <a:cubicBezTo>
                        <a:pt x="1749302" y="291912"/>
                        <a:pt x="1749383" y="291912"/>
                        <a:pt x="1749383" y="291992"/>
                      </a:cubicBezTo>
                      <a:cubicBezTo>
                        <a:pt x="1749383" y="291992"/>
                        <a:pt x="1749302" y="291912"/>
                        <a:pt x="1749302" y="291912"/>
                      </a:cubicBezTo>
                      <a:cubicBezTo>
                        <a:pt x="1749302" y="291912"/>
                        <a:pt x="1749302" y="291912"/>
                        <a:pt x="1749302" y="291912"/>
                      </a:cubicBezTo>
                      <a:moveTo>
                        <a:pt x="1749543" y="292072"/>
                      </a:moveTo>
                      <a:cubicBezTo>
                        <a:pt x="1749543" y="292072"/>
                        <a:pt x="1749543" y="292072"/>
                        <a:pt x="1749543" y="292072"/>
                      </a:cubicBezTo>
                      <a:cubicBezTo>
                        <a:pt x="1749543" y="292072"/>
                        <a:pt x="1749543" y="292072"/>
                        <a:pt x="1749543" y="292072"/>
                      </a:cubicBezTo>
                      <a:lnTo>
                        <a:pt x="1749543" y="292072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84" y="292233"/>
                      </a:moveTo>
                      <a:lnTo>
                        <a:pt x="1749784" y="292233"/>
                      </a:lnTo>
                      <a:lnTo>
                        <a:pt x="1749784" y="292233"/>
                      </a:lnTo>
                      <a:moveTo>
                        <a:pt x="1749784" y="292233"/>
                      </a:moveTo>
                      <a:cubicBezTo>
                        <a:pt x="1749784" y="292233"/>
                        <a:pt x="1749784" y="292233"/>
                        <a:pt x="1749784" y="292233"/>
                      </a:cubicBezTo>
                      <a:cubicBezTo>
                        <a:pt x="1749784" y="292233"/>
                        <a:pt x="1749784" y="292233"/>
                        <a:pt x="1749784" y="292233"/>
                      </a:cubicBezTo>
                      <a:moveTo>
                        <a:pt x="1749704" y="292233"/>
                      </a:moveTo>
                      <a:lnTo>
                        <a:pt x="1749704" y="292233"/>
                      </a:lnTo>
                      <a:lnTo>
                        <a:pt x="1749704" y="292233"/>
                      </a:lnTo>
                      <a:moveTo>
                        <a:pt x="1749704" y="292233"/>
                      </a:moveTo>
                      <a:cubicBezTo>
                        <a:pt x="1749704" y="292233"/>
                        <a:pt x="1749704" y="292233"/>
                        <a:pt x="1749704" y="292233"/>
                      </a:cubicBezTo>
                      <a:cubicBezTo>
                        <a:pt x="1749704" y="292233"/>
                        <a:pt x="1749704" y="292233"/>
                        <a:pt x="1749704" y="292233"/>
                      </a:cubicBezTo>
                      <a:moveTo>
                        <a:pt x="1749704" y="292233"/>
                      </a:moveTo>
                      <a:cubicBezTo>
                        <a:pt x="1749704" y="292233"/>
                        <a:pt x="1749704" y="292233"/>
                        <a:pt x="1749704" y="292233"/>
                      </a:cubicBezTo>
                      <a:cubicBezTo>
                        <a:pt x="1749704" y="292233"/>
                        <a:pt x="1749704" y="292233"/>
                        <a:pt x="1749704" y="292233"/>
                      </a:cubicBezTo>
                      <a:moveTo>
                        <a:pt x="1749704" y="292233"/>
                      </a:moveTo>
                      <a:lnTo>
                        <a:pt x="1749704" y="292233"/>
                      </a:lnTo>
                      <a:lnTo>
                        <a:pt x="1749704" y="292233"/>
                      </a:ln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cubicBezTo>
                        <a:pt x="1749704" y="292153"/>
                        <a:pt x="1749704" y="292153"/>
                        <a:pt x="1749704" y="292153"/>
                      </a:cubicBezTo>
                      <a:cubicBezTo>
                        <a:pt x="1749704" y="292153"/>
                        <a:pt x="1749704" y="292153"/>
                        <a:pt x="1749704" y="292153"/>
                      </a:cubicBezTo>
                      <a:moveTo>
                        <a:pt x="1749704" y="292153"/>
                      </a:moveTo>
                      <a:cubicBezTo>
                        <a:pt x="1749704" y="292153"/>
                        <a:pt x="1749704" y="292153"/>
                        <a:pt x="1749704" y="292153"/>
                      </a:cubicBezTo>
                      <a:cubicBezTo>
                        <a:pt x="1749704" y="292153"/>
                        <a:pt x="1749704" y="292153"/>
                        <a:pt x="1749704" y="292153"/>
                      </a:cubicBez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cubicBezTo>
                        <a:pt x="1749704" y="292153"/>
                        <a:pt x="1749704" y="292153"/>
                        <a:pt x="1749704" y="292153"/>
                      </a:cubicBezTo>
                      <a:cubicBezTo>
                        <a:pt x="1749704" y="292153"/>
                        <a:pt x="1749704" y="292153"/>
                        <a:pt x="1749704" y="292153"/>
                      </a:cubicBez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1749704" y="292153"/>
                      </a:moveTo>
                      <a:cubicBezTo>
                        <a:pt x="1749704" y="292153"/>
                        <a:pt x="1749704" y="292153"/>
                        <a:pt x="1749704" y="292153"/>
                      </a:cubicBezTo>
                      <a:cubicBezTo>
                        <a:pt x="1749704" y="292153"/>
                        <a:pt x="1749704" y="292153"/>
                        <a:pt x="1749704" y="292153"/>
                      </a:cubicBezTo>
                      <a:moveTo>
                        <a:pt x="1749704" y="292153"/>
                      </a:moveTo>
                      <a:lnTo>
                        <a:pt x="1749704" y="292153"/>
                      </a:lnTo>
                      <a:lnTo>
                        <a:pt x="1749704" y="292153"/>
                      </a:lnTo>
                      <a:moveTo>
                        <a:pt x="964980" y="200338"/>
                      </a:moveTo>
                      <a:cubicBezTo>
                        <a:pt x="964739" y="199936"/>
                        <a:pt x="965462" y="199776"/>
                        <a:pt x="966105" y="199695"/>
                      </a:cubicBezTo>
                      <a:cubicBezTo>
                        <a:pt x="968916" y="199535"/>
                        <a:pt x="969478" y="200579"/>
                        <a:pt x="969157" y="200900"/>
                      </a:cubicBezTo>
                      <a:cubicBezTo>
                        <a:pt x="968675" y="201382"/>
                        <a:pt x="967069" y="201703"/>
                        <a:pt x="967069" y="201703"/>
                      </a:cubicBezTo>
                      <a:cubicBezTo>
                        <a:pt x="966988" y="201784"/>
                        <a:pt x="965301" y="200820"/>
                        <a:pt x="964980" y="200338"/>
                      </a:cubicBezTo>
                      <a:moveTo>
                        <a:pt x="1736129" y="277935"/>
                      </a:moveTo>
                      <a:cubicBezTo>
                        <a:pt x="1736129" y="277935"/>
                        <a:pt x="1736129" y="277935"/>
                        <a:pt x="1736129" y="277935"/>
                      </a:cubicBezTo>
                      <a:cubicBezTo>
                        <a:pt x="1737173" y="278577"/>
                        <a:pt x="1738137" y="279381"/>
                        <a:pt x="1739181" y="280184"/>
                      </a:cubicBezTo>
                      <a:cubicBezTo>
                        <a:pt x="1739181" y="280184"/>
                        <a:pt x="1739181" y="280184"/>
                        <a:pt x="1739181" y="280104"/>
                      </a:cubicBezTo>
                      <a:cubicBezTo>
                        <a:pt x="1739422" y="280264"/>
                        <a:pt x="1739663" y="280425"/>
                        <a:pt x="1739904" y="280666"/>
                      </a:cubicBezTo>
                      <a:cubicBezTo>
                        <a:pt x="1741269" y="281790"/>
                        <a:pt x="1742555" y="282915"/>
                        <a:pt x="1743840" y="284040"/>
                      </a:cubicBezTo>
                      <a:cubicBezTo>
                        <a:pt x="1741350" y="282031"/>
                        <a:pt x="1738699" y="280104"/>
                        <a:pt x="1736129" y="277935"/>
                      </a:cubicBezTo>
                      <a:moveTo>
                        <a:pt x="1712512" y="260022"/>
                      </a:moveTo>
                      <a:cubicBezTo>
                        <a:pt x="1712432" y="259941"/>
                        <a:pt x="1712351" y="259941"/>
                        <a:pt x="1712271" y="259861"/>
                      </a:cubicBezTo>
                      <a:cubicBezTo>
                        <a:pt x="1712271" y="259861"/>
                        <a:pt x="1712351" y="259941"/>
                        <a:pt x="1712351" y="259941"/>
                      </a:cubicBezTo>
                      <a:cubicBezTo>
                        <a:pt x="1713396" y="260664"/>
                        <a:pt x="1714440" y="261387"/>
                        <a:pt x="1715484" y="262030"/>
                      </a:cubicBezTo>
                      <a:cubicBezTo>
                        <a:pt x="1714520" y="261387"/>
                        <a:pt x="1713556" y="260745"/>
                        <a:pt x="1712512" y="260022"/>
                      </a:cubicBezTo>
                      <a:moveTo>
                        <a:pt x="1411684" y="178248"/>
                      </a:moveTo>
                      <a:cubicBezTo>
                        <a:pt x="1410318" y="177043"/>
                        <a:pt x="1408631" y="175356"/>
                        <a:pt x="1407346" y="174151"/>
                      </a:cubicBezTo>
                      <a:cubicBezTo>
                        <a:pt x="1407667" y="174312"/>
                        <a:pt x="1408149" y="174472"/>
                        <a:pt x="1408471" y="174633"/>
                      </a:cubicBezTo>
                      <a:cubicBezTo>
                        <a:pt x="1434256" y="186441"/>
                        <a:pt x="1459158" y="199936"/>
                        <a:pt x="1485023" y="211423"/>
                      </a:cubicBezTo>
                      <a:cubicBezTo>
                        <a:pt x="1509443" y="222348"/>
                        <a:pt x="1519484" y="225159"/>
                        <a:pt x="1524946" y="226605"/>
                      </a:cubicBezTo>
                      <a:cubicBezTo>
                        <a:pt x="1521492" y="225721"/>
                        <a:pt x="1440361" y="204194"/>
                        <a:pt x="1411684" y="178248"/>
                      </a:cubicBezTo>
                      <a:moveTo>
                        <a:pt x="1509604" y="206764"/>
                      </a:moveTo>
                      <a:cubicBezTo>
                        <a:pt x="1509443" y="206684"/>
                        <a:pt x="1509282" y="206604"/>
                        <a:pt x="1509122" y="206604"/>
                      </a:cubicBezTo>
                      <a:cubicBezTo>
                        <a:pt x="1510969" y="204676"/>
                        <a:pt x="1510005" y="202587"/>
                        <a:pt x="1505427" y="198892"/>
                      </a:cubicBezTo>
                      <a:cubicBezTo>
                        <a:pt x="1505507" y="199615"/>
                        <a:pt x="1505346" y="200017"/>
                        <a:pt x="1504864" y="200418"/>
                      </a:cubicBezTo>
                      <a:cubicBezTo>
                        <a:pt x="1497554" y="192225"/>
                        <a:pt x="1492413" y="184754"/>
                        <a:pt x="1490486" y="179372"/>
                      </a:cubicBezTo>
                      <a:cubicBezTo>
                        <a:pt x="1492815" y="180015"/>
                        <a:pt x="1493056" y="179613"/>
                        <a:pt x="1492895" y="179051"/>
                      </a:cubicBezTo>
                      <a:cubicBezTo>
                        <a:pt x="1493458" y="179372"/>
                        <a:pt x="1494181" y="179854"/>
                        <a:pt x="1494743" y="180176"/>
                      </a:cubicBezTo>
                      <a:cubicBezTo>
                        <a:pt x="1495546" y="180336"/>
                        <a:pt x="1496430" y="180497"/>
                        <a:pt x="1497233" y="180658"/>
                      </a:cubicBezTo>
                      <a:cubicBezTo>
                        <a:pt x="1498840" y="181461"/>
                        <a:pt x="1500286" y="182023"/>
                        <a:pt x="1502454" y="182746"/>
                      </a:cubicBezTo>
                      <a:cubicBezTo>
                        <a:pt x="1502454" y="182666"/>
                        <a:pt x="1502454" y="182425"/>
                        <a:pt x="1502454" y="182344"/>
                      </a:cubicBezTo>
                      <a:cubicBezTo>
                        <a:pt x="1503097" y="181943"/>
                        <a:pt x="1503097" y="181943"/>
                        <a:pt x="1512094" y="185879"/>
                      </a:cubicBezTo>
                      <a:cubicBezTo>
                        <a:pt x="1511612" y="189172"/>
                        <a:pt x="1511130" y="190618"/>
                        <a:pt x="1504784" y="188369"/>
                      </a:cubicBezTo>
                      <a:cubicBezTo>
                        <a:pt x="1506471" y="190377"/>
                        <a:pt x="1508158" y="191662"/>
                        <a:pt x="1512174" y="193912"/>
                      </a:cubicBezTo>
                      <a:cubicBezTo>
                        <a:pt x="1506632" y="191421"/>
                        <a:pt x="1506551" y="191341"/>
                        <a:pt x="1503499" y="188610"/>
                      </a:cubicBezTo>
                      <a:cubicBezTo>
                        <a:pt x="1500045" y="185557"/>
                        <a:pt x="1495787" y="182023"/>
                        <a:pt x="1494823" y="182264"/>
                      </a:cubicBezTo>
                      <a:cubicBezTo>
                        <a:pt x="1495064" y="184594"/>
                        <a:pt x="1511532" y="204595"/>
                        <a:pt x="1511692" y="204756"/>
                      </a:cubicBezTo>
                      <a:cubicBezTo>
                        <a:pt x="1511692" y="204756"/>
                        <a:pt x="1513540" y="205238"/>
                        <a:pt x="1516191" y="205720"/>
                      </a:cubicBezTo>
                      <a:cubicBezTo>
                        <a:pt x="1512576" y="205800"/>
                        <a:pt x="1511773" y="206443"/>
                        <a:pt x="1512897" y="208451"/>
                      </a:cubicBezTo>
                      <a:cubicBezTo>
                        <a:pt x="1512254" y="208049"/>
                        <a:pt x="1511210" y="207407"/>
                        <a:pt x="1509604" y="206764"/>
                      </a:cubicBezTo>
                      <a:moveTo>
                        <a:pt x="20484" y="436181"/>
                      </a:moveTo>
                      <a:lnTo>
                        <a:pt x="20484" y="436181"/>
                      </a:lnTo>
                      <a:cubicBezTo>
                        <a:pt x="20564" y="436181"/>
                        <a:pt x="20644" y="436261"/>
                        <a:pt x="20725" y="436261"/>
                      </a:cubicBezTo>
                      <a:cubicBezTo>
                        <a:pt x="20564" y="436181"/>
                        <a:pt x="20484" y="436181"/>
                        <a:pt x="20484" y="436181"/>
                      </a:cubicBezTo>
                      <a:moveTo>
                        <a:pt x="16467" y="437948"/>
                      </a:moveTo>
                      <a:cubicBezTo>
                        <a:pt x="17431" y="436181"/>
                        <a:pt x="20002" y="433610"/>
                        <a:pt x="24179" y="430237"/>
                      </a:cubicBezTo>
                      <a:cubicBezTo>
                        <a:pt x="24179" y="430317"/>
                        <a:pt x="24098" y="430478"/>
                        <a:pt x="24098" y="430558"/>
                      </a:cubicBezTo>
                      <a:cubicBezTo>
                        <a:pt x="23215" y="432405"/>
                        <a:pt x="21046" y="434655"/>
                        <a:pt x="16226" y="439555"/>
                      </a:cubicBezTo>
                      <a:cubicBezTo>
                        <a:pt x="16146" y="439394"/>
                        <a:pt x="15905" y="438992"/>
                        <a:pt x="16467" y="437948"/>
                      </a:cubicBezTo>
                      <a:moveTo>
                        <a:pt x="20082" y="428550"/>
                      </a:moveTo>
                      <a:cubicBezTo>
                        <a:pt x="20002" y="428550"/>
                        <a:pt x="19921" y="428630"/>
                        <a:pt x="19841" y="428630"/>
                      </a:cubicBezTo>
                      <a:cubicBezTo>
                        <a:pt x="26508" y="423489"/>
                        <a:pt x="26508" y="423489"/>
                        <a:pt x="27552" y="422766"/>
                      </a:cubicBezTo>
                      <a:lnTo>
                        <a:pt x="27954" y="422605"/>
                      </a:lnTo>
                      <a:cubicBezTo>
                        <a:pt x="24741" y="425578"/>
                        <a:pt x="21689" y="428229"/>
                        <a:pt x="18877" y="430237"/>
                      </a:cubicBezTo>
                      <a:cubicBezTo>
                        <a:pt x="20162" y="429112"/>
                        <a:pt x="20805" y="428469"/>
                        <a:pt x="20805" y="428229"/>
                      </a:cubicBezTo>
                      <a:cubicBezTo>
                        <a:pt x="20805" y="428309"/>
                        <a:pt x="20725" y="428309"/>
                        <a:pt x="20082" y="428550"/>
                      </a:cubicBezTo>
                      <a:moveTo>
                        <a:pt x="53579" y="401399"/>
                      </a:moveTo>
                      <a:cubicBezTo>
                        <a:pt x="53900" y="400837"/>
                        <a:pt x="54703" y="399792"/>
                        <a:pt x="56631" y="398266"/>
                      </a:cubicBezTo>
                      <a:cubicBezTo>
                        <a:pt x="56631" y="398266"/>
                        <a:pt x="56551" y="398346"/>
                        <a:pt x="56551" y="398346"/>
                      </a:cubicBezTo>
                      <a:cubicBezTo>
                        <a:pt x="55507" y="399551"/>
                        <a:pt x="54221" y="400917"/>
                        <a:pt x="53418" y="401720"/>
                      </a:cubicBezTo>
                      <a:cubicBezTo>
                        <a:pt x="53418" y="401640"/>
                        <a:pt x="53498" y="401560"/>
                        <a:pt x="53579" y="401399"/>
                      </a:cubicBezTo>
                      <a:moveTo>
                        <a:pt x="53739" y="399310"/>
                      </a:moveTo>
                      <a:lnTo>
                        <a:pt x="53257" y="399712"/>
                      </a:lnTo>
                      <a:cubicBezTo>
                        <a:pt x="54864" y="398427"/>
                        <a:pt x="56872" y="396740"/>
                        <a:pt x="56069" y="396660"/>
                      </a:cubicBezTo>
                      <a:cubicBezTo>
                        <a:pt x="55908" y="396660"/>
                        <a:pt x="55667" y="396740"/>
                        <a:pt x="55507" y="396740"/>
                      </a:cubicBezTo>
                      <a:cubicBezTo>
                        <a:pt x="57434" y="395696"/>
                        <a:pt x="59041" y="394330"/>
                        <a:pt x="60166" y="393286"/>
                      </a:cubicBezTo>
                      <a:cubicBezTo>
                        <a:pt x="60085" y="393366"/>
                        <a:pt x="60005" y="393446"/>
                        <a:pt x="60005" y="393527"/>
                      </a:cubicBezTo>
                      <a:cubicBezTo>
                        <a:pt x="59362" y="394330"/>
                        <a:pt x="57194" y="396820"/>
                        <a:pt x="53739" y="399310"/>
                      </a:cubicBezTo>
                      <a:moveTo>
                        <a:pt x="20002" y="420356"/>
                      </a:moveTo>
                      <a:cubicBezTo>
                        <a:pt x="19921" y="420276"/>
                        <a:pt x="19921" y="420196"/>
                        <a:pt x="19841" y="420196"/>
                      </a:cubicBezTo>
                      <a:cubicBezTo>
                        <a:pt x="20484" y="419714"/>
                        <a:pt x="21046" y="419312"/>
                        <a:pt x="21689" y="418830"/>
                      </a:cubicBezTo>
                      <a:cubicBezTo>
                        <a:pt x="26026" y="415697"/>
                        <a:pt x="29079" y="414010"/>
                        <a:pt x="31810" y="413207"/>
                      </a:cubicBezTo>
                      <a:cubicBezTo>
                        <a:pt x="23375" y="421240"/>
                        <a:pt x="20805" y="421160"/>
                        <a:pt x="20002" y="420356"/>
                      </a:cubicBezTo>
                      <a:moveTo>
                        <a:pt x="55507" y="393928"/>
                      </a:moveTo>
                      <a:cubicBezTo>
                        <a:pt x="55426" y="393928"/>
                        <a:pt x="55346" y="394009"/>
                        <a:pt x="55346" y="394009"/>
                      </a:cubicBezTo>
                      <a:cubicBezTo>
                        <a:pt x="55346" y="394009"/>
                        <a:pt x="58398" y="391278"/>
                        <a:pt x="59041" y="391037"/>
                      </a:cubicBezTo>
                      <a:cubicBezTo>
                        <a:pt x="60246" y="390555"/>
                        <a:pt x="61451" y="389912"/>
                        <a:pt x="63218" y="388868"/>
                      </a:cubicBezTo>
                      <a:cubicBezTo>
                        <a:pt x="60648" y="390796"/>
                        <a:pt x="57434" y="392884"/>
                        <a:pt x="55507" y="393928"/>
                      </a:cubicBezTo>
                      <a:moveTo>
                        <a:pt x="0" y="434092"/>
                      </a:moveTo>
                      <a:cubicBezTo>
                        <a:pt x="0" y="434092"/>
                        <a:pt x="0" y="434092"/>
                        <a:pt x="0" y="434092"/>
                      </a:cubicBezTo>
                      <a:cubicBezTo>
                        <a:pt x="482" y="433450"/>
                        <a:pt x="1044" y="432646"/>
                        <a:pt x="1687" y="431924"/>
                      </a:cubicBezTo>
                      <a:lnTo>
                        <a:pt x="1687" y="431924"/>
                      </a:lnTo>
                      <a:cubicBezTo>
                        <a:pt x="1767" y="432004"/>
                        <a:pt x="1767" y="432004"/>
                        <a:pt x="1767" y="432084"/>
                      </a:cubicBezTo>
                      <a:cubicBezTo>
                        <a:pt x="1205" y="432727"/>
                        <a:pt x="643" y="433450"/>
                        <a:pt x="0" y="434092"/>
                      </a:cubicBezTo>
                      <a:moveTo>
                        <a:pt x="62736" y="387101"/>
                      </a:moveTo>
                      <a:cubicBezTo>
                        <a:pt x="62736" y="387101"/>
                        <a:pt x="62656" y="387181"/>
                        <a:pt x="62575" y="387181"/>
                      </a:cubicBezTo>
                      <a:cubicBezTo>
                        <a:pt x="63057" y="386619"/>
                        <a:pt x="63700" y="385976"/>
                        <a:pt x="64102" y="385414"/>
                      </a:cubicBezTo>
                      <a:lnTo>
                        <a:pt x="64262" y="385333"/>
                      </a:lnTo>
                      <a:cubicBezTo>
                        <a:pt x="64905" y="385012"/>
                        <a:pt x="65307" y="384932"/>
                        <a:pt x="65869" y="384771"/>
                      </a:cubicBezTo>
                      <a:cubicBezTo>
                        <a:pt x="65869" y="384851"/>
                        <a:pt x="65869" y="384932"/>
                        <a:pt x="65869" y="385012"/>
                      </a:cubicBezTo>
                      <a:cubicBezTo>
                        <a:pt x="64744" y="385655"/>
                        <a:pt x="63539" y="386458"/>
                        <a:pt x="62736" y="387101"/>
                      </a:cubicBezTo>
                      <a:moveTo>
                        <a:pt x="107880" y="358102"/>
                      </a:moveTo>
                      <a:lnTo>
                        <a:pt x="107479" y="358102"/>
                      </a:lnTo>
                      <a:cubicBezTo>
                        <a:pt x="108844" y="357138"/>
                        <a:pt x="109407" y="356817"/>
                        <a:pt x="110049" y="356415"/>
                      </a:cubicBezTo>
                      <a:cubicBezTo>
                        <a:pt x="110933" y="356013"/>
                        <a:pt x="111335" y="355853"/>
                        <a:pt x="111817" y="355853"/>
                      </a:cubicBezTo>
                      <a:cubicBezTo>
                        <a:pt x="111415" y="356174"/>
                        <a:pt x="110933" y="356576"/>
                        <a:pt x="110612" y="356897"/>
                      </a:cubicBezTo>
                      <a:lnTo>
                        <a:pt x="112138" y="356496"/>
                      </a:lnTo>
                      <a:lnTo>
                        <a:pt x="111736" y="356897"/>
                      </a:lnTo>
                      <a:cubicBezTo>
                        <a:pt x="109246" y="357620"/>
                        <a:pt x="108523" y="359146"/>
                        <a:pt x="108121" y="359869"/>
                      </a:cubicBezTo>
                      <a:cubicBezTo>
                        <a:pt x="106917" y="360191"/>
                        <a:pt x="106836" y="359709"/>
                        <a:pt x="107880" y="358102"/>
                      </a:cubicBezTo>
                      <a:moveTo>
                        <a:pt x="24661" y="411842"/>
                      </a:moveTo>
                      <a:cubicBezTo>
                        <a:pt x="24580" y="411842"/>
                        <a:pt x="24580" y="411842"/>
                        <a:pt x="24500" y="411842"/>
                      </a:cubicBezTo>
                      <a:cubicBezTo>
                        <a:pt x="24580" y="411761"/>
                        <a:pt x="24741" y="411681"/>
                        <a:pt x="24902" y="411601"/>
                      </a:cubicBezTo>
                      <a:cubicBezTo>
                        <a:pt x="25705" y="411199"/>
                        <a:pt x="26508" y="410797"/>
                        <a:pt x="27472" y="410556"/>
                      </a:cubicBezTo>
                      <a:cubicBezTo>
                        <a:pt x="27713" y="410476"/>
                        <a:pt x="27954" y="410476"/>
                        <a:pt x="28195" y="410476"/>
                      </a:cubicBezTo>
                      <a:cubicBezTo>
                        <a:pt x="28275" y="410476"/>
                        <a:pt x="28356" y="410476"/>
                        <a:pt x="28356" y="410476"/>
                      </a:cubicBezTo>
                      <a:cubicBezTo>
                        <a:pt x="28516" y="410476"/>
                        <a:pt x="28677" y="410637"/>
                        <a:pt x="28838" y="410637"/>
                      </a:cubicBezTo>
                      <a:cubicBezTo>
                        <a:pt x="28918" y="410637"/>
                        <a:pt x="28998" y="410637"/>
                        <a:pt x="29079" y="410637"/>
                      </a:cubicBezTo>
                      <a:cubicBezTo>
                        <a:pt x="29079" y="410637"/>
                        <a:pt x="29079" y="410717"/>
                        <a:pt x="29159" y="410717"/>
                      </a:cubicBezTo>
                      <a:cubicBezTo>
                        <a:pt x="29079" y="410958"/>
                        <a:pt x="28918" y="411199"/>
                        <a:pt x="28275" y="411842"/>
                      </a:cubicBezTo>
                      <a:cubicBezTo>
                        <a:pt x="27392" y="411601"/>
                        <a:pt x="26187" y="411520"/>
                        <a:pt x="24661" y="411842"/>
                      </a:cubicBezTo>
                      <a:moveTo>
                        <a:pt x="99928" y="358825"/>
                      </a:moveTo>
                      <a:cubicBezTo>
                        <a:pt x="100249" y="358343"/>
                        <a:pt x="101213" y="357219"/>
                        <a:pt x="102659" y="355853"/>
                      </a:cubicBezTo>
                      <a:cubicBezTo>
                        <a:pt x="102659" y="355853"/>
                        <a:pt x="102659" y="355933"/>
                        <a:pt x="102659" y="355933"/>
                      </a:cubicBezTo>
                      <a:cubicBezTo>
                        <a:pt x="102418" y="356817"/>
                        <a:pt x="101454" y="357781"/>
                        <a:pt x="99928" y="358825"/>
                      </a:cubicBezTo>
                      <a:cubicBezTo>
                        <a:pt x="99928" y="358825"/>
                        <a:pt x="99928" y="358825"/>
                        <a:pt x="99928" y="358825"/>
                      </a:cubicBezTo>
                      <a:moveTo>
                        <a:pt x="106756" y="352720"/>
                      </a:moveTo>
                      <a:cubicBezTo>
                        <a:pt x="106756" y="352720"/>
                        <a:pt x="106756" y="352720"/>
                        <a:pt x="106756" y="352720"/>
                      </a:cubicBezTo>
                      <a:cubicBezTo>
                        <a:pt x="107800" y="351917"/>
                        <a:pt x="108443" y="351596"/>
                        <a:pt x="108925" y="351274"/>
                      </a:cubicBezTo>
                      <a:cubicBezTo>
                        <a:pt x="109246" y="351114"/>
                        <a:pt x="109487" y="350953"/>
                        <a:pt x="109808" y="350873"/>
                      </a:cubicBezTo>
                      <a:cubicBezTo>
                        <a:pt x="108202" y="352318"/>
                        <a:pt x="107318" y="352800"/>
                        <a:pt x="106756" y="352720"/>
                      </a:cubicBezTo>
                      <a:moveTo>
                        <a:pt x="116395" y="345972"/>
                      </a:moveTo>
                      <a:lnTo>
                        <a:pt x="116154" y="345892"/>
                      </a:lnTo>
                      <a:lnTo>
                        <a:pt x="116315" y="345892"/>
                      </a:lnTo>
                      <a:cubicBezTo>
                        <a:pt x="116877" y="345812"/>
                        <a:pt x="117520" y="345732"/>
                        <a:pt x="118082" y="345651"/>
                      </a:cubicBezTo>
                      <a:cubicBezTo>
                        <a:pt x="118243" y="345651"/>
                        <a:pt x="118403" y="345491"/>
                        <a:pt x="118564" y="345651"/>
                      </a:cubicBezTo>
                      <a:cubicBezTo>
                        <a:pt x="118323" y="345812"/>
                        <a:pt x="116717" y="345972"/>
                        <a:pt x="116395" y="345972"/>
                      </a:cubicBezTo>
                      <a:moveTo>
                        <a:pt x="85148" y="363323"/>
                      </a:moveTo>
                      <a:lnTo>
                        <a:pt x="84746" y="363404"/>
                      </a:lnTo>
                      <a:cubicBezTo>
                        <a:pt x="85308" y="363002"/>
                        <a:pt x="85790" y="362520"/>
                        <a:pt x="86433" y="362118"/>
                      </a:cubicBezTo>
                      <a:cubicBezTo>
                        <a:pt x="86433" y="362118"/>
                        <a:pt x="86433" y="362118"/>
                        <a:pt x="86433" y="362118"/>
                      </a:cubicBezTo>
                      <a:cubicBezTo>
                        <a:pt x="86433" y="362279"/>
                        <a:pt x="85148" y="363323"/>
                        <a:pt x="85148" y="363323"/>
                      </a:cubicBezTo>
                      <a:moveTo>
                        <a:pt x="120251" y="341233"/>
                      </a:moveTo>
                      <a:cubicBezTo>
                        <a:pt x="120572" y="340671"/>
                        <a:pt x="121617" y="339466"/>
                        <a:pt x="124428" y="337619"/>
                      </a:cubicBezTo>
                      <a:cubicBezTo>
                        <a:pt x="124348" y="337619"/>
                        <a:pt x="124348" y="337699"/>
                        <a:pt x="124267" y="337779"/>
                      </a:cubicBezTo>
                      <a:cubicBezTo>
                        <a:pt x="122821" y="339064"/>
                        <a:pt x="121376" y="340350"/>
                        <a:pt x="120010" y="341635"/>
                      </a:cubicBezTo>
                      <a:cubicBezTo>
                        <a:pt x="120090" y="341474"/>
                        <a:pt x="120171" y="341314"/>
                        <a:pt x="120251" y="341233"/>
                      </a:cubicBezTo>
                      <a:moveTo>
                        <a:pt x="1327339" y="105551"/>
                      </a:moveTo>
                      <a:cubicBezTo>
                        <a:pt x="1327179" y="105551"/>
                        <a:pt x="1327018" y="105471"/>
                        <a:pt x="1326938" y="105471"/>
                      </a:cubicBezTo>
                      <a:cubicBezTo>
                        <a:pt x="1327018" y="105471"/>
                        <a:pt x="1327179" y="105471"/>
                        <a:pt x="1327339" y="105551"/>
                      </a:cubicBezTo>
                      <a:cubicBezTo>
                        <a:pt x="1328303" y="105631"/>
                        <a:pt x="1331436" y="106113"/>
                        <a:pt x="1337541" y="106595"/>
                      </a:cubicBezTo>
                      <a:cubicBezTo>
                        <a:pt x="1337702" y="106595"/>
                        <a:pt x="1338023" y="106595"/>
                        <a:pt x="1338184" y="106676"/>
                      </a:cubicBezTo>
                      <a:cubicBezTo>
                        <a:pt x="1338184" y="106676"/>
                        <a:pt x="1340513" y="107880"/>
                        <a:pt x="1341959" y="109487"/>
                      </a:cubicBezTo>
                      <a:cubicBezTo>
                        <a:pt x="1340031" y="108925"/>
                        <a:pt x="1334328" y="107238"/>
                        <a:pt x="1327339" y="105551"/>
                      </a:cubicBezTo>
                      <a:moveTo>
                        <a:pt x="2329" y="420838"/>
                      </a:moveTo>
                      <a:cubicBezTo>
                        <a:pt x="2329" y="420838"/>
                        <a:pt x="2249" y="420919"/>
                        <a:pt x="2249" y="420919"/>
                      </a:cubicBezTo>
                      <a:cubicBezTo>
                        <a:pt x="3454" y="419392"/>
                        <a:pt x="4739" y="417947"/>
                        <a:pt x="6025" y="416420"/>
                      </a:cubicBezTo>
                      <a:cubicBezTo>
                        <a:pt x="5864" y="416661"/>
                        <a:pt x="5623" y="416983"/>
                        <a:pt x="5462" y="417224"/>
                      </a:cubicBezTo>
                      <a:cubicBezTo>
                        <a:pt x="4418" y="418509"/>
                        <a:pt x="3374" y="419714"/>
                        <a:pt x="2329" y="420838"/>
                      </a:cubicBezTo>
                      <a:moveTo>
                        <a:pt x="130453" y="325328"/>
                      </a:moveTo>
                      <a:lnTo>
                        <a:pt x="130131" y="325409"/>
                      </a:lnTo>
                      <a:lnTo>
                        <a:pt x="130935" y="324686"/>
                      </a:lnTo>
                      <a:lnTo>
                        <a:pt x="131979" y="324364"/>
                      </a:lnTo>
                      <a:cubicBezTo>
                        <a:pt x="131497" y="325007"/>
                        <a:pt x="130935" y="325569"/>
                        <a:pt x="129971" y="326373"/>
                      </a:cubicBezTo>
                      <a:cubicBezTo>
                        <a:pt x="130453" y="325890"/>
                        <a:pt x="130935" y="325248"/>
                        <a:pt x="130453" y="325328"/>
                      </a:cubicBezTo>
                      <a:moveTo>
                        <a:pt x="1293200" y="94305"/>
                      </a:moveTo>
                      <a:cubicBezTo>
                        <a:pt x="1292959" y="94144"/>
                        <a:pt x="1292638" y="93903"/>
                        <a:pt x="1292397" y="93743"/>
                      </a:cubicBezTo>
                      <a:cubicBezTo>
                        <a:pt x="1292879" y="92859"/>
                        <a:pt x="1291995" y="91493"/>
                        <a:pt x="1289826" y="89726"/>
                      </a:cubicBezTo>
                      <a:cubicBezTo>
                        <a:pt x="1291433" y="89887"/>
                        <a:pt x="1292718" y="90048"/>
                        <a:pt x="1294566" y="90530"/>
                      </a:cubicBezTo>
                      <a:cubicBezTo>
                        <a:pt x="1295289" y="92698"/>
                        <a:pt x="1296654" y="96795"/>
                        <a:pt x="1298984" y="92377"/>
                      </a:cubicBezTo>
                      <a:cubicBezTo>
                        <a:pt x="1299064" y="92216"/>
                        <a:pt x="1299144" y="91975"/>
                        <a:pt x="1299225" y="91815"/>
                      </a:cubicBezTo>
                      <a:cubicBezTo>
                        <a:pt x="1303161" y="93582"/>
                        <a:pt x="1304044" y="93743"/>
                        <a:pt x="1304366" y="93421"/>
                      </a:cubicBezTo>
                      <a:cubicBezTo>
                        <a:pt x="1304285" y="93020"/>
                        <a:pt x="1304044" y="92618"/>
                        <a:pt x="1302116" y="90851"/>
                      </a:cubicBezTo>
                      <a:cubicBezTo>
                        <a:pt x="1304928" y="92377"/>
                        <a:pt x="1307257" y="93743"/>
                        <a:pt x="1310069" y="95430"/>
                      </a:cubicBezTo>
                      <a:cubicBezTo>
                        <a:pt x="1308623" y="91493"/>
                        <a:pt x="1308302" y="90530"/>
                        <a:pt x="1314005" y="91172"/>
                      </a:cubicBezTo>
                      <a:cubicBezTo>
                        <a:pt x="1315933" y="91413"/>
                        <a:pt x="1317298" y="91734"/>
                        <a:pt x="1320110" y="92377"/>
                      </a:cubicBezTo>
                      <a:cubicBezTo>
                        <a:pt x="1314407" y="92056"/>
                        <a:pt x="1313202" y="92136"/>
                        <a:pt x="1313041" y="92538"/>
                      </a:cubicBezTo>
                      <a:cubicBezTo>
                        <a:pt x="1313443" y="93020"/>
                        <a:pt x="1314889" y="93502"/>
                        <a:pt x="1318102" y="94385"/>
                      </a:cubicBezTo>
                      <a:cubicBezTo>
                        <a:pt x="1317780" y="94546"/>
                        <a:pt x="1316897" y="94948"/>
                        <a:pt x="1313844" y="94626"/>
                      </a:cubicBezTo>
                      <a:cubicBezTo>
                        <a:pt x="1314728" y="95108"/>
                        <a:pt x="1315531" y="95671"/>
                        <a:pt x="1316415" y="96153"/>
                      </a:cubicBezTo>
                      <a:cubicBezTo>
                        <a:pt x="1314407" y="96233"/>
                        <a:pt x="1309828" y="96474"/>
                        <a:pt x="1310872" y="97759"/>
                      </a:cubicBezTo>
                      <a:cubicBezTo>
                        <a:pt x="1311676" y="98723"/>
                        <a:pt x="1316013" y="99848"/>
                        <a:pt x="1318102" y="100410"/>
                      </a:cubicBezTo>
                      <a:cubicBezTo>
                        <a:pt x="1318022" y="100571"/>
                        <a:pt x="1317861" y="100731"/>
                        <a:pt x="1317780" y="100892"/>
                      </a:cubicBezTo>
                      <a:cubicBezTo>
                        <a:pt x="1316977" y="102257"/>
                        <a:pt x="1317539" y="102980"/>
                        <a:pt x="1320110" y="104025"/>
                      </a:cubicBezTo>
                      <a:cubicBezTo>
                        <a:pt x="1316656" y="103382"/>
                        <a:pt x="1314728" y="103061"/>
                        <a:pt x="1312077" y="102739"/>
                      </a:cubicBezTo>
                      <a:cubicBezTo>
                        <a:pt x="1313121" y="102418"/>
                        <a:pt x="1313282" y="102338"/>
                        <a:pt x="1313443" y="102097"/>
                      </a:cubicBezTo>
                      <a:cubicBezTo>
                        <a:pt x="1313121" y="101856"/>
                        <a:pt x="1312961" y="101695"/>
                        <a:pt x="1310069" y="101695"/>
                      </a:cubicBezTo>
                      <a:cubicBezTo>
                        <a:pt x="1306695" y="96474"/>
                        <a:pt x="1303402" y="92136"/>
                        <a:pt x="1302679" y="95751"/>
                      </a:cubicBezTo>
                      <a:cubicBezTo>
                        <a:pt x="1302679" y="95912"/>
                        <a:pt x="1302598" y="96072"/>
                        <a:pt x="1302598" y="96233"/>
                      </a:cubicBezTo>
                      <a:cubicBezTo>
                        <a:pt x="1300992" y="96313"/>
                        <a:pt x="1297457" y="96876"/>
                        <a:pt x="1293200" y="94305"/>
                      </a:cubicBezTo>
                      <a:moveTo>
                        <a:pt x="441804" y="178569"/>
                      </a:moveTo>
                      <a:cubicBezTo>
                        <a:pt x="441884" y="178328"/>
                        <a:pt x="442687" y="177445"/>
                        <a:pt x="442687" y="177445"/>
                      </a:cubicBezTo>
                      <a:cubicBezTo>
                        <a:pt x="442687" y="177525"/>
                        <a:pt x="442607" y="177525"/>
                        <a:pt x="442607" y="177605"/>
                      </a:cubicBezTo>
                      <a:cubicBezTo>
                        <a:pt x="442928" y="177525"/>
                        <a:pt x="443250" y="177445"/>
                        <a:pt x="443571" y="177364"/>
                      </a:cubicBezTo>
                      <a:cubicBezTo>
                        <a:pt x="442366" y="178408"/>
                        <a:pt x="441804" y="178810"/>
                        <a:pt x="441804" y="178569"/>
                      </a:cubicBezTo>
                      <a:cubicBezTo>
                        <a:pt x="441804" y="178649"/>
                        <a:pt x="441804" y="178569"/>
                        <a:pt x="441804" y="178569"/>
                      </a:cubicBezTo>
                      <a:moveTo>
                        <a:pt x="177926" y="278015"/>
                      </a:moveTo>
                      <a:cubicBezTo>
                        <a:pt x="177926" y="278015"/>
                        <a:pt x="177926" y="277935"/>
                        <a:pt x="177926" y="277935"/>
                      </a:cubicBezTo>
                      <a:cubicBezTo>
                        <a:pt x="177926" y="277935"/>
                        <a:pt x="178007" y="277935"/>
                        <a:pt x="178007" y="277854"/>
                      </a:cubicBezTo>
                      <a:cubicBezTo>
                        <a:pt x="179292" y="277212"/>
                        <a:pt x="180577" y="276569"/>
                        <a:pt x="181863" y="275926"/>
                      </a:cubicBezTo>
                      <a:cubicBezTo>
                        <a:pt x="181059" y="276730"/>
                        <a:pt x="178569" y="279220"/>
                        <a:pt x="177926" y="278015"/>
                      </a:cubicBezTo>
                      <a:moveTo>
                        <a:pt x="146518" y="287092"/>
                      </a:moveTo>
                      <a:cubicBezTo>
                        <a:pt x="146438" y="287092"/>
                        <a:pt x="146438" y="287092"/>
                        <a:pt x="146518" y="287092"/>
                      </a:cubicBezTo>
                      <a:cubicBezTo>
                        <a:pt x="147000" y="286610"/>
                        <a:pt x="148607" y="285004"/>
                        <a:pt x="150936" y="283558"/>
                      </a:cubicBezTo>
                      <a:cubicBezTo>
                        <a:pt x="151177" y="283397"/>
                        <a:pt x="151338" y="283317"/>
                        <a:pt x="151579" y="283156"/>
                      </a:cubicBezTo>
                      <a:cubicBezTo>
                        <a:pt x="149490" y="285164"/>
                        <a:pt x="147643" y="286369"/>
                        <a:pt x="146518" y="287092"/>
                      </a:cubicBezTo>
                      <a:moveTo>
                        <a:pt x="1400438" y="75508"/>
                      </a:moveTo>
                      <a:cubicBezTo>
                        <a:pt x="1400277" y="75428"/>
                        <a:pt x="1400036" y="75348"/>
                        <a:pt x="1399876" y="75348"/>
                      </a:cubicBezTo>
                      <a:cubicBezTo>
                        <a:pt x="1401482" y="75910"/>
                        <a:pt x="1403089" y="76392"/>
                        <a:pt x="1404695" y="76954"/>
                      </a:cubicBezTo>
                      <a:cubicBezTo>
                        <a:pt x="1410800" y="79043"/>
                        <a:pt x="1416102" y="80971"/>
                        <a:pt x="1422367" y="83461"/>
                      </a:cubicBezTo>
                      <a:cubicBezTo>
                        <a:pt x="1422769" y="83621"/>
                        <a:pt x="1423171" y="83862"/>
                        <a:pt x="1423572" y="84023"/>
                      </a:cubicBezTo>
                      <a:cubicBezTo>
                        <a:pt x="1415941" y="81211"/>
                        <a:pt x="1408230" y="78239"/>
                        <a:pt x="1400438" y="75508"/>
                      </a:cubicBezTo>
                      <a:moveTo>
                        <a:pt x="1395377" y="72777"/>
                      </a:moveTo>
                      <a:cubicBezTo>
                        <a:pt x="1395136" y="72697"/>
                        <a:pt x="1394735" y="72536"/>
                        <a:pt x="1394413" y="72456"/>
                      </a:cubicBezTo>
                      <a:cubicBezTo>
                        <a:pt x="1394654" y="72536"/>
                        <a:pt x="1394976" y="72697"/>
                        <a:pt x="1395217" y="72777"/>
                      </a:cubicBezTo>
                      <a:cubicBezTo>
                        <a:pt x="1400358" y="74625"/>
                        <a:pt x="1405499" y="76553"/>
                        <a:pt x="1410640" y="78400"/>
                      </a:cubicBezTo>
                      <a:cubicBezTo>
                        <a:pt x="1410318" y="78239"/>
                        <a:pt x="1409113" y="77998"/>
                        <a:pt x="1395377" y="72777"/>
                      </a:cubicBezTo>
                      <a:moveTo>
                        <a:pt x="639170" y="78802"/>
                      </a:moveTo>
                      <a:lnTo>
                        <a:pt x="638688" y="78721"/>
                      </a:lnTo>
                      <a:cubicBezTo>
                        <a:pt x="641017" y="77677"/>
                        <a:pt x="643588" y="76713"/>
                        <a:pt x="646560" y="75749"/>
                      </a:cubicBezTo>
                      <a:cubicBezTo>
                        <a:pt x="646560" y="75749"/>
                        <a:pt x="646480" y="75830"/>
                        <a:pt x="646480" y="75830"/>
                      </a:cubicBezTo>
                      <a:cubicBezTo>
                        <a:pt x="645114" y="77516"/>
                        <a:pt x="639250" y="78802"/>
                        <a:pt x="639170" y="78802"/>
                      </a:cubicBezTo>
                      <a:moveTo>
                        <a:pt x="642383" y="76231"/>
                      </a:moveTo>
                      <a:lnTo>
                        <a:pt x="639571" y="76633"/>
                      </a:lnTo>
                      <a:cubicBezTo>
                        <a:pt x="640696" y="75830"/>
                        <a:pt x="642463" y="75106"/>
                        <a:pt x="644391" y="74544"/>
                      </a:cubicBezTo>
                      <a:cubicBezTo>
                        <a:pt x="644311" y="74625"/>
                        <a:pt x="644311" y="74705"/>
                        <a:pt x="644230" y="74785"/>
                      </a:cubicBezTo>
                      <a:lnTo>
                        <a:pt x="644632" y="75267"/>
                      </a:lnTo>
                      <a:cubicBezTo>
                        <a:pt x="643186" y="76312"/>
                        <a:pt x="642302" y="77035"/>
                        <a:pt x="642383" y="76392"/>
                      </a:cubicBezTo>
                      <a:cubicBezTo>
                        <a:pt x="642383" y="76472"/>
                        <a:pt x="642383" y="76312"/>
                        <a:pt x="642383" y="76231"/>
                      </a:cubicBezTo>
                      <a:moveTo>
                        <a:pt x="1382926" y="67395"/>
                      </a:moveTo>
                      <a:cubicBezTo>
                        <a:pt x="1382685" y="67315"/>
                        <a:pt x="1382444" y="67234"/>
                        <a:pt x="1382284" y="67154"/>
                      </a:cubicBezTo>
                      <a:cubicBezTo>
                        <a:pt x="1382525" y="67074"/>
                        <a:pt x="1383087" y="67154"/>
                        <a:pt x="1387505" y="68761"/>
                      </a:cubicBezTo>
                      <a:cubicBezTo>
                        <a:pt x="1394574" y="71411"/>
                        <a:pt x="1402767" y="74705"/>
                        <a:pt x="1402848" y="74785"/>
                      </a:cubicBezTo>
                      <a:cubicBezTo>
                        <a:pt x="1393289" y="71010"/>
                        <a:pt x="1386943" y="68680"/>
                        <a:pt x="1382926" y="67395"/>
                      </a:cubicBezTo>
                      <a:moveTo>
                        <a:pt x="178489" y="248294"/>
                      </a:moveTo>
                      <a:cubicBezTo>
                        <a:pt x="178408" y="248294"/>
                        <a:pt x="178408" y="248374"/>
                        <a:pt x="178328" y="248374"/>
                      </a:cubicBezTo>
                      <a:cubicBezTo>
                        <a:pt x="180577" y="246607"/>
                        <a:pt x="183549" y="244277"/>
                        <a:pt x="185799" y="242510"/>
                      </a:cubicBezTo>
                      <a:lnTo>
                        <a:pt x="185959" y="242349"/>
                      </a:lnTo>
                      <a:cubicBezTo>
                        <a:pt x="186120" y="242269"/>
                        <a:pt x="186200" y="242189"/>
                        <a:pt x="186361" y="242028"/>
                      </a:cubicBezTo>
                      <a:cubicBezTo>
                        <a:pt x="183790" y="244197"/>
                        <a:pt x="181220" y="246286"/>
                        <a:pt x="178489" y="248294"/>
                      </a:cubicBezTo>
                      <a:moveTo>
                        <a:pt x="801593" y="24018"/>
                      </a:moveTo>
                      <a:lnTo>
                        <a:pt x="800147" y="23456"/>
                      </a:lnTo>
                      <a:lnTo>
                        <a:pt x="800308" y="23456"/>
                      </a:lnTo>
                      <a:cubicBezTo>
                        <a:pt x="801111" y="23456"/>
                        <a:pt x="802075" y="23536"/>
                        <a:pt x="801754" y="23857"/>
                      </a:cubicBezTo>
                      <a:cubicBezTo>
                        <a:pt x="801673" y="23938"/>
                        <a:pt x="801673" y="24018"/>
                        <a:pt x="801593" y="24018"/>
                      </a:cubicBezTo>
                      <a:moveTo>
                        <a:pt x="842319" y="14860"/>
                      </a:moveTo>
                      <a:cubicBezTo>
                        <a:pt x="842239" y="14860"/>
                        <a:pt x="842159" y="14860"/>
                        <a:pt x="841998" y="14860"/>
                      </a:cubicBezTo>
                      <a:cubicBezTo>
                        <a:pt x="842078" y="14941"/>
                        <a:pt x="842159" y="14941"/>
                        <a:pt x="842319" y="14860"/>
                      </a:cubicBezTo>
                      <a:cubicBezTo>
                        <a:pt x="843765" y="14700"/>
                        <a:pt x="845372" y="14620"/>
                        <a:pt x="846898" y="14459"/>
                      </a:cubicBezTo>
                      <a:cubicBezTo>
                        <a:pt x="845372" y="14620"/>
                        <a:pt x="843845" y="14780"/>
                        <a:pt x="842319" y="14860"/>
                      </a:cubicBezTo>
                      <a:moveTo>
                        <a:pt x="1195762" y="11246"/>
                      </a:moveTo>
                      <a:lnTo>
                        <a:pt x="1176002" y="7069"/>
                      </a:lnTo>
                      <a:lnTo>
                        <a:pt x="1186444" y="9157"/>
                      </a:lnTo>
                      <a:lnTo>
                        <a:pt x="1186605" y="9157"/>
                      </a:lnTo>
                      <a:cubicBezTo>
                        <a:pt x="1189657" y="9880"/>
                        <a:pt x="1192710" y="10523"/>
                        <a:pt x="1195762" y="11246"/>
                      </a:cubicBezTo>
                      <a:moveTo>
                        <a:pt x="1140015" y="643"/>
                      </a:moveTo>
                      <a:cubicBezTo>
                        <a:pt x="1139051" y="482"/>
                        <a:pt x="1137685" y="482"/>
                        <a:pt x="1136882" y="0"/>
                      </a:cubicBezTo>
                      <a:lnTo>
                        <a:pt x="1175841" y="6988"/>
                      </a:lnTo>
                      <a:lnTo>
                        <a:pt x="1176002" y="6988"/>
                      </a:lnTo>
                      <a:cubicBezTo>
                        <a:pt x="1167969" y="5462"/>
                        <a:pt x="1157446" y="3534"/>
                        <a:pt x="1140015" y="643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8" name="Freeform: Shape 417">
                  <a:extLst>
                    <a:ext uri="{FF2B5EF4-FFF2-40B4-BE49-F238E27FC236}">
                      <a16:creationId xmlns:a16="http://schemas.microsoft.com/office/drawing/2014/main" id="{B91DF494-68F2-CF15-A6C5-AA4517054F58}"/>
                    </a:ext>
                  </a:extLst>
                </p:cNvPr>
                <p:cNvSpPr/>
                <p:nvPr/>
              </p:nvSpPr>
              <p:spPr>
                <a:xfrm>
                  <a:off x="-4818267" y="1910979"/>
                  <a:ext cx="1787136" cy="793560"/>
                </a:xfrm>
                <a:custGeom>
                  <a:avLst/>
                  <a:gdLst>
                    <a:gd name="connsiteX0" fmla="*/ 552737 w 1787136"/>
                    <a:gd name="connsiteY0" fmla="*/ 21046 h 793560"/>
                    <a:gd name="connsiteX1" fmla="*/ 551211 w 1787136"/>
                    <a:gd name="connsiteY1" fmla="*/ 20965 h 793560"/>
                    <a:gd name="connsiteX2" fmla="*/ 564866 w 1787136"/>
                    <a:gd name="connsiteY2" fmla="*/ 16307 h 793560"/>
                    <a:gd name="connsiteX3" fmla="*/ 589286 w 1787136"/>
                    <a:gd name="connsiteY3" fmla="*/ 17029 h 793560"/>
                    <a:gd name="connsiteX4" fmla="*/ 552737 w 1787136"/>
                    <a:gd name="connsiteY4" fmla="*/ 21046 h 793560"/>
                    <a:gd name="connsiteX5" fmla="*/ 572417 w 1787136"/>
                    <a:gd name="connsiteY5" fmla="*/ 13094 h 793560"/>
                    <a:gd name="connsiteX6" fmla="*/ 572417 w 1787136"/>
                    <a:gd name="connsiteY6" fmla="*/ 13094 h 793560"/>
                    <a:gd name="connsiteX7" fmla="*/ 578281 w 1787136"/>
                    <a:gd name="connsiteY7" fmla="*/ 14620 h 793560"/>
                    <a:gd name="connsiteX8" fmla="*/ 572417 w 1787136"/>
                    <a:gd name="connsiteY8" fmla="*/ 13094 h 793560"/>
                    <a:gd name="connsiteX9" fmla="*/ 904573 w 1787136"/>
                    <a:gd name="connsiteY9" fmla="*/ 17913 h 793560"/>
                    <a:gd name="connsiteX10" fmla="*/ 904413 w 1787136"/>
                    <a:gd name="connsiteY10" fmla="*/ 17913 h 793560"/>
                    <a:gd name="connsiteX11" fmla="*/ 904573 w 1787136"/>
                    <a:gd name="connsiteY11" fmla="*/ 17913 h 793560"/>
                    <a:gd name="connsiteX12" fmla="*/ 904573 w 1787136"/>
                    <a:gd name="connsiteY12" fmla="*/ 17913 h 793560"/>
                    <a:gd name="connsiteX13" fmla="*/ 904573 w 1787136"/>
                    <a:gd name="connsiteY13" fmla="*/ 17913 h 793560"/>
                    <a:gd name="connsiteX14" fmla="*/ 477068 w 1787136"/>
                    <a:gd name="connsiteY14" fmla="*/ 20484 h 793560"/>
                    <a:gd name="connsiteX15" fmla="*/ 475220 w 1787136"/>
                    <a:gd name="connsiteY15" fmla="*/ 20243 h 793560"/>
                    <a:gd name="connsiteX16" fmla="*/ 490884 w 1787136"/>
                    <a:gd name="connsiteY16" fmla="*/ 17351 h 793560"/>
                    <a:gd name="connsiteX17" fmla="*/ 513858 w 1787136"/>
                    <a:gd name="connsiteY17" fmla="*/ 12612 h 793560"/>
                    <a:gd name="connsiteX18" fmla="*/ 516107 w 1787136"/>
                    <a:gd name="connsiteY18" fmla="*/ 13495 h 793560"/>
                    <a:gd name="connsiteX19" fmla="*/ 477068 w 1787136"/>
                    <a:gd name="connsiteY19" fmla="*/ 20484 h 793560"/>
                    <a:gd name="connsiteX20" fmla="*/ 525586 w 1787136"/>
                    <a:gd name="connsiteY20" fmla="*/ 11326 h 793560"/>
                    <a:gd name="connsiteX21" fmla="*/ 522534 w 1787136"/>
                    <a:gd name="connsiteY21" fmla="*/ 11326 h 793560"/>
                    <a:gd name="connsiteX22" fmla="*/ 557155 w 1787136"/>
                    <a:gd name="connsiteY22" fmla="*/ 4739 h 793560"/>
                    <a:gd name="connsiteX23" fmla="*/ 590491 w 1787136"/>
                    <a:gd name="connsiteY23" fmla="*/ 2972 h 793560"/>
                    <a:gd name="connsiteX24" fmla="*/ 594507 w 1787136"/>
                    <a:gd name="connsiteY24" fmla="*/ 4418 h 793560"/>
                    <a:gd name="connsiteX25" fmla="*/ 598042 w 1787136"/>
                    <a:gd name="connsiteY25" fmla="*/ 4498 h 793560"/>
                    <a:gd name="connsiteX26" fmla="*/ 545427 w 1787136"/>
                    <a:gd name="connsiteY26" fmla="*/ 11487 h 793560"/>
                    <a:gd name="connsiteX27" fmla="*/ 549042 w 1787136"/>
                    <a:gd name="connsiteY27" fmla="*/ 9238 h 793560"/>
                    <a:gd name="connsiteX28" fmla="*/ 545668 w 1787136"/>
                    <a:gd name="connsiteY28" fmla="*/ 7390 h 793560"/>
                    <a:gd name="connsiteX29" fmla="*/ 525586 w 1787136"/>
                    <a:gd name="connsiteY29" fmla="*/ 11326 h 793560"/>
                    <a:gd name="connsiteX30" fmla="*/ 1455382 w 1787136"/>
                    <a:gd name="connsiteY30" fmla="*/ 645837 h 793560"/>
                    <a:gd name="connsiteX31" fmla="*/ 1464138 w 1787136"/>
                    <a:gd name="connsiteY31" fmla="*/ 640776 h 793560"/>
                    <a:gd name="connsiteX32" fmla="*/ 1454900 w 1787136"/>
                    <a:gd name="connsiteY32" fmla="*/ 645676 h 793560"/>
                    <a:gd name="connsiteX33" fmla="*/ 1455382 w 1787136"/>
                    <a:gd name="connsiteY33" fmla="*/ 645837 h 793560"/>
                    <a:gd name="connsiteX34" fmla="*/ 1461327 w 1787136"/>
                    <a:gd name="connsiteY34" fmla="*/ 585993 h 793560"/>
                    <a:gd name="connsiteX35" fmla="*/ 1464540 w 1787136"/>
                    <a:gd name="connsiteY35" fmla="*/ 585671 h 793560"/>
                    <a:gd name="connsiteX36" fmla="*/ 1465745 w 1787136"/>
                    <a:gd name="connsiteY36" fmla="*/ 585511 h 793560"/>
                    <a:gd name="connsiteX37" fmla="*/ 1461086 w 1787136"/>
                    <a:gd name="connsiteY37" fmla="*/ 585752 h 793560"/>
                    <a:gd name="connsiteX38" fmla="*/ 1461327 w 1787136"/>
                    <a:gd name="connsiteY38" fmla="*/ 585993 h 793560"/>
                    <a:gd name="connsiteX39" fmla="*/ 1639896 w 1787136"/>
                    <a:gd name="connsiteY39" fmla="*/ 599729 h 793560"/>
                    <a:gd name="connsiteX40" fmla="*/ 1639735 w 1787136"/>
                    <a:gd name="connsiteY40" fmla="*/ 598925 h 793560"/>
                    <a:gd name="connsiteX41" fmla="*/ 1639896 w 1787136"/>
                    <a:gd name="connsiteY41" fmla="*/ 599729 h 793560"/>
                    <a:gd name="connsiteX42" fmla="*/ 1639896 w 1787136"/>
                    <a:gd name="connsiteY42" fmla="*/ 599729 h 793560"/>
                    <a:gd name="connsiteX43" fmla="*/ 1575312 w 1787136"/>
                    <a:gd name="connsiteY43" fmla="*/ 517955 h 793560"/>
                    <a:gd name="connsiteX44" fmla="*/ 1577802 w 1787136"/>
                    <a:gd name="connsiteY44" fmla="*/ 518999 h 793560"/>
                    <a:gd name="connsiteX45" fmla="*/ 1580292 w 1787136"/>
                    <a:gd name="connsiteY45" fmla="*/ 519481 h 793560"/>
                    <a:gd name="connsiteX46" fmla="*/ 1580533 w 1787136"/>
                    <a:gd name="connsiteY46" fmla="*/ 518035 h 793560"/>
                    <a:gd name="connsiteX47" fmla="*/ 1574830 w 1787136"/>
                    <a:gd name="connsiteY47" fmla="*/ 517714 h 793560"/>
                    <a:gd name="connsiteX48" fmla="*/ 1575312 w 1787136"/>
                    <a:gd name="connsiteY48" fmla="*/ 517955 h 793560"/>
                    <a:gd name="connsiteX49" fmla="*/ 1196244 w 1787136"/>
                    <a:gd name="connsiteY49" fmla="*/ 452568 h 793560"/>
                    <a:gd name="connsiteX50" fmla="*/ 1197128 w 1787136"/>
                    <a:gd name="connsiteY50" fmla="*/ 452969 h 793560"/>
                    <a:gd name="connsiteX51" fmla="*/ 1201867 w 1787136"/>
                    <a:gd name="connsiteY51" fmla="*/ 454416 h 793560"/>
                    <a:gd name="connsiteX52" fmla="*/ 1203875 w 1787136"/>
                    <a:gd name="connsiteY52" fmla="*/ 446865 h 793560"/>
                    <a:gd name="connsiteX53" fmla="*/ 1200984 w 1787136"/>
                    <a:gd name="connsiteY53" fmla="*/ 451604 h 793560"/>
                    <a:gd name="connsiteX54" fmla="*/ 1201385 w 1787136"/>
                    <a:gd name="connsiteY54" fmla="*/ 452327 h 793560"/>
                    <a:gd name="connsiteX55" fmla="*/ 1195602 w 1787136"/>
                    <a:gd name="connsiteY55" fmla="*/ 452487 h 793560"/>
                    <a:gd name="connsiteX56" fmla="*/ 1196244 w 1787136"/>
                    <a:gd name="connsiteY56" fmla="*/ 452568 h 793560"/>
                    <a:gd name="connsiteX57" fmla="*/ 1248216 w 1787136"/>
                    <a:gd name="connsiteY57" fmla="*/ 447989 h 793560"/>
                    <a:gd name="connsiteX58" fmla="*/ 1250626 w 1787136"/>
                    <a:gd name="connsiteY58" fmla="*/ 448230 h 793560"/>
                    <a:gd name="connsiteX59" fmla="*/ 1250626 w 1787136"/>
                    <a:gd name="connsiteY59" fmla="*/ 448230 h 793560"/>
                    <a:gd name="connsiteX60" fmla="*/ 1247895 w 1787136"/>
                    <a:gd name="connsiteY60" fmla="*/ 447909 h 793560"/>
                    <a:gd name="connsiteX61" fmla="*/ 1248216 w 1787136"/>
                    <a:gd name="connsiteY61" fmla="*/ 447989 h 793560"/>
                    <a:gd name="connsiteX62" fmla="*/ 1236007 w 1787136"/>
                    <a:gd name="connsiteY62" fmla="*/ 447186 h 793560"/>
                    <a:gd name="connsiteX63" fmla="*/ 1238818 w 1787136"/>
                    <a:gd name="connsiteY63" fmla="*/ 446222 h 793560"/>
                    <a:gd name="connsiteX64" fmla="*/ 1235685 w 1787136"/>
                    <a:gd name="connsiteY64" fmla="*/ 447106 h 793560"/>
                    <a:gd name="connsiteX65" fmla="*/ 1236007 w 1787136"/>
                    <a:gd name="connsiteY65" fmla="*/ 447186 h 793560"/>
                    <a:gd name="connsiteX66" fmla="*/ 1200823 w 1787136"/>
                    <a:gd name="connsiteY66" fmla="*/ 444375 h 793560"/>
                    <a:gd name="connsiteX67" fmla="*/ 1201225 w 1787136"/>
                    <a:gd name="connsiteY67" fmla="*/ 444535 h 793560"/>
                    <a:gd name="connsiteX68" fmla="*/ 1204277 w 1787136"/>
                    <a:gd name="connsiteY68" fmla="*/ 443732 h 793560"/>
                    <a:gd name="connsiteX69" fmla="*/ 1201385 w 1787136"/>
                    <a:gd name="connsiteY69" fmla="*/ 443089 h 793560"/>
                    <a:gd name="connsiteX70" fmla="*/ 1200823 w 1787136"/>
                    <a:gd name="connsiteY70" fmla="*/ 444375 h 793560"/>
                    <a:gd name="connsiteX71" fmla="*/ 1233115 w 1787136"/>
                    <a:gd name="connsiteY71" fmla="*/ 445660 h 793560"/>
                    <a:gd name="connsiteX72" fmla="*/ 1234882 w 1787136"/>
                    <a:gd name="connsiteY72" fmla="*/ 446383 h 793560"/>
                    <a:gd name="connsiteX73" fmla="*/ 1234400 w 1787136"/>
                    <a:gd name="connsiteY73" fmla="*/ 445499 h 793560"/>
                    <a:gd name="connsiteX74" fmla="*/ 1233034 w 1787136"/>
                    <a:gd name="connsiteY74" fmla="*/ 444214 h 793560"/>
                    <a:gd name="connsiteX75" fmla="*/ 1232874 w 1787136"/>
                    <a:gd name="connsiteY75" fmla="*/ 445579 h 793560"/>
                    <a:gd name="connsiteX76" fmla="*/ 1233115 w 1787136"/>
                    <a:gd name="connsiteY76" fmla="*/ 445660 h 793560"/>
                    <a:gd name="connsiteX77" fmla="*/ 1194156 w 1787136"/>
                    <a:gd name="connsiteY77" fmla="*/ 441402 h 793560"/>
                    <a:gd name="connsiteX78" fmla="*/ 1195843 w 1787136"/>
                    <a:gd name="connsiteY78" fmla="*/ 442446 h 793560"/>
                    <a:gd name="connsiteX79" fmla="*/ 1197770 w 1787136"/>
                    <a:gd name="connsiteY79" fmla="*/ 441242 h 793560"/>
                    <a:gd name="connsiteX80" fmla="*/ 1197449 w 1787136"/>
                    <a:gd name="connsiteY80" fmla="*/ 441161 h 793560"/>
                    <a:gd name="connsiteX81" fmla="*/ 1194075 w 1787136"/>
                    <a:gd name="connsiteY81" fmla="*/ 441322 h 793560"/>
                    <a:gd name="connsiteX82" fmla="*/ 1194156 w 1787136"/>
                    <a:gd name="connsiteY82" fmla="*/ 441402 h 793560"/>
                    <a:gd name="connsiteX83" fmla="*/ 1226367 w 1787136"/>
                    <a:gd name="connsiteY83" fmla="*/ 443491 h 793560"/>
                    <a:gd name="connsiteX84" fmla="*/ 1226930 w 1787136"/>
                    <a:gd name="connsiteY84" fmla="*/ 444294 h 793560"/>
                    <a:gd name="connsiteX85" fmla="*/ 1229982 w 1787136"/>
                    <a:gd name="connsiteY85" fmla="*/ 444615 h 793560"/>
                    <a:gd name="connsiteX86" fmla="*/ 1229339 w 1787136"/>
                    <a:gd name="connsiteY86" fmla="*/ 442286 h 793560"/>
                    <a:gd name="connsiteX87" fmla="*/ 1226849 w 1787136"/>
                    <a:gd name="connsiteY87" fmla="*/ 441965 h 793560"/>
                    <a:gd name="connsiteX88" fmla="*/ 1226367 w 1787136"/>
                    <a:gd name="connsiteY88" fmla="*/ 443491 h 793560"/>
                    <a:gd name="connsiteX89" fmla="*/ 1225966 w 1787136"/>
                    <a:gd name="connsiteY89" fmla="*/ 441804 h 793560"/>
                    <a:gd name="connsiteX90" fmla="*/ 1227813 w 1787136"/>
                    <a:gd name="connsiteY90" fmla="*/ 440920 h 793560"/>
                    <a:gd name="connsiteX91" fmla="*/ 1226287 w 1787136"/>
                    <a:gd name="connsiteY91" fmla="*/ 441081 h 793560"/>
                    <a:gd name="connsiteX92" fmla="*/ 1225403 w 1787136"/>
                    <a:gd name="connsiteY92" fmla="*/ 440117 h 793560"/>
                    <a:gd name="connsiteX93" fmla="*/ 1223315 w 1787136"/>
                    <a:gd name="connsiteY93" fmla="*/ 440679 h 793560"/>
                    <a:gd name="connsiteX94" fmla="*/ 1225966 w 1787136"/>
                    <a:gd name="connsiteY94" fmla="*/ 441804 h 793560"/>
                    <a:gd name="connsiteX95" fmla="*/ 1222351 w 1787136"/>
                    <a:gd name="connsiteY95" fmla="*/ 438350 h 793560"/>
                    <a:gd name="connsiteX96" fmla="*/ 1223234 w 1787136"/>
                    <a:gd name="connsiteY96" fmla="*/ 438671 h 793560"/>
                    <a:gd name="connsiteX97" fmla="*/ 1225082 w 1787136"/>
                    <a:gd name="connsiteY97" fmla="*/ 438510 h 793560"/>
                    <a:gd name="connsiteX98" fmla="*/ 1222431 w 1787136"/>
                    <a:gd name="connsiteY98" fmla="*/ 437386 h 793560"/>
                    <a:gd name="connsiteX99" fmla="*/ 1222351 w 1787136"/>
                    <a:gd name="connsiteY99" fmla="*/ 438350 h 793560"/>
                    <a:gd name="connsiteX100" fmla="*/ 1657889 w 1787136"/>
                    <a:gd name="connsiteY100" fmla="*/ 541652 h 793560"/>
                    <a:gd name="connsiteX101" fmla="*/ 1658130 w 1787136"/>
                    <a:gd name="connsiteY101" fmla="*/ 542134 h 793560"/>
                    <a:gd name="connsiteX102" fmla="*/ 1659174 w 1787136"/>
                    <a:gd name="connsiteY102" fmla="*/ 542455 h 793560"/>
                    <a:gd name="connsiteX103" fmla="*/ 1657166 w 1787136"/>
                    <a:gd name="connsiteY103" fmla="*/ 540045 h 793560"/>
                    <a:gd name="connsiteX104" fmla="*/ 1657889 w 1787136"/>
                    <a:gd name="connsiteY104" fmla="*/ 541652 h 793560"/>
                    <a:gd name="connsiteX105" fmla="*/ 1618287 w 1787136"/>
                    <a:gd name="connsiteY105" fmla="*/ 519883 h 793560"/>
                    <a:gd name="connsiteX106" fmla="*/ 1619974 w 1787136"/>
                    <a:gd name="connsiteY106" fmla="*/ 518919 h 793560"/>
                    <a:gd name="connsiteX107" fmla="*/ 1616279 w 1787136"/>
                    <a:gd name="connsiteY107" fmla="*/ 517634 h 793560"/>
                    <a:gd name="connsiteX108" fmla="*/ 1618287 w 1787136"/>
                    <a:gd name="connsiteY108" fmla="*/ 519883 h 793560"/>
                    <a:gd name="connsiteX109" fmla="*/ 1606238 w 1787136"/>
                    <a:gd name="connsiteY109" fmla="*/ 510966 h 793560"/>
                    <a:gd name="connsiteX110" fmla="*/ 1611299 w 1787136"/>
                    <a:gd name="connsiteY110" fmla="*/ 515866 h 793560"/>
                    <a:gd name="connsiteX111" fmla="*/ 1611379 w 1787136"/>
                    <a:gd name="connsiteY111" fmla="*/ 515866 h 793560"/>
                    <a:gd name="connsiteX112" fmla="*/ 1606399 w 1787136"/>
                    <a:gd name="connsiteY112" fmla="*/ 509601 h 793560"/>
                    <a:gd name="connsiteX113" fmla="*/ 1606238 w 1787136"/>
                    <a:gd name="connsiteY113" fmla="*/ 510966 h 793560"/>
                    <a:gd name="connsiteX114" fmla="*/ 1120656 w 1787136"/>
                    <a:gd name="connsiteY114" fmla="*/ 429996 h 793560"/>
                    <a:gd name="connsiteX115" fmla="*/ 1127002 w 1787136"/>
                    <a:gd name="connsiteY115" fmla="*/ 431201 h 793560"/>
                    <a:gd name="connsiteX116" fmla="*/ 1129492 w 1787136"/>
                    <a:gd name="connsiteY116" fmla="*/ 426943 h 793560"/>
                    <a:gd name="connsiteX117" fmla="*/ 1122503 w 1787136"/>
                    <a:gd name="connsiteY117" fmla="*/ 426381 h 793560"/>
                    <a:gd name="connsiteX118" fmla="*/ 1123628 w 1787136"/>
                    <a:gd name="connsiteY118" fmla="*/ 429755 h 793560"/>
                    <a:gd name="connsiteX119" fmla="*/ 1120093 w 1787136"/>
                    <a:gd name="connsiteY119" fmla="*/ 429835 h 793560"/>
                    <a:gd name="connsiteX120" fmla="*/ 1120656 w 1787136"/>
                    <a:gd name="connsiteY120" fmla="*/ 429996 h 793560"/>
                    <a:gd name="connsiteX121" fmla="*/ 1147325 w 1787136"/>
                    <a:gd name="connsiteY121" fmla="*/ 425979 h 793560"/>
                    <a:gd name="connsiteX122" fmla="*/ 1149333 w 1787136"/>
                    <a:gd name="connsiteY122" fmla="*/ 427265 h 793560"/>
                    <a:gd name="connsiteX123" fmla="*/ 1150859 w 1787136"/>
                    <a:gd name="connsiteY123" fmla="*/ 425979 h 793560"/>
                    <a:gd name="connsiteX124" fmla="*/ 1147084 w 1787136"/>
                    <a:gd name="connsiteY124" fmla="*/ 425819 h 793560"/>
                    <a:gd name="connsiteX125" fmla="*/ 1147325 w 1787136"/>
                    <a:gd name="connsiteY125" fmla="*/ 425979 h 793560"/>
                    <a:gd name="connsiteX126" fmla="*/ 1636361 w 1787136"/>
                    <a:gd name="connsiteY126" fmla="*/ 523658 h 793560"/>
                    <a:gd name="connsiteX127" fmla="*/ 1639735 w 1787136"/>
                    <a:gd name="connsiteY127" fmla="*/ 524622 h 793560"/>
                    <a:gd name="connsiteX128" fmla="*/ 1636201 w 1787136"/>
                    <a:gd name="connsiteY128" fmla="*/ 523578 h 793560"/>
                    <a:gd name="connsiteX129" fmla="*/ 1636361 w 1787136"/>
                    <a:gd name="connsiteY129" fmla="*/ 523658 h 793560"/>
                    <a:gd name="connsiteX130" fmla="*/ 1165157 w 1787136"/>
                    <a:gd name="connsiteY130" fmla="*/ 426702 h 793560"/>
                    <a:gd name="connsiteX131" fmla="*/ 1174475 w 1787136"/>
                    <a:gd name="connsiteY131" fmla="*/ 426542 h 793560"/>
                    <a:gd name="connsiteX132" fmla="*/ 1173913 w 1787136"/>
                    <a:gd name="connsiteY132" fmla="*/ 426381 h 793560"/>
                    <a:gd name="connsiteX133" fmla="*/ 1169575 w 1787136"/>
                    <a:gd name="connsiteY133" fmla="*/ 425899 h 793560"/>
                    <a:gd name="connsiteX134" fmla="*/ 1167326 w 1787136"/>
                    <a:gd name="connsiteY134" fmla="*/ 425578 h 793560"/>
                    <a:gd name="connsiteX135" fmla="*/ 1164595 w 1787136"/>
                    <a:gd name="connsiteY135" fmla="*/ 426702 h 793560"/>
                    <a:gd name="connsiteX136" fmla="*/ 1165157 w 1787136"/>
                    <a:gd name="connsiteY136" fmla="*/ 426702 h 793560"/>
                    <a:gd name="connsiteX137" fmla="*/ 1577641 w 1787136"/>
                    <a:gd name="connsiteY137" fmla="*/ 494499 h 793560"/>
                    <a:gd name="connsiteX138" fmla="*/ 1581417 w 1787136"/>
                    <a:gd name="connsiteY138" fmla="*/ 496909 h 793560"/>
                    <a:gd name="connsiteX139" fmla="*/ 1584550 w 1787136"/>
                    <a:gd name="connsiteY139" fmla="*/ 496507 h 793560"/>
                    <a:gd name="connsiteX140" fmla="*/ 1576999 w 1787136"/>
                    <a:gd name="connsiteY140" fmla="*/ 493937 h 793560"/>
                    <a:gd name="connsiteX141" fmla="*/ 1577641 w 1787136"/>
                    <a:gd name="connsiteY141" fmla="*/ 494499 h 793560"/>
                    <a:gd name="connsiteX142" fmla="*/ 1594269 w 1787136"/>
                    <a:gd name="connsiteY142" fmla="*/ 499801 h 793560"/>
                    <a:gd name="connsiteX143" fmla="*/ 1594992 w 1787136"/>
                    <a:gd name="connsiteY143" fmla="*/ 500845 h 793560"/>
                    <a:gd name="connsiteX144" fmla="*/ 1596117 w 1787136"/>
                    <a:gd name="connsiteY144" fmla="*/ 501327 h 793560"/>
                    <a:gd name="connsiteX145" fmla="*/ 1594109 w 1787136"/>
                    <a:gd name="connsiteY145" fmla="*/ 499640 h 793560"/>
                    <a:gd name="connsiteX146" fmla="*/ 1594269 w 1787136"/>
                    <a:gd name="connsiteY146" fmla="*/ 499801 h 793560"/>
                    <a:gd name="connsiteX147" fmla="*/ 1686486 w 1787136"/>
                    <a:gd name="connsiteY147" fmla="*/ 553861 h 793560"/>
                    <a:gd name="connsiteX148" fmla="*/ 1686486 w 1787136"/>
                    <a:gd name="connsiteY148" fmla="*/ 552817 h 793560"/>
                    <a:gd name="connsiteX149" fmla="*/ 1686486 w 1787136"/>
                    <a:gd name="connsiteY149" fmla="*/ 553861 h 793560"/>
                    <a:gd name="connsiteX150" fmla="*/ 1686486 w 1787136"/>
                    <a:gd name="connsiteY150" fmla="*/ 553861 h 793560"/>
                    <a:gd name="connsiteX151" fmla="*/ 1551856 w 1787136"/>
                    <a:gd name="connsiteY151" fmla="*/ 483333 h 793560"/>
                    <a:gd name="connsiteX152" fmla="*/ 1552499 w 1787136"/>
                    <a:gd name="connsiteY152" fmla="*/ 483092 h 793560"/>
                    <a:gd name="connsiteX153" fmla="*/ 1551053 w 1787136"/>
                    <a:gd name="connsiteY153" fmla="*/ 481647 h 793560"/>
                    <a:gd name="connsiteX154" fmla="*/ 1551856 w 1787136"/>
                    <a:gd name="connsiteY154" fmla="*/ 483333 h 793560"/>
                    <a:gd name="connsiteX155" fmla="*/ 1551856 w 1787136"/>
                    <a:gd name="connsiteY155" fmla="*/ 483333 h 793560"/>
                    <a:gd name="connsiteX156" fmla="*/ 1133990 w 1787136"/>
                    <a:gd name="connsiteY156" fmla="*/ 410797 h 793560"/>
                    <a:gd name="connsiteX157" fmla="*/ 1138328 w 1787136"/>
                    <a:gd name="connsiteY157" fmla="*/ 414011 h 793560"/>
                    <a:gd name="connsiteX158" fmla="*/ 1136802 w 1787136"/>
                    <a:gd name="connsiteY158" fmla="*/ 409833 h 793560"/>
                    <a:gd name="connsiteX159" fmla="*/ 1137043 w 1787136"/>
                    <a:gd name="connsiteY159" fmla="*/ 409833 h 793560"/>
                    <a:gd name="connsiteX160" fmla="*/ 1133990 w 1787136"/>
                    <a:gd name="connsiteY160" fmla="*/ 410797 h 793560"/>
                    <a:gd name="connsiteX161" fmla="*/ 1560371 w 1787136"/>
                    <a:gd name="connsiteY161" fmla="*/ 473855 h 793560"/>
                    <a:gd name="connsiteX162" fmla="*/ 1561094 w 1787136"/>
                    <a:gd name="connsiteY162" fmla="*/ 474819 h 793560"/>
                    <a:gd name="connsiteX163" fmla="*/ 1562781 w 1787136"/>
                    <a:gd name="connsiteY163" fmla="*/ 476425 h 793560"/>
                    <a:gd name="connsiteX164" fmla="*/ 1562781 w 1787136"/>
                    <a:gd name="connsiteY164" fmla="*/ 474658 h 793560"/>
                    <a:gd name="connsiteX165" fmla="*/ 1560210 w 1787136"/>
                    <a:gd name="connsiteY165" fmla="*/ 473614 h 793560"/>
                    <a:gd name="connsiteX166" fmla="*/ 1560371 w 1787136"/>
                    <a:gd name="connsiteY166" fmla="*/ 473855 h 793560"/>
                    <a:gd name="connsiteX167" fmla="*/ 1143469 w 1787136"/>
                    <a:gd name="connsiteY167" fmla="*/ 406540 h 793560"/>
                    <a:gd name="connsiteX168" fmla="*/ 1145397 w 1787136"/>
                    <a:gd name="connsiteY168" fmla="*/ 410235 h 793560"/>
                    <a:gd name="connsiteX169" fmla="*/ 1154795 w 1787136"/>
                    <a:gd name="connsiteY169" fmla="*/ 412484 h 793560"/>
                    <a:gd name="connsiteX170" fmla="*/ 1155197 w 1787136"/>
                    <a:gd name="connsiteY170" fmla="*/ 411681 h 793560"/>
                    <a:gd name="connsiteX171" fmla="*/ 1156562 w 1787136"/>
                    <a:gd name="connsiteY171" fmla="*/ 412083 h 793560"/>
                    <a:gd name="connsiteX172" fmla="*/ 1153590 w 1787136"/>
                    <a:gd name="connsiteY172" fmla="*/ 411360 h 793560"/>
                    <a:gd name="connsiteX173" fmla="*/ 1153831 w 1787136"/>
                    <a:gd name="connsiteY173" fmla="*/ 410878 h 793560"/>
                    <a:gd name="connsiteX174" fmla="*/ 1153831 w 1787136"/>
                    <a:gd name="connsiteY174" fmla="*/ 410878 h 793560"/>
                    <a:gd name="connsiteX175" fmla="*/ 1153831 w 1787136"/>
                    <a:gd name="connsiteY175" fmla="*/ 410878 h 793560"/>
                    <a:gd name="connsiteX176" fmla="*/ 1153831 w 1787136"/>
                    <a:gd name="connsiteY176" fmla="*/ 410878 h 793560"/>
                    <a:gd name="connsiteX177" fmla="*/ 1153831 w 1787136"/>
                    <a:gd name="connsiteY177" fmla="*/ 410878 h 793560"/>
                    <a:gd name="connsiteX178" fmla="*/ 1153831 w 1787136"/>
                    <a:gd name="connsiteY178" fmla="*/ 410878 h 793560"/>
                    <a:gd name="connsiteX179" fmla="*/ 1153831 w 1787136"/>
                    <a:gd name="connsiteY179" fmla="*/ 410878 h 793560"/>
                    <a:gd name="connsiteX180" fmla="*/ 1153831 w 1787136"/>
                    <a:gd name="connsiteY180" fmla="*/ 410878 h 793560"/>
                    <a:gd name="connsiteX181" fmla="*/ 1153831 w 1787136"/>
                    <a:gd name="connsiteY181" fmla="*/ 410878 h 793560"/>
                    <a:gd name="connsiteX182" fmla="*/ 1150538 w 1787136"/>
                    <a:gd name="connsiteY182" fmla="*/ 409191 h 793560"/>
                    <a:gd name="connsiteX183" fmla="*/ 1152144 w 1787136"/>
                    <a:gd name="connsiteY183" fmla="*/ 408227 h 793560"/>
                    <a:gd name="connsiteX184" fmla="*/ 1145397 w 1787136"/>
                    <a:gd name="connsiteY184" fmla="*/ 407183 h 793560"/>
                    <a:gd name="connsiteX185" fmla="*/ 1143147 w 1787136"/>
                    <a:gd name="connsiteY185" fmla="*/ 405094 h 793560"/>
                    <a:gd name="connsiteX186" fmla="*/ 1143469 w 1787136"/>
                    <a:gd name="connsiteY186" fmla="*/ 406540 h 793560"/>
                    <a:gd name="connsiteX187" fmla="*/ 1555230 w 1787136"/>
                    <a:gd name="connsiteY187" fmla="*/ 471686 h 793560"/>
                    <a:gd name="connsiteX188" fmla="*/ 1559809 w 1787136"/>
                    <a:gd name="connsiteY188" fmla="*/ 473775 h 793560"/>
                    <a:gd name="connsiteX189" fmla="*/ 1558925 w 1787136"/>
                    <a:gd name="connsiteY189" fmla="*/ 473533 h 793560"/>
                    <a:gd name="connsiteX190" fmla="*/ 1554909 w 1787136"/>
                    <a:gd name="connsiteY190" fmla="*/ 469838 h 793560"/>
                    <a:gd name="connsiteX191" fmla="*/ 1555230 w 1787136"/>
                    <a:gd name="connsiteY191" fmla="*/ 471686 h 793560"/>
                    <a:gd name="connsiteX192" fmla="*/ 1656765 w 1787136"/>
                    <a:gd name="connsiteY192" fmla="*/ 520686 h 793560"/>
                    <a:gd name="connsiteX193" fmla="*/ 1656925 w 1787136"/>
                    <a:gd name="connsiteY193" fmla="*/ 520766 h 793560"/>
                    <a:gd name="connsiteX194" fmla="*/ 1658451 w 1787136"/>
                    <a:gd name="connsiteY194" fmla="*/ 520525 h 793560"/>
                    <a:gd name="connsiteX195" fmla="*/ 1658371 w 1787136"/>
                    <a:gd name="connsiteY195" fmla="*/ 520284 h 793560"/>
                    <a:gd name="connsiteX196" fmla="*/ 1657728 w 1787136"/>
                    <a:gd name="connsiteY196" fmla="*/ 519642 h 793560"/>
                    <a:gd name="connsiteX197" fmla="*/ 1656524 w 1787136"/>
                    <a:gd name="connsiteY197" fmla="*/ 520284 h 793560"/>
                    <a:gd name="connsiteX198" fmla="*/ 1656042 w 1787136"/>
                    <a:gd name="connsiteY198" fmla="*/ 519963 h 793560"/>
                    <a:gd name="connsiteX199" fmla="*/ 1656765 w 1787136"/>
                    <a:gd name="connsiteY199" fmla="*/ 520686 h 793560"/>
                    <a:gd name="connsiteX200" fmla="*/ 1162025 w 1787136"/>
                    <a:gd name="connsiteY200" fmla="*/ 395535 h 793560"/>
                    <a:gd name="connsiteX201" fmla="*/ 1163390 w 1787136"/>
                    <a:gd name="connsiteY201" fmla="*/ 396499 h 793560"/>
                    <a:gd name="connsiteX202" fmla="*/ 1164354 w 1787136"/>
                    <a:gd name="connsiteY202" fmla="*/ 394250 h 793560"/>
                    <a:gd name="connsiteX203" fmla="*/ 1162025 w 1787136"/>
                    <a:gd name="connsiteY203" fmla="*/ 395535 h 793560"/>
                    <a:gd name="connsiteX204" fmla="*/ 1461889 w 1787136"/>
                    <a:gd name="connsiteY204" fmla="*/ 430879 h 793560"/>
                    <a:gd name="connsiteX205" fmla="*/ 1466548 w 1787136"/>
                    <a:gd name="connsiteY205" fmla="*/ 432245 h 793560"/>
                    <a:gd name="connsiteX206" fmla="*/ 1466548 w 1787136"/>
                    <a:gd name="connsiteY206" fmla="*/ 432245 h 793560"/>
                    <a:gd name="connsiteX207" fmla="*/ 1465343 w 1787136"/>
                    <a:gd name="connsiteY207" fmla="*/ 431843 h 793560"/>
                    <a:gd name="connsiteX208" fmla="*/ 1461648 w 1787136"/>
                    <a:gd name="connsiteY208" fmla="*/ 430719 h 793560"/>
                    <a:gd name="connsiteX209" fmla="*/ 1461889 w 1787136"/>
                    <a:gd name="connsiteY209" fmla="*/ 430879 h 793560"/>
                    <a:gd name="connsiteX210" fmla="*/ 1457471 w 1787136"/>
                    <a:gd name="connsiteY210" fmla="*/ 431040 h 793560"/>
                    <a:gd name="connsiteX211" fmla="*/ 1460282 w 1787136"/>
                    <a:gd name="connsiteY211" fmla="*/ 431602 h 793560"/>
                    <a:gd name="connsiteX212" fmla="*/ 1460764 w 1787136"/>
                    <a:gd name="connsiteY212" fmla="*/ 431120 h 793560"/>
                    <a:gd name="connsiteX213" fmla="*/ 1457230 w 1787136"/>
                    <a:gd name="connsiteY213" fmla="*/ 428550 h 793560"/>
                    <a:gd name="connsiteX214" fmla="*/ 1457069 w 1787136"/>
                    <a:gd name="connsiteY214" fmla="*/ 430799 h 793560"/>
                    <a:gd name="connsiteX215" fmla="*/ 1457471 w 1787136"/>
                    <a:gd name="connsiteY215" fmla="*/ 431040 h 793560"/>
                    <a:gd name="connsiteX216" fmla="*/ 1532578 w 1787136"/>
                    <a:gd name="connsiteY216" fmla="*/ 446142 h 793560"/>
                    <a:gd name="connsiteX217" fmla="*/ 1535228 w 1787136"/>
                    <a:gd name="connsiteY217" fmla="*/ 446624 h 793560"/>
                    <a:gd name="connsiteX218" fmla="*/ 1532417 w 1787136"/>
                    <a:gd name="connsiteY218" fmla="*/ 446142 h 793560"/>
                    <a:gd name="connsiteX219" fmla="*/ 1532578 w 1787136"/>
                    <a:gd name="connsiteY219" fmla="*/ 446142 h 793560"/>
                    <a:gd name="connsiteX220" fmla="*/ 1406944 w 1787136"/>
                    <a:gd name="connsiteY220" fmla="*/ 401961 h 793560"/>
                    <a:gd name="connsiteX221" fmla="*/ 1418190 w 1787136"/>
                    <a:gd name="connsiteY221" fmla="*/ 402684 h 793560"/>
                    <a:gd name="connsiteX222" fmla="*/ 1406463 w 1787136"/>
                    <a:gd name="connsiteY222" fmla="*/ 401961 h 793560"/>
                    <a:gd name="connsiteX223" fmla="*/ 1406944 w 1787136"/>
                    <a:gd name="connsiteY223" fmla="*/ 401961 h 793560"/>
                    <a:gd name="connsiteX224" fmla="*/ 1537397 w 1787136"/>
                    <a:gd name="connsiteY224" fmla="*/ 432004 h 793560"/>
                    <a:gd name="connsiteX225" fmla="*/ 1539325 w 1787136"/>
                    <a:gd name="connsiteY225" fmla="*/ 432887 h 793560"/>
                    <a:gd name="connsiteX226" fmla="*/ 1542538 w 1787136"/>
                    <a:gd name="connsiteY226" fmla="*/ 433450 h 793560"/>
                    <a:gd name="connsiteX227" fmla="*/ 1537156 w 1787136"/>
                    <a:gd name="connsiteY227" fmla="*/ 431843 h 793560"/>
                    <a:gd name="connsiteX228" fmla="*/ 1537397 w 1787136"/>
                    <a:gd name="connsiteY228" fmla="*/ 432004 h 793560"/>
                    <a:gd name="connsiteX229" fmla="*/ 1629855 w 1787136"/>
                    <a:gd name="connsiteY229" fmla="*/ 460360 h 793560"/>
                    <a:gd name="connsiteX230" fmla="*/ 1633630 w 1787136"/>
                    <a:gd name="connsiteY230" fmla="*/ 464537 h 793560"/>
                    <a:gd name="connsiteX231" fmla="*/ 1629614 w 1787136"/>
                    <a:gd name="connsiteY231" fmla="*/ 460119 h 793560"/>
                    <a:gd name="connsiteX232" fmla="*/ 1629855 w 1787136"/>
                    <a:gd name="connsiteY232" fmla="*/ 460360 h 793560"/>
                    <a:gd name="connsiteX233" fmla="*/ 1594109 w 1787136"/>
                    <a:gd name="connsiteY233" fmla="*/ 426622 h 793560"/>
                    <a:gd name="connsiteX234" fmla="*/ 1606640 w 1787136"/>
                    <a:gd name="connsiteY234" fmla="*/ 437225 h 793560"/>
                    <a:gd name="connsiteX235" fmla="*/ 1606801 w 1787136"/>
                    <a:gd name="connsiteY235" fmla="*/ 437386 h 793560"/>
                    <a:gd name="connsiteX236" fmla="*/ 1592904 w 1787136"/>
                    <a:gd name="connsiteY236" fmla="*/ 424935 h 793560"/>
                    <a:gd name="connsiteX237" fmla="*/ 1594591 w 1787136"/>
                    <a:gd name="connsiteY237" fmla="*/ 426702 h 793560"/>
                    <a:gd name="connsiteX238" fmla="*/ 1593787 w 1787136"/>
                    <a:gd name="connsiteY238" fmla="*/ 426220 h 793560"/>
                    <a:gd name="connsiteX239" fmla="*/ 1594109 w 1787136"/>
                    <a:gd name="connsiteY239" fmla="*/ 426622 h 793560"/>
                    <a:gd name="connsiteX240" fmla="*/ 850111 w 1787136"/>
                    <a:gd name="connsiteY240" fmla="*/ 291671 h 793560"/>
                    <a:gd name="connsiteX241" fmla="*/ 858144 w 1787136"/>
                    <a:gd name="connsiteY241" fmla="*/ 295286 h 793560"/>
                    <a:gd name="connsiteX242" fmla="*/ 855573 w 1787136"/>
                    <a:gd name="connsiteY242" fmla="*/ 288458 h 793560"/>
                    <a:gd name="connsiteX243" fmla="*/ 849790 w 1787136"/>
                    <a:gd name="connsiteY243" fmla="*/ 291430 h 793560"/>
                    <a:gd name="connsiteX244" fmla="*/ 850111 w 1787136"/>
                    <a:gd name="connsiteY244" fmla="*/ 291671 h 793560"/>
                    <a:gd name="connsiteX245" fmla="*/ 1539887 w 1787136"/>
                    <a:gd name="connsiteY245" fmla="*/ 374007 h 793560"/>
                    <a:gd name="connsiteX246" fmla="*/ 1535871 w 1787136"/>
                    <a:gd name="connsiteY246" fmla="*/ 368946 h 793560"/>
                    <a:gd name="connsiteX247" fmla="*/ 1538120 w 1787136"/>
                    <a:gd name="connsiteY247" fmla="*/ 373606 h 793560"/>
                    <a:gd name="connsiteX248" fmla="*/ 1539887 w 1787136"/>
                    <a:gd name="connsiteY248" fmla="*/ 374007 h 793560"/>
                    <a:gd name="connsiteX249" fmla="*/ 1566797 w 1787136"/>
                    <a:gd name="connsiteY249" fmla="*/ 388868 h 793560"/>
                    <a:gd name="connsiteX250" fmla="*/ 1596278 w 1787136"/>
                    <a:gd name="connsiteY250" fmla="*/ 419553 h 793560"/>
                    <a:gd name="connsiteX251" fmla="*/ 1565994 w 1787136"/>
                    <a:gd name="connsiteY251" fmla="*/ 388145 h 793560"/>
                    <a:gd name="connsiteX252" fmla="*/ 1566797 w 1787136"/>
                    <a:gd name="connsiteY252" fmla="*/ 388868 h 793560"/>
                    <a:gd name="connsiteX253" fmla="*/ 1550250 w 1787136"/>
                    <a:gd name="connsiteY253" fmla="*/ 376658 h 793560"/>
                    <a:gd name="connsiteX254" fmla="*/ 1553543 w 1787136"/>
                    <a:gd name="connsiteY254" fmla="*/ 378586 h 793560"/>
                    <a:gd name="connsiteX255" fmla="*/ 1550812 w 1787136"/>
                    <a:gd name="connsiteY255" fmla="*/ 376497 h 793560"/>
                    <a:gd name="connsiteX256" fmla="*/ 1549527 w 1787136"/>
                    <a:gd name="connsiteY256" fmla="*/ 375453 h 793560"/>
                    <a:gd name="connsiteX257" fmla="*/ 1550250 w 1787136"/>
                    <a:gd name="connsiteY257" fmla="*/ 376658 h 793560"/>
                    <a:gd name="connsiteX258" fmla="*/ 1417869 w 1787136"/>
                    <a:gd name="connsiteY258" fmla="*/ 305327 h 793560"/>
                    <a:gd name="connsiteX259" fmla="*/ 1418913 w 1787136"/>
                    <a:gd name="connsiteY259" fmla="*/ 306050 h 793560"/>
                    <a:gd name="connsiteX260" fmla="*/ 1428231 w 1787136"/>
                    <a:gd name="connsiteY260" fmla="*/ 312154 h 793560"/>
                    <a:gd name="connsiteX261" fmla="*/ 1419958 w 1787136"/>
                    <a:gd name="connsiteY261" fmla="*/ 305005 h 793560"/>
                    <a:gd name="connsiteX262" fmla="*/ 1421645 w 1787136"/>
                    <a:gd name="connsiteY262" fmla="*/ 307014 h 793560"/>
                    <a:gd name="connsiteX263" fmla="*/ 1421404 w 1787136"/>
                    <a:gd name="connsiteY263" fmla="*/ 306933 h 793560"/>
                    <a:gd name="connsiteX264" fmla="*/ 1418994 w 1787136"/>
                    <a:gd name="connsiteY264" fmla="*/ 305086 h 793560"/>
                    <a:gd name="connsiteX265" fmla="*/ 1417387 w 1787136"/>
                    <a:gd name="connsiteY265" fmla="*/ 304604 h 793560"/>
                    <a:gd name="connsiteX266" fmla="*/ 1417869 w 1787136"/>
                    <a:gd name="connsiteY266" fmla="*/ 305327 h 793560"/>
                    <a:gd name="connsiteX267" fmla="*/ 1399153 w 1787136"/>
                    <a:gd name="connsiteY267" fmla="*/ 292313 h 793560"/>
                    <a:gd name="connsiteX268" fmla="*/ 1405659 w 1787136"/>
                    <a:gd name="connsiteY268" fmla="*/ 293438 h 793560"/>
                    <a:gd name="connsiteX269" fmla="*/ 1398751 w 1787136"/>
                    <a:gd name="connsiteY269" fmla="*/ 292233 h 793560"/>
                    <a:gd name="connsiteX270" fmla="*/ 1399153 w 1787136"/>
                    <a:gd name="connsiteY270" fmla="*/ 292313 h 793560"/>
                    <a:gd name="connsiteX271" fmla="*/ 1073423 w 1787136"/>
                    <a:gd name="connsiteY271" fmla="*/ 245884 h 793560"/>
                    <a:gd name="connsiteX272" fmla="*/ 1086597 w 1787136"/>
                    <a:gd name="connsiteY272" fmla="*/ 249418 h 793560"/>
                    <a:gd name="connsiteX273" fmla="*/ 1086998 w 1787136"/>
                    <a:gd name="connsiteY273" fmla="*/ 248936 h 793560"/>
                    <a:gd name="connsiteX274" fmla="*/ 1074065 w 1787136"/>
                    <a:gd name="connsiteY274" fmla="*/ 242269 h 793560"/>
                    <a:gd name="connsiteX275" fmla="*/ 1071977 w 1787136"/>
                    <a:gd name="connsiteY275" fmla="*/ 245482 h 793560"/>
                    <a:gd name="connsiteX276" fmla="*/ 1073423 w 1787136"/>
                    <a:gd name="connsiteY276" fmla="*/ 245884 h 793560"/>
                    <a:gd name="connsiteX277" fmla="*/ 1495787 w 1787136"/>
                    <a:gd name="connsiteY277" fmla="*/ 333843 h 793560"/>
                    <a:gd name="connsiteX278" fmla="*/ 1497474 w 1787136"/>
                    <a:gd name="connsiteY278" fmla="*/ 335610 h 793560"/>
                    <a:gd name="connsiteX279" fmla="*/ 1501410 w 1787136"/>
                    <a:gd name="connsiteY279" fmla="*/ 339386 h 793560"/>
                    <a:gd name="connsiteX280" fmla="*/ 1488317 w 1787136"/>
                    <a:gd name="connsiteY280" fmla="*/ 325007 h 793560"/>
                    <a:gd name="connsiteX281" fmla="*/ 1495787 w 1787136"/>
                    <a:gd name="connsiteY281" fmla="*/ 333843 h 793560"/>
                    <a:gd name="connsiteX282" fmla="*/ 1392566 w 1787136"/>
                    <a:gd name="connsiteY282" fmla="*/ 281228 h 793560"/>
                    <a:gd name="connsiteX283" fmla="*/ 1401322 w 1787136"/>
                    <a:gd name="connsiteY283" fmla="*/ 285325 h 793560"/>
                    <a:gd name="connsiteX284" fmla="*/ 1402527 w 1787136"/>
                    <a:gd name="connsiteY284" fmla="*/ 285084 h 793560"/>
                    <a:gd name="connsiteX285" fmla="*/ 1397707 w 1787136"/>
                    <a:gd name="connsiteY285" fmla="*/ 280666 h 793560"/>
                    <a:gd name="connsiteX286" fmla="*/ 1391602 w 1787136"/>
                    <a:gd name="connsiteY286" fmla="*/ 279381 h 793560"/>
                    <a:gd name="connsiteX287" fmla="*/ 1391762 w 1787136"/>
                    <a:gd name="connsiteY287" fmla="*/ 280827 h 793560"/>
                    <a:gd name="connsiteX288" fmla="*/ 1392566 w 1787136"/>
                    <a:gd name="connsiteY288" fmla="*/ 281228 h 793560"/>
                    <a:gd name="connsiteX289" fmla="*/ 1295610 w 1787136"/>
                    <a:gd name="connsiteY289" fmla="*/ 248213 h 793560"/>
                    <a:gd name="connsiteX290" fmla="*/ 1310310 w 1787136"/>
                    <a:gd name="connsiteY290" fmla="*/ 258254 h 793560"/>
                    <a:gd name="connsiteX291" fmla="*/ 1295128 w 1787136"/>
                    <a:gd name="connsiteY291" fmla="*/ 245322 h 793560"/>
                    <a:gd name="connsiteX292" fmla="*/ 1295610 w 1787136"/>
                    <a:gd name="connsiteY292" fmla="*/ 248213 h 793560"/>
                    <a:gd name="connsiteX293" fmla="*/ 1476990 w 1787136"/>
                    <a:gd name="connsiteY293" fmla="*/ 302274 h 793560"/>
                    <a:gd name="connsiteX294" fmla="*/ 1476990 w 1787136"/>
                    <a:gd name="connsiteY294" fmla="*/ 302274 h 793560"/>
                    <a:gd name="connsiteX295" fmla="*/ 1476990 w 1787136"/>
                    <a:gd name="connsiteY295" fmla="*/ 302274 h 793560"/>
                    <a:gd name="connsiteX296" fmla="*/ 1477714 w 1787136"/>
                    <a:gd name="connsiteY296" fmla="*/ 302756 h 793560"/>
                    <a:gd name="connsiteX297" fmla="*/ 1476990 w 1787136"/>
                    <a:gd name="connsiteY297" fmla="*/ 302274 h 793560"/>
                    <a:gd name="connsiteX298" fmla="*/ 1477874 w 1787136"/>
                    <a:gd name="connsiteY298" fmla="*/ 302756 h 793560"/>
                    <a:gd name="connsiteX299" fmla="*/ 1477874 w 1787136"/>
                    <a:gd name="connsiteY299" fmla="*/ 302756 h 793560"/>
                    <a:gd name="connsiteX300" fmla="*/ 1477874 w 1787136"/>
                    <a:gd name="connsiteY300" fmla="*/ 302756 h 793560"/>
                    <a:gd name="connsiteX301" fmla="*/ 1477954 w 1787136"/>
                    <a:gd name="connsiteY301" fmla="*/ 302836 h 793560"/>
                    <a:gd name="connsiteX302" fmla="*/ 1477874 w 1787136"/>
                    <a:gd name="connsiteY302" fmla="*/ 302756 h 793560"/>
                    <a:gd name="connsiteX303" fmla="*/ 1478115 w 1787136"/>
                    <a:gd name="connsiteY303" fmla="*/ 302917 h 793560"/>
                    <a:gd name="connsiteX304" fmla="*/ 1478115 w 1787136"/>
                    <a:gd name="connsiteY304" fmla="*/ 302917 h 793560"/>
                    <a:gd name="connsiteX305" fmla="*/ 1478115 w 1787136"/>
                    <a:gd name="connsiteY305" fmla="*/ 302917 h 793560"/>
                    <a:gd name="connsiteX306" fmla="*/ 1478115 w 1787136"/>
                    <a:gd name="connsiteY306" fmla="*/ 302917 h 793560"/>
                    <a:gd name="connsiteX307" fmla="*/ 1478115 w 1787136"/>
                    <a:gd name="connsiteY307" fmla="*/ 302917 h 793560"/>
                    <a:gd name="connsiteX308" fmla="*/ 1478356 w 1787136"/>
                    <a:gd name="connsiteY308" fmla="*/ 303078 h 793560"/>
                    <a:gd name="connsiteX309" fmla="*/ 1478356 w 1787136"/>
                    <a:gd name="connsiteY309" fmla="*/ 303078 h 793560"/>
                    <a:gd name="connsiteX310" fmla="*/ 1478356 w 1787136"/>
                    <a:gd name="connsiteY310" fmla="*/ 303078 h 793560"/>
                    <a:gd name="connsiteX311" fmla="*/ 1478356 w 1787136"/>
                    <a:gd name="connsiteY311" fmla="*/ 303078 h 793560"/>
                    <a:gd name="connsiteX312" fmla="*/ 1478356 w 1787136"/>
                    <a:gd name="connsiteY312" fmla="*/ 303078 h 793560"/>
                    <a:gd name="connsiteX313" fmla="*/ 1478356 w 1787136"/>
                    <a:gd name="connsiteY313" fmla="*/ 303078 h 793560"/>
                    <a:gd name="connsiteX314" fmla="*/ 1478356 w 1787136"/>
                    <a:gd name="connsiteY314" fmla="*/ 303078 h 793560"/>
                    <a:gd name="connsiteX315" fmla="*/ 1478356 w 1787136"/>
                    <a:gd name="connsiteY315" fmla="*/ 303078 h 793560"/>
                    <a:gd name="connsiteX316" fmla="*/ 1478356 w 1787136"/>
                    <a:gd name="connsiteY316" fmla="*/ 303078 h 793560"/>
                    <a:gd name="connsiteX317" fmla="*/ 1478356 w 1787136"/>
                    <a:gd name="connsiteY317" fmla="*/ 303078 h 793560"/>
                    <a:gd name="connsiteX318" fmla="*/ 1478356 w 1787136"/>
                    <a:gd name="connsiteY318" fmla="*/ 303078 h 793560"/>
                    <a:gd name="connsiteX319" fmla="*/ 1478356 w 1787136"/>
                    <a:gd name="connsiteY319" fmla="*/ 303078 h 793560"/>
                    <a:gd name="connsiteX320" fmla="*/ 1478356 w 1787136"/>
                    <a:gd name="connsiteY320" fmla="*/ 303078 h 793560"/>
                    <a:gd name="connsiteX321" fmla="*/ 1478356 w 1787136"/>
                    <a:gd name="connsiteY321" fmla="*/ 303078 h 793560"/>
                    <a:gd name="connsiteX322" fmla="*/ 1478356 w 1787136"/>
                    <a:gd name="connsiteY322" fmla="*/ 303078 h 793560"/>
                    <a:gd name="connsiteX323" fmla="*/ 1478356 w 1787136"/>
                    <a:gd name="connsiteY323" fmla="*/ 303078 h 793560"/>
                    <a:gd name="connsiteX324" fmla="*/ 1478356 w 1787136"/>
                    <a:gd name="connsiteY324" fmla="*/ 303078 h 793560"/>
                    <a:gd name="connsiteX325" fmla="*/ 1478356 w 1787136"/>
                    <a:gd name="connsiteY325" fmla="*/ 303078 h 793560"/>
                    <a:gd name="connsiteX326" fmla="*/ 1478356 w 1787136"/>
                    <a:gd name="connsiteY326" fmla="*/ 303078 h 793560"/>
                    <a:gd name="connsiteX327" fmla="*/ 1478356 w 1787136"/>
                    <a:gd name="connsiteY327" fmla="*/ 303078 h 793560"/>
                    <a:gd name="connsiteX328" fmla="*/ 1478356 w 1787136"/>
                    <a:gd name="connsiteY328" fmla="*/ 303078 h 793560"/>
                    <a:gd name="connsiteX329" fmla="*/ 1478356 w 1787136"/>
                    <a:gd name="connsiteY329" fmla="*/ 303078 h 793560"/>
                    <a:gd name="connsiteX330" fmla="*/ 1478356 w 1787136"/>
                    <a:gd name="connsiteY330" fmla="*/ 303078 h 793560"/>
                    <a:gd name="connsiteX331" fmla="*/ 1478356 w 1787136"/>
                    <a:gd name="connsiteY331" fmla="*/ 303078 h 793560"/>
                    <a:gd name="connsiteX332" fmla="*/ 1478356 w 1787136"/>
                    <a:gd name="connsiteY332" fmla="*/ 303078 h 793560"/>
                    <a:gd name="connsiteX333" fmla="*/ 1478356 w 1787136"/>
                    <a:gd name="connsiteY333" fmla="*/ 303078 h 793560"/>
                    <a:gd name="connsiteX334" fmla="*/ 1478356 w 1787136"/>
                    <a:gd name="connsiteY334" fmla="*/ 303078 h 793560"/>
                    <a:gd name="connsiteX335" fmla="*/ 1478356 w 1787136"/>
                    <a:gd name="connsiteY335" fmla="*/ 303078 h 793560"/>
                    <a:gd name="connsiteX336" fmla="*/ 1478356 w 1787136"/>
                    <a:gd name="connsiteY336" fmla="*/ 303078 h 793560"/>
                    <a:gd name="connsiteX337" fmla="*/ 1478356 w 1787136"/>
                    <a:gd name="connsiteY337" fmla="*/ 303078 h 793560"/>
                    <a:gd name="connsiteX338" fmla="*/ 1478356 w 1787136"/>
                    <a:gd name="connsiteY338" fmla="*/ 303078 h 793560"/>
                    <a:gd name="connsiteX339" fmla="*/ 1478356 w 1787136"/>
                    <a:gd name="connsiteY339" fmla="*/ 303078 h 793560"/>
                    <a:gd name="connsiteX340" fmla="*/ 1478356 w 1787136"/>
                    <a:gd name="connsiteY340" fmla="*/ 303078 h 793560"/>
                    <a:gd name="connsiteX341" fmla="*/ 1478356 w 1787136"/>
                    <a:gd name="connsiteY341" fmla="*/ 303078 h 793560"/>
                    <a:gd name="connsiteX342" fmla="*/ 1478356 w 1787136"/>
                    <a:gd name="connsiteY342" fmla="*/ 303078 h 793560"/>
                    <a:gd name="connsiteX343" fmla="*/ 1478356 w 1787136"/>
                    <a:gd name="connsiteY343" fmla="*/ 303078 h 793560"/>
                    <a:gd name="connsiteX344" fmla="*/ 1478356 w 1787136"/>
                    <a:gd name="connsiteY344" fmla="*/ 303078 h 793560"/>
                    <a:gd name="connsiteX345" fmla="*/ 1478356 w 1787136"/>
                    <a:gd name="connsiteY345" fmla="*/ 303078 h 793560"/>
                    <a:gd name="connsiteX346" fmla="*/ 1478356 w 1787136"/>
                    <a:gd name="connsiteY346" fmla="*/ 303078 h 793560"/>
                    <a:gd name="connsiteX347" fmla="*/ 1478356 w 1787136"/>
                    <a:gd name="connsiteY347" fmla="*/ 303078 h 793560"/>
                    <a:gd name="connsiteX348" fmla="*/ 1478356 w 1787136"/>
                    <a:gd name="connsiteY348" fmla="*/ 303078 h 793560"/>
                    <a:gd name="connsiteX349" fmla="*/ 1478356 w 1787136"/>
                    <a:gd name="connsiteY349" fmla="*/ 303078 h 793560"/>
                    <a:gd name="connsiteX350" fmla="*/ 1478356 w 1787136"/>
                    <a:gd name="connsiteY350" fmla="*/ 303078 h 793560"/>
                    <a:gd name="connsiteX351" fmla="*/ 1478356 w 1787136"/>
                    <a:gd name="connsiteY351" fmla="*/ 303078 h 793560"/>
                    <a:gd name="connsiteX352" fmla="*/ 1478356 w 1787136"/>
                    <a:gd name="connsiteY352" fmla="*/ 303078 h 793560"/>
                    <a:gd name="connsiteX353" fmla="*/ 1478356 w 1787136"/>
                    <a:gd name="connsiteY353" fmla="*/ 303078 h 793560"/>
                    <a:gd name="connsiteX354" fmla="*/ 1478356 w 1787136"/>
                    <a:gd name="connsiteY354" fmla="*/ 303078 h 793560"/>
                    <a:gd name="connsiteX355" fmla="*/ 1478356 w 1787136"/>
                    <a:gd name="connsiteY355" fmla="*/ 303078 h 793560"/>
                    <a:gd name="connsiteX356" fmla="*/ 1478356 w 1787136"/>
                    <a:gd name="connsiteY356" fmla="*/ 303078 h 793560"/>
                    <a:gd name="connsiteX357" fmla="*/ 1478356 w 1787136"/>
                    <a:gd name="connsiteY357" fmla="*/ 303078 h 793560"/>
                    <a:gd name="connsiteX358" fmla="*/ 1478356 w 1787136"/>
                    <a:gd name="connsiteY358" fmla="*/ 303078 h 793560"/>
                    <a:gd name="connsiteX359" fmla="*/ 1478356 w 1787136"/>
                    <a:gd name="connsiteY359" fmla="*/ 303078 h 793560"/>
                    <a:gd name="connsiteX360" fmla="*/ 1478356 w 1787136"/>
                    <a:gd name="connsiteY360" fmla="*/ 303078 h 793560"/>
                    <a:gd name="connsiteX361" fmla="*/ 1478356 w 1787136"/>
                    <a:gd name="connsiteY361" fmla="*/ 303078 h 793560"/>
                    <a:gd name="connsiteX362" fmla="*/ 1478276 w 1787136"/>
                    <a:gd name="connsiteY362" fmla="*/ 303078 h 793560"/>
                    <a:gd name="connsiteX363" fmla="*/ 1478276 w 1787136"/>
                    <a:gd name="connsiteY363" fmla="*/ 303078 h 793560"/>
                    <a:gd name="connsiteX364" fmla="*/ 1478276 w 1787136"/>
                    <a:gd name="connsiteY364" fmla="*/ 303078 h 793560"/>
                    <a:gd name="connsiteX365" fmla="*/ 1478276 w 1787136"/>
                    <a:gd name="connsiteY365" fmla="*/ 303078 h 793560"/>
                    <a:gd name="connsiteX366" fmla="*/ 1478276 w 1787136"/>
                    <a:gd name="connsiteY366" fmla="*/ 303078 h 793560"/>
                    <a:gd name="connsiteX367" fmla="*/ 1478276 w 1787136"/>
                    <a:gd name="connsiteY367" fmla="*/ 303078 h 793560"/>
                    <a:gd name="connsiteX368" fmla="*/ 1478276 w 1787136"/>
                    <a:gd name="connsiteY368" fmla="*/ 303078 h 793560"/>
                    <a:gd name="connsiteX369" fmla="*/ 1478276 w 1787136"/>
                    <a:gd name="connsiteY369" fmla="*/ 303078 h 793560"/>
                    <a:gd name="connsiteX370" fmla="*/ 1478276 w 1787136"/>
                    <a:gd name="connsiteY370" fmla="*/ 303078 h 793560"/>
                    <a:gd name="connsiteX371" fmla="*/ 1478276 w 1787136"/>
                    <a:gd name="connsiteY371" fmla="*/ 303078 h 793560"/>
                    <a:gd name="connsiteX372" fmla="*/ 1478276 w 1787136"/>
                    <a:gd name="connsiteY372" fmla="*/ 303078 h 793560"/>
                    <a:gd name="connsiteX373" fmla="*/ 1478276 w 1787136"/>
                    <a:gd name="connsiteY373" fmla="*/ 303078 h 793560"/>
                    <a:gd name="connsiteX374" fmla="*/ 1478276 w 1787136"/>
                    <a:gd name="connsiteY374" fmla="*/ 302997 h 793560"/>
                    <a:gd name="connsiteX375" fmla="*/ 1478276 w 1787136"/>
                    <a:gd name="connsiteY375" fmla="*/ 302997 h 793560"/>
                    <a:gd name="connsiteX376" fmla="*/ 1478276 w 1787136"/>
                    <a:gd name="connsiteY376" fmla="*/ 302997 h 793560"/>
                    <a:gd name="connsiteX377" fmla="*/ 1478276 w 1787136"/>
                    <a:gd name="connsiteY377" fmla="*/ 302997 h 793560"/>
                    <a:gd name="connsiteX378" fmla="*/ 1478276 w 1787136"/>
                    <a:gd name="connsiteY378" fmla="*/ 302997 h 793560"/>
                    <a:gd name="connsiteX379" fmla="*/ 1478276 w 1787136"/>
                    <a:gd name="connsiteY379" fmla="*/ 302997 h 793560"/>
                    <a:gd name="connsiteX380" fmla="*/ 1478276 w 1787136"/>
                    <a:gd name="connsiteY380" fmla="*/ 302997 h 793560"/>
                    <a:gd name="connsiteX381" fmla="*/ 1478276 w 1787136"/>
                    <a:gd name="connsiteY381" fmla="*/ 302997 h 793560"/>
                    <a:gd name="connsiteX382" fmla="*/ 1478276 w 1787136"/>
                    <a:gd name="connsiteY382" fmla="*/ 302997 h 793560"/>
                    <a:gd name="connsiteX383" fmla="*/ 1478276 w 1787136"/>
                    <a:gd name="connsiteY383" fmla="*/ 302997 h 793560"/>
                    <a:gd name="connsiteX384" fmla="*/ 1478276 w 1787136"/>
                    <a:gd name="connsiteY384" fmla="*/ 302997 h 793560"/>
                    <a:gd name="connsiteX385" fmla="*/ 1478276 w 1787136"/>
                    <a:gd name="connsiteY385" fmla="*/ 302997 h 793560"/>
                    <a:gd name="connsiteX386" fmla="*/ 1478276 w 1787136"/>
                    <a:gd name="connsiteY386" fmla="*/ 302997 h 793560"/>
                    <a:gd name="connsiteX387" fmla="*/ 1478276 w 1787136"/>
                    <a:gd name="connsiteY387" fmla="*/ 302997 h 793560"/>
                    <a:gd name="connsiteX388" fmla="*/ 1478276 w 1787136"/>
                    <a:gd name="connsiteY388" fmla="*/ 302997 h 793560"/>
                    <a:gd name="connsiteX389" fmla="*/ 1478276 w 1787136"/>
                    <a:gd name="connsiteY389" fmla="*/ 302997 h 793560"/>
                    <a:gd name="connsiteX390" fmla="*/ 1478276 w 1787136"/>
                    <a:gd name="connsiteY390" fmla="*/ 302997 h 793560"/>
                    <a:gd name="connsiteX391" fmla="*/ 1478276 w 1787136"/>
                    <a:gd name="connsiteY391" fmla="*/ 302997 h 793560"/>
                    <a:gd name="connsiteX392" fmla="*/ 1478276 w 1787136"/>
                    <a:gd name="connsiteY392" fmla="*/ 302997 h 793560"/>
                    <a:gd name="connsiteX393" fmla="*/ 1478276 w 1787136"/>
                    <a:gd name="connsiteY393" fmla="*/ 302997 h 793560"/>
                    <a:gd name="connsiteX394" fmla="*/ 1478276 w 1787136"/>
                    <a:gd name="connsiteY394" fmla="*/ 302997 h 793560"/>
                    <a:gd name="connsiteX395" fmla="*/ 1478276 w 1787136"/>
                    <a:gd name="connsiteY395" fmla="*/ 302997 h 793560"/>
                    <a:gd name="connsiteX396" fmla="*/ 1478276 w 1787136"/>
                    <a:gd name="connsiteY396" fmla="*/ 302997 h 793560"/>
                    <a:gd name="connsiteX397" fmla="*/ 1478276 w 1787136"/>
                    <a:gd name="connsiteY397" fmla="*/ 302997 h 793560"/>
                    <a:gd name="connsiteX398" fmla="*/ 1478276 w 1787136"/>
                    <a:gd name="connsiteY398" fmla="*/ 302997 h 793560"/>
                    <a:gd name="connsiteX399" fmla="*/ 1478276 w 1787136"/>
                    <a:gd name="connsiteY399" fmla="*/ 302997 h 793560"/>
                    <a:gd name="connsiteX400" fmla="*/ 1478276 w 1787136"/>
                    <a:gd name="connsiteY400" fmla="*/ 302997 h 793560"/>
                    <a:gd name="connsiteX401" fmla="*/ 1478276 w 1787136"/>
                    <a:gd name="connsiteY401" fmla="*/ 302997 h 793560"/>
                    <a:gd name="connsiteX402" fmla="*/ 693552 w 1787136"/>
                    <a:gd name="connsiteY402" fmla="*/ 211182 h 793560"/>
                    <a:gd name="connsiteX403" fmla="*/ 695560 w 1787136"/>
                    <a:gd name="connsiteY403" fmla="*/ 212628 h 793560"/>
                    <a:gd name="connsiteX404" fmla="*/ 697408 w 1787136"/>
                    <a:gd name="connsiteY404" fmla="*/ 211102 h 793560"/>
                    <a:gd name="connsiteX405" fmla="*/ 695319 w 1787136"/>
                    <a:gd name="connsiteY405" fmla="*/ 210540 h 793560"/>
                    <a:gd name="connsiteX406" fmla="*/ 693552 w 1787136"/>
                    <a:gd name="connsiteY406" fmla="*/ 211182 h 793560"/>
                    <a:gd name="connsiteX407" fmla="*/ 693552 w 1787136"/>
                    <a:gd name="connsiteY407" fmla="*/ 211182 h 793560"/>
                    <a:gd name="connsiteX408" fmla="*/ 1464700 w 1787136"/>
                    <a:gd name="connsiteY408" fmla="*/ 288779 h 793560"/>
                    <a:gd name="connsiteX409" fmla="*/ 1472412 w 1787136"/>
                    <a:gd name="connsiteY409" fmla="*/ 294884 h 793560"/>
                    <a:gd name="connsiteX410" fmla="*/ 1464700 w 1787136"/>
                    <a:gd name="connsiteY410" fmla="*/ 288779 h 793560"/>
                    <a:gd name="connsiteX411" fmla="*/ 1464700 w 1787136"/>
                    <a:gd name="connsiteY411" fmla="*/ 288779 h 793560"/>
                    <a:gd name="connsiteX412" fmla="*/ 1441084 w 1787136"/>
                    <a:gd name="connsiteY412" fmla="*/ 270866 h 793560"/>
                    <a:gd name="connsiteX413" fmla="*/ 1444056 w 1787136"/>
                    <a:gd name="connsiteY413" fmla="*/ 272874 h 793560"/>
                    <a:gd name="connsiteX414" fmla="*/ 1440843 w 1787136"/>
                    <a:gd name="connsiteY414" fmla="*/ 270705 h 793560"/>
                    <a:gd name="connsiteX415" fmla="*/ 1441084 w 1787136"/>
                    <a:gd name="connsiteY415" fmla="*/ 270866 h 793560"/>
                    <a:gd name="connsiteX416" fmla="*/ 1140256 w 1787136"/>
                    <a:gd name="connsiteY416" fmla="*/ 189092 h 793560"/>
                    <a:gd name="connsiteX417" fmla="*/ 1253438 w 1787136"/>
                    <a:gd name="connsiteY417" fmla="*/ 237530 h 793560"/>
                    <a:gd name="connsiteX418" fmla="*/ 1213515 w 1787136"/>
                    <a:gd name="connsiteY418" fmla="*/ 222348 h 793560"/>
                    <a:gd name="connsiteX419" fmla="*/ 1135918 w 1787136"/>
                    <a:gd name="connsiteY419" fmla="*/ 184995 h 793560"/>
                    <a:gd name="connsiteX420" fmla="*/ 1140256 w 1787136"/>
                    <a:gd name="connsiteY420" fmla="*/ 189092 h 793560"/>
                    <a:gd name="connsiteX421" fmla="*/ 1238175 w 1787136"/>
                    <a:gd name="connsiteY421" fmla="*/ 217609 h 793560"/>
                    <a:gd name="connsiteX422" fmla="*/ 1241389 w 1787136"/>
                    <a:gd name="connsiteY422" fmla="*/ 219215 h 793560"/>
                    <a:gd name="connsiteX423" fmla="*/ 1244682 w 1787136"/>
                    <a:gd name="connsiteY423" fmla="*/ 216484 h 793560"/>
                    <a:gd name="connsiteX424" fmla="*/ 1240184 w 1787136"/>
                    <a:gd name="connsiteY424" fmla="*/ 215520 h 793560"/>
                    <a:gd name="connsiteX425" fmla="*/ 1223315 w 1787136"/>
                    <a:gd name="connsiteY425" fmla="*/ 193028 h 793560"/>
                    <a:gd name="connsiteX426" fmla="*/ 1231990 w 1787136"/>
                    <a:gd name="connsiteY426" fmla="*/ 199374 h 793560"/>
                    <a:gd name="connsiteX427" fmla="*/ 1240666 w 1787136"/>
                    <a:gd name="connsiteY427" fmla="*/ 204676 h 793560"/>
                    <a:gd name="connsiteX428" fmla="*/ 1233275 w 1787136"/>
                    <a:gd name="connsiteY428" fmla="*/ 199133 h 793560"/>
                    <a:gd name="connsiteX429" fmla="*/ 1240585 w 1787136"/>
                    <a:gd name="connsiteY429" fmla="*/ 196643 h 793560"/>
                    <a:gd name="connsiteX430" fmla="*/ 1230946 w 1787136"/>
                    <a:gd name="connsiteY430" fmla="*/ 193109 h 793560"/>
                    <a:gd name="connsiteX431" fmla="*/ 1230946 w 1787136"/>
                    <a:gd name="connsiteY431" fmla="*/ 193510 h 793560"/>
                    <a:gd name="connsiteX432" fmla="*/ 1225725 w 1787136"/>
                    <a:gd name="connsiteY432" fmla="*/ 191421 h 793560"/>
                    <a:gd name="connsiteX433" fmla="*/ 1223234 w 1787136"/>
                    <a:gd name="connsiteY433" fmla="*/ 190940 h 793560"/>
                    <a:gd name="connsiteX434" fmla="*/ 1221387 w 1787136"/>
                    <a:gd name="connsiteY434" fmla="*/ 189815 h 793560"/>
                    <a:gd name="connsiteX435" fmla="*/ 1218977 w 1787136"/>
                    <a:gd name="connsiteY435" fmla="*/ 190136 h 793560"/>
                    <a:gd name="connsiteX436" fmla="*/ 1233356 w 1787136"/>
                    <a:gd name="connsiteY436" fmla="*/ 211182 h 793560"/>
                    <a:gd name="connsiteX437" fmla="*/ 1233918 w 1787136"/>
                    <a:gd name="connsiteY437" fmla="*/ 209656 h 793560"/>
                    <a:gd name="connsiteX438" fmla="*/ 1237613 w 1787136"/>
                    <a:gd name="connsiteY438" fmla="*/ 217368 h 793560"/>
                    <a:gd name="connsiteX439" fmla="*/ 1238175 w 1787136"/>
                    <a:gd name="connsiteY439" fmla="*/ 217609 h 793560"/>
                    <a:gd name="connsiteX440" fmla="*/ 1055911 w 1787136"/>
                    <a:gd name="connsiteY440" fmla="*/ 116395 h 793560"/>
                    <a:gd name="connsiteX441" fmla="*/ 1070451 w 1787136"/>
                    <a:gd name="connsiteY441" fmla="*/ 120331 h 793560"/>
                    <a:gd name="connsiteX442" fmla="*/ 1066675 w 1787136"/>
                    <a:gd name="connsiteY442" fmla="*/ 117520 h 793560"/>
                    <a:gd name="connsiteX443" fmla="*/ 1066033 w 1787136"/>
                    <a:gd name="connsiteY443" fmla="*/ 117439 h 793560"/>
                    <a:gd name="connsiteX444" fmla="*/ 1061695 w 1787136"/>
                    <a:gd name="connsiteY444" fmla="*/ 117038 h 793560"/>
                    <a:gd name="connsiteX445" fmla="*/ 1055429 w 1787136"/>
                    <a:gd name="connsiteY445" fmla="*/ 116235 h 793560"/>
                    <a:gd name="connsiteX446" fmla="*/ 1055911 w 1787136"/>
                    <a:gd name="connsiteY446" fmla="*/ 116395 h 793560"/>
                    <a:gd name="connsiteX447" fmla="*/ 1021772 w 1787136"/>
                    <a:gd name="connsiteY447" fmla="*/ 105149 h 793560"/>
                    <a:gd name="connsiteX448" fmla="*/ 1031010 w 1787136"/>
                    <a:gd name="connsiteY448" fmla="*/ 106836 h 793560"/>
                    <a:gd name="connsiteX449" fmla="*/ 1036793 w 1787136"/>
                    <a:gd name="connsiteY449" fmla="*/ 109808 h 793560"/>
                    <a:gd name="connsiteX450" fmla="*/ 1038480 w 1787136"/>
                    <a:gd name="connsiteY450" fmla="*/ 112379 h 793560"/>
                    <a:gd name="connsiteX451" fmla="*/ 1041774 w 1787136"/>
                    <a:gd name="connsiteY451" fmla="*/ 112700 h 793560"/>
                    <a:gd name="connsiteX452" fmla="*/ 1041693 w 1787136"/>
                    <a:gd name="connsiteY452" fmla="*/ 112941 h 793560"/>
                    <a:gd name="connsiteX453" fmla="*/ 1040408 w 1787136"/>
                    <a:gd name="connsiteY453" fmla="*/ 113503 h 793560"/>
                    <a:gd name="connsiteX454" fmla="*/ 1048441 w 1787136"/>
                    <a:gd name="connsiteY454" fmla="*/ 114789 h 793560"/>
                    <a:gd name="connsiteX455" fmla="*/ 1046111 w 1787136"/>
                    <a:gd name="connsiteY455" fmla="*/ 111656 h 793560"/>
                    <a:gd name="connsiteX456" fmla="*/ 1046433 w 1787136"/>
                    <a:gd name="connsiteY456" fmla="*/ 111174 h 793560"/>
                    <a:gd name="connsiteX457" fmla="*/ 1039283 w 1787136"/>
                    <a:gd name="connsiteY457" fmla="*/ 107720 h 793560"/>
                    <a:gd name="connsiteX458" fmla="*/ 1044746 w 1787136"/>
                    <a:gd name="connsiteY458" fmla="*/ 106917 h 793560"/>
                    <a:gd name="connsiteX459" fmla="*/ 1042175 w 1787136"/>
                    <a:gd name="connsiteY459" fmla="*/ 105390 h 793560"/>
                    <a:gd name="connsiteX460" fmla="*/ 1042577 w 1787136"/>
                    <a:gd name="connsiteY460" fmla="*/ 105471 h 793560"/>
                    <a:gd name="connsiteX461" fmla="*/ 1046433 w 1787136"/>
                    <a:gd name="connsiteY461" fmla="*/ 105230 h 793560"/>
                    <a:gd name="connsiteX462" fmla="*/ 1041372 w 1787136"/>
                    <a:gd name="connsiteY462" fmla="*/ 103382 h 793560"/>
                    <a:gd name="connsiteX463" fmla="*/ 1048441 w 1787136"/>
                    <a:gd name="connsiteY463" fmla="*/ 103222 h 793560"/>
                    <a:gd name="connsiteX464" fmla="*/ 1038480 w 1787136"/>
                    <a:gd name="connsiteY464" fmla="*/ 106274 h 793560"/>
                    <a:gd name="connsiteX465" fmla="*/ 1030528 w 1787136"/>
                    <a:gd name="connsiteY465" fmla="*/ 101695 h 793560"/>
                    <a:gd name="connsiteX466" fmla="*/ 1032777 w 1787136"/>
                    <a:gd name="connsiteY466" fmla="*/ 104266 h 793560"/>
                    <a:gd name="connsiteX467" fmla="*/ 1027636 w 1787136"/>
                    <a:gd name="connsiteY467" fmla="*/ 102659 h 793560"/>
                    <a:gd name="connsiteX468" fmla="*/ 1023218 w 1787136"/>
                    <a:gd name="connsiteY468" fmla="*/ 102258 h 793560"/>
                    <a:gd name="connsiteX469" fmla="*/ 1022896 w 1787136"/>
                    <a:gd name="connsiteY469" fmla="*/ 101374 h 793560"/>
                    <a:gd name="connsiteX470" fmla="*/ 1018157 w 1787136"/>
                    <a:gd name="connsiteY470" fmla="*/ 100571 h 793560"/>
                    <a:gd name="connsiteX471" fmla="*/ 1020728 w 1787136"/>
                    <a:gd name="connsiteY471" fmla="*/ 104587 h 793560"/>
                    <a:gd name="connsiteX472" fmla="*/ 1021772 w 1787136"/>
                    <a:gd name="connsiteY472" fmla="*/ 105149 h 793560"/>
                    <a:gd name="connsiteX473" fmla="*/ 170376 w 1787136"/>
                    <a:gd name="connsiteY473" fmla="*/ 189413 h 793560"/>
                    <a:gd name="connsiteX474" fmla="*/ 170536 w 1787136"/>
                    <a:gd name="connsiteY474" fmla="*/ 189413 h 793560"/>
                    <a:gd name="connsiteX475" fmla="*/ 172143 w 1787136"/>
                    <a:gd name="connsiteY475" fmla="*/ 188128 h 793560"/>
                    <a:gd name="connsiteX476" fmla="*/ 171179 w 1787136"/>
                    <a:gd name="connsiteY476" fmla="*/ 188369 h 793560"/>
                    <a:gd name="connsiteX477" fmla="*/ 171259 w 1787136"/>
                    <a:gd name="connsiteY477" fmla="*/ 188208 h 793560"/>
                    <a:gd name="connsiteX478" fmla="*/ 170376 w 1787136"/>
                    <a:gd name="connsiteY478" fmla="*/ 189413 h 793560"/>
                    <a:gd name="connsiteX479" fmla="*/ 1129010 w 1787136"/>
                    <a:gd name="connsiteY479" fmla="*/ 86353 h 793560"/>
                    <a:gd name="connsiteX480" fmla="*/ 1146521 w 1787136"/>
                    <a:gd name="connsiteY480" fmla="*/ 92699 h 793560"/>
                    <a:gd name="connsiteX481" fmla="*/ 1152225 w 1787136"/>
                    <a:gd name="connsiteY481" fmla="*/ 94787 h 793560"/>
                    <a:gd name="connsiteX482" fmla="*/ 1151020 w 1787136"/>
                    <a:gd name="connsiteY482" fmla="*/ 94225 h 793560"/>
                    <a:gd name="connsiteX483" fmla="*/ 1128528 w 1787136"/>
                    <a:gd name="connsiteY483" fmla="*/ 86112 h 793560"/>
                    <a:gd name="connsiteX484" fmla="*/ 1129010 w 1787136"/>
                    <a:gd name="connsiteY484" fmla="*/ 86353 h 793560"/>
                    <a:gd name="connsiteX485" fmla="*/ 1123949 w 1787136"/>
                    <a:gd name="connsiteY485" fmla="*/ 83621 h 793560"/>
                    <a:gd name="connsiteX486" fmla="*/ 1139292 w 1787136"/>
                    <a:gd name="connsiteY486" fmla="*/ 89164 h 793560"/>
                    <a:gd name="connsiteX487" fmla="*/ 1134633 w 1787136"/>
                    <a:gd name="connsiteY487" fmla="*/ 87477 h 793560"/>
                    <a:gd name="connsiteX488" fmla="*/ 1122985 w 1787136"/>
                    <a:gd name="connsiteY488" fmla="*/ 83300 h 793560"/>
                    <a:gd name="connsiteX489" fmla="*/ 1123949 w 1787136"/>
                    <a:gd name="connsiteY489" fmla="*/ 83621 h 793560"/>
                    <a:gd name="connsiteX490" fmla="*/ 367741 w 1787136"/>
                    <a:gd name="connsiteY490" fmla="*/ 89646 h 793560"/>
                    <a:gd name="connsiteX491" fmla="*/ 375132 w 1787136"/>
                    <a:gd name="connsiteY491" fmla="*/ 86594 h 793560"/>
                    <a:gd name="connsiteX492" fmla="*/ 367260 w 1787136"/>
                    <a:gd name="connsiteY492" fmla="*/ 89566 h 793560"/>
                    <a:gd name="connsiteX493" fmla="*/ 367741 w 1787136"/>
                    <a:gd name="connsiteY493" fmla="*/ 89646 h 793560"/>
                    <a:gd name="connsiteX494" fmla="*/ 370955 w 1787136"/>
                    <a:gd name="connsiteY494" fmla="*/ 87076 h 793560"/>
                    <a:gd name="connsiteX495" fmla="*/ 371115 w 1787136"/>
                    <a:gd name="connsiteY495" fmla="*/ 87557 h 793560"/>
                    <a:gd name="connsiteX496" fmla="*/ 373204 w 1787136"/>
                    <a:gd name="connsiteY496" fmla="*/ 86192 h 793560"/>
                    <a:gd name="connsiteX497" fmla="*/ 372802 w 1787136"/>
                    <a:gd name="connsiteY497" fmla="*/ 85710 h 793560"/>
                    <a:gd name="connsiteX498" fmla="*/ 372963 w 1787136"/>
                    <a:gd name="connsiteY498" fmla="*/ 85469 h 793560"/>
                    <a:gd name="connsiteX499" fmla="*/ 368143 w 1787136"/>
                    <a:gd name="connsiteY499" fmla="*/ 87557 h 793560"/>
                    <a:gd name="connsiteX500" fmla="*/ 370955 w 1787136"/>
                    <a:gd name="connsiteY500" fmla="*/ 87076 h 793560"/>
                    <a:gd name="connsiteX501" fmla="*/ 1111498 w 1787136"/>
                    <a:gd name="connsiteY501" fmla="*/ 78239 h 793560"/>
                    <a:gd name="connsiteX502" fmla="*/ 1131420 w 1787136"/>
                    <a:gd name="connsiteY502" fmla="*/ 85710 h 793560"/>
                    <a:gd name="connsiteX503" fmla="*/ 1110856 w 1787136"/>
                    <a:gd name="connsiteY503" fmla="*/ 78079 h 793560"/>
                    <a:gd name="connsiteX504" fmla="*/ 1111498 w 1787136"/>
                    <a:gd name="connsiteY504" fmla="*/ 78239 h 793560"/>
                    <a:gd name="connsiteX505" fmla="*/ 530165 w 1787136"/>
                    <a:gd name="connsiteY505" fmla="*/ 34862 h 793560"/>
                    <a:gd name="connsiteX506" fmla="*/ 530084 w 1787136"/>
                    <a:gd name="connsiteY506" fmla="*/ 34461 h 793560"/>
                    <a:gd name="connsiteX507" fmla="*/ 528719 w 1787136"/>
                    <a:gd name="connsiteY507" fmla="*/ 34380 h 793560"/>
                    <a:gd name="connsiteX508" fmla="*/ 530165 w 1787136"/>
                    <a:gd name="connsiteY508" fmla="*/ 34862 h 793560"/>
                    <a:gd name="connsiteX509" fmla="*/ 570891 w 1787136"/>
                    <a:gd name="connsiteY509" fmla="*/ 25705 h 793560"/>
                    <a:gd name="connsiteX510" fmla="*/ 575470 w 1787136"/>
                    <a:gd name="connsiteY510" fmla="*/ 25303 h 793560"/>
                    <a:gd name="connsiteX511" fmla="*/ 570570 w 1787136"/>
                    <a:gd name="connsiteY511" fmla="*/ 25705 h 793560"/>
                    <a:gd name="connsiteX512" fmla="*/ 570891 w 1787136"/>
                    <a:gd name="connsiteY512" fmla="*/ 25705 h 793560"/>
                    <a:gd name="connsiteX513" fmla="*/ 868586 w 1787136"/>
                    <a:gd name="connsiteY513" fmla="*/ 11487 h 793560"/>
                    <a:gd name="connsiteX514" fmla="*/ 904573 w 1787136"/>
                    <a:gd name="connsiteY514" fmla="*/ 17833 h 793560"/>
                    <a:gd name="connsiteX515" fmla="*/ 924334 w 1787136"/>
                    <a:gd name="connsiteY515" fmla="*/ 22010 h 793560"/>
                    <a:gd name="connsiteX516" fmla="*/ 915016 w 1787136"/>
                    <a:gd name="connsiteY516" fmla="*/ 19921 h 793560"/>
                    <a:gd name="connsiteX517" fmla="*/ 865534 w 1787136"/>
                    <a:gd name="connsiteY517" fmla="*/ 10764 h 793560"/>
                    <a:gd name="connsiteX518" fmla="*/ 868586 w 1787136"/>
                    <a:gd name="connsiteY518" fmla="*/ 11487 h 793560"/>
                    <a:gd name="connsiteX519" fmla="*/ 0 w 1787136"/>
                    <a:gd name="connsiteY519" fmla="*/ 237450 h 793560"/>
                    <a:gd name="connsiteX520" fmla="*/ 2892 w 1787136"/>
                    <a:gd name="connsiteY520" fmla="*/ 233835 h 793560"/>
                    <a:gd name="connsiteX521" fmla="*/ 2892 w 1787136"/>
                    <a:gd name="connsiteY521" fmla="*/ 233835 h 793560"/>
                    <a:gd name="connsiteX522" fmla="*/ 56390 w 1787136"/>
                    <a:gd name="connsiteY522" fmla="*/ 204354 h 793560"/>
                    <a:gd name="connsiteX523" fmla="*/ 50767 w 1787136"/>
                    <a:gd name="connsiteY523" fmla="*/ 211584 h 793560"/>
                    <a:gd name="connsiteX524" fmla="*/ 360994 w 1787136"/>
                    <a:gd name="connsiteY524" fmla="*/ 98000 h 793560"/>
                    <a:gd name="connsiteX525" fmla="*/ 549283 w 1787136"/>
                    <a:gd name="connsiteY525" fmla="*/ 30846 h 793560"/>
                    <a:gd name="connsiteX526" fmla="*/ 531209 w 1787136"/>
                    <a:gd name="connsiteY526" fmla="*/ 32131 h 793560"/>
                    <a:gd name="connsiteX527" fmla="*/ 602781 w 1787136"/>
                    <a:gd name="connsiteY527" fmla="*/ 24741 h 793560"/>
                    <a:gd name="connsiteX528" fmla="*/ 593784 w 1787136"/>
                    <a:gd name="connsiteY528" fmla="*/ 26267 h 793560"/>
                    <a:gd name="connsiteX529" fmla="*/ 718935 w 1787136"/>
                    <a:gd name="connsiteY529" fmla="*/ 19198 h 793560"/>
                    <a:gd name="connsiteX530" fmla="*/ 701504 w 1787136"/>
                    <a:gd name="connsiteY530" fmla="*/ 14298 h 793560"/>
                    <a:gd name="connsiteX531" fmla="*/ 839749 w 1787136"/>
                    <a:gd name="connsiteY531" fmla="*/ 13334 h 793560"/>
                    <a:gd name="connsiteX532" fmla="*/ 831314 w 1787136"/>
                    <a:gd name="connsiteY532" fmla="*/ 9800 h 793560"/>
                    <a:gd name="connsiteX533" fmla="*/ 844890 w 1787136"/>
                    <a:gd name="connsiteY533" fmla="*/ 10684 h 793560"/>
                    <a:gd name="connsiteX534" fmla="*/ 921683 w 1787136"/>
                    <a:gd name="connsiteY534" fmla="*/ 24098 h 793560"/>
                    <a:gd name="connsiteX535" fmla="*/ 776209 w 1787136"/>
                    <a:gd name="connsiteY535" fmla="*/ 0 h 793560"/>
                    <a:gd name="connsiteX536" fmla="*/ 816534 w 1787136"/>
                    <a:gd name="connsiteY536" fmla="*/ 3936 h 793560"/>
                    <a:gd name="connsiteX537" fmla="*/ 937508 w 1787136"/>
                    <a:gd name="connsiteY537" fmla="*/ 24902 h 793560"/>
                    <a:gd name="connsiteX538" fmla="*/ 1135838 w 1787136"/>
                    <a:gd name="connsiteY538" fmla="*/ 87557 h 793560"/>
                    <a:gd name="connsiteX539" fmla="*/ 1327902 w 1787136"/>
                    <a:gd name="connsiteY539" fmla="*/ 187164 h 793560"/>
                    <a:gd name="connsiteX540" fmla="*/ 1493136 w 1787136"/>
                    <a:gd name="connsiteY540" fmla="*/ 313038 h 793560"/>
                    <a:gd name="connsiteX541" fmla="*/ 1632827 w 1787136"/>
                    <a:gd name="connsiteY541" fmla="*/ 462287 h 793560"/>
                    <a:gd name="connsiteX542" fmla="*/ 1745607 w 1787136"/>
                    <a:gd name="connsiteY542" fmla="*/ 632503 h 793560"/>
                    <a:gd name="connsiteX543" fmla="*/ 1770750 w 1787136"/>
                    <a:gd name="connsiteY543" fmla="*/ 680940 h 793560"/>
                    <a:gd name="connsiteX544" fmla="*/ 1770027 w 1787136"/>
                    <a:gd name="connsiteY544" fmla="*/ 679575 h 793560"/>
                    <a:gd name="connsiteX545" fmla="*/ 1773481 w 1787136"/>
                    <a:gd name="connsiteY545" fmla="*/ 688009 h 793560"/>
                    <a:gd name="connsiteX546" fmla="*/ 1772276 w 1787136"/>
                    <a:gd name="connsiteY546" fmla="*/ 686001 h 793560"/>
                    <a:gd name="connsiteX547" fmla="*/ 1772437 w 1787136"/>
                    <a:gd name="connsiteY547" fmla="*/ 686483 h 793560"/>
                    <a:gd name="connsiteX548" fmla="*/ 1771794 w 1787136"/>
                    <a:gd name="connsiteY548" fmla="*/ 685118 h 793560"/>
                    <a:gd name="connsiteX549" fmla="*/ 1774686 w 1787136"/>
                    <a:gd name="connsiteY549" fmla="*/ 695962 h 793560"/>
                    <a:gd name="connsiteX550" fmla="*/ 1760789 w 1787136"/>
                    <a:gd name="connsiteY550" fmla="*/ 679334 h 793560"/>
                    <a:gd name="connsiteX551" fmla="*/ 1759665 w 1787136"/>
                    <a:gd name="connsiteY551" fmla="*/ 679414 h 793560"/>
                    <a:gd name="connsiteX552" fmla="*/ 1760147 w 1787136"/>
                    <a:gd name="connsiteY552" fmla="*/ 680057 h 793560"/>
                    <a:gd name="connsiteX553" fmla="*/ 1762958 w 1787136"/>
                    <a:gd name="connsiteY553" fmla="*/ 684475 h 793560"/>
                    <a:gd name="connsiteX554" fmla="*/ 1782478 w 1787136"/>
                    <a:gd name="connsiteY554" fmla="*/ 741990 h 793560"/>
                    <a:gd name="connsiteX555" fmla="*/ 1782237 w 1787136"/>
                    <a:gd name="connsiteY555" fmla="*/ 743034 h 793560"/>
                    <a:gd name="connsiteX556" fmla="*/ 1782960 w 1787136"/>
                    <a:gd name="connsiteY556" fmla="*/ 743757 h 793560"/>
                    <a:gd name="connsiteX557" fmla="*/ 1787137 w 1787136"/>
                    <a:gd name="connsiteY557" fmla="*/ 792275 h 793560"/>
                    <a:gd name="connsiteX558" fmla="*/ 1777417 w 1787136"/>
                    <a:gd name="connsiteY558" fmla="*/ 793560 h 793560"/>
                    <a:gd name="connsiteX559" fmla="*/ 1746170 w 1787136"/>
                    <a:gd name="connsiteY559" fmla="*/ 727611 h 793560"/>
                    <a:gd name="connsiteX560" fmla="*/ 1745768 w 1787136"/>
                    <a:gd name="connsiteY560" fmla="*/ 729378 h 793560"/>
                    <a:gd name="connsiteX561" fmla="*/ 1665922 w 1787136"/>
                    <a:gd name="connsiteY561" fmla="*/ 630735 h 793560"/>
                    <a:gd name="connsiteX562" fmla="*/ 1632747 w 1787136"/>
                    <a:gd name="connsiteY562" fmla="*/ 601496 h 793560"/>
                    <a:gd name="connsiteX563" fmla="*/ 1630096 w 1787136"/>
                    <a:gd name="connsiteY563" fmla="*/ 598765 h 793560"/>
                    <a:gd name="connsiteX564" fmla="*/ 1629132 w 1787136"/>
                    <a:gd name="connsiteY564" fmla="*/ 596998 h 793560"/>
                    <a:gd name="connsiteX565" fmla="*/ 1605274 w 1787136"/>
                    <a:gd name="connsiteY565" fmla="*/ 574827 h 793560"/>
                    <a:gd name="connsiteX566" fmla="*/ 1596358 w 1787136"/>
                    <a:gd name="connsiteY566" fmla="*/ 582779 h 793560"/>
                    <a:gd name="connsiteX567" fmla="*/ 1593466 w 1787136"/>
                    <a:gd name="connsiteY567" fmla="*/ 601898 h 793560"/>
                    <a:gd name="connsiteX568" fmla="*/ 1590735 w 1787136"/>
                    <a:gd name="connsiteY568" fmla="*/ 600693 h 793560"/>
                    <a:gd name="connsiteX569" fmla="*/ 1590574 w 1787136"/>
                    <a:gd name="connsiteY569" fmla="*/ 601978 h 793560"/>
                    <a:gd name="connsiteX570" fmla="*/ 1585996 w 1787136"/>
                    <a:gd name="connsiteY570" fmla="*/ 602942 h 793560"/>
                    <a:gd name="connsiteX571" fmla="*/ 1582140 w 1787136"/>
                    <a:gd name="connsiteY571" fmla="*/ 611457 h 793560"/>
                    <a:gd name="connsiteX572" fmla="*/ 1583184 w 1787136"/>
                    <a:gd name="connsiteY572" fmla="*/ 611858 h 793560"/>
                    <a:gd name="connsiteX573" fmla="*/ 1589771 w 1787136"/>
                    <a:gd name="connsiteY573" fmla="*/ 633788 h 793560"/>
                    <a:gd name="connsiteX574" fmla="*/ 1582220 w 1787136"/>
                    <a:gd name="connsiteY574" fmla="*/ 639170 h 793560"/>
                    <a:gd name="connsiteX575" fmla="*/ 1552901 w 1787136"/>
                    <a:gd name="connsiteY575" fmla="*/ 616196 h 793560"/>
                    <a:gd name="connsiteX576" fmla="*/ 1546073 w 1787136"/>
                    <a:gd name="connsiteY576" fmla="*/ 622703 h 793560"/>
                    <a:gd name="connsiteX577" fmla="*/ 1548241 w 1787136"/>
                    <a:gd name="connsiteY577" fmla="*/ 640857 h 793560"/>
                    <a:gd name="connsiteX578" fmla="*/ 1547518 w 1787136"/>
                    <a:gd name="connsiteY578" fmla="*/ 641098 h 793560"/>
                    <a:gd name="connsiteX579" fmla="*/ 1547759 w 1787136"/>
                    <a:gd name="connsiteY579" fmla="*/ 650094 h 793560"/>
                    <a:gd name="connsiteX580" fmla="*/ 1546153 w 1787136"/>
                    <a:gd name="connsiteY580" fmla="*/ 647765 h 793560"/>
                    <a:gd name="connsiteX581" fmla="*/ 1558363 w 1787136"/>
                    <a:gd name="connsiteY581" fmla="*/ 709216 h 793560"/>
                    <a:gd name="connsiteX582" fmla="*/ 1536273 w 1787136"/>
                    <a:gd name="connsiteY582" fmla="*/ 746568 h 793560"/>
                    <a:gd name="connsiteX583" fmla="*/ 1537638 w 1787136"/>
                    <a:gd name="connsiteY583" fmla="*/ 747532 h 793560"/>
                    <a:gd name="connsiteX584" fmla="*/ 1492976 w 1787136"/>
                    <a:gd name="connsiteY584" fmla="*/ 766088 h 793560"/>
                    <a:gd name="connsiteX585" fmla="*/ 1492735 w 1787136"/>
                    <a:gd name="connsiteY585" fmla="*/ 764240 h 793560"/>
                    <a:gd name="connsiteX586" fmla="*/ 1532176 w 1787136"/>
                    <a:gd name="connsiteY586" fmla="*/ 710662 h 793560"/>
                    <a:gd name="connsiteX587" fmla="*/ 1512496 w 1787136"/>
                    <a:gd name="connsiteY587" fmla="*/ 644391 h 793560"/>
                    <a:gd name="connsiteX588" fmla="*/ 1492012 w 1787136"/>
                    <a:gd name="connsiteY588" fmla="*/ 652826 h 793560"/>
                    <a:gd name="connsiteX589" fmla="*/ 1491369 w 1787136"/>
                    <a:gd name="connsiteY589" fmla="*/ 652022 h 793560"/>
                    <a:gd name="connsiteX590" fmla="*/ 1486791 w 1787136"/>
                    <a:gd name="connsiteY590" fmla="*/ 653147 h 793560"/>
                    <a:gd name="connsiteX591" fmla="*/ 1482614 w 1787136"/>
                    <a:gd name="connsiteY591" fmla="*/ 656681 h 793560"/>
                    <a:gd name="connsiteX592" fmla="*/ 1476750 w 1787136"/>
                    <a:gd name="connsiteY592" fmla="*/ 665357 h 793560"/>
                    <a:gd name="connsiteX593" fmla="*/ 1456748 w 1787136"/>
                    <a:gd name="connsiteY593" fmla="*/ 670739 h 793560"/>
                    <a:gd name="connsiteX594" fmla="*/ 1463174 w 1787136"/>
                    <a:gd name="connsiteY594" fmla="*/ 686001 h 793560"/>
                    <a:gd name="connsiteX595" fmla="*/ 1426545 w 1787136"/>
                    <a:gd name="connsiteY595" fmla="*/ 660698 h 793560"/>
                    <a:gd name="connsiteX596" fmla="*/ 1381481 w 1787136"/>
                    <a:gd name="connsiteY596" fmla="*/ 639973 h 793560"/>
                    <a:gd name="connsiteX597" fmla="*/ 1381159 w 1787136"/>
                    <a:gd name="connsiteY597" fmla="*/ 641017 h 793560"/>
                    <a:gd name="connsiteX598" fmla="*/ 1378910 w 1787136"/>
                    <a:gd name="connsiteY598" fmla="*/ 635796 h 793560"/>
                    <a:gd name="connsiteX599" fmla="*/ 1375938 w 1787136"/>
                    <a:gd name="connsiteY599" fmla="*/ 633306 h 793560"/>
                    <a:gd name="connsiteX600" fmla="*/ 1375135 w 1787136"/>
                    <a:gd name="connsiteY600" fmla="*/ 621176 h 793560"/>
                    <a:gd name="connsiteX601" fmla="*/ 1409917 w 1787136"/>
                    <a:gd name="connsiteY601" fmla="*/ 585189 h 793560"/>
                    <a:gd name="connsiteX602" fmla="*/ 1408230 w 1787136"/>
                    <a:gd name="connsiteY602" fmla="*/ 585350 h 793560"/>
                    <a:gd name="connsiteX603" fmla="*/ 1341477 w 1787136"/>
                    <a:gd name="connsiteY603" fmla="*/ 538920 h 793560"/>
                    <a:gd name="connsiteX604" fmla="*/ 1338987 w 1787136"/>
                    <a:gd name="connsiteY604" fmla="*/ 539402 h 793560"/>
                    <a:gd name="connsiteX605" fmla="*/ 1344690 w 1787136"/>
                    <a:gd name="connsiteY605" fmla="*/ 546632 h 793560"/>
                    <a:gd name="connsiteX606" fmla="*/ 1334489 w 1787136"/>
                    <a:gd name="connsiteY606" fmla="*/ 548158 h 793560"/>
                    <a:gd name="connsiteX607" fmla="*/ 1276171 w 1787136"/>
                    <a:gd name="connsiteY607" fmla="*/ 519160 h 793560"/>
                    <a:gd name="connsiteX608" fmla="*/ 1202992 w 1787136"/>
                    <a:gd name="connsiteY608" fmla="*/ 506388 h 793560"/>
                    <a:gd name="connsiteX609" fmla="*/ 1199377 w 1787136"/>
                    <a:gd name="connsiteY609" fmla="*/ 505745 h 793560"/>
                    <a:gd name="connsiteX610" fmla="*/ 1190380 w 1787136"/>
                    <a:gd name="connsiteY610" fmla="*/ 498837 h 793560"/>
                    <a:gd name="connsiteX611" fmla="*/ 1163069 w 1787136"/>
                    <a:gd name="connsiteY611" fmla="*/ 489519 h 793560"/>
                    <a:gd name="connsiteX612" fmla="*/ 1153831 w 1787136"/>
                    <a:gd name="connsiteY612" fmla="*/ 474337 h 793560"/>
                    <a:gd name="connsiteX613" fmla="*/ 1149413 w 1787136"/>
                    <a:gd name="connsiteY613" fmla="*/ 475140 h 793560"/>
                    <a:gd name="connsiteX614" fmla="*/ 1102582 w 1787136"/>
                    <a:gd name="connsiteY614" fmla="*/ 446463 h 793560"/>
                    <a:gd name="connsiteX615" fmla="*/ 1130616 w 1787136"/>
                    <a:gd name="connsiteY615" fmla="*/ 438430 h 793560"/>
                    <a:gd name="connsiteX616" fmla="*/ 1105072 w 1787136"/>
                    <a:gd name="connsiteY616" fmla="*/ 430638 h 793560"/>
                    <a:gd name="connsiteX617" fmla="*/ 1126680 w 1787136"/>
                    <a:gd name="connsiteY617" fmla="*/ 421079 h 793560"/>
                    <a:gd name="connsiteX618" fmla="*/ 1095513 w 1787136"/>
                    <a:gd name="connsiteY618" fmla="*/ 422927 h 793560"/>
                    <a:gd name="connsiteX619" fmla="*/ 1118406 w 1787136"/>
                    <a:gd name="connsiteY619" fmla="*/ 395615 h 793560"/>
                    <a:gd name="connsiteX620" fmla="*/ 1063944 w 1787136"/>
                    <a:gd name="connsiteY620" fmla="*/ 365974 h 793560"/>
                    <a:gd name="connsiteX621" fmla="*/ 1131821 w 1787136"/>
                    <a:gd name="connsiteY621" fmla="*/ 357942 h 793560"/>
                    <a:gd name="connsiteX622" fmla="*/ 1055510 w 1787136"/>
                    <a:gd name="connsiteY622" fmla="*/ 327417 h 793560"/>
                    <a:gd name="connsiteX623" fmla="*/ 1056474 w 1787136"/>
                    <a:gd name="connsiteY623" fmla="*/ 336414 h 793560"/>
                    <a:gd name="connsiteX624" fmla="*/ 1072700 w 1787136"/>
                    <a:gd name="connsiteY624" fmla="*/ 343965 h 793560"/>
                    <a:gd name="connsiteX625" fmla="*/ 1063462 w 1787136"/>
                    <a:gd name="connsiteY625" fmla="*/ 343884 h 793560"/>
                    <a:gd name="connsiteX626" fmla="*/ 1073342 w 1787136"/>
                    <a:gd name="connsiteY626" fmla="*/ 347579 h 793560"/>
                    <a:gd name="connsiteX627" fmla="*/ 1002011 w 1787136"/>
                    <a:gd name="connsiteY627" fmla="*/ 351274 h 793560"/>
                    <a:gd name="connsiteX628" fmla="*/ 1012052 w 1787136"/>
                    <a:gd name="connsiteY628" fmla="*/ 353283 h 793560"/>
                    <a:gd name="connsiteX629" fmla="*/ 986267 w 1787136"/>
                    <a:gd name="connsiteY629" fmla="*/ 364127 h 793560"/>
                    <a:gd name="connsiteX630" fmla="*/ 993336 w 1787136"/>
                    <a:gd name="connsiteY630" fmla="*/ 369830 h 793560"/>
                    <a:gd name="connsiteX631" fmla="*/ 1001529 w 1787136"/>
                    <a:gd name="connsiteY631" fmla="*/ 392081 h 793560"/>
                    <a:gd name="connsiteX632" fmla="*/ 1000967 w 1787136"/>
                    <a:gd name="connsiteY632" fmla="*/ 392723 h 793560"/>
                    <a:gd name="connsiteX633" fmla="*/ 940882 w 1787136"/>
                    <a:gd name="connsiteY633" fmla="*/ 380514 h 793560"/>
                    <a:gd name="connsiteX634" fmla="*/ 964418 w 1787136"/>
                    <a:gd name="connsiteY634" fmla="*/ 344928 h 793560"/>
                    <a:gd name="connsiteX635" fmla="*/ 679816 w 1787136"/>
                    <a:gd name="connsiteY635" fmla="*/ 216886 h 793560"/>
                    <a:gd name="connsiteX636" fmla="*/ 732511 w 1787136"/>
                    <a:gd name="connsiteY636" fmla="*/ 201061 h 793560"/>
                    <a:gd name="connsiteX637" fmla="*/ 737411 w 1787136"/>
                    <a:gd name="connsiteY637" fmla="*/ 203310 h 793560"/>
                    <a:gd name="connsiteX638" fmla="*/ 736045 w 1787136"/>
                    <a:gd name="connsiteY638" fmla="*/ 192627 h 793560"/>
                    <a:gd name="connsiteX639" fmla="*/ 506950 w 1787136"/>
                    <a:gd name="connsiteY639" fmla="*/ 168448 h 793560"/>
                    <a:gd name="connsiteX640" fmla="*/ 486868 w 1787136"/>
                    <a:gd name="connsiteY640" fmla="*/ 172625 h 793560"/>
                    <a:gd name="connsiteX641" fmla="*/ 495543 w 1787136"/>
                    <a:gd name="connsiteY641" fmla="*/ 174713 h 793560"/>
                    <a:gd name="connsiteX642" fmla="*/ 440920 w 1787136"/>
                    <a:gd name="connsiteY642" fmla="*/ 183550 h 793560"/>
                    <a:gd name="connsiteX643" fmla="*/ 359066 w 1787136"/>
                    <a:gd name="connsiteY643" fmla="*/ 170536 h 793560"/>
                    <a:gd name="connsiteX644" fmla="*/ 365573 w 1787136"/>
                    <a:gd name="connsiteY644" fmla="*/ 178248 h 793560"/>
                    <a:gd name="connsiteX645" fmla="*/ 289341 w 1787136"/>
                    <a:gd name="connsiteY645" fmla="*/ 179292 h 793560"/>
                    <a:gd name="connsiteX646" fmla="*/ 416501 w 1787136"/>
                    <a:gd name="connsiteY646" fmla="*/ 279863 h 793560"/>
                    <a:gd name="connsiteX647" fmla="*/ 320830 w 1787136"/>
                    <a:gd name="connsiteY647" fmla="*/ 242430 h 793560"/>
                    <a:gd name="connsiteX648" fmla="*/ 313279 w 1787136"/>
                    <a:gd name="connsiteY648" fmla="*/ 239458 h 793560"/>
                    <a:gd name="connsiteX649" fmla="*/ 313279 w 1787136"/>
                    <a:gd name="connsiteY649" fmla="*/ 239458 h 793560"/>
                    <a:gd name="connsiteX650" fmla="*/ 313279 w 1787136"/>
                    <a:gd name="connsiteY650" fmla="*/ 239458 h 793560"/>
                    <a:gd name="connsiteX651" fmla="*/ 313279 w 1787136"/>
                    <a:gd name="connsiteY651" fmla="*/ 239458 h 793560"/>
                    <a:gd name="connsiteX652" fmla="*/ 313279 w 1787136"/>
                    <a:gd name="connsiteY652" fmla="*/ 239458 h 793560"/>
                    <a:gd name="connsiteX653" fmla="*/ 313279 w 1787136"/>
                    <a:gd name="connsiteY653" fmla="*/ 239458 h 793560"/>
                    <a:gd name="connsiteX654" fmla="*/ 313279 w 1787136"/>
                    <a:gd name="connsiteY654" fmla="*/ 239458 h 793560"/>
                    <a:gd name="connsiteX655" fmla="*/ 313279 w 1787136"/>
                    <a:gd name="connsiteY655" fmla="*/ 239458 h 793560"/>
                    <a:gd name="connsiteX656" fmla="*/ 324284 w 1787136"/>
                    <a:gd name="connsiteY656" fmla="*/ 223553 h 793560"/>
                    <a:gd name="connsiteX657" fmla="*/ 323882 w 1787136"/>
                    <a:gd name="connsiteY657" fmla="*/ 222910 h 793560"/>
                    <a:gd name="connsiteX658" fmla="*/ 326051 w 1787136"/>
                    <a:gd name="connsiteY658" fmla="*/ 214074 h 793560"/>
                    <a:gd name="connsiteX659" fmla="*/ 307415 w 1787136"/>
                    <a:gd name="connsiteY659" fmla="*/ 202748 h 793560"/>
                    <a:gd name="connsiteX660" fmla="*/ 103061 w 1787136"/>
                    <a:gd name="connsiteY660" fmla="*/ 233273 h 793560"/>
                    <a:gd name="connsiteX661" fmla="*/ 103543 w 1787136"/>
                    <a:gd name="connsiteY661" fmla="*/ 224035 h 793560"/>
                    <a:gd name="connsiteX662" fmla="*/ 151258 w 1787136"/>
                    <a:gd name="connsiteY662" fmla="*/ 194394 h 793560"/>
                    <a:gd name="connsiteX663" fmla="*/ 107559 w 1787136"/>
                    <a:gd name="connsiteY663" fmla="*/ 202909 h 793560"/>
                    <a:gd name="connsiteX664" fmla="*/ 111576 w 1787136"/>
                    <a:gd name="connsiteY664" fmla="*/ 191261 h 793560"/>
                    <a:gd name="connsiteX665" fmla="*/ 101454 w 1787136"/>
                    <a:gd name="connsiteY665" fmla="*/ 196322 h 793560"/>
                    <a:gd name="connsiteX666" fmla="*/ 14379 w 1787136"/>
                    <a:gd name="connsiteY666" fmla="*/ 245322 h 793560"/>
                    <a:gd name="connsiteX667" fmla="*/ 22251 w 1787136"/>
                    <a:gd name="connsiteY667" fmla="*/ 238253 h 793560"/>
                    <a:gd name="connsiteX668" fmla="*/ 20725 w 1787136"/>
                    <a:gd name="connsiteY668" fmla="*/ 232791 h 793560"/>
                    <a:gd name="connsiteX669" fmla="*/ 402 w 1787136"/>
                    <a:gd name="connsiteY669" fmla="*/ 237289 h 793560"/>
                    <a:gd name="connsiteX670" fmla="*/ 0 w 1787136"/>
                    <a:gd name="connsiteY670" fmla="*/ 237450 h 793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</a:cxnLst>
                  <a:rect l="l" t="t" r="r" b="b"/>
                  <a:pathLst>
                    <a:path w="1787136" h="793560">
                      <a:moveTo>
                        <a:pt x="552737" y="21046"/>
                      </a:moveTo>
                      <a:cubicBezTo>
                        <a:pt x="552255" y="21046"/>
                        <a:pt x="551693" y="20965"/>
                        <a:pt x="551211" y="20965"/>
                      </a:cubicBezTo>
                      <a:cubicBezTo>
                        <a:pt x="556673" y="18074"/>
                        <a:pt x="559806" y="16708"/>
                        <a:pt x="564866" y="16307"/>
                      </a:cubicBezTo>
                      <a:cubicBezTo>
                        <a:pt x="573060" y="15985"/>
                        <a:pt x="581173" y="17351"/>
                        <a:pt x="589286" y="17029"/>
                      </a:cubicBezTo>
                      <a:cubicBezTo>
                        <a:pt x="576996" y="17672"/>
                        <a:pt x="565107" y="21447"/>
                        <a:pt x="552737" y="21046"/>
                      </a:cubicBezTo>
                      <a:moveTo>
                        <a:pt x="572417" y="13094"/>
                      </a:moveTo>
                      <a:lnTo>
                        <a:pt x="572417" y="13094"/>
                      </a:lnTo>
                      <a:cubicBezTo>
                        <a:pt x="574425" y="13575"/>
                        <a:pt x="576353" y="14057"/>
                        <a:pt x="578281" y="14620"/>
                      </a:cubicBezTo>
                      <a:cubicBezTo>
                        <a:pt x="576353" y="14138"/>
                        <a:pt x="574345" y="13656"/>
                        <a:pt x="572417" y="13094"/>
                      </a:cubicBezTo>
                      <a:moveTo>
                        <a:pt x="904573" y="17913"/>
                      </a:moveTo>
                      <a:lnTo>
                        <a:pt x="904413" y="17913"/>
                      </a:lnTo>
                      <a:lnTo>
                        <a:pt x="904573" y="17913"/>
                      </a:lnTo>
                      <a:lnTo>
                        <a:pt x="904573" y="17913"/>
                      </a:lnTo>
                      <a:cubicBezTo>
                        <a:pt x="904654" y="17913"/>
                        <a:pt x="904573" y="17913"/>
                        <a:pt x="904573" y="17913"/>
                      </a:cubicBezTo>
                      <a:moveTo>
                        <a:pt x="477068" y="20484"/>
                      </a:moveTo>
                      <a:cubicBezTo>
                        <a:pt x="476506" y="20403"/>
                        <a:pt x="475783" y="20323"/>
                        <a:pt x="475220" y="20243"/>
                      </a:cubicBezTo>
                      <a:cubicBezTo>
                        <a:pt x="482691" y="19118"/>
                        <a:pt x="482691" y="19118"/>
                        <a:pt x="490884" y="17351"/>
                      </a:cubicBezTo>
                      <a:cubicBezTo>
                        <a:pt x="512894" y="12531"/>
                        <a:pt x="512894" y="12531"/>
                        <a:pt x="513858" y="12612"/>
                      </a:cubicBezTo>
                      <a:cubicBezTo>
                        <a:pt x="515706" y="12933"/>
                        <a:pt x="515866" y="13013"/>
                        <a:pt x="516107" y="13495"/>
                      </a:cubicBezTo>
                      <a:cubicBezTo>
                        <a:pt x="514420" y="15182"/>
                        <a:pt x="491768" y="21769"/>
                        <a:pt x="477068" y="20484"/>
                      </a:cubicBezTo>
                      <a:moveTo>
                        <a:pt x="525586" y="11326"/>
                      </a:moveTo>
                      <a:cubicBezTo>
                        <a:pt x="524622" y="11326"/>
                        <a:pt x="523417" y="11326"/>
                        <a:pt x="522534" y="11326"/>
                      </a:cubicBezTo>
                      <a:cubicBezTo>
                        <a:pt x="552897" y="4900"/>
                        <a:pt x="552897" y="4900"/>
                        <a:pt x="557155" y="4739"/>
                      </a:cubicBezTo>
                      <a:cubicBezTo>
                        <a:pt x="568320" y="4338"/>
                        <a:pt x="579406" y="3053"/>
                        <a:pt x="590491" y="2972"/>
                      </a:cubicBezTo>
                      <a:cubicBezTo>
                        <a:pt x="594025" y="2972"/>
                        <a:pt x="594427" y="4016"/>
                        <a:pt x="594507" y="4418"/>
                      </a:cubicBezTo>
                      <a:cubicBezTo>
                        <a:pt x="597560" y="4177"/>
                        <a:pt x="597560" y="4177"/>
                        <a:pt x="598042" y="4498"/>
                      </a:cubicBezTo>
                      <a:cubicBezTo>
                        <a:pt x="570971" y="9961"/>
                        <a:pt x="566553" y="10603"/>
                        <a:pt x="545427" y="11487"/>
                      </a:cubicBezTo>
                      <a:cubicBezTo>
                        <a:pt x="547997" y="10362"/>
                        <a:pt x="548479" y="10121"/>
                        <a:pt x="549042" y="9238"/>
                      </a:cubicBezTo>
                      <a:cubicBezTo>
                        <a:pt x="548881" y="8836"/>
                        <a:pt x="548881" y="8836"/>
                        <a:pt x="545668" y="7390"/>
                      </a:cubicBezTo>
                      <a:cubicBezTo>
                        <a:pt x="546712" y="10924"/>
                        <a:pt x="541812" y="11406"/>
                        <a:pt x="525586" y="11326"/>
                      </a:cubicBezTo>
                      <a:moveTo>
                        <a:pt x="1455382" y="645837"/>
                      </a:moveTo>
                      <a:cubicBezTo>
                        <a:pt x="1462773" y="641660"/>
                        <a:pt x="1463977" y="640937"/>
                        <a:pt x="1464138" y="640776"/>
                      </a:cubicBezTo>
                      <a:cubicBezTo>
                        <a:pt x="1464058" y="640776"/>
                        <a:pt x="1463817" y="640857"/>
                        <a:pt x="1454900" y="645676"/>
                      </a:cubicBezTo>
                      <a:lnTo>
                        <a:pt x="1455382" y="645837"/>
                      </a:lnTo>
                      <a:moveTo>
                        <a:pt x="1461327" y="585993"/>
                      </a:moveTo>
                      <a:cubicBezTo>
                        <a:pt x="1462371" y="585912"/>
                        <a:pt x="1463495" y="585832"/>
                        <a:pt x="1464540" y="585671"/>
                      </a:cubicBezTo>
                      <a:cubicBezTo>
                        <a:pt x="1464941" y="585591"/>
                        <a:pt x="1465343" y="585591"/>
                        <a:pt x="1465745" y="585511"/>
                      </a:cubicBezTo>
                      <a:cubicBezTo>
                        <a:pt x="1465664" y="585511"/>
                        <a:pt x="1465584" y="585430"/>
                        <a:pt x="1461086" y="585752"/>
                      </a:cubicBezTo>
                      <a:lnTo>
                        <a:pt x="1461327" y="585993"/>
                      </a:lnTo>
                      <a:moveTo>
                        <a:pt x="1639896" y="599729"/>
                      </a:moveTo>
                      <a:cubicBezTo>
                        <a:pt x="1639896" y="599488"/>
                        <a:pt x="1639815" y="599166"/>
                        <a:pt x="1639735" y="598925"/>
                      </a:cubicBezTo>
                      <a:cubicBezTo>
                        <a:pt x="1639815" y="599247"/>
                        <a:pt x="1639896" y="599488"/>
                        <a:pt x="1639896" y="599729"/>
                      </a:cubicBezTo>
                      <a:cubicBezTo>
                        <a:pt x="1639896" y="599729"/>
                        <a:pt x="1639896" y="599729"/>
                        <a:pt x="1639896" y="599729"/>
                      </a:cubicBezTo>
                      <a:moveTo>
                        <a:pt x="1575312" y="517955"/>
                      </a:moveTo>
                      <a:cubicBezTo>
                        <a:pt x="1576115" y="518357"/>
                        <a:pt x="1576999" y="518678"/>
                        <a:pt x="1577802" y="518999"/>
                      </a:cubicBezTo>
                      <a:cubicBezTo>
                        <a:pt x="1578445" y="519240"/>
                        <a:pt x="1579730" y="519642"/>
                        <a:pt x="1580292" y="519481"/>
                      </a:cubicBezTo>
                      <a:cubicBezTo>
                        <a:pt x="1581095" y="519160"/>
                        <a:pt x="1580533" y="518116"/>
                        <a:pt x="1580533" y="518035"/>
                      </a:cubicBezTo>
                      <a:cubicBezTo>
                        <a:pt x="1580533" y="517955"/>
                        <a:pt x="1575874" y="515063"/>
                        <a:pt x="1574830" y="517714"/>
                      </a:cubicBezTo>
                      <a:cubicBezTo>
                        <a:pt x="1574991" y="517794"/>
                        <a:pt x="1575151" y="517875"/>
                        <a:pt x="1575312" y="517955"/>
                      </a:cubicBezTo>
                      <a:moveTo>
                        <a:pt x="1196244" y="452568"/>
                      </a:moveTo>
                      <a:cubicBezTo>
                        <a:pt x="1196485" y="452648"/>
                        <a:pt x="1196807" y="452889"/>
                        <a:pt x="1197128" y="452969"/>
                      </a:cubicBezTo>
                      <a:cubicBezTo>
                        <a:pt x="1198815" y="453773"/>
                        <a:pt x="1200421" y="454255"/>
                        <a:pt x="1201867" y="454416"/>
                      </a:cubicBezTo>
                      <a:cubicBezTo>
                        <a:pt x="1205000" y="454496"/>
                        <a:pt x="1205723" y="452006"/>
                        <a:pt x="1203875" y="446865"/>
                      </a:cubicBezTo>
                      <a:cubicBezTo>
                        <a:pt x="1203956" y="447668"/>
                        <a:pt x="1203393" y="449837"/>
                        <a:pt x="1200984" y="451604"/>
                      </a:cubicBezTo>
                      <a:cubicBezTo>
                        <a:pt x="1201144" y="451845"/>
                        <a:pt x="1201305" y="452086"/>
                        <a:pt x="1201385" y="452327"/>
                      </a:cubicBezTo>
                      <a:cubicBezTo>
                        <a:pt x="1196967" y="450399"/>
                        <a:pt x="1196003" y="451363"/>
                        <a:pt x="1195602" y="452487"/>
                      </a:cubicBezTo>
                      <a:cubicBezTo>
                        <a:pt x="1195762" y="452487"/>
                        <a:pt x="1196003" y="452487"/>
                        <a:pt x="1196244" y="452568"/>
                      </a:cubicBezTo>
                      <a:moveTo>
                        <a:pt x="1248216" y="447989"/>
                      </a:moveTo>
                      <a:cubicBezTo>
                        <a:pt x="1249020" y="448070"/>
                        <a:pt x="1249823" y="448150"/>
                        <a:pt x="1250626" y="448230"/>
                      </a:cubicBezTo>
                      <a:cubicBezTo>
                        <a:pt x="1250626" y="448230"/>
                        <a:pt x="1250626" y="448230"/>
                        <a:pt x="1250626" y="448230"/>
                      </a:cubicBezTo>
                      <a:cubicBezTo>
                        <a:pt x="1250466" y="448230"/>
                        <a:pt x="1248618" y="447989"/>
                        <a:pt x="1247895" y="447909"/>
                      </a:cubicBezTo>
                      <a:cubicBezTo>
                        <a:pt x="1247975" y="447909"/>
                        <a:pt x="1248136" y="447909"/>
                        <a:pt x="1248216" y="447989"/>
                      </a:cubicBezTo>
                      <a:moveTo>
                        <a:pt x="1236007" y="447186"/>
                      </a:moveTo>
                      <a:cubicBezTo>
                        <a:pt x="1238015" y="447186"/>
                        <a:pt x="1238577" y="447106"/>
                        <a:pt x="1238818" y="446222"/>
                      </a:cubicBezTo>
                      <a:cubicBezTo>
                        <a:pt x="1236408" y="445419"/>
                        <a:pt x="1235364" y="445660"/>
                        <a:pt x="1235685" y="447106"/>
                      </a:cubicBezTo>
                      <a:lnTo>
                        <a:pt x="1236007" y="447186"/>
                      </a:lnTo>
                      <a:moveTo>
                        <a:pt x="1200823" y="444375"/>
                      </a:moveTo>
                      <a:cubicBezTo>
                        <a:pt x="1200903" y="444455"/>
                        <a:pt x="1201064" y="444535"/>
                        <a:pt x="1201225" y="444535"/>
                      </a:cubicBezTo>
                      <a:cubicBezTo>
                        <a:pt x="1201787" y="444535"/>
                        <a:pt x="1202590" y="444375"/>
                        <a:pt x="1204277" y="443732"/>
                      </a:cubicBezTo>
                      <a:cubicBezTo>
                        <a:pt x="1203393" y="443571"/>
                        <a:pt x="1202269" y="443330"/>
                        <a:pt x="1201385" y="443089"/>
                      </a:cubicBezTo>
                      <a:cubicBezTo>
                        <a:pt x="1201064" y="443491"/>
                        <a:pt x="1200582" y="444134"/>
                        <a:pt x="1200823" y="444375"/>
                      </a:cubicBezTo>
                      <a:moveTo>
                        <a:pt x="1233115" y="445660"/>
                      </a:moveTo>
                      <a:cubicBezTo>
                        <a:pt x="1234480" y="446302"/>
                        <a:pt x="1234802" y="446383"/>
                        <a:pt x="1234882" y="446383"/>
                      </a:cubicBezTo>
                      <a:cubicBezTo>
                        <a:pt x="1235043" y="446383"/>
                        <a:pt x="1235364" y="446383"/>
                        <a:pt x="1234400" y="445499"/>
                      </a:cubicBezTo>
                      <a:cubicBezTo>
                        <a:pt x="1233918" y="445017"/>
                        <a:pt x="1233516" y="444615"/>
                        <a:pt x="1233034" y="444214"/>
                      </a:cubicBezTo>
                      <a:cubicBezTo>
                        <a:pt x="1232954" y="444615"/>
                        <a:pt x="1232954" y="445178"/>
                        <a:pt x="1232874" y="445579"/>
                      </a:cubicBezTo>
                      <a:cubicBezTo>
                        <a:pt x="1232954" y="445579"/>
                        <a:pt x="1233034" y="445660"/>
                        <a:pt x="1233115" y="445660"/>
                      </a:cubicBezTo>
                      <a:moveTo>
                        <a:pt x="1194156" y="441402"/>
                      </a:moveTo>
                      <a:cubicBezTo>
                        <a:pt x="1194959" y="442366"/>
                        <a:pt x="1195521" y="442446"/>
                        <a:pt x="1195843" y="442446"/>
                      </a:cubicBezTo>
                      <a:cubicBezTo>
                        <a:pt x="1196566" y="442446"/>
                        <a:pt x="1197048" y="442125"/>
                        <a:pt x="1197770" y="441242"/>
                      </a:cubicBezTo>
                      <a:lnTo>
                        <a:pt x="1197449" y="441161"/>
                      </a:lnTo>
                      <a:cubicBezTo>
                        <a:pt x="1196405" y="441242"/>
                        <a:pt x="1195120" y="441242"/>
                        <a:pt x="1194075" y="441322"/>
                      </a:cubicBezTo>
                      <a:cubicBezTo>
                        <a:pt x="1194075" y="441322"/>
                        <a:pt x="1194075" y="441402"/>
                        <a:pt x="1194156" y="441402"/>
                      </a:cubicBezTo>
                      <a:moveTo>
                        <a:pt x="1226367" y="443491"/>
                      </a:moveTo>
                      <a:cubicBezTo>
                        <a:pt x="1226528" y="443812"/>
                        <a:pt x="1226689" y="444053"/>
                        <a:pt x="1226930" y="444294"/>
                      </a:cubicBezTo>
                      <a:cubicBezTo>
                        <a:pt x="1227813" y="443169"/>
                        <a:pt x="1228697" y="443250"/>
                        <a:pt x="1229982" y="444615"/>
                      </a:cubicBezTo>
                      <a:cubicBezTo>
                        <a:pt x="1230143" y="444214"/>
                        <a:pt x="1230464" y="443250"/>
                        <a:pt x="1229339" y="442286"/>
                      </a:cubicBezTo>
                      <a:cubicBezTo>
                        <a:pt x="1228616" y="441643"/>
                        <a:pt x="1228295" y="441402"/>
                        <a:pt x="1226849" y="441965"/>
                      </a:cubicBezTo>
                      <a:cubicBezTo>
                        <a:pt x="1226207" y="442286"/>
                        <a:pt x="1226046" y="442768"/>
                        <a:pt x="1226367" y="443491"/>
                      </a:cubicBezTo>
                      <a:moveTo>
                        <a:pt x="1225966" y="441804"/>
                      </a:moveTo>
                      <a:cubicBezTo>
                        <a:pt x="1226528" y="441563"/>
                        <a:pt x="1227251" y="441161"/>
                        <a:pt x="1227813" y="440920"/>
                      </a:cubicBezTo>
                      <a:cubicBezTo>
                        <a:pt x="1227171" y="441081"/>
                        <a:pt x="1226769" y="441081"/>
                        <a:pt x="1226287" y="441081"/>
                      </a:cubicBezTo>
                      <a:cubicBezTo>
                        <a:pt x="1225564" y="441001"/>
                        <a:pt x="1225323" y="440760"/>
                        <a:pt x="1225403" y="440117"/>
                      </a:cubicBezTo>
                      <a:cubicBezTo>
                        <a:pt x="1223716" y="439876"/>
                        <a:pt x="1223234" y="439956"/>
                        <a:pt x="1223315" y="440679"/>
                      </a:cubicBezTo>
                      <a:lnTo>
                        <a:pt x="1225966" y="441804"/>
                      </a:lnTo>
                      <a:moveTo>
                        <a:pt x="1222351" y="438350"/>
                      </a:moveTo>
                      <a:cubicBezTo>
                        <a:pt x="1222512" y="438671"/>
                        <a:pt x="1222993" y="438671"/>
                        <a:pt x="1223234" y="438671"/>
                      </a:cubicBezTo>
                      <a:cubicBezTo>
                        <a:pt x="1223716" y="438671"/>
                        <a:pt x="1224279" y="438671"/>
                        <a:pt x="1225082" y="438510"/>
                      </a:cubicBezTo>
                      <a:cubicBezTo>
                        <a:pt x="1224279" y="438189"/>
                        <a:pt x="1223234" y="437788"/>
                        <a:pt x="1222431" y="437386"/>
                      </a:cubicBezTo>
                      <a:cubicBezTo>
                        <a:pt x="1222431" y="437627"/>
                        <a:pt x="1222190" y="438029"/>
                        <a:pt x="1222351" y="438350"/>
                      </a:cubicBezTo>
                      <a:moveTo>
                        <a:pt x="1657889" y="541652"/>
                      </a:moveTo>
                      <a:cubicBezTo>
                        <a:pt x="1657969" y="541812"/>
                        <a:pt x="1658050" y="541973"/>
                        <a:pt x="1658130" y="542134"/>
                      </a:cubicBezTo>
                      <a:cubicBezTo>
                        <a:pt x="1658451" y="542214"/>
                        <a:pt x="1658853" y="542375"/>
                        <a:pt x="1659174" y="542455"/>
                      </a:cubicBezTo>
                      <a:cubicBezTo>
                        <a:pt x="1657568" y="540286"/>
                        <a:pt x="1657246" y="540045"/>
                        <a:pt x="1657166" y="540045"/>
                      </a:cubicBezTo>
                      <a:cubicBezTo>
                        <a:pt x="1657086" y="540125"/>
                        <a:pt x="1657086" y="540206"/>
                        <a:pt x="1657889" y="541652"/>
                      </a:cubicBezTo>
                      <a:moveTo>
                        <a:pt x="1618287" y="519883"/>
                      </a:moveTo>
                      <a:cubicBezTo>
                        <a:pt x="1619412" y="519722"/>
                        <a:pt x="1620778" y="519561"/>
                        <a:pt x="1619974" y="518919"/>
                      </a:cubicBezTo>
                      <a:cubicBezTo>
                        <a:pt x="1619251" y="518357"/>
                        <a:pt x="1617002" y="517794"/>
                        <a:pt x="1616279" y="517634"/>
                      </a:cubicBezTo>
                      <a:lnTo>
                        <a:pt x="1618287" y="519883"/>
                      </a:lnTo>
                      <a:moveTo>
                        <a:pt x="1606238" y="510966"/>
                      </a:moveTo>
                      <a:cubicBezTo>
                        <a:pt x="1607202" y="512492"/>
                        <a:pt x="1611218" y="515866"/>
                        <a:pt x="1611299" y="515866"/>
                      </a:cubicBezTo>
                      <a:cubicBezTo>
                        <a:pt x="1611299" y="515866"/>
                        <a:pt x="1611379" y="515866"/>
                        <a:pt x="1611379" y="515866"/>
                      </a:cubicBezTo>
                      <a:cubicBezTo>
                        <a:pt x="1611379" y="515706"/>
                        <a:pt x="1611299" y="515304"/>
                        <a:pt x="1606399" y="509601"/>
                      </a:cubicBezTo>
                      <a:cubicBezTo>
                        <a:pt x="1606078" y="509601"/>
                        <a:pt x="1605355" y="509520"/>
                        <a:pt x="1606238" y="510966"/>
                      </a:cubicBezTo>
                      <a:moveTo>
                        <a:pt x="1120656" y="429996"/>
                      </a:moveTo>
                      <a:cubicBezTo>
                        <a:pt x="1124511" y="431120"/>
                        <a:pt x="1126279" y="431201"/>
                        <a:pt x="1127002" y="431201"/>
                      </a:cubicBezTo>
                      <a:cubicBezTo>
                        <a:pt x="1132384" y="431120"/>
                        <a:pt x="1129572" y="426943"/>
                        <a:pt x="1129492" y="426943"/>
                      </a:cubicBezTo>
                      <a:cubicBezTo>
                        <a:pt x="1129492" y="426943"/>
                        <a:pt x="1125797" y="424614"/>
                        <a:pt x="1122503" y="426381"/>
                      </a:cubicBezTo>
                      <a:cubicBezTo>
                        <a:pt x="1123226" y="427666"/>
                        <a:pt x="1123547" y="428389"/>
                        <a:pt x="1123628" y="429755"/>
                      </a:cubicBezTo>
                      <a:cubicBezTo>
                        <a:pt x="1122583" y="429755"/>
                        <a:pt x="1121138" y="429835"/>
                        <a:pt x="1120093" y="429835"/>
                      </a:cubicBezTo>
                      <a:cubicBezTo>
                        <a:pt x="1120334" y="429915"/>
                        <a:pt x="1120495" y="429996"/>
                        <a:pt x="1120656" y="429996"/>
                      </a:cubicBezTo>
                      <a:moveTo>
                        <a:pt x="1147325" y="425979"/>
                      </a:moveTo>
                      <a:cubicBezTo>
                        <a:pt x="1148369" y="427184"/>
                        <a:pt x="1149092" y="427265"/>
                        <a:pt x="1149333" y="427265"/>
                      </a:cubicBezTo>
                      <a:cubicBezTo>
                        <a:pt x="1149975" y="427265"/>
                        <a:pt x="1150457" y="426863"/>
                        <a:pt x="1150859" y="425979"/>
                      </a:cubicBezTo>
                      <a:cubicBezTo>
                        <a:pt x="1149734" y="425899"/>
                        <a:pt x="1148208" y="425819"/>
                        <a:pt x="1147084" y="425819"/>
                      </a:cubicBezTo>
                      <a:cubicBezTo>
                        <a:pt x="1147244" y="425819"/>
                        <a:pt x="1147325" y="425899"/>
                        <a:pt x="1147325" y="425979"/>
                      </a:cubicBezTo>
                      <a:moveTo>
                        <a:pt x="1636361" y="523658"/>
                      </a:moveTo>
                      <a:cubicBezTo>
                        <a:pt x="1637325" y="524060"/>
                        <a:pt x="1638610" y="524542"/>
                        <a:pt x="1639735" y="524622"/>
                      </a:cubicBezTo>
                      <a:cubicBezTo>
                        <a:pt x="1637325" y="522453"/>
                        <a:pt x="1636201" y="522132"/>
                        <a:pt x="1636201" y="523578"/>
                      </a:cubicBezTo>
                      <a:cubicBezTo>
                        <a:pt x="1636281" y="523658"/>
                        <a:pt x="1636361" y="523658"/>
                        <a:pt x="1636361" y="523658"/>
                      </a:cubicBezTo>
                      <a:moveTo>
                        <a:pt x="1165157" y="426702"/>
                      </a:moveTo>
                      <a:cubicBezTo>
                        <a:pt x="1171021" y="426702"/>
                        <a:pt x="1174234" y="426702"/>
                        <a:pt x="1174475" y="426542"/>
                      </a:cubicBezTo>
                      <a:cubicBezTo>
                        <a:pt x="1174315" y="426461"/>
                        <a:pt x="1174074" y="426461"/>
                        <a:pt x="1173913" y="426381"/>
                      </a:cubicBezTo>
                      <a:cubicBezTo>
                        <a:pt x="1172467" y="426220"/>
                        <a:pt x="1171021" y="426301"/>
                        <a:pt x="1169575" y="425899"/>
                      </a:cubicBezTo>
                      <a:cubicBezTo>
                        <a:pt x="1168451" y="425578"/>
                        <a:pt x="1167728" y="425578"/>
                        <a:pt x="1167326" y="425578"/>
                      </a:cubicBezTo>
                      <a:cubicBezTo>
                        <a:pt x="1165800" y="425578"/>
                        <a:pt x="1164916" y="426381"/>
                        <a:pt x="1164595" y="426702"/>
                      </a:cubicBezTo>
                      <a:cubicBezTo>
                        <a:pt x="1164756" y="426702"/>
                        <a:pt x="1164997" y="426702"/>
                        <a:pt x="1165157" y="426702"/>
                      </a:cubicBezTo>
                      <a:moveTo>
                        <a:pt x="1577641" y="494499"/>
                      </a:moveTo>
                      <a:cubicBezTo>
                        <a:pt x="1579650" y="496186"/>
                        <a:pt x="1580774" y="496668"/>
                        <a:pt x="1581417" y="496909"/>
                      </a:cubicBezTo>
                      <a:cubicBezTo>
                        <a:pt x="1582863" y="497471"/>
                        <a:pt x="1583746" y="497311"/>
                        <a:pt x="1584550" y="496507"/>
                      </a:cubicBezTo>
                      <a:cubicBezTo>
                        <a:pt x="1580614" y="494339"/>
                        <a:pt x="1578284" y="493857"/>
                        <a:pt x="1576999" y="493937"/>
                      </a:cubicBezTo>
                      <a:cubicBezTo>
                        <a:pt x="1577159" y="494098"/>
                        <a:pt x="1577400" y="494339"/>
                        <a:pt x="1577641" y="494499"/>
                      </a:cubicBezTo>
                      <a:moveTo>
                        <a:pt x="1594269" y="499801"/>
                      </a:moveTo>
                      <a:cubicBezTo>
                        <a:pt x="1594510" y="500122"/>
                        <a:pt x="1594751" y="500443"/>
                        <a:pt x="1594992" y="500845"/>
                      </a:cubicBezTo>
                      <a:cubicBezTo>
                        <a:pt x="1595394" y="501006"/>
                        <a:pt x="1595796" y="501166"/>
                        <a:pt x="1596117" y="501327"/>
                      </a:cubicBezTo>
                      <a:cubicBezTo>
                        <a:pt x="1594751" y="500042"/>
                        <a:pt x="1594109" y="499479"/>
                        <a:pt x="1594109" y="499640"/>
                      </a:cubicBezTo>
                      <a:cubicBezTo>
                        <a:pt x="1594189" y="499640"/>
                        <a:pt x="1594189" y="499720"/>
                        <a:pt x="1594269" y="499801"/>
                      </a:cubicBezTo>
                      <a:moveTo>
                        <a:pt x="1686486" y="553861"/>
                      </a:moveTo>
                      <a:cubicBezTo>
                        <a:pt x="1686486" y="553540"/>
                        <a:pt x="1686486" y="553219"/>
                        <a:pt x="1686486" y="552817"/>
                      </a:cubicBezTo>
                      <a:cubicBezTo>
                        <a:pt x="1686406" y="553138"/>
                        <a:pt x="1686486" y="553540"/>
                        <a:pt x="1686486" y="553861"/>
                      </a:cubicBezTo>
                      <a:cubicBezTo>
                        <a:pt x="1686486" y="553861"/>
                        <a:pt x="1686486" y="553861"/>
                        <a:pt x="1686486" y="553861"/>
                      </a:cubicBezTo>
                      <a:moveTo>
                        <a:pt x="1551856" y="483333"/>
                      </a:moveTo>
                      <a:cubicBezTo>
                        <a:pt x="1552499" y="483494"/>
                        <a:pt x="1552660" y="483414"/>
                        <a:pt x="1552499" y="483092"/>
                      </a:cubicBezTo>
                      <a:cubicBezTo>
                        <a:pt x="1552258" y="482691"/>
                        <a:pt x="1551374" y="481888"/>
                        <a:pt x="1551053" y="481647"/>
                      </a:cubicBezTo>
                      <a:lnTo>
                        <a:pt x="1551856" y="483333"/>
                      </a:lnTo>
                      <a:cubicBezTo>
                        <a:pt x="1551856" y="483333"/>
                        <a:pt x="1551856" y="483333"/>
                        <a:pt x="1551856" y="483333"/>
                      </a:cubicBezTo>
                      <a:moveTo>
                        <a:pt x="1133990" y="410797"/>
                      </a:moveTo>
                      <a:cubicBezTo>
                        <a:pt x="1134552" y="411842"/>
                        <a:pt x="1137444" y="413448"/>
                        <a:pt x="1138328" y="414011"/>
                      </a:cubicBezTo>
                      <a:cubicBezTo>
                        <a:pt x="1135998" y="412163"/>
                        <a:pt x="1133990" y="410155"/>
                        <a:pt x="1136802" y="409833"/>
                      </a:cubicBezTo>
                      <a:cubicBezTo>
                        <a:pt x="1136882" y="409833"/>
                        <a:pt x="1136962" y="409833"/>
                        <a:pt x="1137043" y="409833"/>
                      </a:cubicBezTo>
                      <a:cubicBezTo>
                        <a:pt x="1134633" y="409673"/>
                        <a:pt x="1133588" y="409994"/>
                        <a:pt x="1133990" y="410797"/>
                      </a:cubicBezTo>
                      <a:moveTo>
                        <a:pt x="1560371" y="473855"/>
                      </a:moveTo>
                      <a:cubicBezTo>
                        <a:pt x="1560612" y="474176"/>
                        <a:pt x="1560853" y="474498"/>
                        <a:pt x="1561094" y="474819"/>
                      </a:cubicBezTo>
                      <a:lnTo>
                        <a:pt x="1562781" y="476425"/>
                      </a:lnTo>
                      <a:cubicBezTo>
                        <a:pt x="1562299" y="475461"/>
                        <a:pt x="1562299" y="474979"/>
                        <a:pt x="1562781" y="474658"/>
                      </a:cubicBezTo>
                      <a:cubicBezTo>
                        <a:pt x="1561255" y="473775"/>
                        <a:pt x="1560050" y="473132"/>
                        <a:pt x="1560210" y="473614"/>
                      </a:cubicBezTo>
                      <a:cubicBezTo>
                        <a:pt x="1560291" y="473694"/>
                        <a:pt x="1560371" y="473775"/>
                        <a:pt x="1560371" y="473855"/>
                      </a:cubicBezTo>
                      <a:moveTo>
                        <a:pt x="1143469" y="406540"/>
                      </a:moveTo>
                      <a:cubicBezTo>
                        <a:pt x="1144031" y="407825"/>
                        <a:pt x="1144754" y="409030"/>
                        <a:pt x="1145397" y="410235"/>
                      </a:cubicBezTo>
                      <a:cubicBezTo>
                        <a:pt x="1146923" y="409673"/>
                        <a:pt x="1150216" y="410797"/>
                        <a:pt x="1154795" y="412484"/>
                      </a:cubicBezTo>
                      <a:cubicBezTo>
                        <a:pt x="1154554" y="412163"/>
                        <a:pt x="1154072" y="411440"/>
                        <a:pt x="1155197" y="411681"/>
                      </a:cubicBezTo>
                      <a:cubicBezTo>
                        <a:pt x="1155679" y="411761"/>
                        <a:pt x="1156161" y="411922"/>
                        <a:pt x="1156562" y="412083"/>
                      </a:cubicBezTo>
                      <a:cubicBezTo>
                        <a:pt x="1156241" y="411440"/>
                        <a:pt x="1155598" y="410797"/>
                        <a:pt x="1153590" y="411360"/>
                      </a:cubicBezTo>
                      <a:cubicBezTo>
                        <a:pt x="1153670" y="411199"/>
                        <a:pt x="1153751" y="411038"/>
                        <a:pt x="1153831" y="410878"/>
                      </a:cubicBezTo>
                      <a:cubicBezTo>
                        <a:pt x="1153831" y="410878"/>
                        <a:pt x="1153831" y="410878"/>
                        <a:pt x="1153831" y="410878"/>
                      </a:cubicBezTo>
                      <a:lnTo>
                        <a:pt x="1153831" y="410878"/>
                      </a:lnTo>
                      <a:lnTo>
                        <a:pt x="1153831" y="410878"/>
                      </a:lnTo>
                      <a:cubicBezTo>
                        <a:pt x="1153831" y="410878"/>
                        <a:pt x="1153831" y="410878"/>
                        <a:pt x="1153831" y="410878"/>
                      </a:cubicBezTo>
                      <a:cubicBezTo>
                        <a:pt x="1153831" y="410878"/>
                        <a:pt x="1153831" y="410878"/>
                        <a:pt x="1153831" y="410878"/>
                      </a:cubicBezTo>
                      <a:lnTo>
                        <a:pt x="1153831" y="410878"/>
                      </a:lnTo>
                      <a:lnTo>
                        <a:pt x="1153831" y="410878"/>
                      </a:lnTo>
                      <a:lnTo>
                        <a:pt x="1153831" y="410878"/>
                      </a:lnTo>
                      <a:cubicBezTo>
                        <a:pt x="1152225" y="410797"/>
                        <a:pt x="1148770" y="410637"/>
                        <a:pt x="1150538" y="409191"/>
                      </a:cubicBezTo>
                      <a:cubicBezTo>
                        <a:pt x="1150939" y="408869"/>
                        <a:pt x="1151662" y="408548"/>
                        <a:pt x="1152144" y="408227"/>
                      </a:cubicBezTo>
                      <a:cubicBezTo>
                        <a:pt x="1151261" y="407906"/>
                        <a:pt x="1149011" y="407183"/>
                        <a:pt x="1145397" y="407183"/>
                      </a:cubicBezTo>
                      <a:cubicBezTo>
                        <a:pt x="1143951" y="405496"/>
                        <a:pt x="1143388" y="405014"/>
                        <a:pt x="1143147" y="405094"/>
                      </a:cubicBezTo>
                      <a:cubicBezTo>
                        <a:pt x="1142987" y="405255"/>
                        <a:pt x="1142906" y="405496"/>
                        <a:pt x="1143469" y="406540"/>
                      </a:cubicBezTo>
                      <a:moveTo>
                        <a:pt x="1555230" y="471686"/>
                      </a:moveTo>
                      <a:cubicBezTo>
                        <a:pt x="1556837" y="473935"/>
                        <a:pt x="1559487" y="474899"/>
                        <a:pt x="1559809" y="473775"/>
                      </a:cubicBezTo>
                      <a:cubicBezTo>
                        <a:pt x="1559487" y="473694"/>
                        <a:pt x="1559166" y="473614"/>
                        <a:pt x="1558925" y="473533"/>
                      </a:cubicBezTo>
                      <a:cubicBezTo>
                        <a:pt x="1557158" y="472810"/>
                        <a:pt x="1555953" y="471766"/>
                        <a:pt x="1554909" y="469838"/>
                      </a:cubicBezTo>
                      <a:cubicBezTo>
                        <a:pt x="1554748" y="470079"/>
                        <a:pt x="1554507" y="470642"/>
                        <a:pt x="1555230" y="471686"/>
                      </a:cubicBezTo>
                      <a:moveTo>
                        <a:pt x="1656765" y="520686"/>
                      </a:moveTo>
                      <a:cubicBezTo>
                        <a:pt x="1656845" y="520766"/>
                        <a:pt x="1656845" y="520766"/>
                        <a:pt x="1656925" y="520766"/>
                      </a:cubicBezTo>
                      <a:cubicBezTo>
                        <a:pt x="1657487" y="521168"/>
                        <a:pt x="1658773" y="521971"/>
                        <a:pt x="1658451" y="520525"/>
                      </a:cubicBezTo>
                      <a:cubicBezTo>
                        <a:pt x="1658451" y="520445"/>
                        <a:pt x="1658451" y="520365"/>
                        <a:pt x="1658371" y="520284"/>
                      </a:cubicBezTo>
                      <a:cubicBezTo>
                        <a:pt x="1658210" y="520124"/>
                        <a:pt x="1657969" y="519802"/>
                        <a:pt x="1657728" y="519642"/>
                      </a:cubicBezTo>
                      <a:cubicBezTo>
                        <a:pt x="1657969" y="520686"/>
                        <a:pt x="1657568" y="520927"/>
                        <a:pt x="1656524" y="520284"/>
                      </a:cubicBezTo>
                      <a:cubicBezTo>
                        <a:pt x="1656363" y="520204"/>
                        <a:pt x="1656202" y="520043"/>
                        <a:pt x="1656042" y="519963"/>
                      </a:cubicBezTo>
                      <a:cubicBezTo>
                        <a:pt x="1656283" y="520204"/>
                        <a:pt x="1656524" y="520445"/>
                        <a:pt x="1656765" y="520686"/>
                      </a:cubicBezTo>
                      <a:moveTo>
                        <a:pt x="1162025" y="395535"/>
                      </a:moveTo>
                      <a:cubicBezTo>
                        <a:pt x="1162266" y="395937"/>
                        <a:pt x="1162988" y="396338"/>
                        <a:pt x="1163390" y="396499"/>
                      </a:cubicBezTo>
                      <a:cubicBezTo>
                        <a:pt x="1164836" y="396097"/>
                        <a:pt x="1165077" y="395374"/>
                        <a:pt x="1164354" y="394250"/>
                      </a:cubicBezTo>
                      <a:cubicBezTo>
                        <a:pt x="1163069" y="394491"/>
                        <a:pt x="1161543" y="394732"/>
                        <a:pt x="1162025" y="395535"/>
                      </a:cubicBezTo>
                      <a:moveTo>
                        <a:pt x="1461889" y="430879"/>
                      </a:moveTo>
                      <a:lnTo>
                        <a:pt x="1466548" y="432245"/>
                      </a:lnTo>
                      <a:cubicBezTo>
                        <a:pt x="1466548" y="432245"/>
                        <a:pt x="1466548" y="432245"/>
                        <a:pt x="1466548" y="432245"/>
                      </a:cubicBezTo>
                      <a:cubicBezTo>
                        <a:pt x="1466146" y="432084"/>
                        <a:pt x="1465745" y="432004"/>
                        <a:pt x="1465343" y="431843"/>
                      </a:cubicBezTo>
                      <a:cubicBezTo>
                        <a:pt x="1464138" y="431442"/>
                        <a:pt x="1462853" y="431040"/>
                        <a:pt x="1461648" y="430719"/>
                      </a:cubicBezTo>
                      <a:cubicBezTo>
                        <a:pt x="1461728" y="430799"/>
                        <a:pt x="1461808" y="430879"/>
                        <a:pt x="1461889" y="430879"/>
                      </a:cubicBezTo>
                      <a:moveTo>
                        <a:pt x="1457471" y="431040"/>
                      </a:moveTo>
                      <a:cubicBezTo>
                        <a:pt x="1458354" y="431201"/>
                        <a:pt x="1459318" y="431522"/>
                        <a:pt x="1460282" y="431602"/>
                      </a:cubicBezTo>
                      <a:cubicBezTo>
                        <a:pt x="1460523" y="431602"/>
                        <a:pt x="1461086" y="431602"/>
                        <a:pt x="1460764" y="431120"/>
                      </a:cubicBezTo>
                      <a:cubicBezTo>
                        <a:pt x="1460282" y="430397"/>
                        <a:pt x="1457953" y="429032"/>
                        <a:pt x="1457230" y="428550"/>
                      </a:cubicBezTo>
                      <a:cubicBezTo>
                        <a:pt x="1457551" y="429594"/>
                        <a:pt x="1457551" y="430237"/>
                        <a:pt x="1457069" y="430799"/>
                      </a:cubicBezTo>
                      <a:lnTo>
                        <a:pt x="1457471" y="431040"/>
                      </a:lnTo>
                      <a:moveTo>
                        <a:pt x="1532578" y="446142"/>
                      </a:moveTo>
                      <a:cubicBezTo>
                        <a:pt x="1533461" y="446302"/>
                        <a:pt x="1534345" y="446463"/>
                        <a:pt x="1535228" y="446624"/>
                      </a:cubicBezTo>
                      <a:cubicBezTo>
                        <a:pt x="1534345" y="446383"/>
                        <a:pt x="1533381" y="446302"/>
                        <a:pt x="1532417" y="446142"/>
                      </a:cubicBezTo>
                      <a:cubicBezTo>
                        <a:pt x="1532417" y="446142"/>
                        <a:pt x="1532497" y="446142"/>
                        <a:pt x="1532578" y="446142"/>
                      </a:cubicBezTo>
                      <a:moveTo>
                        <a:pt x="1406944" y="401961"/>
                      </a:moveTo>
                      <a:cubicBezTo>
                        <a:pt x="1410720" y="402202"/>
                        <a:pt x="1414415" y="402443"/>
                        <a:pt x="1418190" y="402684"/>
                      </a:cubicBezTo>
                      <a:cubicBezTo>
                        <a:pt x="1414254" y="402363"/>
                        <a:pt x="1410399" y="402122"/>
                        <a:pt x="1406463" y="401961"/>
                      </a:cubicBezTo>
                      <a:cubicBezTo>
                        <a:pt x="1406623" y="401881"/>
                        <a:pt x="1406784" y="401961"/>
                        <a:pt x="1406944" y="401961"/>
                      </a:cubicBezTo>
                      <a:moveTo>
                        <a:pt x="1537397" y="432004"/>
                      </a:moveTo>
                      <a:cubicBezTo>
                        <a:pt x="1538281" y="432486"/>
                        <a:pt x="1539004" y="432807"/>
                        <a:pt x="1539325" y="432887"/>
                      </a:cubicBezTo>
                      <a:cubicBezTo>
                        <a:pt x="1540771" y="433450"/>
                        <a:pt x="1541735" y="433611"/>
                        <a:pt x="1542538" y="433450"/>
                      </a:cubicBezTo>
                      <a:cubicBezTo>
                        <a:pt x="1539405" y="431602"/>
                        <a:pt x="1537477" y="430960"/>
                        <a:pt x="1537156" y="431843"/>
                      </a:cubicBezTo>
                      <a:cubicBezTo>
                        <a:pt x="1537236" y="431843"/>
                        <a:pt x="1537317" y="431924"/>
                        <a:pt x="1537397" y="432004"/>
                      </a:cubicBezTo>
                      <a:moveTo>
                        <a:pt x="1629855" y="460360"/>
                      </a:moveTo>
                      <a:cubicBezTo>
                        <a:pt x="1631059" y="461806"/>
                        <a:pt x="1632425" y="463091"/>
                        <a:pt x="1633630" y="464537"/>
                      </a:cubicBezTo>
                      <a:cubicBezTo>
                        <a:pt x="1631220" y="461484"/>
                        <a:pt x="1630096" y="460199"/>
                        <a:pt x="1629614" y="460119"/>
                      </a:cubicBezTo>
                      <a:cubicBezTo>
                        <a:pt x="1629774" y="460119"/>
                        <a:pt x="1629855" y="460279"/>
                        <a:pt x="1629855" y="460360"/>
                      </a:cubicBezTo>
                      <a:moveTo>
                        <a:pt x="1594109" y="426622"/>
                      </a:moveTo>
                      <a:cubicBezTo>
                        <a:pt x="1594109" y="426622"/>
                        <a:pt x="1606560" y="437145"/>
                        <a:pt x="1606640" y="437225"/>
                      </a:cubicBezTo>
                      <a:cubicBezTo>
                        <a:pt x="1606720" y="437225"/>
                        <a:pt x="1606720" y="437306"/>
                        <a:pt x="1606801" y="437386"/>
                      </a:cubicBezTo>
                      <a:cubicBezTo>
                        <a:pt x="1606640" y="437225"/>
                        <a:pt x="1602222" y="432807"/>
                        <a:pt x="1592904" y="424935"/>
                      </a:cubicBezTo>
                      <a:cubicBezTo>
                        <a:pt x="1594109" y="426060"/>
                        <a:pt x="1594430" y="426461"/>
                        <a:pt x="1594591" y="426702"/>
                      </a:cubicBezTo>
                      <a:cubicBezTo>
                        <a:pt x="1594430" y="426702"/>
                        <a:pt x="1594350" y="426622"/>
                        <a:pt x="1593787" y="426220"/>
                      </a:cubicBezTo>
                      <a:cubicBezTo>
                        <a:pt x="1593868" y="426381"/>
                        <a:pt x="1593948" y="426542"/>
                        <a:pt x="1594109" y="426622"/>
                      </a:cubicBezTo>
                      <a:moveTo>
                        <a:pt x="850111" y="291671"/>
                      </a:moveTo>
                      <a:cubicBezTo>
                        <a:pt x="852360" y="293519"/>
                        <a:pt x="855332" y="294482"/>
                        <a:pt x="858144" y="295286"/>
                      </a:cubicBezTo>
                      <a:cubicBezTo>
                        <a:pt x="861116" y="289100"/>
                        <a:pt x="860232" y="286771"/>
                        <a:pt x="855573" y="288458"/>
                      </a:cubicBezTo>
                      <a:cubicBezTo>
                        <a:pt x="853404" y="289261"/>
                        <a:pt x="850914" y="290707"/>
                        <a:pt x="849790" y="291430"/>
                      </a:cubicBezTo>
                      <a:cubicBezTo>
                        <a:pt x="849870" y="291430"/>
                        <a:pt x="850031" y="291591"/>
                        <a:pt x="850111" y="291671"/>
                      </a:cubicBezTo>
                      <a:moveTo>
                        <a:pt x="1539887" y="374007"/>
                      </a:moveTo>
                      <a:cubicBezTo>
                        <a:pt x="1537397" y="370473"/>
                        <a:pt x="1536032" y="368786"/>
                        <a:pt x="1535871" y="368946"/>
                      </a:cubicBezTo>
                      <a:cubicBezTo>
                        <a:pt x="1535791" y="369187"/>
                        <a:pt x="1536433" y="370553"/>
                        <a:pt x="1538120" y="373606"/>
                      </a:cubicBezTo>
                      <a:cubicBezTo>
                        <a:pt x="1538602" y="373766"/>
                        <a:pt x="1539325" y="373927"/>
                        <a:pt x="1539887" y="374007"/>
                      </a:cubicBezTo>
                      <a:moveTo>
                        <a:pt x="1566797" y="388868"/>
                      </a:moveTo>
                      <a:cubicBezTo>
                        <a:pt x="1574910" y="396017"/>
                        <a:pt x="1584550" y="406058"/>
                        <a:pt x="1596278" y="419553"/>
                      </a:cubicBezTo>
                      <a:cubicBezTo>
                        <a:pt x="1591136" y="413127"/>
                        <a:pt x="1577882" y="397222"/>
                        <a:pt x="1565994" y="388145"/>
                      </a:cubicBezTo>
                      <a:cubicBezTo>
                        <a:pt x="1566235" y="388386"/>
                        <a:pt x="1566556" y="388627"/>
                        <a:pt x="1566797" y="388868"/>
                      </a:cubicBezTo>
                      <a:moveTo>
                        <a:pt x="1550250" y="376658"/>
                      </a:moveTo>
                      <a:cubicBezTo>
                        <a:pt x="1551374" y="377301"/>
                        <a:pt x="1552419" y="377943"/>
                        <a:pt x="1553543" y="378586"/>
                      </a:cubicBezTo>
                      <a:cubicBezTo>
                        <a:pt x="1552178" y="377381"/>
                        <a:pt x="1551374" y="376819"/>
                        <a:pt x="1550812" y="376497"/>
                      </a:cubicBezTo>
                      <a:cubicBezTo>
                        <a:pt x="1549768" y="375533"/>
                        <a:pt x="1549607" y="375453"/>
                        <a:pt x="1549527" y="375453"/>
                      </a:cubicBezTo>
                      <a:cubicBezTo>
                        <a:pt x="1549366" y="375614"/>
                        <a:pt x="1549928" y="376497"/>
                        <a:pt x="1550250" y="376658"/>
                      </a:cubicBezTo>
                      <a:moveTo>
                        <a:pt x="1417869" y="305327"/>
                      </a:moveTo>
                      <a:cubicBezTo>
                        <a:pt x="1418110" y="305568"/>
                        <a:pt x="1418592" y="305889"/>
                        <a:pt x="1418913" y="306050"/>
                      </a:cubicBezTo>
                      <a:cubicBezTo>
                        <a:pt x="1423733" y="308540"/>
                        <a:pt x="1427107" y="311271"/>
                        <a:pt x="1428231" y="312154"/>
                      </a:cubicBezTo>
                      <a:cubicBezTo>
                        <a:pt x="1428231" y="309263"/>
                        <a:pt x="1422448" y="306210"/>
                        <a:pt x="1419958" y="305005"/>
                      </a:cubicBezTo>
                      <a:cubicBezTo>
                        <a:pt x="1421243" y="306371"/>
                        <a:pt x="1421645" y="306853"/>
                        <a:pt x="1421645" y="307014"/>
                      </a:cubicBezTo>
                      <a:cubicBezTo>
                        <a:pt x="1421564" y="307014"/>
                        <a:pt x="1421484" y="306933"/>
                        <a:pt x="1421404" y="306933"/>
                      </a:cubicBezTo>
                      <a:cubicBezTo>
                        <a:pt x="1420841" y="306612"/>
                        <a:pt x="1419315" y="305327"/>
                        <a:pt x="1418994" y="305086"/>
                      </a:cubicBezTo>
                      <a:cubicBezTo>
                        <a:pt x="1418512" y="304684"/>
                        <a:pt x="1417789" y="304122"/>
                        <a:pt x="1417387" y="304604"/>
                      </a:cubicBezTo>
                      <a:cubicBezTo>
                        <a:pt x="1417468" y="304764"/>
                        <a:pt x="1417548" y="304925"/>
                        <a:pt x="1417869" y="305327"/>
                      </a:cubicBezTo>
                      <a:moveTo>
                        <a:pt x="1399153" y="292313"/>
                      </a:moveTo>
                      <a:cubicBezTo>
                        <a:pt x="1401322" y="292715"/>
                        <a:pt x="1403490" y="293037"/>
                        <a:pt x="1405659" y="293438"/>
                      </a:cubicBezTo>
                      <a:cubicBezTo>
                        <a:pt x="1403330" y="293037"/>
                        <a:pt x="1401081" y="292635"/>
                        <a:pt x="1398751" y="292233"/>
                      </a:cubicBezTo>
                      <a:cubicBezTo>
                        <a:pt x="1398912" y="292313"/>
                        <a:pt x="1399072" y="292313"/>
                        <a:pt x="1399153" y="292313"/>
                      </a:cubicBezTo>
                      <a:moveTo>
                        <a:pt x="1073423" y="245884"/>
                      </a:moveTo>
                      <a:cubicBezTo>
                        <a:pt x="1082741" y="248776"/>
                        <a:pt x="1085231" y="249338"/>
                        <a:pt x="1086597" y="249418"/>
                      </a:cubicBezTo>
                      <a:cubicBezTo>
                        <a:pt x="1086918" y="249418"/>
                        <a:pt x="1087480" y="249418"/>
                        <a:pt x="1086998" y="248936"/>
                      </a:cubicBezTo>
                      <a:cubicBezTo>
                        <a:pt x="1086034" y="247972"/>
                        <a:pt x="1081697" y="245723"/>
                        <a:pt x="1074065" y="242269"/>
                      </a:cubicBezTo>
                      <a:cubicBezTo>
                        <a:pt x="1074146" y="244277"/>
                        <a:pt x="1072941" y="245081"/>
                        <a:pt x="1071977" y="245482"/>
                      </a:cubicBezTo>
                      <a:cubicBezTo>
                        <a:pt x="1072379" y="245563"/>
                        <a:pt x="1073021" y="245804"/>
                        <a:pt x="1073423" y="245884"/>
                      </a:cubicBezTo>
                      <a:moveTo>
                        <a:pt x="1495787" y="333843"/>
                      </a:moveTo>
                      <a:cubicBezTo>
                        <a:pt x="1496269" y="334405"/>
                        <a:pt x="1496992" y="335128"/>
                        <a:pt x="1497474" y="335610"/>
                      </a:cubicBezTo>
                      <a:cubicBezTo>
                        <a:pt x="1498679" y="336976"/>
                        <a:pt x="1500286" y="337940"/>
                        <a:pt x="1501410" y="339386"/>
                      </a:cubicBezTo>
                      <a:cubicBezTo>
                        <a:pt x="1501169" y="337056"/>
                        <a:pt x="1496751" y="332236"/>
                        <a:pt x="1488317" y="325007"/>
                      </a:cubicBezTo>
                      <a:cubicBezTo>
                        <a:pt x="1491369" y="328863"/>
                        <a:pt x="1492333" y="330068"/>
                        <a:pt x="1495787" y="333843"/>
                      </a:cubicBezTo>
                      <a:moveTo>
                        <a:pt x="1392566" y="281228"/>
                      </a:moveTo>
                      <a:cubicBezTo>
                        <a:pt x="1398912" y="284522"/>
                        <a:pt x="1400518" y="285084"/>
                        <a:pt x="1401322" y="285325"/>
                      </a:cubicBezTo>
                      <a:cubicBezTo>
                        <a:pt x="1401884" y="285486"/>
                        <a:pt x="1402848" y="285807"/>
                        <a:pt x="1402527" y="285084"/>
                      </a:cubicBezTo>
                      <a:cubicBezTo>
                        <a:pt x="1401884" y="283960"/>
                        <a:pt x="1397707" y="280666"/>
                        <a:pt x="1397707" y="280666"/>
                      </a:cubicBezTo>
                      <a:cubicBezTo>
                        <a:pt x="1395699" y="279622"/>
                        <a:pt x="1392164" y="278015"/>
                        <a:pt x="1391602" y="279381"/>
                      </a:cubicBezTo>
                      <a:cubicBezTo>
                        <a:pt x="1391441" y="279782"/>
                        <a:pt x="1391602" y="280425"/>
                        <a:pt x="1391762" y="280827"/>
                      </a:cubicBezTo>
                      <a:cubicBezTo>
                        <a:pt x="1391923" y="280907"/>
                        <a:pt x="1392245" y="281148"/>
                        <a:pt x="1392566" y="281228"/>
                      </a:cubicBezTo>
                      <a:moveTo>
                        <a:pt x="1295610" y="248213"/>
                      </a:moveTo>
                      <a:cubicBezTo>
                        <a:pt x="1297859" y="250382"/>
                        <a:pt x="1302036" y="254318"/>
                        <a:pt x="1310310" y="258254"/>
                      </a:cubicBezTo>
                      <a:cubicBezTo>
                        <a:pt x="1306936" y="253917"/>
                        <a:pt x="1301715" y="249499"/>
                        <a:pt x="1295128" y="245322"/>
                      </a:cubicBezTo>
                      <a:cubicBezTo>
                        <a:pt x="1293602" y="246125"/>
                        <a:pt x="1294325" y="246928"/>
                        <a:pt x="1295610" y="248213"/>
                      </a:cubicBezTo>
                      <a:moveTo>
                        <a:pt x="1476990" y="302274"/>
                      </a:moveTo>
                      <a:cubicBezTo>
                        <a:pt x="1476990" y="302274"/>
                        <a:pt x="1476990" y="302274"/>
                        <a:pt x="1476990" y="302274"/>
                      </a:cubicBezTo>
                      <a:cubicBezTo>
                        <a:pt x="1476990" y="302274"/>
                        <a:pt x="1476990" y="302274"/>
                        <a:pt x="1476990" y="302274"/>
                      </a:cubicBezTo>
                      <a:cubicBezTo>
                        <a:pt x="1477231" y="302435"/>
                        <a:pt x="1477473" y="302595"/>
                        <a:pt x="1477714" y="302756"/>
                      </a:cubicBezTo>
                      <a:cubicBezTo>
                        <a:pt x="1477553" y="302595"/>
                        <a:pt x="1477312" y="302435"/>
                        <a:pt x="1476990" y="302274"/>
                      </a:cubicBezTo>
                      <a:moveTo>
                        <a:pt x="1477874" y="302756"/>
                      </a:moveTo>
                      <a:cubicBezTo>
                        <a:pt x="1477874" y="302756"/>
                        <a:pt x="1477874" y="302756"/>
                        <a:pt x="1477874" y="302756"/>
                      </a:cubicBezTo>
                      <a:cubicBezTo>
                        <a:pt x="1477874" y="302756"/>
                        <a:pt x="1477874" y="302756"/>
                        <a:pt x="1477874" y="302756"/>
                      </a:cubicBezTo>
                      <a:cubicBezTo>
                        <a:pt x="1477874" y="302756"/>
                        <a:pt x="1477954" y="302756"/>
                        <a:pt x="1477954" y="302836"/>
                      </a:cubicBezTo>
                      <a:cubicBezTo>
                        <a:pt x="1477954" y="302836"/>
                        <a:pt x="1477874" y="302756"/>
                        <a:pt x="1477874" y="302756"/>
                      </a:cubicBezTo>
                      <a:moveTo>
                        <a:pt x="1478115" y="302917"/>
                      </a:moveTo>
                      <a:lnTo>
                        <a:pt x="1478115" y="302917"/>
                      </a:lnTo>
                      <a:lnTo>
                        <a:pt x="1478115" y="302917"/>
                      </a:lnTo>
                      <a:cubicBezTo>
                        <a:pt x="1478115" y="302917"/>
                        <a:pt x="1478115" y="302917"/>
                        <a:pt x="1478115" y="302917"/>
                      </a:cubicBezTo>
                      <a:cubicBezTo>
                        <a:pt x="1478115" y="302917"/>
                        <a:pt x="1478115" y="302917"/>
                        <a:pt x="1478115" y="302917"/>
                      </a:cubicBez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356" y="303078"/>
                      </a:moveTo>
                      <a:lnTo>
                        <a:pt x="1478356" y="303078"/>
                      </a:lnTo>
                      <a:lnTo>
                        <a:pt x="1478356" y="303078"/>
                      </a:lnTo>
                      <a:moveTo>
                        <a:pt x="1478356" y="303078"/>
                      </a:moveTo>
                      <a:cubicBezTo>
                        <a:pt x="1478356" y="303078"/>
                        <a:pt x="1478356" y="303078"/>
                        <a:pt x="1478356" y="303078"/>
                      </a:cubicBezTo>
                      <a:cubicBezTo>
                        <a:pt x="1478356" y="303078"/>
                        <a:pt x="1478356" y="303078"/>
                        <a:pt x="1478356" y="303078"/>
                      </a:cubicBezTo>
                      <a:moveTo>
                        <a:pt x="1478276" y="303078"/>
                      </a:moveTo>
                      <a:lnTo>
                        <a:pt x="1478276" y="303078"/>
                      </a:lnTo>
                      <a:lnTo>
                        <a:pt x="1478276" y="303078"/>
                      </a:lnTo>
                      <a:moveTo>
                        <a:pt x="1478276" y="303078"/>
                      </a:moveTo>
                      <a:cubicBezTo>
                        <a:pt x="1478276" y="303078"/>
                        <a:pt x="1478276" y="303078"/>
                        <a:pt x="1478276" y="303078"/>
                      </a:cubicBezTo>
                      <a:cubicBezTo>
                        <a:pt x="1478276" y="303078"/>
                        <a:pt x="1478276" y="303078"/>
                        <a:pt x="1478276" y="303078"/>
                      </a:cubicBezTo>
                      <a:moveTo>
                        <a:pt x="1478276" y="303078"/>
                      </a:moveTo>
                      <a:cubicBezTo>
                        <a:pt x="1478276" y="303078"/>
                        <a:pt x="1478276" y="303078"/>
                        <a:pt x="1478276" y="303078"/>
                      </a:cubicBezTo>
                      <a:cubicBezTo>
                        <a:pt x="1478276" y="303078"/>
                        <a:pt x="1478276" y="303078"/>
                        <a:pt x="1478276" y="303078"/>
                      </a:cubicBezTo>
                      <a:moveTo>
                        <a:pt x="1478276" y="303078"/>
                      </a:moveTo>
                      <a:lnTo>
                        <a:pt x="1478276" y="303078"/>
                      </a:lnTo>
                      <a:lnTo>
                        <a:pt x="1478276" y="303078"/>
                      </a:ln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cubicBezTo>
                        <a:pt x="1478276" y="302997"/>
                        <a:pt x="1478276" y="302997"/>
                        <a:pt x="1478276" y="302997"/>
                      </a:cubicBezTo>
                      <a:cubicBezTo>
                        <a:pt x="1478276" y="302997"/>
                        <a:pt x="1478276" y="302997"/>
                        <a:pt x="1478276" y="302997"/>
                      </a:cubicBezTo>
                      <a:moveTo>
                        <a:pt x="1478276" y="302997"/>
                      </a:moveTo>
                      <a:cubicBezTo>
                        <a:pt x="1478276" y="302997"/>
                        <a:pt x="1478276" y="302997"/>
                        <a:pt x="1478276" y="302997"/>
                      </a:cubicBezTo>
                      <a:cubicBezTo>
                        <a:pt x="1478276" y="302997"/>
                        <a:pt x="1478276" y="302997"/>
                        <a:pt x="1478276" y="302997"/>
                      </a:cubicBez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cubicBezTo>
                        <a:pt x="1478276" y="302997"/>
                        <a:pt x="1478276" y="302997"/>
                        <a:pt x="1478276" y="302997"/>
                      </a:cubicBezTo>
                      <a:cubicBezTo>
                        <a:pt x="1478276" y="302997"/>
                        <a:pt x="1478276" y="302997"/>
                        <a:pt x="1478276" y="302997"/>
                      </a:cubicBez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lnTo>
                        <a:pt x="1478276" y="302997"/>
                      </a:lnTo>
                      <a:lnTo>
                        <a:pt x="1478276" y="302997"/>
                      </a:lnTo>
                      <a:moveTo>
                        <a:pt x="1478276" y="302997"/>
                      </a:moveTo>
                      <a:cubicBezTo>
                        <a:pt x="1478276" y="302997"/>
                        <a:pt x="1478276" y="302997"/>
                        <a:pt x="1478276" y="302997"/>
                      </a:cubicBezTo>
                      <a:cubicBezTo>
                        <a:pt x="1478276" y="302997"/>
                        <a:pt x="1478276" y="302997"/>
                        <a:pt x="1478276" y="302997"/>
                      </a:cubicBezTo>
                      <a:lnTo>
                        <a:pt x="1478276" y="302997"/>
                      </a:lnTo>
                      <a:moveTo>
                        <a:pt x="693552" y="211182"/>
                      </a:moveTo>
                      <a:cubicBezTo>
                        <a:pt x="693712" y="211503"/>
                        <a:pt x="694194" y="211744"/>
                        <a:pt x="695560" y="212628"/>
                      </a:cubicBezTo>
                      <a:cubicBezTo>
                        <a:pt x="697649" y="212146"/>
                        <a:pt x="698291" y="211584"/>
                        <a:pt x="697408" y="211102"/>
                      </a:cubicBezTo>
                      <a:cubicBezTo>
                        <a:pt x="696524" y="210540"/>
                        <a:pt x="695801" y="210540"/>
                        <a:pt x="695319" y="210540"/>
                      </a:cubicBezTo>
                      <a:cubicBezTo>
                        <a:pt x="694034" y="210620"/>
                        <a:pt x="693391" y="210781"/>
                        <a:pt x="693552" y="211182"/>
                      </a:cubicBezTo>
                      <a:cubicBezTo>
                        <a:pt x="693552" y="211182"/>
                        <a:pt x="693552" y="211182"/>
                        <a:pt x="693552" y="211182"/>
                      </a:cubicBezTo>
                      <a:moveTo>
                        <a:pt x="1464700" y="288779"/>
                      </a:moveTo>
                      <a:cubicBezTo>
                        <a:pt x="1467190" y="290868"/>
                        <a:pt x="1469841" y="292795"/>
                        <a:pt x="1472412" y="294884"/>
                      </a:cubicBezTo>
                      <a:cubicBezTo>
                        <a:pt x="1467271" y="290386"/>
                        <a:pt x="1465263" y="289100"/>
                        <a:pt x="1464700" y="288779"/>
                      </a:cubicBezTo>
                      <a:cubicBezTo>
                        <a:pt x="1464700" y="288779"/>
                        <a:pt x="1464700" y="288779"/>
                        <a:pt x="1464700" y="288779"/>
                      </a:cubicBezTo>
                      <a:moveTo>
                        <a:pt x="1441084" y="270866"/>
                      </a:moveTo>
                      <a:cubicBezTo>
                        <a:pt x="1442048" y="271509"/>
                        <a:pt x="1443092" y="272231"/>
                        <a:pt x="1444056" y="272874"/>
                      </a:cubicBezTo>
                      <a:cubicBezTo>
                        <a:pt x="1443012" y="272151"/>
                        <a:pt x="1441887" y="271428"/>
                        <a:pt x="1440843" y="270705"/>
                      </a:cubicBezTo>
                      <a:cubicBezTo>
                        <a:pt x="1440923" y="270786"/>
                        <a:pt x="1441084" y="270866"/>
                        <a:pt x="1441084" y="270866"/>
                      </a:cubicBezTo>
                      <a:moveTo>
                        <a:pt x="1140256" y="189092"/>
                      </a:moveTo>
                      <a:cubicBezTo>
                        <a:pt x="1168852" y="215118"/>
                        <a:pt x="1250064" y="236566"/>
                        <a:pt x="1253438" y="237530"/>
                      </a:cubicBezTo>
                      <a:cubicBezTo>
                        <a:pt x="1248056" y="236004"/>
                        <a:pt x="1237934" y="233273"/>
                        <a:pt x="1213515" y="222348"/>
                      </a:cubicBezTo>
                      <a:cubicBezTo>
                        <a:pt x="1187328" y="210620"/>
                        <a:pt x="1162105" y="196804"/>
                        <a:pt x="1135918" y="184995"/>
                      </a:cubicBezTo>
                      <a:cubicBezTo>
                        <a:pt x="1137284" y="186200"/>
                        <a:pt x="1138970" y="187887"/>
                        <a:pt x="1140256" y="189092"/>
                      </a:cubicBezTo>
                      <a:moveTo>
                        <a:pt x="1238175" y="217609"/>
                      </a:moveTo>
                      <a:cubicBezTo>
                        <a:pt x="1239782" y="218171"/>
                        <a:pt x="1240826" y="218894"/>
                        <a:pt x="1241389" y="219215"/>
                      </a:cubicBezTo>
                      <a:cubicBezTo>
                        <a:pt x="1240264" y="217207"/>
                        <a:pt x="1241067" y="216564"/>
                        <a:pt x="1244682" y="216484"/>
                      </a:cubicBezTo>
                      <a:cubicBezTo>
                        <a:pt x="1242031" y="216002"/>
                        <a:pt x="1240184" y="215520"/>
                        <a:pt x="1240184" y="215520"/>
                      </a:cubicBezTo>
                      <a:cubicBezTo>
                        <a:pt x="1240023" y="215359"/>
                        <a:pt x="1223556" y="195358"/>
                        <a:pt x="1223315" y="193028"/>
                      </a:cubicBezTo>
                      <a:cubicBezTo>
                        <a:pt x="1224279" y="192707"/>
                        <a:pt x="1228536" y="196322"/>
                        <a:pt x="1231990" y="199374"/>
                      </a:cubicBezTo>
                      <a:cubicBezTo>
                        <a:pt x="1235043" y="202105"/>
                        <a:pt x="1235123" y="202105"/>
                        <a:pt x="1240666" y="204676"/>
                      </a:cubicBezTo>
                      <a:cubicBezTo>
                        <a:pt x="1236649" y="202426"/>
                        <a:pt x="1234962" y="201141"/>
                        <a:pt x="1233275" y="199133"/>
                      </a:cubicBezTo>
                      <a:cubicBezTo>
                        <a:pt x="1239621" y="201382"/>
                        <a:pt x="1240184" y="199936"/>
                        <a:pt x="1240585" y="196643"/>
                      </a:cubicBezTo>
                      <a:cubicBezTo>
                        <a:pt x="1231508" y="192787"/>
                        <a:pt x="1231508" y="192787"/>
                        <a:pt x="1230946" y="193109"/>
                      </a:cubicBezTo>
                      <a:cubicBezTo>
                        <a:pt x="1230946" y="193269"/>
                        <a:pt x="1230946" y="193430"/>
                        <a:pt x="1230946" y="193510"/>
                      </a:cubicBezTo>
                      <a:cubicBezTo>
                        <a:pt x="1228777" y="192787"/>
                        <a:pt x="1227331" y="192225"/>
                        <a:pt x="1225725" y="191421"/>
                      </a:cubicBezTo>
                      <a:cubicBezTo>
                        <a:pt x="1224921" y="191261"/>
                        <a:pt x="1224038" y="191100"/>
                        <a:pt x="1223234" y="190940"/>
                      </a:cubicBezTo>
                      <a:cubicBezTo>
                        <a:pt x="1222672" y="190618"/>
                        <a:pt x="1221949" y="190136"/>
                        <a:pt x="1221387" y="189815"/>
                      </a:cubicBezTo>
                      <a:cubicBezTo>
                        <a:pt x="1221548" y="190377"/>
                        <a:pt x="1221387" y="190779"/>
                        <a:pt x="1218977" y="190136"/>
                      </a:cubicBezTo>
                      <a:cubicBezTo>
                        <a:pt x="1220905" y="195518"/>
                        <a:pt x="1225966" y="202989"/>
                        <a:pt x="1233356" y="211182"/>
                      </a:cubicBezTo>
                      <a:cubicBezTo>
                        <a:pt x="1233838" y="210781"/>
                        <a:pt x="1234079" y="210379"/>
                        <a:pt x="1233918" y="209656"/>
                      </a:cubicBezTo>
                      <a:cubicBezTo>
                        <a:pt x="1238497" y="213351"/>
                        <a:pt x="1239461" y="215440"/>
                        <a:pt x="1237613" y="217368"/>
                      </a:cubicBezTo>
                      <a:cubicBezTo>
                        <a:pt x="1237854" y="217528"/>
                        <a:pt x="1238015" y="217609"/>
                        <a:pt x="1238175" y="217609"/>
                      </a:cubicBezTo>
                      <a:moveTo>
                        <a:pt x="1055911" y="116395"/>
                      </a:moveTo>
                      <a:cubicBezTo>
                        <a:pt x="1062900" y="118082"/>
                        <a:pt x="1068603" y="119769"/>
                        <a:pt x="1070451" y="120331"/>
                      </a:cubicBezTo>
                      <a:cubicBezTo>
                        <a:pt x="1069005" y="118725"/>
                        <a:pt x="1066756" y="117520"/>
                        <a:pt x="1066675" y="117520"/>
                      </a:cubicBezTo>
                      <a:cubicBezTo>
                        <a:pt x="1066515" y="117439"/>
                        <a:pt x="1066193" y="117520"/>
                        <a:pt x="1066033" y="117439"/>
                      </a:cubicBezTo>
                      <a:cubicBezTo>
                        <a:pt x="1064587" y="117279"/>
                        <a:pt x="1063141" y="117199"/>
                        <a:pt x="1061695" y="117038"/>
                      </a:cubicBezTo>
                      <a:cubicBezTo>
                        <a:pt x="1059606" y="116797"/>
                        <a:pt x="1057518" y="116556"/>
                        <a:pt x="1055429" y="116235"/>
                      </a:cubicBezTo>
                      <a:cubicBezTo>
                        <a:pt x="1055590" y="116315"/>
                        <a:pt x="1055751" y="116395"/>
                        <a:pt x="1055911" y="116395"/>
                      </a:cubicBezTo>
                      <a:moveTo>
                        <a:pt x="1021772" y="105149"/>
                      </a:moveTo>
                      <a:cubicBezTo>
                        <a:pt x="1025949" y="107720"/>
                        <a:pt x="1029483" y="107077"/>
                        <a:pt x="1031010" y="106836"/>
                      </a:cubicBezTo>
                      <a:cubicBezTo>
                        <a:pt x="1031251" y="105471"/>
                        <a:pt x="1031733" y="102499"/>
                        <a:pt x="1036793" y="109808"/>
                      </a:cubicBezTo>
                      <a:cubicBezTo>
                        <a:pt x="1037355" y="110531"/>
                        <a:pt x="1037998" y="111575"/>
                        <a:pt x="1038480" y="112379"/>
                      </a:cubicBezTo>
                      <a:cubicBezTo>
                        <a:pt x="1041211" y="112379"/>
                        <a:pt x="1041533" y="112540"/>
                        <a:pt x="1041774" y="112700"/>
                      </a:cubicBezTo>
                      <a:cubicBezTo>
                        <a:pt x="1041774" y="112781"/>
                        <a:pt x="1041774" y="112861"/>
                        <a:pt x="1041693" y="112941"/>
                      </a:cubicBezTo>
                      <a:cubicBezTo>
                        <a:pt x="1041292" y="113182"/>
                        <a:pt x="1041211" y="113182"/>
                        <a:pt x="1040408" y="113503"/>
                      </a:cubicBezTo>
                      <a:cubicBezTo>
                        <a:pt x="1043059" y="113825"/>
                        <a:pt x="1044987" y="114146"/>
                        <a:pt x="1048441" y="114789"/>
                      </a:cubicBezTo>
                      <a:cubicBezTo>
                        <a:pt x="1045870" y="113744"/>
                        <a:pt x="1045308" y="113022"/>
                        <a:pt x="1046111" y="111656"/>
                      </a:cubicBezTo>
                      <a:cubicBezTo>
                        <a:pt x="1046192" y="111495"/>
                        <a:pt x="1046352" y="111334"/>
                        <a:pt x="1046433" y="111174"/>
                      </a:cubicBezTo>
                      <a:cubicBezTo>
                        <a:pt x="1043380" y="110371"/>
                        <a:pt x="1037677" y="108844"/>
                        <a:pt x="1039283" y="107720"/>
                      </a:cubicBezTo>
                      <a:cubicBezTo>
                        <a:pt x="1040167" y="107158"/>
                        <a:pt x="1042978" y="106997"/>
                        <a:pt x="1044746" y="106917"/>
                      </a:cubicBezTo>
                      <a:cubicBezTo>
                        <a:pt x="1043862" y="106435"/>
                        <a:pt x="1043059" y="105872"/>
                        <a:pt x="1042175" y="105390"/>
                      </a:cubicBezTo>
                      <a:cubicBezTo>
                        <a:pt x="1042255" y="105390"/>
                        <a:pt x="1042416" y="105390"/>
                        <a:pt x="1042577" y="105471"/>
                      </a:cubicBezTo>
                      <a:cubicBezTo>
                        <a:pt x="1044585" y="105631"/>
                        <a:pt x="1045629" y="105551"/>
                        <a:pt x="1046433" y="105230"/>
                      </a:cubicBezTo>
                      <a:cubicBezTo>
                        <a:pt x="1043219" y="104346"/>
                        <a:pt x="1041774" y="103944"/>
                        <a:pt x="1041372" y="103382"/>
                      </a:cubicBezTo>
                      <a:cubicBezTo>
                        <a:pt x="1041613" y="102981"/>
                        <a:pt x="1042737" y="102900"/>
                        <a:pt x="1048441" y="103222"/>
                      </a:cubicBezTo>
                      <a:cubicBezTo>
                        <a:pt x="1036311" y="100330"/>
                        <a:pt x="1036954" y="102177"/>
                        <a:pt x="1038480" y="106274"/>
                      </a:cubicBezTo>
                      <a:cubicBezTo>
                        <a:pt x="1035749" y="104667"/>
                        <a:pt x="1033339" y="103302"/>
                        <a:pt x="1030528" y="101695"/>
                      </a:cubicBezTo>
                      <a:cubicBezTo>
                        <a:pt x="1032455" y="103382"/>
                        <a:pt x="1032696" y="103784"/>
                        <a:pt x="1032777" y="104266"/>
                      </a:cubicBezTo>
                      <a:cubicBezTo>
                        <a:pt x="1032455" y="104587"/>
                        <a:pt x="1031572" y="104426"/>
                        <a:pt x="1027636" y="102659"/>
                      </a:cubicBezTo>
                      <a:cubicBezTo>
                        <a:pt x="1025949" y="106113"/>
                        <a:pt x="1024583" y="106033"/>
                        <a:pt x="1023218" y="102258"/>
                      </a:cubicBezTo>
                      <a:cubicBezTo>
                        <a:pt x="1023137" y="102016"/>
                        <a:pt x="1022977" y="101615"/>
                        <a:pt x="1022896" y="101374"/>
                      </a:cubicBezTo>
                      <a:cubicBezTo>
                        <a:pt x="1021049" y="100972"/>
                        <a:pt x="1019764" y="100731"/>
                        <a:pt x="1018157" y="100571"/>
                      </a:cubicBezTo>
                      <a:cubicBezTo>
                        <a:pt x="1020326" y="102338"/>
                        <a:pt x="1021210" y="103703"/>
                        <a:pt x="1020728" y="104587"/>
                      </a:cubicBezTo>
                      <a:cubicBezTo>
                        <a:pt x="1021210" y="104828"/>
                        <a:pt x="1021531" y="104989"/>
                        <a:pt x="1021772" y="105149"/>
                      </a:cubicBezTo>
                      <a:moveTo>
                        <a:pt x="170376" y="189413"/>
                      </a:moveTo>
                      <a:cubicBezTo>
                        <a:pt x="170376" y="189494"/>
                        <a:pt x="170376" y="189494"/>
                        <a:pt x="170536" y="189413"/>
                      </a:cubicBezTo>
                      <a:cubicBezTo>
                        <a:pt x="170938" y="189253"/>
                        <a:pt x="171822" y="188369"/>
                        <a:pt x="172143" y="188128"/>
                      </a:cubicBezTo>
                      <a:cubicBezTo>
                        <a:pt x="171822" y="188208"/>
                        <a:pt x="171500" y="188289"/>
                        <a:pt x="171179" y="188369"/>
                      </a:cubicBezTo>
                      <a:cubicBezTo>
                        <a:pt x="171179" y="188289"/>
                        <a:pt x="171259" y="188289"/>
                        <a:pt x="171259" y="188208"/>
                      </a:cubicBezTo>
                      <a:cubicBezTo>
                        <a:pt x="171259" y="188289"/>
                        <a:pt x="170456" y="189253"/>
                        <a:pt x="170376" y="189413"/>
                      </a:cubicBezTo>
                      <a:moveTo>
                        <a:pt x="1129010" y="86353"/>
                      </a:moveTo>
                      <a:cubicBezTo>
                        <a:pt x="1134874" y="88441"/>
                        <a:pt x="1140657" y="90610"/>
                        <a:pt x="1146521" y="92699"/>
                      </a:cubicBezTo>
                      <a:cubicBezTo>
                        <a:pt x="1148449" y="93421"/>
                        <a:pt x="1150377" y="94064"/>
                        <a:pt x="1152225" y="94787"/>
                      </a:cubicBezTo>
                      <a:cubicBezTo>
                        <a:pt x="1151823" y="94626"/>
                        <a:pt x="1151421" y="94385"/>
                        <a:pt x="1151020" y="94225"/>
                      </a:cubicBezTo>
                      <a:cubicBezTo>
                        <a:pt x="1148047" y="93100"/>
                        <a:pt x="1139051" y="89566"/>
                        <a:pt x="1128528" y="86112"/>
                      </a:cubicBezTo>
                      <a:cubicBezTo>
                        <a:pt x="1128688" y="86192"/>
                        <a:pt x="1128849" y="86272"/>
                        <a:pt x="1129010" y="86353"/>
                      </a:cubicBezTo>
                      <a:moveTo>
                        <a:pt x="1123949" y="83621"/>
                      </a:moveTo>
                      <a:cubicBezTo>
                        <a:pt x="1137685" y="88843"/>
                        <a:pt x="1138890" y="89084"/>
                        <a:pt x="1139292" y="89164"/>
                      </a:cubicBezTo>
                      <a:cubicBezTo>
                        <a:pt x="1137765" y="88602"/>
                        <a:pt x="1136159" y="88039"/>
                        <a:pt x="1134633" y="87477"/>
                      </a:cubicBezTo>
                      <a:cubicBezTo>
                        <a:pt x="1130777" y="86031"/>
                        <a:pt x="1126921" y="84666"/>
                        <a:pt x="1122985" y="83300"/>
                      </a:cubicBezTo>
                      <a:cubicBezTo>
                        <a:pt x="1123306" y="83380"/>
                        <a:pt x="1123628" y="83541"/>
                        <a:pt x="1123949" y="83621"/>
                      </a:cubicBezTo>
                      <a:moveTo>
                        <a:pt x="367741" y="89646"/>
                      </a:moveTo>
                      <a:cubicBezTo>
                        <a:pt x="370071" y="89084"/>
                        <a:pt x="374168" y="87959"/>
                        <a:pt x="375132" y="86594"/>
                      </a:cubicBezTo>
                      <a:cubicBezTo>
                        <a:pt x="372160" y="87477"/>
                        <a:pt x="369589" y="88441"/>
                        <a:pt x="367260" y="89566"/>
                      </a:cubicBezTo>
                      <a:lnTo>
                        <a:pt x="367741" y="89646"/>
                      </a:lnTo>
                      <a:moveTo>
                        <a:pt x="370955" y="87076"/>
                      </a:moveTo>
                      <a:cubicBezTo>
                        <a:pt x="370874" y="87477"/>
                        <a:pt x="370874" y="87557"/>
                        <a:pt x="371115" y="87557"/>
                      </a:cubicBezTo>
                      <a:cubicBezTo>
                        <a:pt x="371517" y="87477"/>
                        <a:pt x="371999" y="87076"/>
                        <a:pt x="373204" y="86192"/>
                      </a:cubicBezTo>
                      <a:lnTo>
                        <a:pt x="372802" y="85710"/>
                      </a:lnTo>
                      <a:cubicBezTo>
                        <a:pt x="372882" y="85630"/>
                        <a:pt x="372882" y="85549"/>
                        <a:pt x="372963" y="85469"/>
                      </a:cubicBezTo>
                      <a:cubicBezTo>
                        <a:pt x="371035" y="86031"/>
                        <a:pt x="369268" y="86754"/>
                        <a:pt x="368143" y="87557"/>
                      </a:cubicBezTo>
                      <a:cubicBezTo>
                        <a:pt x="369027" y="87397"/>
                        <a:pt x="370151" y="87236"/>
                        <a:pt x="370955" y="87076"/>
                      </a:cubicBezTo>
                      <a:moveTo>
                        <a:pt x="1111498" y="78239"/>
                      </a:moveTo>
                      <a:cubicBezTo>
                        <a:pt x="1115515" y="79444"/>
                        <a:pt x="1121861" y="81854"/>
                        <a:pt x="1131420" y="85710"/>
                      </a:cubicBezTo>
                      <a:cubicBezTo>
                        <a:pt x="1131259" y="85630"/>
                        <a:pt x="1111980" y="77838"/>
                        <a:pt x="1110856" y="78079"/>
                      </a:cubicBezTo>
                      <a:cubicBezTo>
                        <a:pt x="1111016" y="78159"/>
                        <a:pt x="1111338" y="78239"/>
                        <a:pt x="1111498" y="78239"/>
                      </a:cubicBezTo>
                      <a:moveTo>
                        <a:pt x="530165" y="34862"/>
                      </a:moveTo>
                      <a:cubicBezTo>
                        <a:pt x="530406" y="34702"/>
                        <a:pt x="530566" y="34541"/>
                        <a:pt x="530084" y="34461"/>
                      </a:cubicBezTo>
                      <a:cubicBezTo>
                        <a:pt x="529683" y="34380"/>
                        <a:pt x="529201" y="34380"/>
                        <a:pt x="528719" y="34380"/>
                      </a:cubicBezTo>
                      <a:lnTo>
                        <a:pt x="530165" y="34862"/>
                      </a:lnTo>
                      <a:moveTo>
                        <a:pt x="570891" y="25705"/>
                      </a:moveTo>
                      <a:cubicBezTo>
                        <a:pt x="572417" y="25544"/>
                        <a:pt x="573943" y="25464"/>
                        <a:pt x="575470" y="25303"/>
                      </a:cubicBezTo>
                      <a:cubicBezTo>
                        <a:pt x="573863" y="25464"/>
                        <a:pt x="572176" y="25544"/>
                        <a:pt x="570570" y="25705"/>
                      </a:cubicBezTo>
                      <a:cubicBezTo>
                        <a:pt x="570650" y="25785"/>
                        <a:pt x="570811" y="25785"/>
                        <a:pt x="570891" y="25705"/>
                      </a:cubicBezTo>
                      <a:moveTo>
                        <a:pt x="868586" y="11487"/>
                      </a:moveTo>
                      <a:cubicBezTo>
                        <a:pt x="885937" y="14379"/>
                        <a:pt x="896541" y="16307"/>
                        <a:pt x="904573" y="17833"/>
                      </a:cubicBezTo>
                      <a:lnTo>
                        <a:pt x="924334" y="22010"/>
                      </a:lnTo>
                      <a:cubicBezTo>
                        <a:pt x="921201" y="21287"/>
                        <a:pt x="918069" y="20725"/>
                        <a:pt x="915016" y="19921"/>
                      </a:cubicBezTo>
                      <a:lnTo>
                        <a:pt x="865534" y="10764"/>
                      </a:lnTo>
                      <a:cubicBezTo>
                        <a:pt x="866337" y="11406"/>
                        <a:pt x="867703" y="11326"/>
                        <a:pt x="868586" y="11487"/>
                      </a:cubicBezTo>
                      <a:moveTo>
                        <a:pt x="0" y="237450"/>
                      </a:moveTo>
                      <a:cubicBezTo>
                        <a:pt x="964" y="236245"/>
                        <a:pt x="1928" y="235040"/>
                        <a:pt x="2892" y="233835"/>
                      </a:cubicBezTo>
                      <a:lnTo>
                        <a:pt x="2892" y="233835"/>
                      </a:lnTo>
                      <a:cubicBezTo>
                        <a:pt x="41530" y="208772"/>
                        <a:pt x="41530" y="208772"/>
                        <a:pt x="56390" y="204354"/>
                      </a:cubicBezTo>
                      <a:cubicBezTo>
                        <a:pt x="54703" y="206523"/>
                        <a:pt x="52454" y="209415"/>
                        <a:pt x="50767" y="211584"/>
                      </a:cubicBezTo>
                      <a:cubicBezTo>
                        <a:pt x="198089" y="108121"/>
                        <a:pt x="273597" y="103382"/>
                        <a:pt x="360994" y="98000"/>
                      </a:cubicBezTo>
                      <a:cubicBezTo>
                        <a:pt x="377060" y="64825"/>
                        <a:pt x="547596" y="31087"/>
                        <a:pt x="549283" y="30846"/>
                      </a:cubicBezTo>
                      <a:cubicBezTo>
                        <a:pt x="543820" y="30846"/>
                        <a:pt x="536591" y="31328"/>
                        <a:pt x="531209" y="32131"/>
                      </a:cubicBezTo>
                      <a:cubicBezTo>
                        <a:pt x="547114" y="27713"/>
                        <a:pt x="571132" y="21046"/>
                        <a:pt x="602781" y="24741"/>
                      </a:cubicBezTo>
                      <a:cubicBezTo>
                        <a:pt x="600130" y="25223"/>
                        <a:pt x="596516" y="25785"/>
                        <a:pt x="593784" y="26267"/>
                      </a:cubicBezTo>
                      <a:cubicBezTo>
                        <a:pt x="685198" y="35505"/>
                        <a:pt x="718775" y="19439"/>
                        <a:pt x="718935" y="19198"/>
                      </a:cubicBezTo>
                      <a:cubicBezTo>
                        <a:pt x="713553" y="18475"/>
                        <a:pt x="706485" y="16467"/>
                        <a:pt x="701504" y="14298"/>
                      </a:cubicBezTo>
                      <a:cubicBezTo>
                        <a:pt x="717731" y="2731"/>
                        <a:pt x="838785" y="13094"/>
                        <a:pt x="839749" y="13334"/>
                      </a:cubicBezTo>
                      <a:cubicBezTo>
                        <a:pt x="837178" y="12290"/>
                        <a:pt x="833804" y="10844"/>
                        <a:pt x="831314" y="9800"/>
                      </a:cubicBezTo>
                      <a:cubicBezTo>
                        <a:pt x="835331" y="10362"/>
                        <a:pt x="840793" y="11005"/>
                        <a:pt x="844890" y="10684"/>
                      </a:cubicBezTo>
                      <a:cubicBezTo>
                        <a:pt x="865534" y="13495"/>
                        <a:pt x="921121" y="24018"/>
                        <a:pt x="921683" y="24098"/>
                      </a:cubicBezTo>
                      <a:cubicBezTo>
                        <a:pt x="911321" y="21930"/>
                        <a:pt x="911321" y="21930"/>
                        <a:pt x="776209" y="0"/>
                      </a:cubicBezTo>
                      <a:lnTo>
                        <a:pt x="816534" y="3936"/>
                      </a:lnTo>
                      <a:cubicBezTo>
                        <a:pt x="884973" y="13897"/>
                        <a:pt x="892122" y="14941"/>
                        <a:pt x="937508" y="24902"/>
                      </a:cubicBezTo>
                      <a:cubicBezTo>
                        <a:pt x="1026431" y="47554"/>
                        <a:pt x="1050529" y="55185"/>
                        <a:pt x="1135838" y="87557"/>
                      </a:cubicBezTo>
                      <a:cubicBezTo>
                        <a:pt x="1225805" y="128123"/>
                        <a:pt x="1244521" y="136638"/>
                        <a:pt x="1327902" y="187164"/>
                      </a:cubicBezTo>
                      <a:cubicBezTo>
                        <a:pt x="1418833" y="249659"/>
                        <a:pt x="1430481" y="257772"/>
                        <a:pt x="1493136" y="313038"/>
                      </a:cubicBezTo>
                      <a:cubicBezTo>
                        <a:pt x="1577320" y="395053"/>
                        <a:pt x="1584148" y="401801"/>
                        <a:pt x="1632827" y="462287"/>
                      </a:cubicBezTo>
                      <a:cubicBezTo>
                        <a:pt x="1704640" y="560770"/>
                        <a:pt x="1708978" y="566634"/>
                        <a:pt x="1745607" y="632503"/>
                      </a:cubicBezTo>
                      <a:lnTo>
                        <a:pt x="1770750" y="680940"/>
                      </a:lnTo>
                      <a:lnTo>
                        <a:pt x="1770027" y="679575"/>
                      </a:lnTo>
                      <a:cubicBezTo>
                        <a:pt x="1771071" y="682065"/>
                        <a:pt x="1772437" y="685439"/>
                        <a:pt x="1773481" y="688009"/>
                      </a:cubicBezTo>
                      <a:cubicBezTo>
                        <a:pt x="1773080" y="687447"/>
                        <a:pt x="1772598" y="686644"/>
                        <a:pt x="1772276" y="686001"/>
                      </a:cubicBezTo>
                      <a:lnTo>
                        <a:pt x="1772437" y="686483"/>
                      </a:lnTo>
                      <a:lnTo>
                        <a:pt x="1771794" y="685118"/>
                      </a:lnTo>
                      <a:cubicBezTo>
                        <a:pt x="1772678" y="688331"/>
                        <a:pt x="1773802" y="692668"/>
                        <a:pt x="1774686" y="695962"/>
                      </a:cubicBezTo>
                      <a:cubicBezTo>
                        <a:pt x="1769545" y="690821"/>
                        <a:pt x="1765770" y="684636"/>
                        <a:pt x="1760789" y="679334"/>
                      </a:cubicBezTo>
                      <a:lnTo>
                        <a:pt x="1759665" y="679414"/>
                      </a:lnTo>
                      <a:lnTo>
                        <a:pt x="1760147" y="680057"/>
                      </a:lnTo>
                      <a:lnTo>
                        <a:pt x="1762958" y="684475"/>
                      </a:lnTo>
                      <a:cubicBezTo>
                        <a:pt x="1770670" y="703271"/>
                        <a:pt x="1772678" y="723916"/>
                        <a:pt x="1782478" y="741990"/>
                      </a:cubicBezTo>
                      <a:lnTo>
                        <a:pt x="1782237" y="743034"/>
                      </a:lnTo>
                      <a:cubicBezTo>
                        <a:pt x="1782478" y="743275"/>
                        <a:pt x="1782719" y="743516"/>
                        <a:pt x="1782960" y="743757"/>
                      </a:cubicBezTo>
                      <a:cubicBezTo>
                        <a:pt x="1785611" y="764401"/>
                        <a:pt x="1786093" y="769783"/>
                        <a:pt x="1787137" y="792275"/>
                      </a:cubicBezTo>
                      <a:cubicBezTo>
                        <a:pt x="1784245" y="792677"/>
                        <a:pt x="1780309" y="793159"/>
                        <a:pt x="1777417" y="793560"/>
                      </a:cubicBezTo>
                      <a:cubicBezTo>
                        <a:pt x="1772357" y="787375"/>
                        <a:pt x="1761914" y="774442"/>
                        <a:pt x="1746170" y="727611"/>
                      </a:cubicBezTo>
                      <a:cubicBezTo>
                        <a:pt x="1746089" y="728093"/>
                        <a:pt x="1745929" y="728816"/>
                        <a:pt x="1745768" y="729378"/>
                      </a:cubicBezTo>
                      <a:cubicBezTo>
                        <a:pt x="1737896" y="693552"/>
                        <a:pt x="1666645" y="631378"/>
                        <a:pt x="1665922" y="630735"/>
                      </a:cubicBezTo>
                      <a:cubicBezTo>
                        <a:pt x="1645760" y="602621"/>
                        <a:pt x="1639735" y="602058"/>
                        <a:pt x="1632747" y="601496"/>
                      </a:cubicBezTo>
                      <a:cubicBezTo>
                        <a:pt x="1630658" y="599006"/>
                        <a:pt x="1630337" y="598845"/>
                        <a:pt x="1630096" y="598765"/>
                      </a:cubicBezTo>
                      <a:lnTo>
                        <a:pt x="1629132" y="596998"/>
                      </a:lnTo>
                      <a:cubicBezTo>
                        <a:pt x="1612504" y="590411"/>
                        <a:pt x="1612504" y="590411"/>
                        <a:pt x="1605274" y="574827"/>
                      </a:cubicBezTo>
                      <a:cubicBezTo>
                        <a:pt x="1602543" y="577157"/>
                        <a:pt x="1598768" y="580129"/>
                        <a:pt x="1596358" y="582779"/>
                      </a:cubicBezTo>
                      <a:cubicBezTo>
                        <a:pt x="1598607" y="594427"/>
                        <a:pt x="1599571" y="599327"/>
                        <a:pt x="1593466" y="601898"/>
                      </a:cubicBezTo>
                      <a:lnTo>
                        <a:pt x="1590735" y="600693"/>
                      </a:lnTo>
                      <a:lnTo>
                        <a:pt x="1590574" y="601978"/>
                      </a:lnTo>
                      <a:lnTo>
                        <a:pt x="1585996" y="602942"/>
                      </a:lnTo>
                      <a:cubicBezTo>
                        <a:pt x="1584871" y="605512"/>
                        <a:pt x="1583264" y="608886"/>
                        <a:pt x="1582140" y="611457"/>
                      </a:cubicBezTo>
                      <a:cubicBezTo>
                        <a:pt x="1582461" y="611537"/>
                        <a:pt x="1582863" y="611698"/>
                        <a:pt x="1583184" y="611858"/>
                      </a:cubicBezTo>
                      <a:cubicBezTo>
                        <a:pt x="1585353" y="618365"/>
                        <a:pt x="1588004" y="627121"/>
                        <a:pt x="1589771" y="633788"/>
                      </a:cubicBezTo>
                      <a:cubicBezTo>
                        <a:pt x="1587522" y="635394"/>
                        <a:pt x="1584550" y="637563"/>
                        <a:pt x="1582220" y="639170"/>
                      </a:cubicBezTo>
                      <a:cubicBezTo>
                        <a:pt x="1581979" y="639089"/>
                        <a:pt x="1559487" y="627362"/>
                        <a:pt x="1552901" y="616196"/>
                      </a:cubicBezTo>
                      <a:cubicBezTo>
                        <a:pt x="1550812" y="618124"/>
                        <a:pt x="1548081" y="620775"/>
                        <a:pt x="1546073" y="622703"/>
                      </a:cubicBezTo>
                      <a:cubicBezTo>
                        <a:pt x="1547036" y="628085"/>
                        <a:pt x="1547920" y="635394"/>
                        <a:pt x="1548241" y="640857"/>
                      </a:cubicBezTo>
                      <a:cubicBezTo>
                        <a:pt x="1548000" y="640937"/>
                        <a:pt x="1547759" y="641017"/>
                        <a:pt x="1547518" y="641098"/>
                      </a:cubicBezTo>
                      <a:cubicBezTo>
                        <a:pt x="1547599" y="643829"/>
                        <a:pt x="1547679" y="647363"/>
                        <a:pt x="1547759" y="650094"/>
                      </a:cubicBezTo>
                      <a:cubicBezTo>
                        <a:pt x="1547277" y="649371"/>
                        <a:pt x="1546635" y="648488"/>
                        <a:pt x="1546153" y="647765"/>
                      </a:cubicBezTo>
                      <a:cubicBezTo>
                        <a:pt x="1540691" y="670176"/>
                        <a:pt x="1558363" y="687929"/>
                        <a:pt x="1558363" y="709216"/>
                      </a:cubicBezTo>
                      <a:cubicBezTo>
                        <a:pt x="1542779" y="715080"/>
                        <a:pt x="1539968" y="716124"/>
                        <a:pt x="1536273" y="746568"/>
                      </a:cubicBezTo>
                      <a:cubicBezTo>
                        <a:pt x="1536674" y="746809"/>
                        <a:pt x="1537236" y="747211"/>
                        <a:pt x="1537638" y="747532"/>
                      </a:cubicBezTo>
                      <a:cubicBezTo>
                        <a:pt x="1525027" y="762232"/>
                        <a:pt x="1518761" y="764883"/>
                        <a:pt x="1492976" y="766088"/>
                      </a:cubicBezTo>
                      <a:cubicBezTo>
                        <a:pt x="1492896" y="765526"/>
                        <a:pt x="1492815" y="764803"/>
                        <a:pt x="1492735" y="764240"/>
                      </a:cubicBezTo>
                      <a:cubicBezTo>
                        <a:pt x="1499241" y="729860"/>
                        <a:pt x="1513058" y="721827"/>
                        <a:pt x="1532176" y="710662"/>
                      </a:cubicBezTo>
                      <a:cubicBezTo>
                        <a:pt x="1539405" y="669935"/>
                        <a:pt x="1539405" y="669935"/>
                        <a:pt x="1512496" y="644391"/>
                      </a:cubicBezTo>
                      <a:cubicBezTo>
                        <a:pt x="1507676" y="648970"/>
                        <a:pt x="1498599" y="652504"/>
                        <a:pt x="1492012" y="652826"/>
                      </a:cubicBezTo>
                      <a:cubicBezTo>
                        <a:pt x="1491851" y="652585"/>
                        <a:pt x="1491610" y="652263"/>
                        <a:pt x="1491369" y="652022"/>
                      </a:cubicBezTo>
                      <a:lnTo>
                        <a:pt x="1486791" y="653147"/>
                      </a:lnTo>
                      <a:lnTo>
                        <a:pt x="1482614" y="656681"/>
                      </a:lnTo>
                      <a:cubicBezTo>
                        <a:pt x="1480846" y="659252"/>
                        <a:pt x="1478517" y="662706"/>
                        <a:pt x="1476750" y="665357"/>
                      </a:cubicBezTo>
                      <a:cubicBezTo>
                        <a:pt x="1470564" y="666080"/>
                        <a:pt x="1462451" y="668168"/>
                        <a:pt x="1456748" y="670739"/>
                      </a:cubicBezTo>
                      <a:cubicBezTo>
                        <a:pt x="1457471" y="675639"/>
                        <a:pt x="1459961" y="682226"/>
                        <a:pt x="1463174" y="686001"/>
                      </a:cubicBezTo>
                      <a:cubicBezTo>
                        <a:pt x="1450402" y="681583"/>
                        <a:pt x="1450402" y="681583"/>
                        <a:pt x="1426545" y="660698"/>
                      </a:cubicBezTo>
                      <a:cubicBezTo>
                        <a:pt x="1396743" y="653066"/>
                        <a:pt x="1395538" y="652745"/>
                        <a:pt x="1381481" y="639973"/>
                      </a:cubicBezTo>
                      <a:cubicBezTo>
                        <a:pt x="1381400" y="640294"/>
                        <a:pt x="1381320" y="640696"/>
                        <a:pt x="1381159" y="641017"/>
                      </a:cubicBezTo>
                      <a:lnTo>
                        <a:pt x="1378910" y="635796"/>
                      </a:lnTo>
                      <a:lnTo>
                        <a:pt x="1375938" y="633306"/>
                      </a:lnTo>
                      <a:cubicBezTo>
                        <a:pt x="1375938" y="629691"/>
                        <a:pt x="1376340" y="624631"/>
                        <a:pt x="1375135" y="621176"/>
                      </a:cubicBezTo>
                      <a:cubicBezTo>
                        <a:pt x="1381320" y="600130"/>
                        <a:pt x="1385256" y="596034"/>
                        <a:pt x="1409917" y="585189"/>
                      </a:cubicBezTo>
                      <a:cubicBezTo>
                        <a:pt x="1409435" y="585270"/>
                        <a:pt x="1408712" y="585350"/>
                        <a:pt x="1408230" y="585350"/>
                      </a:cubicBezTo>
                      <a:cubicBezTo>
                        <a:pt x="1407346" y="553058"/>
                        <a:pt x="1397305" y="550889"/>
                        <a:pt x="1341477" y="538920"/>
                      </a:cubicBezTo>
                      <a:lnTo>
                        <a:pt x="1338987" y="539402"/>
                      </a:lnTo>
                      <a:cubicBezTo>
                        <a:pt x="1340674" y="541571"/>
                        <a:pt x="1342923" y="544463"/>
                        <a:pt x="1344690" y="546632"/>
                      </a:cubicBezTo>
                      <a:cubicBezTo>
                        <a:pt x="1341638" y="547114"/>
                        <a:pt x="1337541" y="547676"/>
                        <a:pt x="1334489" y="548158"/>
                      </a:cubicBezTo>
                      <a:cubicBezTo>
                        <a:pt x="1319869" y="528799"/>
                        <a:pt x="1288943" y="542214"/>
                        <a:pt x="1276171" y="519160"/>
                      </a:cubicBezTo>
                      <a:cubicBezTo>
                        <a:pt x="1270387" y="521489"/>
                        <a:pt x="1270387" y="521489"/>
                        <a:pt x="1202992" y="506388"/>
                      </a:cubicBezTo>
                      <a:lnTo>
                        <a:pt x="1199377" y="505745"/>
                      </a:lnTo>
                      <a:cubicBezTo>
                        <a:pt x="1196566" y="503898"/>
                        <a:pt x="1192308" y="501648"/>
                        <a:pt x="1190380" y="498837"/>
                      </a:cubicBezTo>
                      <a:cubicBezTo>
                        <a:pt x="1177769" y="495302"/>
                        <a:pt x="1176484" y="494981"/>
                        <a:pt x="1163069" y="489519"/>
                      </a:cubicBezTo>
                      <a:cubicBezTo>
                        <a:pt x="1161141" y="484539"/>
                        <a:pt x="1157366" y="478353"/>
                        <a:pt x="1153831" y="474337"/>
                      </a:cubicBezTo>
                      <a:cubicBezTo>
                        <a:pt x="1152546" y="474578"/>
                        <a:pt x="1150779" y="474899"/>
                        <a:pt x="1149413" y="475140"/>
                      </a:cubicBezTo>
                      <a:cubicBezTo>
                        <a:pt x="1147325" y="474096"/>
                        <a:pt x="1147325" y="474096"/>
                        <a:pt x="1102582" y="446463"/>
                      </a:cubicBezTo>
                      <a:cubicBezTo>
                        <a:pt x="1111177" y="436904"/>
                        <a:pt x="1111177" y="436904"/>
                        <a:pt x="1130616" y="438430"/>
                      </a:cubicBezTo>
                      <a:cubicBezTo>
                        <a:pt x="1122824" y="436583"/>
                        <a:pt x="1112623" y="433450"/>
                        <a:pt x="1105072" y="430638"/>
                      </a:cubicBezTo>
                      <a:cubicBezTo>
                        <a:pt x="1110856" y="426542"/>
                        <a:pt x="1119692" y="422123"/>
                        <a:pt x="1126680" y="421079"/>
                      </a:cubicBezTo>
                      <a:cubicBezTo>
                        <a:pt x="1111579" y="420035"/>
                        <a:pt x="1108446" y="420597"/>
                        <a:pt x="1095513" y="422927"/>
                      </a:cubicBezTo>
                      <a:cubicBezTo>
                        <a:pt x="1114149" y="411119"/>
                        <a:pt x="1114631" y="409351"/>
                        <a:pt x="1118406" y="395615"/>
                      </a:cubicBezTo>
                      <a:cubicBezTo>
                        <a:pt x="1109490" y="380032"/>
                        <a:pt x="1109490" y="380032"/>
                        <a:pt x="1063944" y="365974"/>
                      </a:cubicBezTo>
                      <a:cubicBezTo>
                        <a:pt x="1086034" y="358664"/>
                        <a:pt x="1109892" y="366376"/>
                        <a:pt x="1131821" y="357942"/>
                      </a:cubicBezTo>
                      <a:cubicBezTo>
                        <a:pt x="1116559" y="343081"/>
                        <a:pt x="1116559" y="343081"/>
                        <a:pt x="1055510" y="327417"/>
                      </a:cubicBezTo>
                      <a:cubicBezTo>
                        <a:pt x="1055751" y="330148"/>
                        <a:pt x="1056152" y="333683"/>
                        <a:pt x="1056474" y="336414"/>
                      </a:cubicBezTo>
                      <a:cubicBezTo>
                        <a:pt x="1061374" y="338582"/>
                        <a:pt x="1067960" y="341555"/>
                        <a:pt x="1072700" y="343965"/>
                      </a:cubicBezTo>
                      <a:cubicBezTo>
                        <a:pt x="1069888" y="343965"/>
                        <a:pt x="1066193" y="343884"/>
                        <a:pt x="1063462" y="343884"/>
                      </a:cubicBezTo>
                      <a:cubicBezTo>
                        <a:pt x="1066434" y="345009"/>
                        <a:pt x="1070370" y="346455"/>
                        <a:pt x="1073342" y="347579"/>
                      </a:cubicBezTo>
                      <a:cubicBezTo>
                        <a:pt x="1008116" y="341314"/>
                        <a:pt x="1008116" y="341314"/>
                        <a:pt x="1002011" y="351274"/>
                      </a:cubicBezTo>
                      <a:cubicBezTo>
                        <a:pt x="1004983" y="351837"/>
                        <a:pt x="1009000" y="352640"/>
                        <a:pt x="1012052" y="353283"/>
                      </a:cubicBezTo>
                      <a:cubicBezTo>
                        <a:pt x="1007152" y="357781"/>
                        <a:pt x="1007152" y="357781"/>
                        <a:pt x="986267" y="364127"/>
                      </a:cubicBezTo>
                      <a:cubicBezTo>
                        <a:pt x="988355" y="365814"/>
                        <a:pt x="991247" y="368143"/>
                        <a:pt x="993336" y="369830"/>
                      </a:cubicBezTo>
                      <a:cubicBezTo>
                        <a:pt x="993978" y="378024"/>
                        <a:pt x="999923" y="384289"/>
                        <a:pt x="1001529" y="392081"/>
                      </a:cubicBezTo>
                      <a:lnTo>
                        <a:pt x="1000967" y="392723"/>
                      </a:lnTo>
                      <a:cubicBezTo>
                        <a:pt x="958795" y="394410"/>
                        <a:pt x="952449" y="389430"/>
                        <a:pt x="940882" y="380514"/>
                      </a:cubicBezTo>
                      <a:cubicBezTo>
                        <a:pt x="944978" y="366456"/>
                        <a:pt x="949236" y="358423"/>
                        <a:pt x="964418" y="344928"/>
                      </a:cubicBezTo>
                      <a:cubicBezTo>
                        <a:pt x="688571" y="245482"/>
                        <a:pt x="688571" y="245482"/>
                        <a:pt x="679816" y="216886"/>
                      </a:cubicBezTo>
                      <a:cubicBezTo>
                        <a:pt x="692749" y="196241"/>
                        <a:pt x="717329" y="214235"/>
                        <a:pt x="732511" y="201061"/>
                      </a:cubicBezTo>
                      <a:cubicBezTo>
                        <a:pt x="733957" y="201784"/>
                        <a:pt x="735965" y="202668"/>
                        <a:pt x="737411" y="203310"/>
                      </a:cubicBezTo>
                      <a:lnTo>
                        <a:pt x="736045" y="192627"/>
                      </a:lnTo>
                      <a:cubicBezTo>
                        <a:pt x="672426" y="138244"/>
                        <a:pt x="508074" y="167725"/>
                        <a:pt x="506950" y="168448"/>
                      </a:cubicBezTo>
                      <a:cubicBezTo>
                        <a:pt x="500845" y="169171"/>
                        <a:pt x="492732" y="170777"/>
                        <a:pt x="486868" y="172625"/>
                      </a:cubicBezTo>
                      <a:cubicBezTo>
                        <a:pt x="489519" y="173268"/>
                        <a:pt x="492973" y="174071"/>
                        <a:pt x="495543" y="174713"/>
                      </a:cubicBezTo>
                      <a:cubicBezTo>
                        <a:pt x="482450" y="177685"/>
                        <a:pt x="472971" y="179854"/>
                        <a:pt x="440920" y="183550"/>
                      </a:cubicBezTo>
                      <a:cubicBezTo>
                        <a:pt x="432325" y="167644"/>
                        <a:pt x="425337" y="160415"/>
                        <a:pt x="359066" y="170536"/>
                      </a:cubicBezTo>
                      <a:cubicBezTo>
                        <a:pt x="360994" y="172866"/>
                        <a:pt x="363645" y="175918"/>
                        <a:pt x="365573" y="178248"/>
                      </a:cubicBezTo>
                      <a:cubicBezTo>
                        <a:pt x="340189" y="182344"/>
                        <a:pt x="314725" y="176481"/>
                        <a:pt x="289341" y="179292"/>
                      </a:cubicBezTo>
                      <a:cubicBezTo>
                        <a:pt x="466465" y="194233"/>
                        <a:pt x="428871" y="258656"/>
                        <a:pt x="416501" y="279863"/>
                      </a:cubicBezTo>
                      <a:cubicBezTo>
                        <a:pt x="398507" y="277051"/>
                        <a:pt x="396258" y="276730"/>
                        <a:pt x="320830" y="242430"/>
                      </a:cubicBezTo>
                      <a:cubicBezTo>
                        <a:pt x="313279" y="239458"/>
                        <a:pt x="313279" y="239458"/>
                        <a:pt x="313279" y="239458"/>
                      </a:cubicBezTo>
                      <a:lnTo>
                        <a:pt x="313279" y="239458"/>
                      </a:lnTo>
                      <a:lnTo>
                        <a:pt x="313279" y="239458"/>
                      </a:lnTo>
                      <a:lnTo>
                        <a:pt x="313279" y="239458"/>
                      </a:lnTo>
                      <a:lnTo>
                        <a:pt x="313279" y="239458"/>
                      </a:lnTo>
                      <a:lnTo>
                        <a:pt x="313279" y="239458"/>
                      </a:lnTo>
                      <a:cubicBezTo>
                        <a:pt x="313279" y="239458"/>
                        <a:pt x="313279" y="239458"/>
                        <a:pt x="313279" y="239458"/>
                      </a:cubicBezTo>
                      <a:lnTo>
                        <a:pt x="313279" y="239458"/>
                      </a:lnTo>
                      <a:cubicBezTo>
                        <a:pt x="316171" y="234397"/>
                        <a:pt x="320669" y="228051"/>
                        <a:pt x="324284" y="223553"/>
                      </a:cubicBezTo>
                      <a:cubicBezTo>
                        <a:pt x="324204" y="223392"/>
                        <a:pt x="324043" y="223151"/>
                        <a:pt x="323882" y="222910"/>
                      </a:cubicBezTo>
                      <a:cubicBezTo>
                        <a:pt x="324525" y="220259"/>
                        <a:pt x="325409" y="216725"/>
                        <a:pt x="326051" y="214074"/>
                      </a:cubicBezTo>
                      <a:cubicBezTo>
                        <a:pt x="319946" y="211744"/>
                        <a:pt x="312155" y="207246"/>
                        <a:pt x="307415" y="202748"/>
                      </a:cubicBezTo>
                      <a:cubicBezTo>
                        <a:pt x="240341" y="219697"/>
                        <a:pt x="167645" y="199535"/>
                        <a:pt x="103061" y="233273"/>
                      </a:cubicBezTo>
                      <a:cubicBezTo>
                        <a:pt x="103221" y="230461"/>
                        <a:pt x="103382" y="226766"/>
                        <a:pt x="103543" y="224035"/>
                      </a:cubicBezTo>
                      <a:cubicBezTo>
                        <a:pt x="138646" y="197848"/>
                        <a:pt x="138646" y="197848"/>
                        <a:pt x="151258" y="194394"/>
                      </a:cubicBezTo>
                      <a:cubicBezTo>
                        <a:pt x="136156" y="194635"/>
                        <a:pt x="122581" y="202426"/>
                        <a:pt x="107559" y="202909"/>
                      </a:cubicBezTo>
                      <a:cubicBezTo>
                        <a:pt x="108764" y="199374"/>
                        <a:pt x="110371" y="194715"/>
                        <a:pt x="111576" y="191261"/>
                      </a:cubicBezTo>
                      <a:cubicBezTo>
                        <a:pt x="108362" y="192305"/>
                        <a:pt x="103302" y="193510"/>
                        <a:pt x="101454" y="196322"/>
                      </a:cubicBezTo>
                      <a:cubicBezTo>
                        <a:pt x="78239" y="210540"/>
                        <a:pt x="78239" y="210540"/>
                        <a:pt x="14379" y="245322"/>
                      </a:cubicBezTo>
                      <a:cubicBezTo>
                        <a:pt x="16708" y="243233"/>
                        <a:pt x="19841" y="240422"/>
                        <a:pt x="22251" y="238253"/>
                      </a:cubicBezTo>
                      <a:cubicBezTo>
                        <a:pt x="21769" y="236646"/>
                        <a:pt x="21207" y="234397"/>
                        <a:pt x="20725" y="232791"/>
                      </a:cubicBezTo>
                      <a:cubicBezTo>
                        <a:pt x="14780" y="234638"/>
                        <a:pt x="6587" y="236486"/>
                        <a:pt x="402" y="237289"/>
                      </a:cubicBezTo>
                      <a:cubicBezTo>
                        <a:pt x="241" y="237450"/>
                        <a:pt x="80" y="237450"/>
                        <a:pt x="0" y="237450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9" name="Freeform: Shape 418">
                  <a:extLst>
                    <a:ext uri="{FF2B5EF4-FFF2-40B4-BE49-F238E27FC236}">
                      <a16:creationId xmlns:a16="http://schemas.microsoft.com/office/drawing/2014/main" id="{AEC2C243-C7AF-8978-950E-412370024AA9}"/>
                    </a:ext>
                  </a:extLst>
                </p:cNvPr>
                <p:cNvSpPr/>
                <p:nvPr/>
              </p:nvSpPr>
              <p:spPr>
                <a:xfrm>
                  <a:off x="-5146648" y="1949857"/>
                  <a:ext cx="1485988" cy="485261"/>
                </a:xfrm>
                <a:custGeom>
                  <a:avLst/>
                  <a:gdLst>
                    <a:gd name="connsiteX0" fmla="*/ 1452330 w 1485988"/>
                    <a:gd name="connsiteY0" fmla="*/ 456504 h 485261"/>
                    <a:gd name="connsiteX1" fmla="*/ 1453615 w 1485988"/>
                    <a:gd name="connsiteY1" fmla="*/ 454014 h 485261"/>
                    <a:gd name="connsiteX2" fmla="*/ 1485987 w 1485988"/>
                    <a:gd name="connsiteY2" fmla="*/ 472248 h 485261"/>
                    <a:gd name="connsiteX3" fmla="*/ 1482613 w 1485988"/>
                    <a:gd name="connsiteY3" fmla="*/ 479719 h 485261"/>
                    <a:gd name="connsiteX4" fmla="*/ 1476589 w 1485988"/>
                    <a:gd name="connsiteY4" fmla="*/ 485261 h 485261"/>
                    <a:gd name="connsiteX5" fmla="*/ 1452330 w 1485988"/>
                    <a:gd name="connsiteY5" fmla="*/ 456504 h 485261"/>
                    <a:gd name="connsiteX6" fmla="*/ 1237934 w 1485988"/>
                    <a:gd name="connsiteY6" fmla="*/ 376899 h 485261"/>
                    <a:gd name="connsiteX7" fmla="*/ 1236087 w 1485988"/>
                    <a:gd name="connsiteY7" fmla="*/ 372561 h 485261"/>
                    <a:gd name="connsiteX8" fmla="*/ 1242593 w 1485988"/>
                    <a:gd name="connsiteY8" fmla="*/ 371999 h 485261"/>
                    <a:gd name="connsiteX9" fmla="*/ 1255205 w 1485988"/>
                    <a:gd name="connsiteY9" fmla="*/ 366215 h 485261"/>
                    <a:gd name="connsiteX10" fmla="*/ 1270708 w 1485988"/>
                    <a:gd name="connsiteY10" fmla="*/ 369107 h 485261"/>
                    <a:gd name="connsiteX11" fmla="*/ 1278098 w 1485988"/>
                    <a:gd name="connsiteY11" fmla="*/ 369669 h 485261"/>
                    <a:gd name="connsiteX12" fmla="*/ 1272716 w 1485988"/>
                    <a:gd name="connsiteY12" fmla="*/ 375051 h 485261"/>
                    <a:gd name="connsiteX13" fmla="*/ 1277777 w 1485988"/>
                    <a:gd name="connsiteY13" fmla="*/ 372642 h 485261"/>
                    <a:gd name="connsiteX14" fmla="*/ 1277777 w 1485988"/>
                    <a:gd name="connsiteY14" fmla="*/ 377702 h 485261"/>
                    <a:gd name="connsiteX15" fmla="*/ 1264041 w 1485988"/>
                    <a:gd name="connsiteY15" fmla="*/ 377461 h 485261"/>
                    <a:gd name="connsiteX16" fmla="*/ 1261551 w 1485988"/>
                    <a:gd name="connsiteY16" fmla="*/ 377943 h 485261"/>
                    <a:gd name="connsiteX17" fmla="*/ 1274644 w 1485988"/>
                    <a:gd name="connsiteY17" fmla="*/ 389992 h 485261"/>
                    <a:gd name="connsiteX18" fmla="*/ 1263800 w 1485988"/>
                    <a:gd name="connsiteY18" fmla="*/ 391599 h 485261"/>
                    <a:gd name="connsiteX19" fmla="*/ 1265969 w 1485988"/>
                    <a:gd name="connsiteY19" fmla="*/ 394491 h 485261"/>
                    <a:gd name="connsiteX20" fmla="*/ 1237934 w 1485988"/>
                    <a:gd name="connsiteY20" fmla="*/ 376899 h 485261"/>
                    <a:gd name="connsiteX21" fmla="*/ 1149975 w 1485988"/>
                    <a:gd name="connsiteY21" fmla="*/ 355773 h 485261"/>
                    <a:gd name="connsiteX22" fmla="*/ 1156321 w 1485988"/>
                    <a:gd name="connsiteY22" fmla="*/ 359468 h 485261"/>
                    <a:gd name="connsiteX23" fmla="*/ 1156080 w 1485988"/>
                    <a:gd name="connsiteY23" fmla="*/ 358584 h 485261"/>
                    <a:gd name="connsiteX24" fmla="*/ 1149975 w 1485988"/>
                    <a:gd name="connsiteY24" fmla="*/ 355773 h 485261"/>
                    <a:gd name="connsiteX25" fmla="*/ 1149975 w 1485988"/>
                    <a:gd name="connsiteY25" fmla="*/ 355773 h 485261"/>
                    <a:gd name="connsiteX26" fmla="*/ 1038962 w 1485988"/>
                    <a:gd name="connsiteY26" fmla="*/ 325087 h 485261"/>
                    <a:gd name="connsiteX27" fmla="*/ 1034705 w 1485988"/>
                    <a:gd name="connsiteY27" fmla="*/ 302596 h 485261"/>
                    <a:gd name="connsiteX28" fmla="*/ 1042095 w 1485988"/>
                    <a:gd name="connsiteY28" fmla="*/ 300989 h 485261"/>
                    <a:gd name="connsiteX29" fmla="*/ 1045870 w 1485988"/>
                    <a:gd name="connsiteY29" fmla="*/ 301872 h 485261"/>
                    <a:gd name="connsiteX30" fmla="*/ 1050610 w 1485988"/>
                    <a:gd name="connsiteY30" fmla="*/ 305568 h 485261"/>
                    <a:gd name="connsiteX31" fmla="*/ 1150939 w 1485988"/>
                    <a:gd name="connsiteY31" fmla="*/ 349828 h 485261"/>
                    <a:gd name="connsiteX32" fmla="*/ 1227893 w 1485988"/>
                    <a:gd name="connsiteY32" fmla="*/ 355210 h 485261"/>
                    <a:gd name="connsiteX33" fmla="*/ 1251992 w 1485988"/>
                    <a:gd name="connsiteY33" fmla="*/ 364287 h 485261"/>
                    <a:gd name="connsiteX34" fmla="*/ 1214238 w 1485988"/>
                    <a:gd name="connsiteY34" fmla="*/ 366697 h 485261"/>
                    <a:gd name="connsiteX35" fmla="*/ 1233516 w 1485988"/>
                    <a:gd name="connsiteY35" fmla="*/ 371838 h 485261"/>
                    <a:gd name="connsiteX36" fmla="*/ 1226126 w 1485988"/>
                    <a:gd name="connsiteY36" fmla="*/ 371356 h 485261"/>
                    <a:gd name="connsiteX37" fmla="*/ 1226287 w 1485988"/>
                    <a:gd name="connsiteY37" fmla="*/ 376738 h 485261"/>
                    <a:gd name="connsiteX38" fmla="*/ 1222351 w 1485988"/>
                    <a:gd name="connsiteY38" fmla="*/ 377140 h 485261"/>
                    <a:gd name="connsiteX39" fmla="*/ 1224118 w 1485988"/>
                    <a:gd name="connsiteY39" fmla="*/ 378505 h 485261"/>
                    <a:gd name="connsiteX40" fmla="*/ 1193834 w 1485988"/>
                    <a:gd name="connsiteY40" fmla="*/ 375292 h 485261"/>
                    <a:gd name="connsiteX41" fmla="*/ 1181705 w 1485988"/>
                    <a:gd name="connsiteY41" fmla="*/ 370071 h 485261"/>
                    <a:gd name="connsiteX42" fmla="*/ 1182749 w 1485988"/>
                    <a:gd name="connsiteY42" fmla="*/ 367501 h 485261"/>
                    <a:gd name="connsiteX43" fmla="*/ 1137685 w 1485988"/>
                    <a:gd name="connsiteY43" fmla="*/ 360592 h 485261"/>
                    <a:gd name="connsiteX44" fmla="*/ 1134633 w 1485988"/>
                    <a:gd name="connsiteY44" fmla="*/ 363484 h 485261"/>
                    <a:gd name="connsiteX45" fmla="*/ 1135034 w 1485988"/>
                    <a:gd name="connsiteY45" fmla="*/ 364769 h 485261"/>
                    <a:gd name="connsiteX46" fmla="*/ 1114711 w 1485988"/>
                    <a:gd name="connsiteY46" fmla="*/ 367260 h 485261"/>
                    <a:gd name="connsiteX47" fmla="*/ 1100975 w 1485988"/>
                    <a:gd name="connsiteY47" fmla="*/ 363806 h 485261"/>
                    <a:gd name="connsiteX48" fmla="*/ 1101377 w 1485988"/>
                    <a:gd name="connsiteY48" fmla="*/ 366376 h 485261"/>
                    <a:gd name="connsiteX49" fmla="*/ 1083062 w 1485988"/>
                    <a:gd name="connsiteY49" fmla="*/ 362359 h 485261"/>
                    <a:gd name="connsiteX50" fmla="*/ 1038962 w 1485988"/>
                    <a:gd name="connsiteY50" fmla="*/ 325087 h 485261"/>
                    <a:gd name="connsiteX51" fmla="*/ 959357 w 1485988"/>
                    <a:gd name="connsiteY51" fmla="*/ 291430 h 485261"/>
                    <a:gd name="connsiteX52" fmla="*/ 949798 w 1485988"/>
                    <a:gd name="connsiteY52" fmla="*/ 291430 h 485261"/>
                    <a:gd name="connsiteX53" fmla="*/ 969800 w 1485988"/>
                    <a:gd name="connsiteY53" fmla="*/ 280827 h 485261"/>
                    <a:gd name="connsiteX54" fmla="*/ 1013980 w 1485988"/>
                    <a:gd name="connsiteY54" fmla="*/ 260504 h 485261"/>
                    <a:gd name="connsiteX55" fmla="*/ 1019201 w 1485988"/>
                    <a:gd name="connsiteY55" fmla="*/ 261066 h 485261"/>
                    <a:gd name="connsiteX56" fmla="*/ 1039123 w 1485988"/>
                    <a:gd name="connsiteY56" fmla="*/ 280184 h 485261"/>
                    <a:gd name="connsiteX57" fmla="*/ 1039042 w 1485988"/>
                    <a:gd name="connsiteY57" fmla="*/ 297776 h 485261"/>
                    <a:gd name="connsiteX58" fmla="*/ 959357 w 1485988"/>
                    <a:gd name="connsiteY58" fmla="*/ 291430 h 485261"/>
                    <a:gd name="connsiteX59" fmla="*/ 958634 w 1485988"/>
                    <a:gd name="connsiteY59" fmla="*/ 232550 h 485261"/>
                    <a:gd name="connsiteX60" fmla="*/ 956305 w 1485988"/>
                    <a:gd name="connsiteY60" fmla="*/ 233112 h 485261"/>
                    <a:gd name="connsiteX61" fmla="*/ 972932 w 1485988"/>
                    <a:gd name="connsiteY61" fmla="*/ 167404 h 485261"/>
                    <a:gd name="connsiteX62" fmla="*/ 973254 w 1485988"/>
                    <a:gd name="connsiteY62" fmla="*/ 167725 h 485261"/>
                    <a:gd name="connsiteX63" fmla="*/ 979037 w 1485988"/>
                    <a:gd name="connsiteY63" fmla="*/ 168207 h 485261"/>
                    <a:gd name="connsiteX64" fmla="*/ 976146 w 1485988"/>
                    <a:gd name="connsiteY64" fmla="*/ 174553 h 485261"/>
                    <a:gd name="connsiteX65" fmla="*/ 975423 w 1485988"/>
                    <a:gd name="connsiteY65" fmla="*/ 174713 h 485261"/>
                    <a:gd name="connsiteX66" fmla="*/ 993014 w 1485988"/>
                    <a:gd name="connsiteY66" fmla="*/ 183068 h 485261"/>
                    <a:gd name="connsiteX67" fmla="*/ 998316 w 1485988"/>
                    <a:gd name="connsiteY67" fmla="*/ 193269 h 485261"/>
                    <a:gd name="connsiteX68" fmla="*/ 1010446 w 1485988"/>
                    <a:gd name="connsiteY68" fmla="*/ 256407 h 485261"/>
                    <a:gd name="connsiteX69" fmla="*/ 986106 w 1485988"/>
                    <a:gd name="connsiteY69" fmla="*/ 258013 h 485261"/>
                    <a:gd name="connsiteX70" fmla="*/ 958634 w 1485988"/>
                    <a:gd name="connsiteY70" fmla="*/ 232550 h 485261"/>
                    <a:gd name="connsiteX71" fmla="*/ 58639 w 1485988"/>
                    <a:gd name="connsiteY71" fmla="*/ 403970 h 485261"/>
                    <a:gd name="connsiteX72" fmla="*/ 58639 w 1485988"/>
                    <a:gd name="connsiteY72" fmla="*/ 403970 h 485261"/>
                    <a:gd name="connsiteX73" fmla="*/ 61290 w 1485988"/>
                    <a:gd name="connsiteY73" fmla="*/ 401158 h 485261"/>
                    <a:gd name="connsiteX74" fmla="*/ 62013 w 1485988"/>
                    <a:gd name="connsiteY74" fmla="*/ 400756 h 485261"/>
                    <a:gd name="connsiteX75" fmla="*/ 58720 w 1485988"/>
                    <a:gd name="connsiteY75" fmla="*/ 404130 h 485261"/>
                    <a:gd name="connsiteX76" fmla="*/ 58639 w 1485988"/>
                    <a:gd name="connsiteY76" fmla="*/ 403970 h 485261"/>
                    <a:gd name="connsiteX77" fmla="*/ 229658 w 1485988"/>
                    <a:gd name="connsiteY77" fmla="*/ 240502 h 485261"/>
                    <a:gd name="connsiteX78" fmla="*/ 229658 w 1485988"/>
                    <a:gd name="connsiteY78" fmla="*/ 240502 h 485261"/>
                    <a:gd name="connsiteX79" fmla="*/ 230140 w 1485988"/>
                    <a:gd name="connsiteY79" fmla="*/ 240181 h 485261"/>
                    <a:gd name="connsiteX80" fmla="*/ 230140 w 1485988"/>
                    <a:gd name="connsiteY80" fmla="*/ 240181 h 485261"/>
                    <a:gd name="connsiteX81" fmla="*/ 229658 w 1485988"/>
                    <a:gd name="connsiteY81" fmla="*/ 240502 h 485261"/>
                    <a:gd name="connsiteX82" fmla="*/ 441322 w 1485988"/>
                    <a:gd name="connsiteY82" fmla="*/ 130372 h 485261"/>
                    <a:gd name="connsiteX83" fmla="*/ 441161 w 1485988"/>
                    <a:gd name="connsiteY83" fmla="*/ 130453 h 485261"/>
                    <a:gd name="connsiteX84" fmla="*/ 446865 w 1485988"/>
                    <a:gd name="connsiteY84" fmla="*/ 127400 h 485261"/>
                    <a:gd name="connsiteX85" fmla="*/ 446704 w 1485988"/>
                    <a:gd name="connsiteY85" fmla="*/ 127480 h 485261"/>
                    <a:gd name="connsiteX86" fmla="*/ 441322 w 1485988"/>
                    <a:gd name="connsiteY86" fmla="*/ 130372 h 485261"/>
                    <a:gd name="connsiteX87" fmla="*/ 77436 w 1485988"/>
                    <a:gd name="connsiteY87" fmla="*/ 408147 h 485261"/>
                    <a:gd name="connsiteX88" fmla="*/ 77677 w 1485988"/>
                    <a:gd name="connsiteY88" fmla="*/ 408227 h 485261"/>
                    <a:gd name="connsiteX89" fmla="*/ 77436 w 1485988"/>
                    <a:gd name="connsiteY89" fmla="*/ 408147 h 485261"/>
                    <a:gd name="connsiteX90" fmla="*/ 73420 w 1485988"/>
                    <a:gd name="connsiteY90" fmla="*/ 409914 h 485261"/>
                    <a:gd name="connsiteX91" fmla="*/ 73179 w 1485988"/>
                    <a:gd name="connsiteY91" fmla="*/ 411520 h 485261"/>
                    <a:gd name="connsiteX92" fmla="*/ 81212 w 1485988"/>
                    <a:gd name="connsiteY92" fmla="*/ 402202 h 485261"/>
                    <a:gd name="connsiteX93" fmla="*/ 73420 w 1485988"/>
                    <a:gd name="connsiteY93" fmla="*/ 409914 h 485261"/>
                    <a:gd name="connsiteX94" fmla="*/ 77035 w 1485988"/>
                    <a:gd name="connsiteY94" fmla="*/ 400515 h 485261"/>
                    <a:gd name="connsiteX95" fmla="*/ 77838 w 1485988"/>
                    <a:gd name="connsiteY95" fmla="*/ 400274 h 485261"/>
                    <a:gd name="connsiteX96" fmla="*/ 75910 w 1485988"/>
                    <a:gd name="connsiteY96" fmla="*/ 402282 h 485261"/>
                    <a:gd name="connsiteX97" fmla="*/ 84987 w 1485988"/>
                    <a:gd name="connsiteY97" fmla="*/ 394651 h 485261"/>
                    <a:gd name="connsiteX98" fmla="*/ 84585 w 1485988"/>
                    <a:gd name="connsiteY98" fmla="*/ 394812 h 485261"/>
                    <a:gd name="connsiteX99" fmla="*/ 76874 w 1485988"/>
                    <a:gd name="connsiteY99" fmla="*/ 400676 h 485261"/>
                    <a:gd name="connsiteX100" fmla="*/ 77035 w 1485988"/>
                    <a:gd name="connsiteY100" fmla="*/ 400515 h 485261"/>
                    <a:gd name="connsiteX101" fmla="*/ 110531 w 1485988"/>
                    <a:gd name="connsiteY101" fmla="*/ 373365 h 485261"/>
                    <a:gd name="connsiteX102" fmla="*/ 110371 w 1485988"/>
                    <a:gd name="connsiteY102" fmla="*/ 373766 h 485261"/>
                    <a:gd name="connsiteX103" fmla="*/ 113584 w 1485988"/>
                    <a:gd name="connsiteY103" fmla="*/ 370232 h 485261"/>
                    <a:gd name="connsiteX104" fmla="*/ 110531 w 1485988"/>
                    <a:gd name="connsiteY104" fmla="*/ 373365 h 485261"/>
                    <a:gd name="connsiteX105" fmla="*/ 110692 w 1485988"/>
                    <a:gd name="connsiteY105" fmla="*/ 371276 h 485261"/>
                    <a:gd name="connsiteX106" fmla="*/ 117199 w 1485988"/>
                    <a:gd name="connsiteY106" fmla="*/ 365251 h 485261"/>
                    <a:gd name="connsiteX107" fmla="*/ 112539 w 1485988"/>
                    <a:gd name="connsiteY107" fmla="*/ 368705 h 485261"/>
                    <a:gd name="connsiteX108" fmla="*/ 113182 w 1485988"/>
                    <a:gd name="connsiteY108" fmla="*/ 368946 h 485261"/>
                    <a:gd name="connsiteX109" fmla="*/ 110290 w 1485988"/>
                    <a:gd name="connsiteY109" fmla="*/ 371678 h 485261"/>
                    <a:gd name="connsiteX110" fmla="*/ 110692 w 1485988"/>
                    <a:gd name="connsiteY110" fmla="*/ 371276 h 485261"/>
                    <a:gd name="connsiteX111" fmla="*/ 76954 w 1485988"/>
                    <a:gd name="connsiteY111" fmla="*/ 392322 h 485261"/>
                    <a:gd name="connsiteX112" fmla="*/ 82738 w 1485988"/>
                    <a:gd name="connsiteY112" fmla="*/ 390394 h 485261"/>
                    <a:gd name="connsiteX113" fmla="*/ 88762 w 1485988"/>
                    <a:gd name="connsiteY113" fmla="*/ 385253 h 485261"/>
                    <a:gd name="connsiteX114" fmla="*/ 76794 w 1485988"/>
                    <a:gd name="connsiteY114" fmla="*/ 392241 h 485261"/>
                    <a:gd name="connsiteX115" fmla="*/ 76954 w 1485988"/>
                    <a:gd name="connsiteY115" fmla="*/ 392322 h 485261"/>
                    <a:gd name="connsiteX116" fmla="*/ 112459 w 1485988"/>
                    <a:gd name="connsiteY116" fmla="*/ 365894 h 485261"/>
                    <a:gd name="connsiteX117" fmla="*/ 115913 w 1485988"/>
                    <a:gd name="connsiteY117" fmla="*/ 363806 h 485261"/>
                    <a:gd name="connsiteX118" fmla="*/ 120171 w 1485988"/>
                    <a:gd name="connsiteY118" fmla="*/ 360833 h 485261"/>
                    <a:gd name="connsiteX119" fmla="*/ 115994 w 1485988"/>
                    <a:gd name="connsiteY119" fmla="*/ 363002 h 485261"/>
                    <a:gd name="connsiteX120" fmla="*/ 115753 w 1485988"/>
                    <a:gd name="connsiteY120" fmla="*/ 363083 h 485261"/>
                    <a:gd name="connsiteX121" fmla="*/ 112299 w 1485988"/>
                    <a:gd name="connsiteY121" fmla="*/ 365974 h 485261"/>
                    <a:gd name="connsiteX122" fmla="*/ 112459 w 1485988"/>
                    <a:gd name="connsiteY122" fmla="*/ 365894 h 485261"/>
                    <a:gd name="connsiteX123" fmla="*/ 119689 w 1485988"/>
                    <a:gd name="connsiteY123" fmla="*/ 359066 h 485261"/>
                    <a:gd name="connsiteX124" fmla="*/ 122821 w 1485988"/>
                    <a:gd name="connsiteY124" fmla="*/ 357058 h 485261"/>
                    <a:gd name="connsiteX125" fmla="*/ 122821 w 1485988"/>
                    <a:gd name="connsiteY125" fmla="*/ 356817 h 485261"/>
                    <a:gd name="connsiteX126" fmla="*/ 121054 w 1485988"/>
                    <a:gd name="connsiteY126" fmla="*/ 357460 h 485261"/>
                    <a:gd name="connsiteX127" fmla="*/ 119528 w 1485988"/>
                    <a:gd name="connsiteY127" fmla="*/ 359227 h 485261"/>
                    <a:gd name="connsiteX128" fmla="*/ 119689 w 1485988"/>
                    <a:gd name="connsiteY128" fmla="*/ 359066 h 485261"/>
                    <a:gd name="connsiteX129" fmla="*/ 164833 w 1485988"/>
                    <a:gd name="connsiteY129" fmla="*/ 330068 h 485261"/>
                    <a:gd name="connsiteX130" fmla="*/ 165074 w 1485988"/>
                    <a:gd name="connsiteY130" fmla="*/ 331995 h 485261"/>
                    <a:gd name="connsiteX131" fmla="*/ 168689 w 1485988"/>
                    <a:gd name="connsiteY131" fmla="*/ 329023 h 485261"/>
                    <a:gd name="connsiteX132" fmla="*/ 169090 w 1485988"/>
                    <a:gd name="connsiteY132" fmla="*/ 328622 h 485261"/>
                    <a:gd name="connsiteX133" fmla="*/ 167564 w 1485988"/>
                    <a:gd name="connsiteY133" fmla="*/ 329023 h 485261"/>
                    <a:gd name="connsiteX134" fmla="*/ 168769 w 1485988"/>
                    <a:gd name="connsiteY134" fmla="*/ 327979 h 485261"/>
                    <a:gd name="connsiteX135" fmla="*/ 164431 w 1485988"/>
                    <a:gd name="connsiteY135" fmla="*/ 330148 h 485261"/>
                    <a:gd name="connsiteX136" fmla="*/ 164833 w 1485988"/>
                    <a:gd name="connsiteY136" fmla="*/ 330068 h 485261"/>
                    <a:gd name="connsiteX137" fmla="*/ 81613 w 1485988"/>
                    <a:gd name="connsiteY137" fmla="*/ 383807 h 485261"/>
                    <a:gd name="connsiteX138" fmla="*/ 85228 w 1485988"/>
                    <a:gd name="connsiteY138" fmla="*/ 383888 h 485261"/>
                    <a:gd name="connsiteX139" fmla="*/ 86112 w 1485988"/>
                    <a:gd name="connsiteY139" fmla="*/ 382763 h 485261"/>
                    <a:gd name="connsiteX140" fmla="*/ 86031 w 1485988"/>
                    <a:gd name="connsiteY140" fmla="*/ 382683 h 485261"/>
                    <a:gd name="connsiteX141" fmla="*/ 85951 w 1485988"/>
                    <a:gd name="connsiteY141" fmla="*/ 382683 h 485261"/>
                    <a:gd name="connsiteX142" fmla="*/ 85790 w 1485988"/>
                    <a:gd name="connsiteY142" fmla="*/ 382683 h 485261"/>
                    <a:gd name="connsiteX143" fmla="*/ 85630 w 1485988"/>
                    <a:gd name="connsiteY143" fmla="*/ 382602 h 485261"/>
                    <a:gd name="connsiteX144" fmla="*/ 84103 w 1485988"/>
                    <a:gd name="connsiteY144" fmla="*/ 382602 h 485261"/>
                    <a:gd name="connsiteX145" fmla="*/ 81453 w 1485988"/>
                    <a:gd name="connsiteY145" fmla="*/ 383807 h 485261"/>
                    <a:gd name="connsiteX146" fmla="*/ 81613 w 1485988"/>
                    <a:gd name="connsiteY146" fmla="*/ 383807 h 485261"/>
                    <a:gd name="connsiteX147" fmla="*/ 156881 w 1485988"/>
                    <a:gd name="connsiteY147" fmla="*/ 330791 h 485261"/>
                    <a:gd name="connsiteX148" fmla="*/ 156881 w 1485988"/>
                    <a:gd name="connsiteY148" fmla="*/ 330791 h 485261"/>
                    <a:gd name="connsiteX149" fmla="*/ 159612 w 1485988"/>
                    <a:gd name="connsiteY149" fmla="*/ 327819 h 485261"/>
                    <a:gd name="connsiteX150" fmla="*/ 156881 w 1485988"/>
                    <a:gd name="connsiteY150" fmla="*/ 330791 h 485261"/>
                    <a:gd name="connsiteX151" fmla="*/ 163708 w 1485988"/>
                    <a:gd name="connsiteY151" fmla="*/ 324686 h 485261"/>
                    <a:gd name="connsiteX152" fmla="*/ 164753 w 1485988"/>
                    <a:gd name="connsiteY152" fmla="*/ 324364 h 485261"/>
                    <a:gd name="connsiteX153" fmla="*/ 166761 w 1485988"/>
                    <a:gd name="connsiteY153" fmla="*/ 322838 h 485261"/>
                    <a:gd name="connsiteX154" fmla="*/ 163708 w 1485988"/>
                    <a:gd name="connsiteY154" fmla="*/ 324686 h 485261"/>
                    <a:gd name="connsiteX155" fmla="*/ 163708 w 1485988"/>
                    <a:gd name="connsiteY155" fmla="*/ 324686 h 485261"/>
                    <a:gd name="connsiteX156" fmla="*/ 173348 w 1485988"/>
                    <a:gd name="connsiteY156" fmla="*/ 317938 h 485261"/>
                    <a:gd name="connsiteX157" fmla="*/ 175436 w 1485988"/>
                    <a:gd name="connsiteY157" fmla="*/ 317617 h 485261"/>
                    <a:gd name="connsiteX158" fmla="*/ 175436 w 1485988"/>
                    <a:gd name="connsiteY158" fmla="*/ 317617 h 485261"/>
                    <a:gd name="connsiteX159" fmla="*/ 175436 w 1485988"/>
                    <a:gd name="connsiteY159" fmla="*/ 317617 h 485261"/>
                    <a:gd name="connsiteX160" fmla="*/ 174954 w 1485988"/>
                    <a:gd name="connsiteY160" fmla="*/ 317697 h 485261"/>
                    <a:gd name="connsiteX161" fmla="*/ 173107 w 1485988"/>
                    <a:gd name="connsiteY161" fmla="*/ 317938 h 485261"/>
                    <a:gd name="connsiteX162" fmla="*/ 173348 w 1485988"/>
                    <a:gd name="connsiteY162" fmla="*/ 317938 h 485261"/>
                    <a:gd name="connsiteX163" fmla="*/ 142100 w 1485988"/>
                    <a:gd name="connsiteY163" fmla="*/ 335289 h 485261"/>
                    <a:gd name="connsiteX164" fmla="*/ 143385 w 1485988"/>
                    <a:gd name="connsiteY164" fmla="*/ 334164 h 485261"/>
                    <a:gd name="connsiteX165" fmla="*/ 142984 w 1485988"/>
                    <a:gd name="connsiteY165" fmla="*/ 334405 h 485261"/>
                    <a:gd name="connsiteX166" fmla="*/ 141699 w 1485988"/>
                    <a:gd name="connsiteY166" fmla="*/ 335369 h 485261"/>
                    <a:gd name="connsiteX167" fmla="*/ 142100 w 1485988"/>
                    <a:gd name="connsiteY167" fmla="*/ 335289 h 485261"/>
                    <a:gd name="connsiteX168" fmla="*/ 177204 w 1485988"/>
                    <a:gd name="connsiteY168" fmla="*/ 313199 h 485261"/>
                    <a:gd name="connsiteX169" fmla="*/ 177043 w 1485988"/>
                    <a:gd name="connsiteY169" fmla="*/ 313601 h 485261"/>
                    <a:gd name="connsiteX170" fmla="*/ 181461 w 1485988"/>
                    <a:gd name="connsiteY170" fmla="*/ 309584 h 485261"/>
                    <a:gd name="connsiteX171" fmla="*/ 177204 w 1485988"/>
                    <a:gd name="connsiteY171" fmla="*/ 313199 h 485261"/>
                    <a:gd name="connsiteX172" fmla="*/ 59282 w 1485988"/>
                    <a:gd name="connsiteY172" fmla="*/ 392804 h 485261"/>
                    <a:gd name="connsiteX173" fmla="*/ 62335 w 1485988"/>
                    <a:gd name="connsiteY173" fmla="*/ 389189 h 485261"/>
                    <a:gd name="connsiteX174" fmla="*/ 62897 w 1485988"/>
                    <a:gd name="connsiteY174" fmla="*/ 388386 h 485261"/>
                    <a:gd name="connsiteX175" fmla="*/ 59121 w 1485988"/>
                    <a:gd name="connsiteY175" fmla="*/ 392884 h 485261"/>
                    <a:gd name="connsiteX176" fmla="*/ 59282 w 1485988"/>
                    <a:gd name="connsiteY176" fmla="*/ 392804 h 485261"/>
                    <a:gd name="connsiteX177" fmla="*/ 187405 w 1485988"/>
                    <a:gd name="connsiteY177" fmla="*/ 297294 h 485261"/>
                    <a:gd name="connsiteX178" fmla="*/ 187164 w 1485988"/>
                    <a:gd name="connsiteY178" fmla="*/ 298177 h 485261"/>
                    <a:gd name="connsiteX179" fmla="*/ 186923 w 1485988"/>
                    <a:gd name="connsiteY179" fmla="*/ 298418 h 485261"/>
                    <a:gd name="connsiteX180" fmla="*/ 188931 w 1485988"/>
                    <a:gd name="connsiteY180" fmla="*/ 296410 h 485261"/>
                    <a:gd name="connsiteX181" fmla="*/ 187887 w 1485988"/>
                    <a:gd name="connsiteY181" fmla="*/ 296732 h 485261"/>
                    <a:gd name="connsiteX182" fmla="*/ 187084 w 1485988"/>
                    <a:gd name="connsiteY182" fmla="*/ 297455 h 485261"/>
                    <a:gd name="connsiteX183" fmla="*/ 187405 w 1485988"/>
                    <a:gd name="connsiteY183" fmla="*/ 297294 h 485261"/>
                    <a:gd name="connsiteX184" fmla="*/ 234879 w 1485988"/>
                    <a:gd name="connsiteY184" fmla="*/ 249981 h 485261"/>
                    <a:gd name="connsiteX185" fmla="*/ 236245 w 1485988"/>
                    <a:gd name="connsiteY185" fmla="*/ 250061 h 485261"/>
                    <a:gd name="connsiteX186" fmla="*/ 238815 w 1485988"/>
                    <a:gd name="connsiteY186" fmla="*/ 247972 h 485261"/>
                    <a:gd name="connsiteX187" fmla="*/ 234799 w 1485988"/>
                    <a:gd name="connsiteY187" fmla="*/ 249900 h 485261"/>
                    <a:gd name="connsiteX188" fmla="*/ 234879 w 1485988"/>
                    <a:gd name="connsiteY188" fmla="*/ 249981 h 485261"/>
                    <a:gd name="connsiteX189" fmla="*/ 203471 w 1485988"/>
                    <a:gd name="connsiteY189" fmla="*/ 259058 h 485261"/>
                    <a:gd name="connsiteX190" fmla="*/ 203953 w 1485988"/>
                    <a:gd name="connsiteY190" fmla="*/ 258817 h 485261"/>
                    <a:gd name="connsiteX191" fmla="*/ 208612 w 1485988"/>
                    <a:gd name="connsiteY191" fmla="*/ 255202 h 485261"/>
                    <a:gd name="connsiteX192" fmla="*/ 203471 w 1485988"/>
                    <a:gd name="connsiteY192" fmla="*/ 259058 h 485261"/>
                    <a:gd name="connsiteX193" fmla="*/ 203471 w 1485988"/>
                    <a:gd name="connsiteY193" fmla="*/ 259058 h 485261"/>
                    <a:gd name="connsiteX194" fmla="*/ 235441 w 1485988"/>
                    <a:gd name="connsiteY194" fmla="*/ 220259 h 485261"/>
                    <a:gd name="connsiteX195" fmla="*/ 236486 w 1485988"/>
                    <a:gd name="connsiteY195" fmla="*/ 219456 h 485261"/>
                    <a:gd name="connsiteX196" fmla="*/ 243394 w 1485988"/>
                    <a:gd name="connsiteY196" fmla="*/ 214074 h 485261"/>
                    <a:gd name="connsiteX197" fmla="*/ 242751 w 1485988"/>
                    <a:gd name="connsiteY197" fmla="*/ 214476 h 485261"/>
                    <a:gd name="connsiteX198" fmla="*/ 235281 w 1485988"/>
                    <a:gd name="connsiteY198" fmla="*/ 220340 h 485261"/>
                    <a:gd name="connsiteX199" fmla="*/ 235441 w 1485988"/>
                    <a:gd name="connsiteY199" fmla="*/ 220259 h 485261"/>
                    <a:gd name="connsiteX200" fmla="*/ 0 w 1485988"/>
                    <a:gd name="connsiteY200" fmla="*/ 466304 h 485261"/>
                    <a:gd name="connsiteX201" fmla="*/ 42413 w 1485988"/>
                    <a:gd name="connsiteY201" fmla="*/ 410878 h 485261"/>
                    <a:gd name="connsiteX202" fmla="*/ 193028 w 1485988"/>
                    <a:gd name="connsiteY202" fmla="*/ 255363 h 485261"/>
                    <a:gd name="connsiteX203" fmla="*/ 250302 w 1485988"/>
                    <a:gd name="connsiteY203" fmla="*/ 208853 h 485261"/>
                    <a:gd name="connsiteX204" fmla="*/ 250302 w 1485988"/>
                    <a:gd name="connsiteY204" fmla="*/ 208853 h 485261"/>
                    <a:gd name="connsiteX205" fmla="*/ 279059 w 1485988"/>
                    <a:gd name="connsiteY205" fmla="*/ 190056 h 485261"/>
                    <a:gd name="connsiteX206" fmla="*/ 272232 w 1485988"/>
                    <a:gd name="connsiteY206" fmla="*/ 194715 h 485261"/>
                    <a:gd name="connsiteX207" fmla="*/ 273597 w 1485988"/>
                    <a:gd name="connsiteY207" fmla="*/ 193992 h 485261"/>
                    <a:gd name="connsiteX208" fmla="*/ 270866 w 1485988"/>
                    <a:gd name="connsiteY208" fmla="*/ 196402 h 485261"/>
                    <a:gd name="connsiteX209" fmla="*/ 285646 w 1485988"/>
                    <a:gd name="connsiteY209" fmla="*/ 187245 h 485261"/>
                    <a:gd name="connsiteX210" fmla="*/ 278015 w 1485988"/>
                    <a:gd name="connsiteY210" fmla="*/ 196563 h 485261"/>
                    <a:gd name="connsiteX211" fmla="*/ 278336 w 1485988"/>
                    <a:gd name="connsiteY211" fmla="*/ 196322 h 485261"/>
                    <a:gd name="connsiteX212" fmla="*/ 277613 w 1485988"/>
                    <a:gd name="connsiteY212" fmla="*/ 198089 h 485261"/>
                    <a:gd name="connsiteX213" fmla="*/ 294000 w 1485988"/>
                    <a:gd name="connsiteY213" fmla="*/ 190940 h 485261"/>
                    <a:gd name="connsiteX214" fmla="*/ 289663 w 1485988"/>
                    <a:gd name="connsiteY214" fmla="*/ 196402 h 485261"/>
                    <a:gd name="connsiteX215" fmla="*/ 233594 w 1485988"/>
                    <a:gd name="connsiteY215" fmla="*/ 237048 h 485261"/>
                    <a:gd name="connsiteX216" fmla="*/ 210138 w 1485988"/>
                    <a:gd name="connsiteY216" fmla="*/ 255443 h 485261"/>
                    <a:gd name="connsiteX217" fmla="*/ 228774 w 1485988"/>
                    <a:gd name="connsiteY217" fmla="*/ 241305 h 485261"/>
                    <a:gd name="connsiteX218" fmla="*/ 210540 w 1485988"/>
                    <a:gd name="connsiteY218" fmla="*/ 256487 h 485261"/>
                    <a:gd name="connsiteX219" fmla="*/ 211905 w 1485988"/>
                    <a:gd name="connsiteY219" fmla="*/ 255282 h 485261"/>
                    <a:gd name="connsiteX220" fmla="*/ 239699 w 1485988"/>
                    <a:gd name="connsiteY220" fmla="*/ 236727 h 485261"/>
                    <a:gd name="connsiteX221" fmla="*/ 237530 w 1485988"/>
                    <a:gd name="connsiteY221" fmla="*/ 237931 h 485261"/>
                    <a:gd name="connsiteX222" fmla="*/ 248535 w 1485988"/>
                    <a:gd name="connsiteY222" fmla="*/ 232630 h 485261"/>
                    <a:gd name="connsiteX223" fmla="*/ 249740 w 1485988"/>
                    <a:gd name="connsiteY223" fmla="*/ 233594 h 485261"/>
                    <a:gd name="connsiteX224" fmla="*/ 248776 w 1485988"/>
                    <a:gd name="connsiteY224" fmla="*/ 234799 h 485261"/>
                    <a:gd name="connsiteX225" fmla="*/ 265404 w 1485988"/>
                    <a:gd name="connsiteY225" fmla="*/ 229577 h 485261"/>
                    <a:gd name="connsiteX226" fmla="*/ 242269 w 1485988"/>
                    <a:gd name="connsiteY226" fmla="*/ 245563 h 485261"/>
                    <a:gd name="connsiteX227" fmla="*/ 247571 w 1485988"/>
                    <a:gd name="connsiteY227" fmla="*/ 243635 h 485261"/>
                    <a:gd name="connsiteX228" fmla="*/ 204836 w 1485988"/>
                    <a:gd name="connsiteY228" fmla="*/ 272874 h 485261"/>
                    <a:gd name="connsiteX229" fmla="*/ 205158 w 1485988"/>
                    <a:gd name="connsiteY229" fmla="*/ 271910 h 485261"/>
                    <a:gd name="connsiteX230" fmla="*/ 207889 w 1485988"/>
                    <a:gd name="connsiteY230" fmla="*/ 269822 h 485261"/>
                    <a:gd name="connsiteX231" fmla="*/ 201222 w 1485988"/>
                    <a:gd name="connsiteY231" fmla="*/ 275364 h 485261"/>
                    <a:gd name="connsiteX232" fmla="*/ 189574 w 1485988"/>
                    <a:gd name="connsiteY232" fmla="*/ 279541 h 485261"/>
                    <a:gd name="connsiteX233" fmla="*/ 190538 w 1485988"/>
                    <a:gd name="connsiteY233" fmla="*/ 281148 h 485261"/>
                    <a:gd name="connsiteX234" fmla="*/ 180095 w 1485988"/>
                    <a:gd name="connsiteY234" fmla="*/ 294643 h 485261"/>
                    <a:gd name="connsiteX235" fmla="*/ 199454 w 1485988"/>
                    <a:gd name="connsiteY235" fmla="*/ 285807 h 485261"/>
                    <a:gd name="connsiteX236" fmla="*/ 199776 w 1485988"/>
                    <a:gd name="connsiteY236" fmla="*/ 287253 h 485261"/>
                    <a:gd name="connsiteX237" fmla="*/ 201945 w 1485988"/>
                    <a:gd name="connsiteY237" fmla="*/ 286450 h 485261"/>
                    <a:gd name="connsiteX238" fmla="*/ 199213 w 1485988"/>
                    <a:gd name="connsiteY238" fmla="*/ 291109 h 485261"/>
                    <a:gd name="connsiteX239" fmla="*/ 198169 w 1485988"/>
                    <a:gd name="connsiteY239" fmla="*/ 290948 h 485261"/>
                    <a:gd name="connsiteX240" fmla="*/ 197527 w 1485988"/>
                    <a:gd name="connsiteY240" fmla="*/ 293197 h 485261"/>
                    <a:gd name="connsiteX241" fmla="*/ 197607 w 1485988"/>
                    <a:gd name="connsiteY241" fmla="*/ 293278 h 485261"/>
                    <a:gd name="connsiteX242" fmla="*/ 202507 w 1485988"/>
                    <a:gd name="connsiteY242" fmla="*/ 292314 h 485261"/>
                    <a:gd name="connsiteX243" fmla="*/ 199374 w 1485988"/>
                    <a:gd name="connsiteY243" fmla="*/ 297776 h 485261"/>
                    <a:gd name="connsiteX244" fmla="*/ 201704 w 1485988"/>
                    <a:gd name="connsiteY244" fmla="*/ 296732 h 485261"/>
                    <a:gd name="connsiteX245" fmla="*/ 199695 w 1485988"/>
                    <a:gd name="connsiteY245" fmla="*/ 299222 h 485261"/>
                    <a:gd name="connsiteX246" fmla="*/ 201623 w 1485988"/>
                    <a:gd name="connsiteY246" fmla="*/ 298338 h 485261"/>
                    <a:gd name="connsiteX247" fmla="*/ 170938 w 1485988"/>
                    <a:gd name="connsiteY247" fmla="*/ 322195 h 485261"/>
                    <a:gd name="connsiteX248" fmla="*/ 172625 w 1485988"/>
                    <a:gd name="connsiteY248" fmla="*/ 321633 h 485261"/>
                    <a:gd name="connsiteX249" fmla="*/ 167725 w 1485988"/>
                    <a:gd name="connsiteY249" fmla="*/ 325168 h 485261"/>
                    <a:gd name="connsiteX250" fmla="*/ 184112 w 1485988"/>
                    <a:gd name="connsiteY250" fmla="*/ 318179 h 485261"/>
                    <a:gd name="connsiteX251" fmla="*/ 155515 w 1485988"/>
                    <a:gd name="connsiteY251" fmla="*/ 337378 h 485261"/>
                    <a:gd name="connsiteX252" fmla="*/ 155354 w 1485988"/>
                    <a:gd name="connsiteY252" fmla="*/ 335530 h 485261"/>
                    <a:gd name="connsiteX253" fmla="*/ 153908 w 1485988"/>
                    <a:gd name="connsiteY253" fmla="*/ 334405 h 485261"/>
                    <a:gd name="connsiteX254" fmla="*/ 133505 w 1485988"/>
                    <a:gd name="connsiteY254" fmla="*/ 361797 h 485261"/>
                    <a:gd name="connsiteX255" fmla="*/ 134549 w 1485988"/>
                    <a:gd name="connsiteY255" fmla="*/ 363163 h 485261"/>
                    <a:gd name="connsiteX256" fmla="*/ 106595 w 1485988"/>
                    <a:gd name="connsiteY256" fmla="*/ 381638 h 485261"/>
                    <a:gd name="connsiteX257" fmla="*/ 106033 w 1485988"/>
                    <a:gd name="connsiteY257" fmla="*/ 379951 h 485261"/>
                    <a:gd name="connsiteX258" fmla="*/ 107720 w 1485988"/>
                    <a:gd name="connsiteY258" fmla="*/ 377060 h 485261"/>
                    <a:gd name="connsiteX259" fmla="*/ 90289 w 1485988"/>
                    <a:gd name="connsiteY259" fmla="*/ 390314 h 485261"/>
                    <a:gd name="connsiteX260" fmla="*/ 91654 w 1485988"/>
                    <a:gd name="connsiteY260" fmla="*/ 391438 h 485261"/>
                    <a:gd name="connsiteX261" fmla="*/ 86674 w 1485988"/>
                    <a:gd name="connsiteY261" fmla="*/ 397624 h 485261"/>
                    <a:gd name="connsiteX262" fmla="*/ 88200 w 1485988"/>
                    <a:gd name="connsiteY262" fmla="*/ 398427 h 485261"/>
                    <a:gd name="connsiteX263" fmla="*/ 82738 w 1485988"/>
                    <a:gd name="connsiteY263" fmla="*/ 406138 h 485261"/>
                    <a:gd name="connsiteX264" fmla="*/ 97117 w 1485988"/>
                    <a:gd name="connsiteY264" fmla="*/ 411279 h 485261"/>
                    <a:gd name="connsiteX265" fmla="*/ 109648 w 1485988"/>
                    <a:gd name="connsiteY265" fmla="*/ 404773 h 485261"/>
                    <a:gd name="connsiteX266" fmla="*/ 111897 w 1485988"/>
                    <a:gd name="connsiteY266" fmla="*/ 404773 h 485261"/>
                    <a:gd name="connsiteX267" fmla="*/ 117680 w 1485988"/>
                    <a:gd name="connsiteY267" fmla="*/ 409271 h 485261"/>
                    <a:gd name="connsiteX268" fmla="*/ 116235 w 1485988"/>
                    <a:gd name="connsiteY268" fmla="*/ 409030 h 485261"/>
                    <a:gd name="connsiteX269" fmla="*/ 117038 w 1485988"/>
                    <a:gd name="connsiteY269" fmla="*/ 407504 h 485261"/>
                    <a:gd name="connsiteX270" fmla="*/ 78882 w 1485988"/>
                    <a:gd name="connsiteY270" fmla="*/ 420276 h 485261"/>
                    <a:gd name="connsiteX271" fmla="*/ 80971 w 1485988"/>
                    <a:gd name="connsiteY271" fmla="*/ 417063 h 485261"/>
                    <a:gd name="connsiteX272" fmla="*/ 63620 w 1485988"/>
                    <a:gd name="connsiteY272" fmla="*/ 413368 h 485261"/>
                    <a:gd name="connsiteX273" fmla="*/ 73098 w 1485988"/>
                    <a:gd name="connsiteY273" fmla="*/ 396097 h 485261"/>
                    <a:gd name="connsiteX274" fmla="*/ 71572 w 1485988"/>
                    <a:gd name="connsiteY274" fmla="*/ 397142 h 485261"/>
                    <a:gd name="connsiteX275" fmla="*/ 71974 w 1485988"/>
                    <a:gd name="connsiteY275" fmla="*/ 395535 h 485261"/>
                    <a:gd name="connsiteX276" fmla="*/ 70126 w 1485988"/>
                    <a:gd name="connsiteY276" fmla="*/ 396419 h 485261"/>
                    <a:gd name="connsiteX277" fmla="*/ 75508 w 1485988"/>
                    <a:gd name="connsiteY277" fmla="*/ 389671 h 485261"/>
                    <a:gd name="connsiteX278" fmla="*/ 65146 w 1485988"/>
                    <a:gd name="connsiteY278" fmla="*/ 390876 h 485261"/>
                    <a:gd name="connsiteX279" fmla="*/ 56149 w 1485988"/>
                    <a:gd name="connsiteY279" fmla="*/ 402122 h 485261"/>
                    <a:gd name="connsiteX280" fmla="*/ 58559 w 1485988"/>
                    <a:gd name="connsiteY280" fmla="*/ 404130 h 485261"/>
                    <a:gd name="connsiteX281" fmla="*/ 57515 w 1485988"/>
                    <a:gd name="connsiteY281" fmla="*/ 405496 h 485261"/>
                    <a:gd name="connsiteX282" fmla="*/ 58720 w 1485988"/>
                    <a:gd name="connsiteY282" fmla="*/ 404291 h 485261"/>
                    <a:gd name="connsiteX283" fmla="*/ 46912 w 1485988"/>
                    <a:gd name="connsiteY283" fmla="*/ 416661 h 485261"/>
                    <a:gd name="connsiteX284" fmla="*/ 48598 w 1485988"/>
                    <a:gd name="connsiteY284" fmla="*/ 413689 h 485261"/>
                    <a:gd name="connsiteX285" fmla="*/ 44502 w 1485988"/>
                    <a:gd name="connsiteY285" fmla="*/ 416822 h 485261"/>
                    <a:gd name="connsiteX286" fmla="*/ 53820 w 1485988"/>
                    <a:gd name="connsiteY286" fmla="*/ 403648 h 485261"/>
                    <a:gd name="connsiteX287" fmla="*/ 40003 w 1485988"/>
                    <a:gd name="connsiteY287" fmla="*/ 417866 h 485261"/>
                    <a:gd name="connsiteX288" fmla="*/ 40003 w 1485988"/>
                    <a:gd name="connsiteY288" fmla="*/ 418188 h 485261"/>
                    <a:gd name="connsiteX289" fmla="*/ 0 w 1485988"/>
                    <a:gd name="connsiteY289" fmla="*/ 466304 h 485261"/>
                    <a:gd name="connsiteX290" fmla="*/ 824406 w 1485988"/>
                    <a:gd name="connsiteY290" fmla="*/ 1285 h 485261"/>
                    <a:gd name="connsiteX291" fmla="*/ 828181 w 1485988"/>
                    <a:gd name="connsiteY291" fmla="*/ 0 h 485261"/>
                    <a:gd name="connsiteX292" fmla="*/ 828181 w 1485988"/>
                    <a:gd name="connsiteY292" fmla="*/ 0 h 485261"/>
                    <a:gd name="connsiteX293" fmla="*/ 824406 w 1485988"/>
                    <a:gd name="connsiteY293" fmla="*/ 1285 h 485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</a:cxnLst>
                  <a:rect l="l" t="t" r="r" b="b"/>
                  <a:pathLst>
                    <a:path w="1485988" h="485261">
                      <a:moveTo>
                        <a:pt x="1452330" y="456504"/>
                      </a:moveTo>
                      <a:cubicBezTo>
                        <a:pt x="1451366" y="454175"/>
                        <a:pt x="1452490" y="453934"/>
                        <a:pt x="1453615" y="454014"/>
                      </a:cubicBezTo>
                      <a:cubicBezTo>
                        <a:pt x="1457953" y="454576"/>
                        <a:pt x="1468877" y="460761"/>
                        <a:pt x="1485987" y="472248"/>
                      </a:cubicBezTo>
                      <a:cubicBezTo>
                        <a:pt x="1485987" y="472810"/>
                        <a:pt x="1486148" y="477711"/>
                        <a:pt x="1482613" y="479719"/>
                      </a:cubicBezTo>
                      <a:cubicBezTo>
                        <a:pt x="1481007" y="480683"/>
                        <a:pt x="1478597" y="482450"/>
                        <a:pt x="1476589" y="485261"/>
                      </a:cubicBezTo>
                      <a:cubicBezTo>
                        <a:pt x="1465986" y="474016"/>
                        <a:pt x="1454499" y="461565"/>
                        <a:pt x="1452330" y="456504"/>
                      </a:cubicBezTo>
                      <a:moveTo>
                        <a:pt x="1237934" y="376899"/>
                      </a:moveTo>
                      <a:cubicBezTo>
                        <a:pt x="1236890" y="375614"/>
                        <a:pt x="1236890" y="373927"/>
                        <a:pt x="1236087" y="372561"/>
                      </a:cubicBezTo>
                      <a:cubicBezTo>
                        <a:pt x="1239300" y="372481"/>
                        <a:pt x="1241469" y="372159"/>
                        <a:pt x="1242593" y="371999"/>
                      </a:cubicBezTo>
                      <a:cubicBezTo>
                        <a:pt x="1244521" y="367822"/>
                        <a:pt x="1247975" y="366296"/>
                        <a:pt x="1255205" y="366215"/>
                      </a:cubicBezTo>
                      <a:cubicBezTo>
                        <a:pt x="1257374" y="366296"/>
                        <a:pt x="1263157" y="366617"/>
                        <a:pt x="1270708" y="369107"/>
                      </a:cubicBezTo>
                      <a:cubicBezTo>
                        <a:pt x="1272797" y="369830"/>
                        <a:pt x="1275849" y="369910"/>
                        <a:pt x="1278098" y="369669"/>
                      </a:cubicBezTo>
                      <a:cubicBezTo>
                        <a:pt x="1276733" y="371517"/>
                        <a:pt x="1275126" y="373124"/>
                        <a:pt x="1272716" y="375051"/>
                      </a:cubicBezTo>
                      <a:cubicBezTo>
                        <a:pt x="1275367" y="374569"/>
                        <a:pt x="1276572" y="374007"/>
                        <a:pt x="1277777" y="372642"/>
                      </a:cubicBezTo>
                      <a:cubicBezTo>
                        <a:pt x="1277054" y="374650"/>
                        <a:pt x="1277054" y="375774"/>
                        <a:pt x="1277777" y="377702"/>
                      </a:cubicBezTo>
                      <a:cubicBezTo>
                        <a:pt x="1268298" y="373525"/>
                        <a:pt x="1262997" y="371437"/>
                        <a:pt x="1264041" y="377461"/>
                      </a:cubicBezTo>
                      <a:cubicBezTo>
                        <a:pt x="1263318" y="377622"/>
                        <a:pt x="1262274" y="377783"/>
                        <a:pt x="1261551" y="377943"/>
                      </a:cubicBezTo>
                      <a:cubicBezTo>
                        <a:pt x="1269423" y="382763"/>
                        <a:pt x="1272636" y="385655"/>
                        <a:pt x="1274644" y="389992"/>
                      </a:cubicBezTo>
                      <a:cubicBezTo>
                        <a:pt x="1270146" y="388787"/>
                        <a:pt x="1260828" y="386297"/>
                        <a:pt x="1263800" y="391599"/>
                      </a:cubicBezTo>
                      <a:cubicBezTo>
                        <a:pt x="1264362" y="392563"/>
                        <a:pt x="1265326" y="393607"/>
                        <a:pt x="1265969" y="394491"/>
                      </a:cubicBezTo>
                      <a:cubicBezTo>
                        <a:pt x="1253197" y="390073"/>
                        <a:pt x="1243718" y="384209"/>
                        <a:pt x="1237934" y="376899"/>
                      </a:cubicBezTo>
                      <a:moveTo>
                        <a:pt x="1149975" y="355773"/>
                      </a:moveTo>
                      <a:cubicBezTo>
                        <a:pt x="1150136" y="355933"/>
                        <a:pt x="1151341" y="356737"/>
                        <a:pt x="1156321" y="359468"/>
                      </a:cubicBezTo>
                      <a:cubicBezTo>
                        <a:pt x="1156241" y="359146"/>
                        <a:pt x="1156161" y="358825"/>
                        <a:pt x="1156080" y="358584"/>
                      </a:cubicBezTo>
                      <a:cubicBezTo>
                        <a:pt x="1152224" y="356656"/>
                        <a:pt x="1150216" y="355692"/>
                        <a:pt x="1149975" y="355773"/>
                      </a:cubicBezTo>
                      <a:cubicBezTo>
                        <a:pt x="1149975" y="355773"/>
                        <a:pt x="1149975" y="355773"/>
                        <a:pt x="1149975" y="355773"/>
                      </a:cubicBezTo>
                      <a:moveTo>
                        <a:pt x="1038962" y="325087"/>
                      </a:moveTo>
                      <a:cubicBezTo>
                        <a:pt x="1036070" y="316653"/>
                        <a:pt x="1035347" y="308861"/>
                        <a:pt x="1034705" y="302596"/>
                      </a:cubicBezTo>
                      <a:cubicBezTo>
                        <a:pt x="1038159" y="301471"/>
                        <a:pt x="1039605" y="301150"/>
                        <a:pt x="1042095" y="300989"/>
                      </a:cubicBezTo>
                      <a:cubicBezTo>
                        <a:pt x="1043219" y="301069"/>
                        <a:pt x="1045067" y="300989"/>
                        <a:pt x="1045870" y="301872"/>
                      </a:cubicBezTo>
                      <a:cubicBezTo>
                        <a:pt x="1047075" y="303238"/>
                        <a:pt x="1049003" y="304764"/>
                        <a:pt x="1050610" y="305568"/>
                      </a:cubicBezTo>
                      <a:lnTo>
                        <a:pt x="1150939" y="349828"/>
                      </a:lnTo>
                      <a:cubicBezTo>
                        <a:pt x="1176243" y="356094"/>
                        <a:pt x="1202590" y="347579"/>
                        <a:pt x="1227893" y="355210"/>
                      </a:cubicBezTo>
                      <a:cubicBezTo>
                        <a:pt x="1241389" y="359307"/>
                        <a:pt x="1249100" y="362922"/>
                        <a:pt x="1251992" y="364287"/>
                      </a:cubicBezTo>
                      <a:cubicBezTo>
                        <a:pt x="1239300" y="363645"/>
                        <a:pt x="1226849" y="366778"/>
                        <a:pt x="1214238" y="366697"/>
                      </a:cubicBezTo>
                      <a:cubicBezTo>
                        <a:pt x="1220102" y="368063"/>
                        <a:pt x="1224038" y="369107"/>
                        <a:pt x="1233516" y="371838"/>
                      </a:cubicBezTo>
                      <a:cubicBezTo>
                        <a:pt x="1229661" y="371437"/>
                        <a:pt x="1228938" y="371356"/>
                        <a:pt x="1226126" y="371356"/>
                      </a:cubicBezTo>
                      <a:cubicBezTo>
                        <a:pt x="1225323" y="373686"/>
                        <a:pt x="1225323" y="374168"/>
                        <a:pt x="1226287" y="376738"/>
                      </a:cubicBezTo>
                      <a:cubicBezTo>
                        <a:pt x="1225082" y="376819"/>
                        <a:pt x="1223556" y="376979"/>
                        <a:pt x="1222351" y="377140"/>
                      </a:cubicBezTo>
                      <a:lnTo>
                        <a:pt x="1224118" y="378505"/>
                      </a:lnTo>
                      <a:cubicBezTo>
                        <a:pt x="1216005" y="374810"/>
                        <a:pt x="1206767" y="371838"/>
                        <a:pt x="1193834" y="375292"/>
                      </a:cubicBezTo>
                      <a:cubicBezTo>
                        <a:pt x="1191425" y="372320"/>
                        <a:pt x="1188372" y="371035"/>
                        <a:pt x="1181705" y="370071"/>
                      </a:cubicBezTo>
                      <a:cubicBezTo>
                        <a:pt x="1182187" y="369348"/>
                        <a:pt x="1182588" y="368304"/>
                        <a:pt x="1182749" y="367501"/>
                      </a:cubicBezTo>
                      <a:cubicBezTo>
                        <a:pt x="1167808" y="365010"/>
                        <a:pt x="1152465" y="364448"/>
                        <a:pt x="1137685" y="360592"/>
                      </a:cubicBezTo>
                      <a:cubicBezTo>
                        <a:pt x="1136721" y="361556"/>
                        <a:pt x="1135677" y="362520"/>
                        <a:pt x="1134633" y="363484"/>
                      </a:cubicBezTo>
                      <a:cubicBezTo>
                        <a:pt x="1134713" y="363886"/>
                        <a:pt x="1134874" y="364448"/>
                        <a:pt x="1135034" y="364769"/>
                      </a:cubicBezTo>
                      <a:cubicBezTo>
                        <a:pt x="1128367" y="366778"/>
                        <a:pt x="1121379" y="365733"/>
                        <a:pt x="1114711" y="367260"/>
                      </a:cubicBezTo>
                      <a:cubicBezTo>
                        <a:pt x="1110775" y="363645"/>
                        <a:pt x="1106759" y="362601"/>
                        <a:pt x="1100975" y="363806"/>
                      </a:cubicBezTo>
                      <a:cubicBezTo>
                        <a:pt x="1101056" y="364609"/>
                        <a:pt x="1101216" y="365573"/>
                        <a:pt x="1101377" y="366376"/>
                      </a:cubicBezTo>
                      <a:cubicBezTo>
                        <a:pt x="1099047" y="367340"/>
                        <a:pt x="1084428" y="364207"/>
                        <a:pt x="1083062" y="362359"/>
                      </a:cubicBezTo>
                      <a:cubicBezTo>
                        <a:pt x="1068683" y="363725"/>
                        <a:pt x="1052618" y="365251"/>
                        <a:pt x="1038962" y="325087"/>
                      </a:cubicBezTo>
                      <a:moveTo>
                        <a:pt x="959357" y="291430"/>
                      </a:moveTo>
                      <a:cubicBezTo>
                        <a:pt x="956465" y="291430"/>
                        <a:pt x="952690" y="291430"/>
                        <a:pt x="949798" y="291430"/>
                      </a:cubicBezTo>
                      <a:cubicBezTo>
                        <a:pt x="953814" y="288699"/>
                        <a:pt x="957269" y="286369"/>
                        <a:pt x="969800" y="280827"/>
                      </a:cubicBezTo>
                      <a:cubicBezTo>
                        <a:pt x="984660" y="274320"/>
                        <a:pt x="998878" y="266528"/>
                        <a:pt x="1013980" y="260504"/>
                      </a:cubicBezTo>
                      <a:cubicBezTo>
                        <a:pt x="1015426" y="259941"/>
                        <a:pt x="1017675" y="260905"/>
                        <a:pt x="1019201" y="261066"/>
                      </a:cubicBezTo>
                      <a:cubicBezTo>
                        <a:pt x="1020969" y="272312"/>
                        <a:pt x="1025708" y="275686"/>
                        <a:pt x="1039123" y="280184"/>
                      </a:cubicBezTo>
                      <a:cubicBezTo>
                        <a:pt x="1049967" y="283799"/>
                        <a:pt x="1081697" y="300186"/>
                        <a:pt x="1039042" y="297776"/>
                      </a:cubicBezTo>
                      <a:cubicBezTo>
                        <a:pt x="1035669" y="292394"/>
                        <a:pt x="1018077" y="291591"/>
                        <a:pt x="959357" y="291430"/>
                      </a:cubicBezTo>
                      <a:moveTo>
                        <a:pt x="958634" y="232550"/>
                      </a:moveTo>
                      <a:cubicBezTo>
                        <a:pt x="957911" y="232710"/>
                        <a:pt x="956947" y="232951"/>
                        <a:pt x="956305" y="233112"/>
                      </a:cubicBezTo>
                      <a:cubicBezTo>
                        <a:pt x="968032" y="208772"/>
                        <a:pt x="972932" y="189092"/>
                        <a:pt x="972932" y="167404"/>
                      </a:cubicBezTo>
                      <a:cubicBezTo>
                        <a:pt x="973013" y="167484"/>
                        <a:pt x="973173" y="167644"/>
                        <a:pt x="973254" y="167725"/>
                      </a:cubicBezTo>
                      <a:cubicBezTo>
                        <a:pt x="974057" y="168367"/>
                        <a:pt x="975182" y="168930"/>
                        <a:pt x="979037" y="168207"/>
                      </a:cubicBezTo>
                      <a:cubicBezTo>
                        <a:pt x="975423" y="170617"/>
                        <a:pt x="973896" y="172063"/>
                        <a:pt x="976146" y="174553"/>
                      </a:cubicBezTo>
                      <a:cubicBezTo>
                        <a:pt x="975905" y="174633"/>
                        <a:pt x="975664" y="174633"/>
                        <a:pt x="975423" y="174713"/>
                      </a:cubicBezTo>
                      <a:cubicBezTo>
                        <a:pt x="980564" y="175276"/>
                        <a:pt x="990203" y="176400"/>
                        <a:pt x="993014" y="183068"/>
                      </a:cubicBezTo>
                      <a:cubicBezTo>
                        <a:pt x="994541" y="186602"/>
                        <a:pt x="998798" y="188690"/>
                        <a:pt x="998316" y="193269"/>
                      </a:cubicBezTo>
                      <a:cubicBezTo>
                        <a:pt x="998316" y="193510"/>
                        <a:pt x="997111" y="218894"/>
                        <a:pt x="1010446" y="256407"/>
                      </a:cubicBezTo>
                      <a:cubicBezTo>
                        <a:pt x="999762" y="247571"/>
                        <a:pt x="992452" y="248053"/>
                        <a:pt x="986106" y="258013"/>
                      </a:cubicBezTo>
                      <a:cubicBezTo>
                        <a:pt x="993818" y="243394"/>
                        <a:pt x="1005626" y="221223"/>
                        <a:pt x="958634" y="232550"/>
                      </a:cubicBezTo>
                      <a:moveTo>
                        <a:pt x="58639" y="403970"/>
                      </a:moveTo>
                      <a:cubicBezTo>
                        <a:pt x="58639" y="403889"/>
                        <a:pt x="58639" y="403889"/>
                        <a:pt x="58639" y="403970"/>
                      </a:cubicBezTo>
                      <a:cubicBezTo>
                        <a:pt x="59764" y="402523"/>
                        <a:pt x="60567" y="401720"/>
                        <a:pt x="61290" y="401158"/>
                      </a:cubicBezTo>
                      <a:cubicBezTo>
                        <a:pt x="61612" y="400917"/>
                        <a:pt x="61853" y="400756"/>
                        <a:pt x="62013" y="400756"/>
                      </a:cubicBezTo>
                      <a:cubicBezTo>
                        <a:pt x="60889" y="401801"/>
                        <a:pt x="60005" y="402765"/>
                        <a:pt x="58720" y="404130"/>
                      </a:cubicBezTo>
                      <a:cubicBezTo>
                        <a:pt x="58720" y="404050"/>
                        <a:pt x="58720" y="403970"/>
                        <a:pt x="58639" y="403970"/>
                      </a:cubicBezTo>
                      <a:moveTo>
                        <a:pt x="229658" y="240502"/>
                      </a:moveTo>
                      <a:cubicBezTo>
                        <a:pt x="229658" y="240502"/>
                        <a:pt x="229658" y="240502"/>
                        <a:pt x="229658" y="240502"/>
                      </a:cubicBezTo>
                      <a:cubicBezTo>
                        <a:pt x="229818" y="240422"/>
                        <a:pt x="229979" y="240261"/>
                        <a:pt x="230140" y="240181"/>
                      </a:cubicBezTo>
                      <a:lnTo>
                        <a:pt x="230140" y="240181"/>
                      </a:lnTo>
                      <a:cubicBezTo>
                        <a:pt x="229979" y="240261"/>
                        <a:pt x="229818" y="240341"/>
                        <a:pt x="229658" y="240502"/>
                      </a:cubicBezTo>
                      <a:moveTo>
                        <a:pt x="441322" y="130372"/>
                      </a:moveTo>
                      <a:cubicBezTo>
                        <a:pt x="441242" y="130372"/>
                        <a:pt x="441161" y="130453"/>
                        <a:pt x="441161" y="130453"/>
                      </a:cubicBezTo>
                      <a:cubicBezTo>
                        <a:pt x="442607" y="129569"/>
                        <a:pt x="444455" y="128605"/>
                        <a:pt x="446865" y="127400"/>
                      </a:cubicBezTo>
                      <a:cubicBezTo>
                        <a:pt x="446784" y="127400"/>
                        <a:pt x="446704" y="127480"/>
                        <a:pt x="446704" y="127480"/>
                      </a:cubicBezTo>
                      <a:cubicBezTo>
                        <a:pt x="444937" y="128364"/>
                        <a:pt x="443089" y="129328"/>
                        <a:pt x="441322" y="130372"/>
                      </a:cubicBezTo>
                      <a:moveTo>
                        <a:pt x="77436" y="408147"/>
                      </a:moveTo>
                      <a:cubicBezTo>
                        <a:pt x="77516" y="408227"/>
                        <a:pt x="77597" y="408227"/>
                        <a:pt x="77677" y="408227"/>
                      </a:cubicBezTo>
                      <a:cubicBezTo>
                        <a:pt x="77597" y="408147"/>
                        <a:pt x="77516" y="408066"/>
                        <a:pt x="77436" y="408147"/>
                      </a:cubicBezTo>
                      <a:moveTo>
                        <a:pt x="73420" y="409914"/>
                      </a:moveTo>
                      <a:cubicBezTo>
                        <a:pt x="72857" y="410878"/>
                        <a:pt x="73018" y="411360"/>
                        <a:pt x="73179" y="411520"/>
                      </a:cubicBezTo>
                      <a:cubicBezTo>
                        <a:pt x="78320" y="406379"/>
                        <a:pt x="80569" y="403889"/>
                        <a:pt x="81212" y="402202"/>
                      </a:cubicBezTo>
                      <a:cubicBezTo>
                        <a:pt x="76954" y="405656"/>
                        <a:pt x="74384" y="408227"/>
                        <a:pt x="73420" y="409914"/>
                      </a:cubicBezTo>
                      <a:moveTo>
                        <a:pt x="77035" y="400515"/>
                      </a:moveTo>
                      <a:cubicBezTo>
                        <a:pt x="77677" y="400194"/>
                        <a:pt x="77758" y="400274"/>
                        <a:pt x="77838" y="400274"/>
                      </a:cubicBezTo>
                      <a:cubicBezTo>
                        <a:pt x="77918" y="400515"/>
                        <a:pt x="77195" y="401158"/>
                        <a:pt x="75910" y="402282"/>
                      </a:cubicBezTo>
                      <a:cubicBezTo>
                        <a:pt x="77838" y="400837"/>
                        <a:pt x="80971" y="398346"/>
                        <a:pt x="84987" y="394651"/>
                      </a:cubicBezTo>
                      <a:lnTo>
                        <a:pt x="84585" y="394812"/>
                      </a:lnTo>
                      <a:cubicBezTo>
                        <a:pt x="83461" y="395535"/>
                        <a:pt x="83461" y="395535"/>
                        <a:pt x="76874" y="400676"/>
                      </a:cubicBezTo>
                      <a:cubicBezTo>
                        <a:pt x="76874" y="400596"/>
                        <a:pt x="77035" y="400596"/>
                        <a:pt x="77035" y="400515"/>
                      </a:cubicBezTo>
                      <a:moveTo>
                        <a:pt x="110531" y="373365"/>
                      </a:moveTo>
                      <a:cubicBezTo>
                        <a:pt x="110451" y="373445"/>
                        <a:pt x="110371" y="373606"/>
                        <a:pt x="110371" y="373766"/>
                      </a:cubicBezTo>
                      <a:cubicBezTo>
                        <a:pt x="111254" y="372883"/>
                        <a:pt x="112539" y="371517"/>
                        <a:pt x="113584" y="370232"/>
                      </a:cubicBezTo>
                      <a:cubicBezTo>
                        <a:pt x="111656" y="371758"/>
                        <a:pt x="110853" y="372802"/>
                        <a:pt x="110531" y="373365"/>
                      </a:cubicBezTo>
                      <a:moveTo>
                        <a:pt x="110692" y="371276"/>
                      </a:moveTo>
                      <a:cubicBezTo>
                        <a:pt x="114226" y="368705"/>
                        <a:pt x="116476" y="366055"/>
                        <a:pt x="117199" y="365251"/>
                      </a:cubicBezTo>
                      <a:cubicBezTo>
                        <a:pt x="115994" y="366296"/>
                        <a:pt x="114387" y="367661"/>
                        <a:pt x="112539" y="368705"/>
                      </a:cubicBezTo>
                      <a:cubicBezTo>
                        <a:pt x="112780" y="368625"/>
                        <a:pt x="113503" y="368464"/>
                        <a:pt x="113182" y="368946"/>
                      </a:cubicBezTo>
                      <a:cubicBezTo>
                        <a:pt x="112780" y="369589"/>
                        <a:pt x="110933" y="371115"/>
                        <a:pt x="110290" y="371678"/>
                      </a:cubicBezTo>
                      <a:cubicBezTo>
                        <a:pt x="110371" y="371517"/>
                        <a:pt x="110531" y="371356"/>
                        <a:pt x="110692" y="371276"/>
                      </a:cubicBezTo>
                      <a:moveTo>
                        <a:pt x="76954" y="392322"/>
                      </a:moveTo>
                      <a:cubicBezTo>
                        <a:pt x="78239" y="393527"/>
                        <a:pt x="81613" y="391117"/>
                        <a:pt x="82738" y="390394"/>
                      </a:cubicBezTo>
                      <a:cubicBezTo>
                        <a:pt x="84746" y="388868"/>
                        <a:pt x="86192" y="387663"/>
                        <a:pt x="88762" y="385253"/>
                      </a:cubicBezTo>
                      <a:cubicBezTo>
                        <a:pt x="87638" y="385574"/>
                        <a:pt x="84103" y="386619"/>
                        <a:pt x="76794" y="392241"/>
                      </a:cubicBezTo>
                      <a:cubicBezTo>
                        <a:pt x="76874" y="392241"/>
                        <a:pt x="76954" y="392322"/>
                        <a:pt x="76954" y="392322"/>
                      </a:cubicBezTo>
                      <a:moveTo>
                        <a:pt x="112459" y="365894"/>
                      </a:moveTo>
                      <a:cubicBezTo>
                        <a:pt x="113423" y="365332"/>
                        <a:pt x="114548" y="364689"/>
                        <a:pt x="115913" y="363806"/>
                      </a:cubicBezTo>
                      <a:cubicBezTo>
                        <a:pt x="117600" y="362681"/>
                        <a:pt x="118966" y="361797"/>
                        <a:pt x="120171" y="360833"/>
                      </a:cubicBezTo>
                      <a:cubicBezTo>
                        <a:pt x="118002" y="362199"/>
                        <a:pt x="116717" y="362761"/>
                        <a:pt x="115994" y="363002"/>
                      </a:cubicBezTo>
                      <a:cubicBezTo>
                        <a:pt x="115913" y="363002"/>
                        <a:pt x="115833" y="363002"/>
                        <a:pt x="115753" y="363083"/>
                      </a:cubicBezTo>
                      <a:cubicBezTo>
                        <a:pt x="115753" y="363083"/>
                        <a:pt x="114387" y="364047"/>
                        <a:pt x="112299" y="365974"/>
                      </a:cubicBezTo>
                      <a:cubicBezTo>
                        <a:pt x="112379" y="365974"/>
                        <a:pt x="112459" y="365894"/>
                        <a:pt x="112459" y="365894"/>
                      </a:cubicBezTo>
                      <a:moveTo>
                        <a:pt x="119689" y="359066"/>
                      </a:moveTo>
                      <a:cubicBezTo>
                        <a:pt x="120492" y="358423"/>
                        <a:pt x="121697" y="357620"/>
                        <a:pt x="122821" y="357058"/>
                      </a:cubicBezTo>
                      <a:cubicBezTo>
                        <a:pt x="122821" y="356978"/>
                        <a:pt x="122821" y="356897"/>
                        <a:pt x="122821" y="356817"/>
                      </a:cubicBezTo>
                      <a:cubicBezTo>
                        <a:pt x="122179" y="356978"/>
                        <a:pt x="121777" y="357138"/>
                        <a:pt x="121054" y="357460"/>
                      </a:cubicBezTo>
                      <a:cubicBezTo>
                        <a:pt x="120572" y="358022"/>
                        <a:pt x="119930" y="358664"/>
                        <a:pt x="119528" y="359227"/>
                      </a:cubicBezTo>
                      <a:cubicBezTo>
                        <a:pt x="119608" y="359146"/>
                        <a:pt x="119689" y="359066"/>
                        <a:pt x="119689" y="359066"/>
                      </a:cubicBezTo>
                      <a:moveTo>
                        <a:pt x="164833" y="330068"/>
                      </a:moveTo>
                      <a:cubicBezTo>
                        <a:pt x="163869" y="331594"/>
                        <a:pt x="163869" y="332156"/>
                        <a:pt x="165074" y="331995"/>
                      </a:cubicBezTo>
                      <a:cubicBezTo>
                        <a:pt x="165476" y="331273"/>
                        <a:pt x="166199" y="329746"/>
                        <a:pt x="168689" y="329023"/>
                      </a:cubicBezTo>
                      <a:lnTo>
                        <a:pt x="169090" y="328622"/>
                      </a:lnTo>
                      <a:lnTo>
                        <a:pt x="167564" y="329023"/>
                      </a:lnTo>
                      <a:cubicBezTo>
                        <a:pt x="167966" y="328702"/>
                        <a:pt x="168448" y="328300"/>
                        <a:pt x="168769" y="327979"/>
                      </a:cubicBezTo>
                      <a:cubicBezTo>
                        <a:pt x="167885" y="327979"/>
                        <a:pt x="166681" y="328622"/>
                        <a:pt x="164431" y="330148"/>
                      </a:cubicBezTo>
                      <a:cubicBezTo>
                        <a:pt x="164512" y="330148"/>
                        <a:pt x="164672" y="330148"/>
                        <a:pt x="164833" y="330068"/>
                      </a:cubicBezTo>
                      <a:moveTo>
                        <a:pt x="81613" y="383807"/>
                      </a:moveTo>
                      <a:cubicBezTo>
                        <a:pt x="83059" y="383486"/>
                        <a:pt x="84344" y="383566"/>
                        <a:pt x="85228" y="383888"/>
                      </a:cubicBezTo>
                      <a:cubicBezTo>
                        <a:pt x="85871" y="383165"/>
                        <a:pt x="86031" y="383004"/>
                        <a:pt x="86112" y="382763"/>
                      </a:cubicBezTo>
                      <a:cubicBezTo>
                        <a:pt x="86112" y="382763"/>
                        <a:pt x="86112" y="382683"/>
                        <a:pt x="86031" y="382683"/>
                      </a:cubicBezTo>
                      <a:cubicBezTo>
                        <a:pt x="86031" y="382683"/>
                        <a:pt x="85951" y="382683"/>
                        <a:pt x="85951" y="382683"/>
                      </a:cubicBezTo>
                      <a:cubicBezTo>
                        <a:pt x="85871" y="382683"/>
                        <a:pt x="85871" y="382683"/>
                        <a:pt x="85790" y="382683"/>
                      </a:cubicBezTo>
                      <a:cubicBezTo>
                        <a:pt x="85710" y="382683"/>
                        <a:pt x="85710" y="382602"/>
                        <a:pt x="85630" y="382602"/>
                      </a:cubicBezTo>
                      <a:cubicBezTo>
                        <a:pt x="85469" y="382522"/>
                        <a:pt x="85067" y="382361"/>
                        <a:pt x="84103" y="382602"/>
                      </a:cubicBezTo>
                      <a:cubicBezTo>
                        <a:pt x="83139" y="382843"/>
                        <a:pt x="81935" y="383486"/>
                        <a:pt x="81453" y="383807"/>
                      </a:cubicBezTo>
                      <a:cubicBezTo>
                        <a:pt x="81533" y="383888"/>
                        <a:pt x="81613" y="383807"/>
                        <a:pt x="81613" y="383807"/>
                      </a:cubicBezTo>
                      <a:moveTo>
                        <a:pt x="156881" y="330791"/>
                      </a:moveTo>
                      <a:lnTo>
                        <a:pt x="156881" y="330791"/>
                      </a:lnTo>
                      <a:cubicBezTo>
                        <a:pt x="158487" y="329746"/>
                        <a:pt x="159371" y="328702"/>
                        <a:pt x="159612" y="327819"/>
                      </a:cubicBezTo>
                      <a:cubicBezTo>
                        <a:pt x="158166" y="329184"/>
                        <a:pt x="157202" y="330309"/>
                        <a:pt x="156881" y="330791"/>
                      </a:cubicBezTo>
                      <a:moveTo>
                        <a:pt x="163708" y="324686"/>
                      </a:moveTo>
                      <a:cubicBezTo>
                        <a:pt x="164030" y="324766"/>
                        <a:pt x="164512" y="324525"/>
                        <a:pt x="164753" y="324364"/>
                      </a:cubicBezTo>
                      <a:cubicBezTo>
                        <a:pt x="165315" y="324043"/>
                        <a:pt x="165877" y="323642"/>
                        <a:pt x="166761" y="322838"/>
                      </a:cubicBezTo>
                      <a:cubicBezTo>
                        <a:pt x="166038" y="322999"/>
                        <a:pt x="164190" y="324284"/>
                        <a:pt x="163708" y="324686"/>
                      </a:cubicBezTo>
                      <a:cubicBezTo>
                        <a:pt x="163708" y="324686"/>
                        <a:pt x="163708" y="324686"/>
                        <a:pt x="163708" y="324686"/>
                      </a:cubicBezTo>
                      <a:moveTo>
                        <a:pt x="173348" y="317938"/>
                      </a:moveTo>
                      <a:cubicBezTo>
                        <a:pt x="174954" y="317778"/>
                        <a:pt x="174954" y="317778"/>
                        <a:pt x="175436" y="317617"/>
                      </a:cubicBezTo>
                      <a:cubicBezTo>
                        <a:pt x="175436" y="317617"/>
                        <a:pt x="175436" y="317617"/>
                        <a:pt x="175436" y="317617"/>
                      </a:cubicBezTo>
                      <a:cubicBezTo>
                        <a:pt x="175436" y="317617"/>
                        <a:pt x="175436" y="317617"/>
                        <a:pt x="175436" y="317617"/>
                      </a:cubicBezTo>
                      <a:cubicBezTo>
                        <a:pt x="175276" y="317617"/>
                        <a:pt x="175115" y="317617"/>
                        <a:pt x="174954" y="317697"/>
                      </a:cubicBezTo>
                      <a:cubicBezTo>
                        <a:pt x="174312" y="317778"/>
                        <a:pt x="173749" y="317858"/>
                        <a:pt x="173107" y="317938"/>
                      </a:cubicBezTo>
                      <a:lnTo>
                        <a:pt x="173348" y="317938"/>
                      </a:lnTo>
                      <a:moveTo>
                        <a:pt x="142100" y="335289"/>
                      </a:moveTo>
                      <a:cubicBezTo>
                        <a:pt x="142502" y="334887"/>
                        <a:pt x="143064" y="334646"/>
                        <a:pt x="143385" y="334164"/>
                      </a:cubicBezTo>
                      <a:cubicBezTo>
                        <a:pt x="143225" y="334164"/>
                        <a:pt x="143144" y="334325"/>
                        <a:pt x="142984" y="334405"/>
                      </a:cubicBezTo>
                      <a:cubicBezTo>
                        <a:pt x="142582" y="334727"/>
                        <a:pt x="142100" y="335048"/>
                        <a:pt x="141699" y="335369"/>
                      </a:cubicBezTo>
                      <a:lnTo>
                        <a:pt x="142100" y="335289"/>
                      </a:lnTo>
                      <a:moveTo>
                        <a:pt x="177204" y="313199"/>
                      </a:moveTo>
                      <a:cubicBezTo>
                        <a:pt x="177123" y="313360"/>
                        <a:pt x="177043" y="313440"/>
                        <a:pt x="177043" y="313601"/>
                      </a:cubicBezTo>
                      <a:cubicBezTo>
                        <a:pt x="178489" y="312235"/>
                        <a:pt x="179935" y="310869"/>
                        <a:pt x="181461" y="309584"/>
                      </a:cubicBezTo>
                      <a:cubicBezTo>
                        <a:pt x="178569" y="311432"/>
                        <a:pt x="177525" y="312637"/>
                        <a:pt x="177204" y="313199"/>
                      </a:cubicBezTo>
                      <a:moveTo>
                        <a:pt x="59282" y="392804"/>
                      </a:moveTo>
                      <a:cubicBezTo>
                        <a:pt x="60326" y="391599"/>
                        <a:pt x="61371" y="390394"/>
                        <a:pt x="62335" y="389189"/>
                      </a:cubicBezTo>
                      <a:cubicBezTo>
                        <a:pt x="62495" y="388948"/>
                        <a:pt x="62736" y="388627"/>
                        <a:pt x="62897" y="388386"/>
                      </a:cubicBezTo>
                      <a:cubicBezTo>
                        <a:pt x="61612" y="389832"/>
                        <a:pt x="60407" y="391358"/>
                        <a:pt x="59121" y="392884"/>
                      </a:cubicBezTo>
                      <a:cubicBezTo>
                        <a:pt x="59202" y="392884"/>
                        <a:pt x="59282" y="392884"/>
                        <a:pt x="59282" y="392804"/>
                      </a:cubicBezTo>
                      <a:moveTo>
                        <a:pt x="187405" y="297294"/>
                      </a:moveTo>
                      <a:cubicBezTo>
                        <a:pt x="187486" y="297294"/>
                        <a:pt x="187887" y="297294"/>
                        <a:pt x="187164" y="298177"/>
                      </a:cubicBezTo>
                      <a:cubicBezTo>
                        <a:pt x="187084" y="298258"/>
                        <a:pt x="187004" y="298338"/>
                        <a:pt x="186923" y="298418"/>
                      </a:cubicBezTo>
                      <a:cubicBezTo>
                        <a:pt x="187967" y="297615"/>
                        <a:pt x="188449" y="297053"/>
                        <a:pt x="188931" y="296410"/>
                      </a:cubicBezTo>
                      <a:lnTo>
                        <a:pt x="187887" y="296732"/>
                      </a:lnTo>
                      <a:lnTo>
                        <a:pt x="187084" y="297455"/>
                      </a:lnTo>
                      <a:cubicBezTo>
                        <a:pt x="187164" y="297374"/>
                        <a:pt x="187325" y="297294"/>
                        <a:pt x="187405" y="297294"/>
                      </a:cubicBezTo>
                      <a:moveTo>
                        <a:pt x="234879" y="249981"/>
                      </a:moveTo>
                      <a:cubicBezTo>
                        <a:pt x="235200" y="250543"/>
                        <a:pt x="235923" y="250222"/>
                        <a:pt x="236245" y="250061"/>
                      </a:cubicBezTo>
                      <a:cubicBezTo>
                        <a:pt x="237048" y="249579"/>
                        <a:pt x="237610" y="249097"/>
                        <a:pt x="238815" y="247972"/>
                      </a:cubicBezTo>
                      <a:cubicBezTo>
                        <a:pt x="237449" y="248615"/>
                        <a:pt x="236164" y="249338"/>
                        <a:pt x="234799" y="249900"/>
                      </a:cubicBezTo>
                      <a:cubicBezTo>
                        <a:pt x="234799" y="249900"/>
                        <a:pt x="234879" y="249981"/>
                        <a:pt x="234879" y="249981"/>
                      </a:cubicBezTo>
                      <a:moveTo>
                        <a:pt x="203471" y="259058"/>
                      </a:moveTo>
                      <a:cubicBezTo>
                        <a:pt x="203631" y="258977"/>
                        <a:pt x="203792" y="258897"/>
                        <a:pt x="203953" y="258817"/>
                      </a:cubicBezTo>
                      <a:cubicBezTo>
                        <a:pt x="205559" y="257853"/>
                        <a:pt x="207086" y="256568"/>
                        <a:pt x="208612" y="255202"/>
                      </a:cubicBezTo>
                      <a:cubicBezTo>
                        <a:pt x="206764" y="256166"/>
                        <a:pt x="204997" y="257532"/>
                        <a:pt x="203471" y="259058"/>
                      </a:cubicBezTo>
                      <a:cubicBezTo>
                        <a:pt x="203390" y="259058"/>
                        <a:pt x="203390" y="259058"/>
                        <a:pt x="203471" y="259058"/>
                      </a:cubicBezTo>
                      <a:moveTo>
                        <a:pt x="235441" y="220259"/>
                      </a:moveTo>
                      <a:cubicBezTo>
                        <a:pt x="235763" y="220018"/>
                        <a:pt x="236164" y="219697"/>
                        <a:pt x="236486" y="219456"/>
                      </a:cubicBezTo>
                      <a:cubicBezTo>
                        <a:pt x="238815" y="217689"/>
                        <a:pt x="241064" y="215922"/>
                        <a:pt x="243394" y="214074"/>
                      </a:cubicBezTo>
                      <a:cubicBezTo>
                        <a:pt x="243153" y="214235"/>
                        <a:pt x="242992" y="214315"/>
                        <a:pt x="242751" y="214476"/>
                      </a:cubicBezTo>
                      <a:lnTo>
                        <a:pt x="235281" y="220340"/>
                      </a:lnTo>
                      <a:cubicBezTo>
                        <a:pt x="235361" y="220340"/>
                        <a:pt x="235441" y="220259"/>
                        <a:pt x="235441" y="220259"/>
                      </a:cubicBezTo>
                      <a:moveTo>
                        <a:pt x="0" y="466304"/>
                      </a:moveTo>
                      <a:lnTo>
                        <a:pt x="42413" y="410878"/>
                      </a:lnTo>
                      <a:cubicBezTo>
                        <a:pt x="117921" y="323883"/>
                        <a:pt x="120894" y="320509"/>
                        <a:pt x="193028" y="255363"/>
                      </a:cubicBezTo>
                      <a:cubicBezTo>
                        <a:pt x="210138" y="241305"/>
                        <a:pt x="232790" y="222348"/>
                        <a:pt x="250302" y="208853"/>
                      </a:cubicBezTo>
                      <a:lnTo>
                        <a:pt x="250302" y="208853"/>
                      </a:lnTo>
                      <a:cubicBezTo>
                        <a:pt x="266850" y="196804"/>
                        <a:pt x="266850" y="196804"/>
                        <a:pt x="279059" y="190056"/>
                      </a:cubicBezTo>
                      <a:cubicBezTo>
                        <a:pt x="275927" y="192305"/>
                        <a:pt x="275364" y="192707"/>
                        <a:pt x="272232" y="194715"/>
                      </a:cubicBezTo>
                      <a:cubicBezTo>
                        <a:pt x="272633" y="194474"/>
                        <a:pt x="273195" y="194233"/>
                        <a:pt x="273597" y="193992"/>
                      </a:cubicBezTo>
                      <a:cubicBezTo>
                        <a:pt x="272794" y="194715"/>
                        <a:pt x="271750" y="195679"/>
                        <a:pt x="270866" y="196402"/>
                      </a:cubicBezTo>
                      <a:cubicBezTo>
                        <a:pt x="275525" y="192948"/>
                        <a:pt x="281068" y="190859"/>
                        <a:pt x="285646" y="187245"/>
                      </a:cubicBezTo>
                      <a:cubicBezTo>
                        <a:pt x="284361" y="189654"/>
                        <a:pt x="283799" y="190779"/>
                        <a:pt x="278015" y="196563"/>
                      </a:cubicBezTo>
                      <a:cubicBezTo>
                        <a:pt x="278095" y="196482"/>
                        <a:pt x="278256" y="196402"/>
                        <a:pt x="278336" y="196322"/>
                      </a:cubicBezTo>
                      <a:cubicBezTo>
                        <a:pt x="278095" y="196884"/>
                        <a:pt x="277854" y="197527"/>
                        <a:pt x="277613" y="198089"/>
                      </a:cubicBezTo>
                      <a:cubicBezTo>
                        <a:pt x="281068" y="197848"/>
                        <a:pt x="282032" y="197767"/>
                        <a:pt x="294000" y="190940"/>
                      </a:cubicBezTo>
                      <a:cubicBezTo>
                        <a:pt x="289663" y="194795"/>
                        <a:pt x="289663" y="194876"/>
                        <a:pt x="289663" y="196402"/>
                      </a:cubicBezTo>
                      <a:cubicBezTo>
                        <a:pt x="271750" y="211022"/>
                        <a:pt x="250222" y="220581"/>
                        <a:pt x="233594" y="237048"/>
                      </a:cubicBezTo>
                      <a:cubicBezTo>
                        <a:pt x="220500" y="246687"/>
                        <a:pt x="214797" y="251186"/>
                        <a:pt x="210138" y="255443"/>
                      </a:cubicBezTo>
                      <a:cubicBezTo>
                        <a:pt x="216323" y="250704"/>
                        <a:pt x="222508" y="245964"/>
                        <a:pt x="228774" y="241305"/>
                      </a:cubicBezTo>
                      <a:cubicBezTo>
                        <a:pt x="216243" y="250945"/>
                        <a:pt x="213110" y="253837"/>
                        <a:pt x="210540" y="256487"/>
                      </a:cubicBezTo>
                      <a:cubicBezTo>
                        <a:pt x="210941" y="256166"/>
                        <a:pt x="211504" y="255684"/>
                        <a:pt x="211905" y="255282"/>
                      </a:cubicBezTo>
                      <a:cubicBezTo>
                        <a:pt x="222749" y="251587"/>
                        <a:pt x="232068" y="243876"/>
                        <a:pt x="239699" y="236727"/>
                      </a:cubicBezTo>
                      <a:cubicBezTo>
                        <a:pt x="238976" y="237128"/>
                        <a:pt x="238253" y="237530"/>
                        <a:pt x="237530" y="237931"/>
                      </a:cubicBezTo>
                      <a:cubicBezTo>
                        <a:pt x="244036" y="234156"/>
                        <a:pt x="246286" y="233353"/>
                        <a:pt x="248535" y="232630"/>
                      </a:cubicBezTo>
                      <a:cubicBezTo>
                        <a:pt x="248856" y="232951"/>
                        <a:pt x="249338" y="233353"/>
                        <a:pt x="249740" y="233594"/>
                      </a:cubicBezTo>
                      <a:cubicBezTo>
                        <a:pt x="249499" y="233995"/>
                        <a:pt x="249097" y="234477"/>
                        <a:pt x="248776" y="234799"/>
                      </a:cubicBezTo>
                      <a:cubicBezTo>
                        <a:pt x="254077" y="232309"/>
                        <a:pt x="260022" y="231666"/>
                        <a:pt x="265404" y="229577"/>
                      </a:cubicBezTo>
                      <a:cubicBezTo>
                        <a:pt x="264359" y="231666"/>
                        <a:pt x="264359" y="231666"/>
                        <a:pt x="242269" y="245563"/>
                      </a:cubicBezTo>
                      <a:cubicBezTo>
                        <a:pt x="244759" y="244920"/>
                        <a:pt x="244759" y="244920"/>
                        <a:pt x="247571" y="243635"/>
                      </a:cubicBezTo>
                      <a:cubicBezTo>
                        <a:pt x="243554" y="247250"/>
                        <a:pt x="228694" y="260182"/>
                        <a:pt x="204836" y="272874"/>
                      </a:cubicBezTo>
                      <a:cubicBezTo>
                        <a:pt x="204917" y="272553"/>
                        <a:pt x="205077" y="272232"/>
                        <a:pt x="205158" y="271910"/>
                      </a:cubicBezTo>
                      <a:cubicBezTo>
                        <a:pt x="206041" y="271348"/>
                        <a:pt x="207166" y="270464"/>
                        <a:pt x="207889" y="269822"/>
                      </a:cubicBezTo>
                      <a:cubicBezTo>
                        <a:pt x="205961" y="270786"/>
                        <a:pt x="204676" y="271428"/>
                        <a:pt x="201222" y="275364"/>
                      </a:cubicBezTo>
                      <a:cubicBezTo>
                        <a:pt x="199374" y="273999"/>
                        <a:pt x="196964" y="272392"/>
                        <a:pt x="189574" y="279541"/>
                      </a:cubicBezTo>
                      <a:cubicBezTo>
                        <a:pt x="189895" y="280023"/>
                        <a:pt x="190297" y="280666"/>
                        <a:pt x="190538" y="281148"/>
                      </a:cubicBezTo>
                      <a:cubicBezTo>
                        <a:pt x="181782" y="289984"/>
                        <a:pt x="180256" y="291751"/>
                        <a:pt x="180095" y="294643"/>
                      </a:cubicBezTo>
                      <a:cubicBezTo>
                        <a:pt x="183630" y="295687"/>
                        <a:pt x="183630" y="295687"/>
                        <a:pt x="199454" y="285807"/>
                      </a:cubicBezTo>
                      <a:cubicBezTo>
                        <a:pt x="199535" y="286209"/>
                        <a:pt x="199695" y="286851"/>
                        <a:pt x="199776" y="287253"/>
                      </a:cubicBezTo>
                      <a:cubicBezTo>
                        <a:pt x="200418" y="287012"/>
                        <a:pt x="201302" y="286691"/>
                        <a:pt x="201945" y="286450"/>
                      </a:cubicBezTo>
                      <a:cubicBezTo>
                        <a:pt x="201543" y="288618"/>
                        <a:pt x="201543" y="288618"/>
                        <a:pt x="199213" y="291109"/>
                      </a:cubicBezTo>
                      <a:cubicBezTo>
                        <a:pt x="198892" y="291028"/>
                        <a:pt x="198490" y="290948"/>
                        <a:pt x="198169" y="290948"/>
                      </a:cubicBezTo>
                      <a:lnTo>
                        <a:pt x="197527" y="293197"/>
                      </a:lnTo>
                      <a:lnTo>
                        <a:pt x="197607" y="293278"/>
                      </a:lnTo>
                      <a:cubicBezTo>
                        <a:pt x="200820" y="291831"/>
                        <a:pt x="200820" y="291831"/>
                        <a:pt x="202507" y="292314"/>
                      </a:cubicBezTo>
                      <a:cubicBezTo>
                        <a:pt x="201784" y="294723"/>
                        <a:pt x="201784" y="294723"/>
                        <a:pt x="199374" y="297776"/>
                      </a:cubicBezTo>
                      <a:cubicBezTo>
                        <a:pt x="200097" y="297455"/>
                        <a:pt x="200981" y="297053"/>
                        <a:pt x="201704" y="296732"/>
                      </a:cubicBezTo>
                      <a:cubicBezTo>
                        <a:pt x="201061" y="297455"/>
                        <a:pt x="200258" y="298499"/>
                        <a:pt x="199695" y="299222"/>
                      </a:cubicBezTo>
                      <a:cubicBezTo>
                        <a:pt x="200258" y="298981"/>
                        <a:pt x="201061" y="298579"/>
                        <a:pt x="201623" y="298338"/>
                      </a:cubicBezTo>
                      <a:cubicBezTo>
                        <a:pt x="201543" y="298418"/>
                        <a:pt x="193671" y="310387"/>
                        <a:pt x="170938" y="322195"/>
                      </a:cubicBezTo>
                      <a:cubicBezTo>
                        <a:pt x="171420" y="322035"/>
                        <a:pt x="172143" y="321794"/>
                        <a:pt x="172625" y="321633"/>
                      </a:cubicBezTo>
                      <a:cubicBezTo>
                        <a:pt x="169894" y="323401"/>
                        <a:pt x="169894" y="323401"/>
                        <a:pt x="167725" y="325168"/>
                      </a:cubicBezTo>
                      <a:cubicBezTo>
                        <a:pt x="173990" y="324686"/>
                        <a:pt x="177926" y="312556"/>
                        <a:pt x="184112" y="318179"/>
                      </a:cubicBezTo>
                      <a:cubicBezTo>
                        <a:pt x="161700" y="338100"/>
                        <a:pt x="158246" y="338743"/>
                        <a:pt x="155515" y="337378"/>
                      </a:cubicBezTo>
                      <a:cubicBezTo>
                        <a:pt x="155435" y="336815"/>
                        <a:pt x="155435" y="336092"/>
                        <a:pt x="155354" y="335530"/>
                      </a:cubicBezTo>
                      <a:cubicBezTo>
                        <a:pt x="154953" y="335209"/>
                        <a:pt x="154390" y="334727"/>
                        <a:pt x="153908" y="334405"/>
                      </a:cubicBezTo>
                      <a:lnTo>
                        <a:pt x="133505" y="361797"/>
                      </a:lnTo>
                      <a:cubicBezTo>
                        <a:pt x="133826" y="362199"/>
                        <a:pt x="134228" y="362761"/>
                        <a:pt x="134549" y="363163"/>
                      </a:cubicBezTo>
                      <a:cubicBezTo>
                        <a:pt x="125713" y="369991"/>
                        <a:pt x="115672" y="375132"/>
                        <a:pt x="106595" y="381638"/>
                      </a:cubicBezTo>
                      <a:cubicBezTo>
                        <a:pt x="106435" y="381156"/>
                        <a:pt x="106194" y="380433"/>
                        <a:pt x="106033" y="379951"/>
                      </a:cubicBezTo>
                      <a:cubicBezTo>
                        <a:pt x="106515" y="379068"/>
                        <a:pt x="107238" y="377943"/>
                        <a:pt x="107720" y="377060"/>
                      </a:cubicBezTo>
                      <a:lnTo>
                        <a:pt x="90289" y="390314"/>
                      </a:lnTo>
                      <a:cubicBezTo>
                        <a:pt x="90690" y="390635"/>
                        <a:pt x="91253" y="391117"/>
                        <a:pt x="91654" y="391438"/>
                      </a:cubicBezTo>
                      <a:cubicBezTo>
                        <a:pt x="90851" y="393447"/>
                        <a:pt x="90690" y="393768"/>
                        <a:pt x="86674" y="397624"/>
                      </a:cubicBezTo>
                      <a:cubicBezTo>
                        <a:pt x="87156" y="397865"/>
                        <a:pt x="87718" y="398186"/>
                        <a:pt x="88200" y="398427"/>
                      </a:cubicBezTo>
                      <a:cubicBezTo>
                        <a:pt x="86915" y="401158"/>
                        <a:pt x="86674" y="401640"/>
                        <a:pt x="82738" y="406138"/>
                      </a:cubicBezTo>
                      <a:cubicBezTo>
                        <a:pt x="88361" y="405415"/>
                        <a:pt x="91092" y="413047"/>
                        <a:pt x="97117" y="411279"/>
                      </a:cubicBezTo>
                      <a:cubicBezTo>
                        <a:pt x="101695" y="409914"/>
                        <a:pt x="104507" y="405014"/>
                        <a:pt x="109648" y="404773"/>
                      </a:cubicBezTo>
                      <a:cubicBezTo>
                        <a:pt x="110290" y="404773"/>
                        <a:pt x="111174" y="404692"/>
                        <a:pt x="111897" y="404773"/>
                      </a:cubicBezTo>
                      <a:cubicBezTo>
                        <a:pt x="115994" y="405174"/>
                        <a:pt x="116395" y="406219"/>
                        <a:pt x="117680" y="409271"/>
                      </a:cubicBezTo>
                      <a:cubicBezTo>
                        <a:pt x="117279" y="409191"/>
                        <a:pt x="116636" y="409110"/>
                        <a:pt x="116235" y="409030"/>
                      </a:cubicBezTo>
                      <a:cubicBezTo>
                        <a:pt x="116476" y="408548"/>
                        <a:pt x="116797" y="407986"/>
                        <a:pt x="117038" y="407504"/>
                      </a:cubicBezTo>
                      <a:cubicBezTo>
                        <a:pt x="98482" y="417706"/>
                        <a:pt x="89405" y="418910"/>
                        <a:pt x="78882" y="420276"/>
                      </a:cubicBezTo>
                      <a:cubicBezTo>
                        <a:pt x="79605" y="419392"/>
                        <a:pt x="80408" y="418027"/>
                        <a:pt x="80971" y="417063"/>
                      </a:cubicBezTo>
                      <a:cubicBezTo>
                        <a:pt x="65066" y="414091"/>
                        <a:pt x="65066" y="414091"/>
                        <a:pt x="63620" y="413368"/>
                      </a:cubicBezTo>
                      <a:cubicBezTo>
                        <a:pt x="64262" y="408709"/>
                        <a:pt x="65869" y="405817"/>
                        <a:pt x="73098" y="396097"/>
                      </a:cubicBezTo>
                      <a:cubicBezTo>
                        <a:pt x="72616" y="396419"/>
                        <a:pt x="71974" y="396820"/>
                        <a:pt x="71572" y="397142"/>
                      </a:cubicBezTo>
                      <a:cubicBezTo>
                        <a:pt x="71653" y="396660"/>
                        <a:pt x="71813" y="396017"/>
                        <a:pt x="71974" y="395535"/>
                      </a:cubicBezTo>
                      <a:cubicBezTo>
                        <a:pt x="71412" y="395776"/>
                        <a:pt x="70689" y="396178"/>
                        <a:pt x="70126" y="396419"/>
                      </a:cubicBezTo>
                      <a:cubicBezTo>
                        <a:pt x="70930" y="394410"/>
                        <a:pt x="70930" y="394410"/>
                        <a:pt x="75508" y="389671"/>
                      </a:cubicBezTo>
                      <a:cubicBezTo>
                        <a:pt x="73339" y="388627"/>
                        <a:pt x="71492" y="387743"/>
                        <a:pt x="65146" y="390876"/>
                      </a:cubicBezTo>
                      <a:cubicBezTo>
                        <a:pt x="64343" y="393929"/>
                        <a:pt x="64343" y="393929"/>
                        <a:pt x="56149" y="402122"/>
                      </a:cubicBezTo>
                      <a:cubicBezTo>
                        <a:pt x="56872" y="402684"/>
                        <a:pt x="57836" y="403488"/>
                        <a:pt x="58559" y="404130"/>
                      </a:cubicBezTo>
                      <a:cubicBezTo>
                        <a:pt x="58238" y="404532"/>
                        <a:pt x="57836" y="405094"/>
                        <a:pt x="57515" y="405496"/>
                      </a:cubicBezTo>
                      <a:cubicBezTo>
                        <a:pt x="57836" y="405174"/>
                        <a:pt x="58318" y="404692"/>
                        <a:pt x="58720" y="404291"/>
                      </a:cubicBezTo>
                      <a:cubicBezTo>
                        <a:pt x="62094" y="411681"/>
                        <a:pt x="50446" y="412163"/>
                        <a:pt x="46912" y="416661"/>
                      </a:cubicBezTo>
                      <a:cubicBezTo>
                        <a:pt x="47394" y="415778"/>
                        <a:pt x="48116" y="414573"/>
                        <a:pt x="48598" y="413689"/>
                      </a:cubicBezTo>
                      <a:cubicBezTo>
                        <a:pt x="47313" y="414573"/>
                        <a:pt x="45707" y="415778"/>
                        <a:pt x="44502" y="416822"/>
                      </a:cubicBezTo>
                      <a:cubicBezTo>
                        <a:pt x="48438" y="410556"/>
                        <a:pt x="52374" y="405496"/>
                        <a:pt x="53820" y="403648"/>
                      </a:cubicBezTo>
                      <a:cubicBezTo>
                        <a:pt x="52213" y="404532"/>
                        <a:pt x="50848" y="405255"/>
                        <a:pt x="40003" y="417866"/>
                      </a:cubicBezTo>
                      <a:cubicBezTo>
                        <a:pt x="40003" y="417947"/>
                        <a:pt x="40003" y="418107"/>
                        <a:pt x="40003" y="418188"/>
                      </a:cubicBezTo>
                      <a:cubicBezTo>
                        <a:pt x="36389" y="421642"/>
                        <a:pt x="16146" y="444134"/>
                        <a:pt x="0" y="466304"/>
                      </a:cubicBezTo>
                      <a:moveTo>
                        <a:pt x="824406" y="1285"/>
                      </a:moveTo>
                      <a:cubicBezTo>
                        <a:pt x="824567" y="1205"/>
                        <a:pt x="828181" y="80"/>
                        <a:pt x="828181" y="0"/>
                      </a:cubicBezTo>
                      <a:lnTo>
                        <a:pt x="828181" y="0"/>
                      </a:lnTo>
                      <a:cubicBezTo>
                        <a:pt x="826977" y="562"/>
                        <a:pt x="825691" y="883"/>
                        <a:pt x="824406" y="1285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0" name="Freeform: Shape 419">
                  <a:extLst>
                    <a:ext uri="{FF2B5EF4-FFF2-40B4-BE49-F238E27FC236}">
                      <a16:creationId xmlns:a16="http://schemas.microsoft.com/office/drawing/2014/main" id="{3A763803-7180-AB20-2419-FA989EC8747D}"/>
                    </a:ext>
                  </a:extLst>
                </p:cNvPr>
                <p:cNvSpPr/>
                <p:nvPr/>
              </p:nvSpPr>
              <p:spPr>
                <a:xfrm>
                  <a:off x="-4645562" y="2428773"/>
                  <a:ext cx="1595634" cy="1933093"/>
                </a:xfrm>
                <a:custGeom>
                  <a:avLst/>
                  <a:gdLst>
                    <a:gd name="connsiteX0" fmla="*/ 534583 w 1595634"/>
                    <a:gd name="connsiteY0" fmla="*/ 1930362 h 1933093"/>
                    <a:gd name="connsiteX1" fmla="*/ 534824 w 1595634"/>
                    <a:gd name="connsiteY1" fmla="*/ 1930442 h 1933093"/>
                    <a:gd name="connsiteX2" fmla="*/ 516107 w 1595634"/>
                    <a:gd name="connsiteY2" fmla="*/ 1932049 h 1933093"/>
                    <a:gd name="connsiteX3" fmla="*/ 527112 w 1595634"/>
                    <a:gd name="connsiteY3" fmla="*/ 1930041 h 1933093"/>
                    <a:gd name="connsiteX4" fmla="*/ 518758 w 1595634"/>
                    <a:gd name="connsiteY4" fmla="*/ 1929398 h 1933093"/>
                    <a:gd name="connsiteX5" fmla="*/ 500042 w 1595634"/>
                    <a:gd name="connsiteY5" fmla="*/ 1929237 h 1933093"/>
                    <a:gd name="connsiteX6" fmla="*/ 529442 w 1595634"/>
                    <a:gd name="connsiteY6" fmla="*/ 1926105 h 1933093"/>
                    <a:gd name="connsiteX7" fmla="*/ 526871 w 1595634"/>
                    <a:gd name="connsiteY7" fmla="*/ 1927069 h 1933093"/>
                    <a:gd name="connsiteX8" fmla="*/ 532896 w 1595634"/>
                    <a:gd name="connsiteY8" fmla="*/ 1926988 h 1933093"/>
                    <a:gd name="connsiteX9" fmla="*/ 549684 w 1595634"/>
                    <a:gd name="connsiteY9" fmla="*/ 1925703 h 1933093"/>
                    <a:gd name="connsiteX10" fmla="*/ 534502 w 1595634"/>
                    <a:gd name="connsiteY10" fmla="*/ 1930282 h 1933093"/>
                    <a:gd name="connsiteX11" fmla="*/ 534583 w 1595634"/>
                    <a:gd name="connsiteY11" fmla="*/ 1930362 h 1933093"/>
                    <a:gd name="connsiteX12" fmla="*/ 492732 w 1595634"/>
                    <a:gd name="connsiteY12" fmla="*/ 1930683 h 1933093"/>
                    <a:gd name="connsiteX13" fmla="*/ 471204 w 1595634"/>
                    <a:gd name="connsiteY13" fmla="*/ 1931245 h 1933093"/>
                    <a:gd name="connsiteX14" fmla="*/ 472730 w 1595634"/>
                    <a:gd name="connsiteY14" fmla="*/ 1931245 h 1933093"/>
                    <a:gd name="connsiteX15" fmla="*/ 492732 w 1595634"/>
                    <a:gd name="connsiteY15" fmla="*/ 1930683 h 1933093"/>
                    <a:gd name="connsiteX16" fmla="*/ 463251 w 1595634"/>
                    <a:gd name="connsiteY16" fmla="*/ 1932370 h 1933093"/>
                    <a:gd name="connsiteX17" fmla="*/ 458110 w 1595634"/>
                    <a:gd name="connsiteY17" fmla="*/ 1932209 h 1933093"/>
                    <a:gd name="connsiteX18" fmla="*/ 456504 w 1595634"/>
                    <a:gd name="connsiteY18" fmla="*/ 1931969 h 1933093"/>
                    <a:gd name="connsiteX19" fmla="*/ 467348 w 1595634"/>
                    <a:gd name="connsiteY19" fmla="*/ 1931888 h 1933093"/>
                    <a:gd name="connsiteX20" fmla="*/ 463251 w 1595634"/>
                    <a:gd name="connsiteY20" fmla="*/ 1932370 h 1933093"/>
                    <a:gd name="connsiteX21" fmla="*/ 432165 w 1595634"/>
                    <a:gd name="connsiteY21" fmla="*/ 1932852 h 1933093"/>
                    <a:gd name="connsiteX22" fmla="*/ 431522 w 1595634"/>
                    <a:gd name="connsiteY22" fmla="*/ 1932852 h 1933093"/>
                    <a:gd name="connsiteX23" fmla="*/ 431843 w 1595634"/>
                    <a:gd name="connsiteY23" fmla="*/ 1932772 h 1933093"/>
                    <a:gd name="connsiteX24" fmla="*/ 448069 w 1595634"/>
                    <a:gd name="connsiteY24" fmla="*/ 1931567 h 1933093"/>
                    <a:gd name="connsiteX25" fmla="*/ 447106 w 1595634"/>
                    <a:gd name="connsiteY25" fmla="*/ 1931647 h 1933093"/>
                    <a:gd name="connsiteX26" fmla="*/ 441563 w 1595634"/>
                    <a:gd name="connsiteY26" fmla="*/ 1932129 h 1933093"/>
                    <a:gd name="connsiteX27" fmla="*/ 437306 w 1595634"/>
                    <a:gd name="connsiteY27" fmla="*/ 1932691 h 1933093"/>
                    <a:gd name="connsiteX28" fmla="*/ 436502 w 1595634"/>
                    <a:gd name="connsiteY28" fmla="*/ 1932772 h 1933093"/>
                    <a:gd name="connsiteX29" fmla="*/ 432165 w 1595634"/>
                    <a:gd name="connsiteY29" fmla="*/ 1932852 h 1933093"/>
                    <a:gd name="connsiteX30" fmla="*/ 615553 w 1595634"/>
                    <a:gd name="connsiteY30" fmla="*/ 1928434 h 1933093"/>
                    <a:gd name="connsiteX31" fmla="*/ 586073 w 1595634"/>
                    <a:gd name="connsiteY31" fmla="*/ 1931245 h 1933093"/>
                    <a:gd name="connsiteX32" fmla="*/ 556432 w 1595634"/>
                    <a:gd name="connsiteY32" fmla="*/ 1933093 h 1933093"/>
                    <a:gd name="connsiteX33" fmla="*/ 556512 w 1595634"/>
                    <a:gd name="connsiteY33" fmla="*/ 1933093 h 1933093"/>
                    <a:gd name="connsiteX34" fmla="*/ 570971 w 1595634"/>
                    <a:gd name="connsiteY34" fmla="*/ 1929960 h 1933093"/>
                    <a:gd name="connsiteX35" fmla="*/ 568401 w 1595634"/>
                    <a:gd name="connsiteY35" fmla="*/ 1930362 h 1933093"/>
                    <a:gd name="connsiteX36" fmla="*/ 568642 w 1595634"/>
                    <a:gd name="connsiteY36" fmla="*/ 1930201 h 1933093"/>
                    <a:gd name="connsiteX37" fmla="*/ 564224 w 1595634"/>
                    <a:gd name="connsiteY37" fmla="*/ 1930362 h 1933093"/>
                    <a:gd name="connsiteX38" fmla="*/ 603424 w 1595634"/>
                    <a:gd name="connsiteY38" fmla="*/ 1925703 h 1933093"/>
                    <a:gd name="connsiteX39" fmla="*/ 619088 w 1595634"/>
                    <a:gd name="connsiteY39" fmla="*/ 1927309 h 1933093"/>
                    <a:gd name="connsiteX40" fmla="*/ 615553 w 1595634"/>
                    <a:gd name="connsiteY40" fmla="*/ 1928434 h 1933093"/>
                    <a:gd name="connsiteX41" fmla="*/ 682547 w 1595634"/>
                    <a:gd name="connsiteY41" fmla="*/ 1854452 h 1933093"/>
                    <a:gd name="connsiteX42" fmla="*/ 681984 w 1595634"/>
                    <a:gd name="connsiteY42" fmla="*/ 1854211 h 1933093"/>
                    <a:gd name="connsiteX43" fmla="*/ 637804 w 1595634"/>
                    <a:gd name="connsiteY43" fmla="*/ 1799990 h 1933093"/>
                    <a:gd name="connsiteX44" fmla="*/ 645114 w 1595634"/>
                    <a:gd name="connsiteY44" fmla="*/ 1798142 h 1933093"/>
                    <a:gd name="connsiteX45" fmla="*/ 611698 w 1595634"/>
                    <a:gd name="connsiteY45" fmla="*/ 1727293 h 1933093"/>
                    <a:gd name="connsiteX46" fmla="*/ 617803 w 1595634"/>
                    <a:gd name="connsiteY46" fmla="*/ 1719421 h 1933093"/>
                    <a:gd name="connsiteX47" fmla="*/ 574425 w 1595634"/>
                    <a:gd name="connsiteY47" fmla="*/ 1665039 h 1933093"/>
                    <a:gd name="connsiteX48" fmla="*/ 536350 w 1595634"/>
                    <a:gd name="connsiteY48" fmla="*/ 1669858 h 1933093"/>
                    <a:gd name="connsiteX49" fmla="*/ 535788 w 1595634"/>
                    <a:gd name="connsiteY49" fmla="*/ 1645358 h 1933093"/>
                    <a:gd name="connsiteX50" fmla="*/ 542053 w 1595634"/>
                    <a:gd name="connsiteY50" fmla="*/ 1650821 h 1933093"/>
                    <a:gd name="connsiteX51" fmla="*/ 549524 w 1595634"/>
                    <a:gd name="connsiteY51" fmla="*/ 1648973 h 1933093"/>
                    <a:gd name="connsiteX52" fmla="*/ 549524 w 1595634"/>
                    <a:gd name="connsiteY52" fmla="*/ 1648973 h 1933093"/>
                    <a:gd name="connsiteX53" fmla="*/ 549524 w 1595634"/>
                    <a:gd name="connsiteY53" fmla="*/ 1648973 h 1933093"/>
                    <a:gd name="connsiteX54" fmla="*/ 549524 w 1595634"/>
                    <a:gd name="connsiteY54" fmla="*/ 1648973 h 1933093"/>
                    <a:gd name="connsiteX55" fmla="*/ 549524 w 1595634"/>
                    <a:gd name="connsiteY55" fmla="*/ 1648973 h 1933093"/>
                    <a:gd name="connsiteX56" fmla="*/ 549524 w 1595634"/>
                    <a:gd name="connsiteY56" fmla="*/ 1648973 h 1933093"/>
                    <a:gd name="connsiteX57" fmla="*/ 549524 w 1595634"/>
                    <a:gd name="connsiteY57" fmla="*/ 1648973 h 1933093"/>
                    <a:gd name="connsiteX58" fmla="*/ 549524 w 1595634"/>
                    <a:gd name="connsiteY58" fmla="*/ 1648973 h 1933093"/>
                    <a:gd name="connsiteX59" fmla="*/ 549524 w 1595634"/>
                    <a:gd name="connsiteY59" fmla="*/ 1648973 h 1933093"/>
                    <a:gd name="connsiteX60" fmla="*/ 534984 w 1595634"/>
                    <a:gd name="connsiteY60" fmla="*/ 1548804 h 1933093"/>
                    <a:gd name="connsiteX61" fmla="*/ 474417 w 1595634"/>
                    <a:gd name="connsiteY61" fmla="*/ 1512737 h 1933093"/>
                    <a:gd name="connsiteX62" fmla="*/ 466304 w 1595634"/>
                    <a:gd name="connsiteY62" fmla="*/ 1514665 h 1933093"/>
                    <a:gd name="connsiteX63" fmla="*/ 463332 w 1595634"/>
                    <a:gd name="connsiteY63" fmla="*/ 1507837 h 1933093"/>
                    <a:gd name="connsiteX64" fmla="*/ 446624 w 1595634"/>
                    <a:gd name="connsiteY64" fmla="*/ 1507837 h 1933093"/>
                    <a:gd name="connsiteX65" fmla="*/ 443410 w 1595634"/>
                    <a:gd name="connsiteY65" fmla="*/ 1499964 h 1933093"/>
                    <a:gd name="connsiteX66" fmla="*/ 448310 w 1595634"/>
                    <a:gd name="connsiteY66" fmla="*/ 1490566 h 1933093"/>
                    <a:gd name="connsiteX67" fmla="*/ 424453 w 1595634"/>
                    <a:gd name="connsiteY67" fmla="*/ 1505186 h 1933093"/>
                    <a:gd name="connsiteX68" fmla="*/ 411119 w 1595634"/>
                    <a:gd name="connsiteY68" fmla="*/ 1493699 h 1933093"/>
                    <a:gd name="connsiteX69" fmla="*/ 414573 w 1595634"/>
                    <a:gd name="connsiteY69" fmla="*/ 1485425 h 1933093"/>
                    <a:gd name="connsiteX70" fmla="*/ 408146 w 1595634"/>
                    <a:gd name="connsiteY70" fmla="*/ 1489201 h 1933093"/>
                    <a:gd name="connsiteX71" fmla="*/ 383887 w 1595634"/>
                    <a:gd name="connsiteY71" fmla="*/ 1460604 h 1933093"/>
                    <a:gd name="connsiteX72" fmla="*/ 389832 w 1595634"/>
                    <a:gd name="connsiteY72" fmla="*/ 1465424 h 1933093"/>
                    <a:gd name="connsiteX73" fmla="*/ 475461 w 1595634"/>
                    <a:gd name="connsiteY73" fmla="*/ 1426384 h 1933093"/>
                    <a:gd name="connsiteX74" fmla="*/ 547997 w 1595634"/>
                    <a:gd name="connsiteY74" fmla="*/ 1344771 h 1933093"/>
                    <a:gd name="connsiteX75" fmla="*/ 612662 w 1595634"/>
                    <a:gd name="connsiteY75" fmla="*/ 1333445 h 1933093"/>
                    <a:gd name="connsiteX76" fmla="*/ 691303 w 1595634"/>
                    <a:gd name="connsiteY76" fmla="*/ 1281633 h 1933093"/>
                    <a:gd name="connsiteX77" fmla="*/ 809465 w 1595634"/>
                    <a:gd name="connsiteY77" fmla="*/ 1245566 h 1933093"/>
                    <a:gd name="connsiteX78" fmla="*/ 1019924 w 1595634"/>
                    <a:gd name="connsiteY78" fmla="*/ 1270709 h 1933093"/>
                    <a:gd name="connsiteX79" fmla="*/ 1004180 w 1595634"/>
                    <a:gd name="connsiteY79" fmla="*/ 1261551 h 1933093"/>
                    <a:gd name="connsiteX80" fmla="*/ 1077841 w 1595634"/>
                    <a:gd name="connsiteY80" fmla="*/ 1276733 h 1933093"/>
                    <a:gd name="connsiteX81" fmla="*/ 1097923 w 1595634"/>
                    <a:gd name="connsiteY81" fmla="*/ 1243718 h 1933093"/>
                    <a:gd name="connsiteX82" fmla="*/ 1337139 w 1595634"/>
                    <a:gd name="connsiteY82" fmla="*/ 1311435 h 1933093"/>
                    <a:gd name="connsiteX83" fmla="*/ 1295610 w 1595634"/>
                    <a:gd name="connsiteY83" fmla="*/ 1544868 h 1933093"/>
                    <a:gd name="connsiteX84" fmla="*/ 1448233 w 1595634"/>
                    <a:gd name="connsiteY84" fmla="*/ 1435381 h 1933093"/>
                    <a:gd name="connsiteX85" fmla="*/ 1447992 w 1595634"/>
                    <a:gd name="connsiteY85" fmla="*/ 1443333 h 1933093"/>
                    <a:gd name="connsiteX86" fmla="*/ 1458113 w 1595634"/>
                    <a:gd name="connsiteY86" fmla="*/ 1432328 h 1933093"/>
                    <a:gd name="connsiteX87" fmla="*/ 1217692 w 1595634"/>
                    <a:gd name="connsiteY87" fmla="*/ 1699901 h 1933093"/>
                    <a:gd name="connsiteX88" fmla="*/ 985705 w 1595634"/>
                    <a:gd name="connsiteY88" fmla="*/ 1832603 h 1933093"/>
                    <a:gd name="connsiteX89" fmla="*/ 903208 w 1595634"/>
                    <a:gd name="connsiteY89" fmla="*/ 1865055 h 1933093"/>
                    <a:gd name="connsiteX90" fmla="*/ 832599 w 1595634"/>
                    <a:gd name="connsiteY90" fmla="*/ 1887547 h 1933093"/>
                    <a:gd name="connsiteX91" fmla="*/ 768899 w 1595634"/>
                    <a:gd name="connsiteY91" fmla="*/ 1903854 h 1933093"/>
                    <a:gd name="connsiteX92" fmla="*/ 708493 w 1595634"/>
                    <a:gd name="connsiteY92" fmla="*/ 1916064 h 1933093"/>
                    <a:gd name="connsiteX93" fmla="*/ 693712 w 1595634"/>
                    <a:gd name="connsiteY93" fmla="*/ 1918554 h 1933093"/>
                    <a:gd name="connsiteX94" fmla="*/ 703834 w 1595634"/>
                    <a:gd name="connsiteY94" fmla="*/ 1916786 h 1933093"/>
                    <a:gd name="connsiteX95" fmla="*/ 730422 w 1595634"/>
                    <a:gd name="connsiteY95" fmla="*/ 1911565 h 1933093"/>
                    <a:gd name="connsiteX96" fmla="*/ 644391 w 1595634"/>
                    <a:gd name="connsiteY96" fmla="*/ 1913975 h 1933093"/>
                    <a:gd name="connsiteX97" fmla="*/ 649693 w 1595634"/>
                    <a:gd name="connsiteY97" fmla="*/ 1903854 h 1933093"/>
                    <a:gd name="connsiteX98" fmla="*/ 620293 w 1595634"/>
                    <a:gd name="connsiteY98" fmla="*/ 1907469 h 1933093"/>
                    <a:gd name="connsiteX99" fmla="*/ 653709 w 1595634"/>
                    <a:gd name="connsiteY99" fmla="*/ 1877104 h 1933093"/>
                    <a:gd name="connsiteX100" fmla="*/ 630414 w 1595634"/>
                    <a:gd name="connsiteY100" fmla="*/ 1890037 h 1933093"/>
                    <a:gd name="connsiteX101" fmla="*/ 571132 w 1595634"/>
                    <a:gd name="connsiteY101" fmla="*/ 1914216 h 1933093"/>
                    <a:gd name="connsiteX102" fmla="*/ 344928 w 1595634"/>
                    <a:gd name="connsiteY102" fmla="*/ 1920401 h 1933093"/>
                    <a:gd name="connsiteX103" fmla="*/ 338663 w 1595634"/>
                    <a:gd name="connsiteY103" fmla="*/ 1919839 h 1933093"/>
                    <a:gd name="connsiteX104" fmla="*/ 338663 w 1595634"/>
                    <a:gd name="connsiteY104" fmla="*/ 1919839 h 1933093"/>
                    <a:gd name="connsiteX105" fmla="*/ 338663 w 1595634"/>
                    <a:gd name="connsiteY105" fmla="*/ 1919839 h 1933093"/>
                    <a:gd name="connsiteX106" fmla="*/ 338663 w 1595634"/>
                    <a:gd name="connsiteY106" fmla="*/ 1919839 h 1933093"/>
                    <a:gd name="connsiteX107" fmla="*/ 338663 w 1595634"/>
                    <a:gd name="connsiteY107" fmla="*/ 1919839 h 1933093"/>
                    <a:gd name="connsiteX108" fmla="*/ 338663 w 1595634"/>
                    <a:gd name="connsiteY108" fmla="*/ 1919839 h 1933093"/>
                    <a:gd name="connsiteX109" fmla="*/ 338663 w 1595634"/>
                    <a:gd name="connsiteY109" fmla="*/ 1919839 h 1933093"/>
                    <a:gd name="connsiteX110" fmla="*/ 338663 w 1595634"/>
                    <a:gd name="connsiteY110" fmla="*/ 1919839 h 1933093"/>
                    <a:gd name="connsiteX111" fmla="*/ 323400 w 1595634"/>
                    <a:gd name="connsiteY111" fmla="*/ 1918554 h 1933093"/>
                    <a:gd name="connsiteX112" fmla="*/ 370232 w 1595634"/>
                    <a:gd name="connsiteY112" fmla="*/ 1924658 h 1933093"/>
                    <a:gd name="connsiteX113" fmla="*/ 325248 w 1595634"/>
                    <a:gd name="connsiteY113" fmla="*/ 1920401 h 1933093"/>
                    <a:gd name="connsiteX114" fmla="*/ 372079 w 1595634"/>
                    <a:gd name="connsiteY114" fmla="*/ 1927711 h 1933093"/>
                    <a:gd name="connsiteX115" fmla="*/ 226364 w 1595634"/>
                    <a:gd name="connsiteY115" fmla="*/ 1904576 h 1933093"/>
                    <a:gd name="connsiteX116" fmla="*/ 106435 w 1595634"/>
                    <a:gd name="connsiteY116" fmla="*/ 1871080 h 1933093"/>
                    <a:gd name="connsiteX117" fmla="*/ 106113 w 1595634"/>
                    <a:gd name="connsiteY117" fmla="*/ 1870999 h 1933093"/>
                    <a:gd name="connsiteX118" fmla="*/ 26107 w 1595634"/>
                    <a:gd name="connsiteY118" fmla="*/ 1833888 h 1933093"/>
                    <a:gd name="connsiteX119" fmla="*/ 74384 w 1595634"/>
                    <a:gd name="connsiteY119" fmla="*/ 1855577 h 1933093"/>
                    <a:gd name="connsiteX120" fmla="*/ 66913 w 1595634"/>
                    <a:gd name="connsiteY120" fmla="*/ 1850596 h 1933093"/>
                    <a:gd name="connsiteX121" fmla="*/ 120974 w 1595634"/>
                    <a:gd name="connsiteY121" fmla="*/ 1866903 h 1933093"/>
                    <a:gd name="connsiteX122" fmla="*/ 54944 w 1595634"/>
                    <a:gd name="connsiteY122" fmla="*/ 1828988 h 1933093"/>
                    <a:gd name="connsiteX123" fmla="*/ 71813 w 1595634"/>
                    <a:gd name="connsiteY123" fmla="*/ 1832281 h 1933093"/>
                    <a:gd name="connsiteX124" fmla="*/ 33256 w 1595634"/>
                    <a:gd name="connsiteY124" fmla="*/ 1813164 h 1933093"/>
                    <a:gd name="connsiteX125" fmla="*/ 119849 w 1595634"/>
                    <a:gd name="connsiteY125" fmla="*/ 1753480 h 1933093"/>
                    <a:gd name="connsiteX126" fmla="*/ 120412 w 1595634"/>
                    <a:gd name="connsiteY126" fmla="*/ 1745688 h 1933093"/>
                    <a:gd name="connsiteX127" fmla="*/ 161379 w 1595634"/>
                    <a:gd name="connsiteY127" fmla="*/ 1750588 h 1933093"/>
                    <a:gd name="connsiteX128" fmla="*/ 157604 w 1595634"/>
                    <a:gd name="connsiteY128" fmla="*/ 1743359 h 1933093"/>
                    <a:gd name="connsiteX129" fmla="*/ 161058 w 1595634"/>
                    <a:gd name="connsiteY129" fmla="*/ 1736932 h 1933093"/>
                    <a:gd name="connsiteX130" fmla="*/ 168528 w 1595634"/>
                    <a:gd name="connsiteY130" fmla="*/ 1735727 h 1933093"/>
                    <a:gd name="connsiteX131" fmla="*/ 238735 w 1595634"/>
                    <a:gd name="connsiteY131" fmla="*/ 1724803 h 1933093"/>
                    <a:gd name="connsiteX132" fmla="*/ 282192 w 1595634"/>
                    <a:gd name="connsiteY132" fmla="*/ 1752436 h 1933093"/>
                    <a:gd name="connsiteX133" fmla="*/ 277292 w 1595634"/>
                    <a:gd name="connsiteY133" fmla="*/ 1760870 h 1933093"/>
                    <a:gd name="connsiteX134" fmla="*/ 412243 w 1595634"/>
                    <a:gd name="connsiteY134" fmla="*/ 1824570 h 1933093"/>
                    <a:gd name="connsiteX135" fmla="*/ 476265 w 1595634"/>
                    <a:gd name="connsiteY135" fmla="*/ 1825132 h 1933093"/>
                    <a:gd name="connsiteX136" fmla="*/ 633386 w 1595634"/>
                    <a:gd name="connsiteY136" fmla="*/ 1849632 h 1933093"/>
                    <a:gd name="connsiteX137" fmla="*/ 594909 w 1595634"/>
                    <a:gd name="connsiteY137" fmla="*/ 1830113 h 1933093"/>
                    <a:gd name="connsiteX138" fmla="*/ 596194 w 1595634"/>
                    <a:gd name="connsiteY138" fmla="*/ 1828908 h 1933093"/>
                    <a:gd name="connsiteX139" fmla="*/ 604227 w 1595634"/>
                    <a:gd name="connsiteY139" fmla="*/ 1833165 h 1933093"/>
                    <a:gd name="connsiteX140" fmla="*/ 682547 w 1595634"/>
                    <a:gd name="connsiteY140" fmla="*/ 1854452 h 1933093"/>
                    <a:gd name="connsiteX141" fmla="*/ 220982 w 1595634"/>
                    <a:gd name="connsiteY141" fmla="*/ 959919 h 1933093"/>
                    <a:gd name="connsiteX142" fmla="*/ 220741 w 1595634"/>
                    <a:gd name="connsiteY142" fmla="*/ 959759 h 1933093"/>
                    <a:gd name="connsiteX143" fmla="*/ 223713 w 1595634"/>
                    <a:gd name="connsiteY143" fmla="*/ 957429 h 1933093"/>
                    <a:gd name="connsiteX144" fmla="*/ 222107 w 1595634"/>
                    <a:gd name="connsiteY144" fmla="*/ 958153 h 1933093"/>
                    <a:gd name="connsiteX145" fmla="*/ 226766 w 1595634"/>
                    <a:gd name="connsiteY145" fmla="*/ 953814 h 1933093"/>
                    <a:gd name="connsiteX146" fmla="*/ 229658 w 1595634"/>
                    <a:gd name="connsiteY146" fmla="*/ 958072 h 1933093"/>
                    <a:gd name="connsiteX147" fmla="*/ 234558 w 1595634"/>
                    <a:gd name="connsiteY147" fmla="*/ 960964 h 1933093"/>
                    <a:gd name="connsiteX148" fmla="*/ 220982 w 1595634"/>
                    <a:gd name="connsiteY148" fmla="*/ 959919 h 1933093"/>
                    <a:gd name="connsiteX149" fmla="*/ 241064 w 1595634"/>
                    <a:gd name="connsiteY149" fmla="*/ 932206 h 1933093"/>
                    <a:gd name="connsiteX150" fmla="*/ 241305 w 1595634"/>
                    <a:gd name="connsiteY150" fmla="*/ 932046 h 1933093"/>
                    <a:gd name="connsiteX151" fmla="*/ 244599 w 1595634"/>
                    <a:gd name="connsiteY151" fmla="*/ 932046 h 1933093"/>
                    <a:gd name="connsiteX152" fmla="*/ 242831 w 1595634"/>
                    <a:gd name="connsiteY152" fmla="*/ 932929 h 1933093"/>
                    <a:gd name="connsiteX153" fmla="*/ 241064 w 1595634"/>
                    <a:gd name="connsiteY153" fmla="*/ 932206 h 1933093"/>
                    <a:gd name="connsiteX154" fmla="*/ 234397 w 1595634"/>
                    <a:gd name="connsiteY154" fmla="*/ 927949 h 1933093"/>
                    <a:gd name="connsiteX155" fmla="*/ 234156 w 1595634"/>
                    <a:gd name="connsiteY155" fmla="*/ 928029 h 1933093"/>
                    <a:gd name="connsiteX156" fmla="*/ 234397 w 1595634"/>
                    <a:gd name="connsiteY156" fmla="*/ 925861 h 1933093"/>
                    <a:gd name="connsiteX157" fmla="*/ 234638 w 1595634"/>
                    <a:gd name="connsiteY157" fmla="*/ 925861 h 1933093"/>
                    <a:gd name="connsiteX158" fmla="*/ 235602 w 1595634"/>
                    <a:gd name="connsiteY158" fmla="*/ 927226 h 1933093"/>
                    <a:gd name="connsiteX159" fmla="*/ 234397 w 1595634"/>
                    <a:gd name="connsiteY159" fmla="*/ 927949 h 1933093"/>
                    <a:gd name="connsiteX160" fmla="*/ 587680 w 1595634"/>
                    <a:gd name="connsiteY160" fmla="*/ 827860 h 1933093"/>
                    <a:gd name="connsiteX161" fmla="*/ 588081 w 1595634"/>
                    <a:gd name="connsiteY161" fmla="*/ 825772 h 1933093"/>
                    <a:gd name="connsiteX162" fmla="*/ 588322 w 1595634"/>
                    <a:gd name="connsiteY162" fmla="*/ 825932 h 1933093"/>
                    <a:gd name="connsiteX163" fmla="*/ 592178 w 1595634"/>
                    <a:gd name="connsiteY163" fmla="*/ 827298 h 1933093"/>
                    <a:gd name="connsiteX164" fmla="*/ 590571 w 1595634"/>
                    <a:gd name="connsiteY164" fmla="*/ 828905 h 1933093"/>
                    <a:gd name="connsiteX165" fmla="*/ 587920 w 1595634"/>
                    <a:gd name="connsiteY165" fmla="*/ 828423 h 1933093"/>
                    <a:gd name="connsiteX166" fmla="*/ 587680 w 1595634"/>
                    <a:gd name="connsiteY166" fmla="*/ 827860 h 1933093"/>
                    <a:gd name="connsiteX167" fmla="*/ 585591 w 1595634"/>
                    <a:gd name="connsiteY167" fmla="*/ 825290 h 1933093"/>
                    <a:gd name="connsiteX168" fmla="*/ 587037 w 1595634"/>
                    <a:gd name="connsiteY168" fmla="*/ 822880 h 1933093"/>
                    <a:gd name="connsiteX169" fmla="*/ 588161 w 1595634"/>
                    <a:gd name="connsiteY169" fmla="*/ 823924 h 1933093"/>
                    <a:gd name="connsiteX170" fmla="*/ 585671 w 1595634"/>
                    <a:gd name="connsiteY170" fmla="*/ 825531 h 1933093"/>
                    <a:gd name="connsiteX171" fmla="*/ 585591 w 1595634"/>
                    <a:gd name="connsiteY171" fmla="*/ 825290 h 1933093"/>
                    <a:gd name="connsiteX172" fmla="*/ 572096 w 1595634"/>
                    <a:gd name="connsiteY172" fmla="*/ 819185 h 1933093"/>
                    <a:gd name="connsiteX173" fmla="*/ 570811 w 1595634"/>
                    <a:gd name="connsiteY173" fmla="*/ 818462 h 1933093"/>
                    <a:gd name="connsiteX174" fmla="*/ 571212 w 1595634"/>
                    <a:gd name="connsiteY174" fmla="*/ 817819 h 1933093"/>
                    <a:gd name="connsiteX175" fmla="*/ 571453 w 1595634"/>
                    <a:gd name="connsiteY175" fmla="*/ 817819 h 1933093"/>
                    <a:gd name="connsiteX176" fmla="*/ 573301 w 1595634"/>
                    <a:gd name="connsiteY176" fmla="*/ 818542 h 1933093"/>
                    <a:gd name="connsiteX177" fmla="*/ 572096 w 1595634"/>
                    <a:gd name="connsiteY177" fmla="*/ 819185 h 1933093"/>
                    <a:gd name="connsiteX178" fmla="*/ 85710 w 1595634"/>
                    <a:gd name="connsiteY178" fmla="*/ 901360 h 1933093"/>
                    <a:gd name="connsiteX179" fmla="*/ 85710 w 1595634"/>
                    <a:gd name="connsiteY179" fmla="*/ 901360 h 1933093"/>
                    <a:gd name="connsiteX180" fmla="*/ 85710 w 1595634"/>
                    <a:gd name="connsiteY180" fmla="*/ 901360 h 1933093"/>
                    <a:gd name="connsiteX181" fmla="*/ 86674 w 1595634"/>
                    <a:gd name="connsiteY181" fmla="*/ 901682 h 1933093"/>
                    <a:gd name="connsiteX182" fmla="*/ 85710 w 1595634"/>
                    <a:gd name="connsiteY182" fmla="*/ 901360 h 1933093"/>
                    <a:gd name="connsiteX183" fmla="*/ 91333 w 1595634"/>
                    <a:gd name="connsiteY183" fmla="*/ 894613 h 1933093"/>
                    <a:gd name="connsiteX184" fmla="*/ 90851 w 1595634"/>
                    <a:gd name="connsiteY184" fmla="*/ 893569 h 1933093"/>
                    <a:gd name="connsiteX185" fmla="*/ 91092 w 1595634"/>
                    <a:gd name="connsiteY185" fmla="*/ 893569 h 1933093"/>
                    <a:gd name="connsiteX186" fmla="*/ 95108 w 1595634"/>
                    <a:gd name="connsiteY186" fmla="*/ 895577 h 1933093"/>
                    <a:gd name="connsiteX187" fmla="*/ 91333 w 1595634"/>
                    <a:gd name="connsiteY187" fmla="*/ 894613 h 1933093"/>
                    <a:gd name="connsiteX188" fmla="*/ 566553 w 1595634"/>
                    <a:gd name="connsiteY188" fmla="*/ 810108 h 1933093"/>
                    <a:gd name="connsiteX189" fmla="*/ 572337 w 1595634"/>
                    <a:gd name="connsiteY189" fmla="*/ 791311 h 1933093"/>
                    <a:gd name="connsiteX190" fmla="*/ 589848 w 1595634"/>
                    <a:gd name="connsiteY190" fmla="*/ 791793 h 1933093"/>
                    <a:gd name="connsiteX191" fmla="*/ 631619 w 1595634"/>
                    <a:gd name="connsiteY191" fmla="*/ 779744 h 1933093"/>
                    <a:gd name="connsiteX192" fmla="*/ 632101 w 1595634"/>
                    <a:gd name="connsiteY192" fmla="*/ 782796 h 1933093"/>
                    <a:gd name="connsiteX193" fmla="*/ 624711 w 1595634"/>
                    <a:gd name="connsiteY193" fmla="*/ 804083 h 1933093"/>
                    <a:gd name="connsiteX194" fmla="*/ 622783 w 1595634"/>
                    <a:gd name="connsiteY194" fmla="*/ 803521 h 1933093"/>
                    <a:gd name="connsiteX195" fmla="*/ 620935 w 1595634"/>
                    <a:gd name="connsiteY195" fmla="*/ 809224 h 1933093"/>
                    <a:gd name="connsiteX196" fmla="*/ 625434 w 1595634"/>
                    <a:gd name="connsiteY196" fmla="*/ 804565 h 1933093"/>
                    <a:gd name="connsiteX197" fmla="*/ 608484 w 1595634"/>
                    <a:gd name="connsiteY197" fmla="*/ 824406 h 1933093"/>
                    <a:gd name="connsiteX198" fmla="*/ 612180 w 1595634"/>
                    <a:gd name="connsiteY198" fmla="*/ 826977 h 1933093"/>
                    <a:gd name="connsiteX199" fmla="*/ 592419 w 1595634"/>
                    <a:gd name="connsiteY199" fmla="*/ 825370 h 1933093"/>
                    <a:gd name="connsiteX200" fmla="*/ 593865 w 1595634"/>
                    <a:gd name="connsiteY200" fmla="*/ 823201 h 1933093"/>
                    <a:gd name="connsiteX201" fmla="*/ 587439 w 1595634"/>
                    <a:gd name="connsiteY201" fmla="*/ 818382 h 1933093"/>
                    <a:gd name="connsiteX202" fmla="*/ 584948 w 1595634"/>
                    <a:gd name="connsiteY202" fmla="*/ 822559 h 1933093"/>
                    <a:gd name="connsiteX203" fmla="*/ 579165 w 1595634"/>
                    <a:gd name="connsiteY203" fmla="*/ 826334 h 1933093"/>
                    <a:gd name="connsiteX204" fmla="*/ 568481 w 1595634"/>
                    <a:gd name="connsiteY204" fmla="*/ 808421 h 1933093"/>
                    <a:gd name="connsiteX205" fmla="*/ 569365 w 1595634"/>
                    <a:gd name="connsiteY205" fmla="*/ 809706 h 1933093"/>
                    <a:gd name="connsiteX206" fmla="*/ 566955 w 1595634"/>
                    <a:gd name="connsiteY206" fmla="*/ 813160 h 1933093"/>
                    <a:gd name="connsiteX207" fmla="*/ 566553 w 1595634"/>
                    <a:gd name="connsiteY207" fmla="*/ 810108 h 1933093"/>
                    <a:gd name="connsiteX208" fmla="*/ 566071 w 1595634"/>
                    <a:gd name="connsiteY208" fmla="*/ 787375 h 1933093"/>
                    <a:gd name="connsiteX209" fmla="*/ 564866 w 1595634"/>
                    <a:gd name="connsiteY209" fmla="*/ 786411 h 1933093"/>
                    <a:gd name="connsiteX210" fmla="*/ 567276 w 1595634"/>
                    <a:gd name="connsiteY210" fmla="*/ 786170 h 1933093"/>
                    <a:gd name="connsiteX211" fmla="*/ 566071 w 1595634"/>
                    <a:gd name="connsiteY211" fmla="*/ 787375 h 1933093"/>
                    <a:gd name="connsiteX212" fmla="*/ 176320 w 1595634"/>
                    <a:gd name="connsiteY212" fmla="*/ 921683 h 1933093"/>
                    <a:gd name="connsiteX213" fmla="*/ 175999 w 1595634"/>
                    <a:gd name="connsiteY213" fmla="*/ 921523 h 1933093"/>
                    <a:gd name="connsiteX214" fmla="*/ 176320 w 1595634"/>
                    <a:gd name="connsiteY214" fmla="*/ 921683 h 1933093"/>
                    <a:gd name="connsiteX215" fmla="*/ 177445 w 1595634"/>
                    <a:gd name="connsiteY215" fmla="*/ 926262 h 1933093"/>
                    <a:gd name="connsiteX216" fmla="*/ 177766 w 1595634"/>
                    <a:gd name="connsiteY216" fmla="*/ 920960 h 1933093"/>
                    <a:gd name="connsiteX217" fmla="*/ 177525 w 1595634"/>
                    <a:gd name="connsiteY217" fmla="*/ 922406 h 1933093"/>
                    <a:gd name="connsiteX218" fmla="*/ 176400 w 1595634"/>
                    <a:gd name="connsiteY218" fmla="*/ 921764 h 1933093"/>
                    <a:gd name="connsiteX219" fmla="*/ 177203 w 1595634"/>
                    <a:gd name="connsiteY219" fmla="*/ 926423 h 1933093"/>
                    <a:gd name="connsiteX220" fmla="*/ 177445 w 1595634"/>
                    <a:gd name="connsiteY220" fmla="*/ 926262 h 1933093"/>
                    <a:gd name="connsiteX221" fmla="*/ 173508 w 1595634"/>
                    <a:gd name="connsiteY221" fmla="*/ 925379 h 1933093"/>
                    <a:gd name="connsiteX222" fmla="*/ 172223 w 1595634"/>
                    <a:gd name="connsiteY222" fmla="*/ 919113 h 1933093"/>
                    <a:gd name="connsiteX223" fmla="*/ 170858 w 1595634"/>
                    <a:gd name="connsiteY223" fmla="*/ 918551 h 1933093"/>
                    <a:gd name="connsiteX224" fmla="*/ 172545 w 1595634"/>
                    <a:gd name="connsiteY224" fmla="*/ 925780 h 1933093"/>
                    <a:gd name="connsiteX225" fmla="*/ 173508 w 1595634"/>
                    <a:gd name="connsiteY225" fmla="*/ 925379 h 1933093"/>
                    <a:gd name="connsiteX226" fmla="*/ 162745 w 1595634"/>
                    <a:gd name="connsiteY226" fmla="*/ 920237 h 1933093"/>
                    <a:gd name="connsiteX227" fmla="*/ 166761 w 1595634"/>
                    <a:gd name="connsiteY227" fmla="*/ 924495 h 1933093"/>
                    <a:gd name="connsiteX228" fmla="*/ 164833 w 1595634"/>
                    <a:gd name="connsiteY228" fmla="*/ 918872 h 1933093"/>
                    <a:gd name="connsiteX229" fmla="*/ 162664 w 1595634"/>
                    <a:gd name="connsiteY229" fmla="*/ 920077 h 1933093"/>
                    <a:gd name="connsiteX230" fmla="*/ 162745 w 1595634"/>
                    <a:gd name="connsiteY230" fmla="*/ 920237 h 1933093"/>
                    <a:gd name="connsiteX231" fmla="*/ 87959 w 1595634"/>
                    <a:gd name="connsiteY231" fmla="*/ 902324 h 1933093"/>
                    <a:gd name="connsiteX232" fmla="*/ 86594 w 1595634"/>
                    <a:gd name="connsiteY232" fmla="*/ 901762 h 1933093"/>
                    <a:gd name="connsiteX233" fmla="*/ 92056 w 1595634"/>
                    <a:gd name="connsiteY233" fmla="*/ 901682 h 1933093"/>
                    <a:gd name="connsiteX234" fmla="*/ 86835 w 1595634"/>
                    <a:gd name="connsiteY234" fmla="*/ 900236 h 1933093"/>
                    <a:gd name="connsiteX235" fmla="*/ 87718 w 1595634"/>
                    <a:gd name="connsiteY235" fmla="*/ 899513 h 1933093"/>
                    <a:gd name="connsiteX236" fmla="*/ 87879 w 1595634"/>
                    <a:gd name="connsiteY236" fmla="*/ 898870 h 1933093"/>
                    <a:gd name="connsiteX237" fmla="*/ 91494 w 1595634"/>
                    <a:gd name="connsiteY237" fmla="*/ 897987 h 1933093"/>
                    <a:gd name="connsiteX238" fmla="*/ 91333 w 1595634"/>
                    <a:gd name="connsiteY238" fmla="*/ 899192 h 1933093"/>
                    <a:gd name="connsiteX239" fmla="*/ 96313 w 1595634"/>
                    <a:gd name="connsiteY239" fmla="*/ 900878 h 1933093"/>
                    <a:gd name="connsiteX240" fmla="*/ 91092 w 1595634"/>
                    <a:gd name="connsiteY240" fmla="*/ 896782 h 1933093"/>
                    <a:gd name="connsiteX241" fmla="*/ 107800 w 1595634"/>
                    <a:gd name="connsiteY241" fmla="*/ 885536 h 1933093"/>
                    <a:gd name="connsiteX242" fmla="*/ 113584 w 1595634"/>
                    <a:gd name="connsiteY242" fmla="*/ 886580 h 1933093"/>
                    <a:gd name="connsiteX243" fmla="*/ 145394 w 1595634"/>
                    <a:gd name="connsiteY243" fmla="*/ 905538 h 1933093"/>
                    <a:gd name="connsiteX244" fmla="*/ 152704 w 1595634"/>
                    <a:gd name="connsiteY244" fmla="*/ 910357 h 1933093"/>
                    <a:gd name="connsiteX245" fmla="*/ 152704 w 1595634"/>
                    <a:gd name="connsiteY245" fmla="*/ 907626 h 1933093"/>
                    <a:gd name="connsiteX246" fmla="*/ 160817 w 1595634"/>
                    <a:gd name="connsiteY246" fmla="*/ 909715 h 1933093"/>
                    <a:gd name="connsiteX247" fmla="*/ 160656 w 1595634"/>
                    <a:gd name="connsiteY247" fmla="*/ 911401 h 1933093"/>
                    <a:gd name="connsiteX248" fmla="*/ 166279 w 1595634"/>
                    <a:gd name="connsiteY248" fmla="*/ 910196 h 1933093"/>
                    <a:gd name="connsiteX249" fmla="*/ 164833 w 1595634"/>
                    <a:gd name="connsiteY249" fmla="*/ 911723 h 1933093"/>
                    <a:gd name="connsiteX250" fmla="*/ 175436 w 1595634"/>
                    <a:gd name="connsiteY250" fmla="*/ 912847 h 1933093"/>
                    <a:gd name="connsiteX251" fmla="*/ 174713 w 1595634"/>
                    <a:gd name="connsiteY251" fmla="*/ 913329 h 1933093"/>
                    <a:gd name="connsiteX252" fmla="*/ 175999 w 1595634"/>
                    <a:gd name="connsiteY252" fmla="*/ 913169 h 1933093"/>
                    <a:gd name="connsiteX253" fmla="*/ 176320 w 1595634"/>
                    <a:gd name="connsiteY253" fmla="*/ 914293 h 1933093"/>
                    <a:gd name="connsiteX254" fmla="*/ 189654 w 1595634"/>
                    <a:gd name="connsiteY254" fmla="*/ 916783 h 1933093"/>
                    <a:gd name="connsiteX255" fmla="*/ 215440 w 1595634"/>
                    <a:gd name="connsiteY255" fmla="*/ 922326 h 1933093"/>
                    <a:gd name="connsiteX256" fmla="*/ 224597 w 1595634"/>
                    <a:gd name="connsiteY256" fmla="*/ 924736 h 1933093"/>
                    <a:gd name="connsiteX257" fmla="*/ 224999 w 1595634"/>
                    <a:gd name="connsiteY257" fmla="*/ 922567 h 1933093"/>
                    <a:gd name="connsiteX258" fmla="*/ 229658 w 1595634"/>
                    <a:gd name="connsiteY258" fmla="*/ 923772 h 1933093"/>
                    <a:gd name="connsiteX259" fmla="*/ 228774 w 1595634"/>
                    <a:gd name="connsiteY259" fmla="*/ 925780 h 1933093"/>
                    <a:gd name="connsiteX260" fmla="*/ 231023 w 1595634"/>
                    <a:gd name="connsiteY260" fmla="*/ 924656 h 1933093"/>
                    <a:gd name="connsiteX261" fmla="*/ 233192 w 1595634"/>
                    <a:gd name="connsiteY261" fmla="*/ 926503 h 1933093"/>
                    <a:gd name="connsiteX262" fmla="*/ 230140 w 1595634"/>
                    <a:gd name="connsiteY262" fmla="*/ 928833 h 1933093"/>
                    <a:gd name="connsiteX263" fmla="*/ 232308 w 1595634"/>
                    <a:gd name="connsiteY263" fmla="*/ 928913 h 1933093"/>
                    <a:gd name="connsiteX264" fmla="*/ 232389 w 1595634"/>
                    <a:gd name="connsiteY264" fmla="*/ 929877 h 1933093"/>
                    <a:gd name="connsiteX265" fmla="*/ 236727 w 1595634"/>
                    <a:gd name="connsiteY265" fmla="*/ 927547 h 1933093"/>
                    <a:gd name="connsiteX266" fmla="*/ 236245 w 1595634"/>
                    <a:gd name="connsiteY266" fmla="*/ 929315 h 1933093"/>
                    <a:gd name="connsiteX267" fmla="*/ 240100 w 1595634"/>
                    <a:gd name="connsiteY267" fmla="*/ 930118 h 1933093"/>
                    <a:gd name="connsiteX268" fmla="*/ 235522 w 1595634"/>
                    <a:gd name="connsiteY268" fmla="*/ 931564 h 1933093"/>
                    <a:gd name="connsiteX269" fmla="*/ 238976 w 1595634"/>
                    <a:gd name="connsiteY269" fmla="*/ 932126 h 1933093"/>
                    <a:gd name="connsiteX270" fmla="*/ 238735 w 1595634"/>
                    <a:gd name="connsiteY270" fmla="*/ 933251 h 1933093"/>
                    <a:gd name="connsiteX271" fmla="*/ 236084 w 1595634"/>
                    <a:gd name="connsiteY271" fmla="*/ 934295 h 1933093"/>
                    <a:gd name="connsiteX272" fmla="*/ 246205 w 1595634"/>
                    <a:gd name="connsiteY272" fmla="*/ 935982 h 1933093"/>
                    <a:gd name="connsiteX273" fmla="*/ 241787 w 1595634"/>
                    <a:gd name="connsiteY273" fmla="*/ 935821 h 1933093"/>
                    <a:gd name="connsiteX274" fmla="*/ 243715 w 1595634"/>
                    <a:gd name="connsiteY274" fmla="*/ 937910 h 1933093"/>
                    <a:gd name="connsiteX275" fmla="*/ 238574 w 1595634"/>
                    <a:gd name="connsiteY275" fmla="*/ 937749 h 1933093"/>
                    <a:gd name="connsiteX276" fmla="*/ 154712 w 1595634"/>
                    <a:gd name="connsiteY276" fmla="*/ 932046 h 1933093"/>
                    <a:gd name="connsiteX277" fmla="*/ 136638 w 1595634"/>
                    <a:gd name="connsiteY277" fmla="*/ 931162 h 1933093"/>
                    <a:gd name="connsiteX278" fmla="*/ 138164 w 1595634"/>
                    <a:gd name="connsiteY278" fmla="*/ 927467 h 1933093"/>
                    <a:gd name="connsiteX279" fmla="*/ 129569 w 1595634"/>
                    <a:gd name="connsiteY279" fmla="*/ 931403 h 1933093"/>
                    <a:gd name="connsiteX280" fmla="*/ 131176 w 1595634"/>
                    <a:gd name="connsiteY280" fmla="*/ 931724 h 1933093"/>
                    <a:gd name="connsiteX281" fmla="*/ 121215 w 1595634"/>
                    <a:gd name="connsiteY281" fmla="*/ 933572 h 1933093"/>
                    <a:gd name="connsiteX282" fmla="*/ 128525 w 1595634"/>
                    <a:gd name="connsiteY282" fmla="*/ 926423 h 1933093"/>
                    <a:gd name="connsiteX283" fmla="*/ 125151 w 1595634"/>
                    <a:gd name="connsiteY283" fmla="*/ 926101 h 1933093"/>
                    <a:gd name="connsiteX284" fmla="*/ 124990 w 1595634"/>
                    <a:gd name="connsiteY284" fmla="*/ 925298 h 1933093"/>
                    <a:gd name="connsiteX285" fmla="*/ 125954 w 1595634"/>
                    <a:gd name="connsiteY285" fmla="*/ 924013 h 1933093"/>
                    <a:gd name="connsiteX286" fmla="*/ 92618 w 1595634"/>
                    <a:gd name="connsiteY286" fmla="*/ 906983 h 1933093"/>
                    <a:gd name="connsiteX287" fmla="*/ 87959 w 1595634"/>
                    <a:gd name="connsiteY287" fmla="*/ 902324 h 1933093"/>
                    <a:gd name="connsiteX288" fmla="*/ 562617 w 1595634"/>
                    <a:gd name="connsiteY288" fmla="*/ 786491 h 1933093"/>
                    <a:gd name="connsiteX289" fmla="*/ 561734 w 1595634"/>
                    <a:gd name="connsiteY289" fmla="*/ 786491 h 1933093"/>
                    <a:gd name="connsiteX290" fmla="*/ 562938 w 1595634"/>
                    <a:gd name="connsiteY290" fmla="*/ 785849 h 1933093"/>
                    <a:gd name="connsiteX291" fmla="*/ 562617 w 1595634"/>
                    <a:gd name="connsiteY291" fmla="*/ 786491 h 1933093"/>
                    <a:gd name="connsiteX292" fmla="*/ 630253 w 1595634"/>
                    <a:gd name="connsiteY292" fmla="*/ 777254 h 1933093"/>
                    <a:gd name="connsiteX293" fmla="*/ 630093 w 1595634"/>
                    <a:gd name="connsiteY293" fmla="*/ 776209 h 1933093"/>
                    <a:gd name="connsiteX294" fmla="*/ 631539 w 1595634"/>
                    <a:gd name="connsiteY294" fmla="*/ 776772 h 1933093"/>
                    <a:gd name="connsiteX295" fmla="*/ 630896 w 1595634"/>
                    <a:gd name="connsiteY295" fmla="*/ 778539 h 1933093"/>
                    <a:gd name="connsiteX296" fmla="*/ 630253 w 1595634"/>
                    <a:gd name="connsiteY296" fmla="*/ 777254 h 1933093"/>
                    <a:gd name="connsiteX297" fmla="*/ 563179 w 1595634"/>
                    <a:gd name="connsiteY297" fmla="*/ 785688 h 1933093"/>
                    <a:gd name="connsiteX298" fmla="*/ 563019 w 1595634"/>
                    <a:gd name="connsiteY298" fmla="*/ 785768 h 1933093"/>
                    <a:gd name="connsiteX299" fmla="*/ 563179 w 1595634"/>
                    <a:gd name="connsiteY299" fmla="*/ 785447 h 1933093"/>
                    <a:gd name="connsiteX300" fmla="*/ 566393 w 1595634"/>
                    <a:gd name="connsiteY300" fmla="*/ 783921 h 1933093"/>
                    <a:gd name="connsiteX301" fmla="*/ 567116 w 1595634"/>
                    <a:gd name="connsiteY301" fmla="*/ 783600 h 1933093"/>
                    <a:gd name="connsiteX302" fmla="*/ 567357 w 1595634"/>
                    <a:gd name="connsiteY302" fmla="*/ 783519 h 1933093"/>
                    <a:gd name="connsiteX303" fmla="*/ 565670 w 1595634"/>
                    <a:gd name="connsiteY303" fmla="*/ 784403 h 1933093"/>
                    <a:gd name="connsiteX304" fmla="*/ 563179 w 1595634"/>
                    <a:gd name="connsiteY304" fmla="*/ 785688 h 1933093"/>
                    <a:gd name="connsiteX305" fmla="*/ 563179 w 1595634"/>
                    <a:gd name="connsiteY305" fmla="*/ 781592 h 1933093"/>
                    <a:gd name="connsiteX306" fmla="*/ 562778 w 1595634"/>
                    <a:gd name="connsiteY306" fmla="*/ 781592 h 1933093"/>
                    <a:gd name="connsiteX307" fmla="*/ 563822 w 1595634"/>
                    <a:gd name="connsiteY307" fmla="*/ 780306 h 1933093"/>
                    <a:gd name="connsiteX308" fmla="*/ 562698 w 1595634"/>
                    <a:gd name="connsiteY308" fmla="*/ 778700 h 1933093"/>
                    <a:gd name="connsiteX309" fmla="*/ 568883 w 1595634"/>
                    <a:gd name="connsiteY309" fmla="*/ 773880 h 1933093"/>
                    <a:gd name="connsiteX310" fmla="*/ 572417 w 1595634"/>
                    <a:gd name="connsiteY310" fmla="*/ 775567 h 1933093"/>
                    <a:gd name="connsiteX311" fmla="*/ 563179 w 1595634"/>
                    <a:gd name="connsiteY311" fmla="*/ 781592 h 1933093"/>
                    <a:gd name="connsiteX312" fmla="*/ 643427 w 1595634"/>
                    <a:gd name="connsiteY312" fmla="*/ 763357 h 1933093"/>
                    <a:gd name="connsiteX313" fmla="*/ 643427 w 1595634"/>
                    <a:gd name="connsiteY313" fmla="*/ 763357 h 1933093"/>
                    <a:gd name="connsiteX314" fmla="*/ 646239 w 1595634"/>
                    <a:gd name="connsiteY314" fmla="*/ 769462 h 1933093"/>
                    <a:gd name="connsiteX315" fmla="*/ 644391 w 1595634"/>
                    <a:gd name="connsiteY315" fmla="*/ 765526 h 1933093"/>
                    <a:gd name="connsiteX316" fmla="*/ 643427 w 1595634"/>
                    <a:gd name="connsiteY316" fmla="*/ 763357 h 1933093"/>
                    <a:gd name="connsiteX317" fmla="*/ 620052 w 1595634"/>
                    <a:gd name="connsiteY317" fmla="*/ 748978 h 1933093"/>
                    <a:gd name="connsiteX318" fmla="*/ 615714 w 1595634"/>
                    <a:gd name="connsiteY318" fmla="*/ 749942 h 1933093"/>
                    <a:gd name="connsiteX319" fmla="*/ 617803 w 1595634"/>
                    <a:gd name="connsiteY319" fmla="*/ 748336 h 1933093"/>
                    <a:gd name="connsiteX320" fmla="*/ 620052 w 1595634"/>
                    <a:gd name="connsiteY320" fmla="*/ 748978 h 1933093"/>
                    <a:gd name="connsiteX321" fmla="*/ 616678 w 1595634"/>
                    <a:gd name="connsiteY321" fmla="*/ 746890 h 1933093"/>
                    <a:gd name="connsiteX322" fmla="*/ 616678 w 1595634"/>
                    <a:gd name="connsiteY322" fmla="*/ 746890 h 1933093"/>
                    <a:gd name="connsiteX323" fmla="*/ 616678 w 1595634"/>
                    <a:gd name="connsiteY323" fmla="*/ 746890 h 1933093"/>
                    <a:gd name="connsiteX324" fmla="*/ 616678 w 1595634"/>
                    <a:gd name="connsiteY324" fmla="*/ 746890 h 1933093"/>
                    <a:gd name="connsiteX325" fmla="*/ 616678 w 1595634"/>
                    <a:gd name="connsiteY325" fmla="*/ 746890 h 1933093"/>
                    <a:gd name="connsiteX326" fmla="*/ 616678 w 1595634"/>
                    <a:gd name="connsiteY326" fmla="*/ 746890 h 1933093"/>
                    <a:gd name="connsiteX327" fmla="*/ 616678 w 1595634"/>
                    <a:gd name="connsiteY327" fmla="*/ 746890 h 1933093"/>
                    <a:gd name="connsiteX328" fmla="*/ 616678 w 1595634"/>
                    <a:gd name="connsiteY328" fmla="*/ 746890 h 1933093"/>
                    <a:gd name="connsiteX329" fmla="*/ 616678 w 1595634"/>
                    <a:gd name="connsiteY329" fmla="*/ 746890 h 1933093"/>
                    <a:gd name="connsiteX330" fmla="*/ 616678 w 1595634"/>
                    <a:gd name="connsiteY330" fmla="*/ 746890 h 1933093"/>
                    <a:gd name="connsiteX331" fmla="*/ 616678 w 1595634"/>
                    <a:gd name="connsiteY331" fmla="*/ 746890 h 1933093"/>
                    <a:gd name="connsiteX332" fmla="*/ 616678 w 1595634"/>
                    <a:gd name="connsiteY332" fmla="*/ 746890 h 1933093"/>
                    <a:gd name="connsiteX333" fmla="*/ 616678 w 1595634"/>
                    <a:gd name="connsiteY333" fmla="*/ 746890 h 1933093"/>
                    <a:gd name="connsiteX334" fmla="*/ 616678 w 1595634"/>
                    <a:gd name="connsiteY334" fmla="*/ 746890 h 1933093"/>
                    <a:gd name="connsiteX335" fmla="*/ 616678 w 1595634"/>
                    <a:gd name="connsiteY335" fmla="*/ 746890 h 1933093"/>
                    <a:gd name="connsiteX336" fmla="*/ 616678 w 1595634"/>
                    <a:gd name="connsiteY336" fmla="*/ 746890 h 1933093"/>
                    <a:gd name="connsiteX337" fmla="*/ 616678 w 1595634"/>
                    <a:gd name="connsiteY337" fmla="*/ 746890 h 1933093"/>
                    <a:gd name="connsiteX338" fmla="*/ 616678 w 1595634"/>
                    <a:gd name="connsiteY338" fmla="*/ 746890 h 1933093"/>
                    <a:gd name="connsiteX339" fmla="*/ 616598 w 1595634"/>
                    <a:gd name="connsiteY339" fmla="*/ 746890 h 1933093"/>
                    <a:gd name="connsiteX340" fmla="*/ 616598 w 1595634"/>
                    <a:gd name="connsiteY340" fmla="*/ 746890 h 1933093"/>
                    <a:gd name="connsiteX341" fmla="*/ 616598 w 1595634"/>
                    <a:gd name="connsiteY341" fmla="*/ 746890 h 1933093"/>
                    <a:gd name="connsiteX342" fmla="*/ 616598 w 1595634"/>
                    <a:gd name="connsiteY342" fmla="*/ 746890 h 1933093"/>
                    <a:gd name="connsiteX343" fmla="*/ 616598 w 1595634"/>
                    <a:gd name="connsiteY343" fmla="*/ 746890 h 1933093"/>
                    <a:gd name="connsiteX344" fmla="*/ 616598 w 1595634"/>
                    <a:gd name="connsiteY344" fmla="*/ 746890 h 1933093"/>
                    <a:gd name="connsiteX345" fmla="*/ 616598 w 1595634"/>
                    <a:gd name="connsiteY345" fmla="*/ 746890 h 1933093"/>
                    <a:gd name="connsiteX346" fmla="*/ 616598 w 1595634"/>
                    <a:gd name="connsiteY346" fmla="*/ 746890 h 1933093"/>
                    <a:gd name="connsiteX347" fmla="*/ 616598 w 1595634"/>
                    <a:gd name="connsiteY347" fmla="*/ 746890 h 1933093"/>
                    <a:gd name="connsiteX348" fmla="*/ 616598 w 1595634"/>
                    <a:gd name="connsiteY348" fmla="*/ 746890 h 1933093"/>
                    <a:gd name="connsiteX349" fmla="*/ 616598 w 1595634"/>
                    <a:gd name="connsiteY349" fmla="*/ 746890 h 1933093"/>
                    <a:gd name="connsiteX350" fmla="*/ 616598 w 1595634"/>
                    <a:gd name="connsiteY350" fmla="*/ 746890 h 1933093"/>
                    <a:gd name="connsiteX351" fmla="*/ 616598 w 1595634"/>
                    <a:gd name="connsiteY351" fmla="*/ 746890 h 1933093"/>
                    <a:gd name="connsiteX352" fmla="*/ 616598 w 1595634"/>
                    <a:gd name="connsiteY352" fmla="*/ 746890 h 1933093"/>
                    <a:gd name="connsiteX353" fmla="*/ 616598 w 1595634"/>
                    <a:gd name="connsiteY353" fmla="*/ 746890 h 1933093"/>
                    <a:gd name="connsiteX354" fmla="*/ 616517 w 1595634"/>
                    <a:gd name="connsiteY354" fmla="*/ 746890 h 1933093"/>
                    <a:gd name="connsiteX355" fmla="*/ 616517 w 1595634"/>
                    <a:gd name="connsiteY355" fmla="*/ 746890 h 1933093"/>
                    <a:gd name="connsiteX356" fmla="*/ 616517 w 1595634"/>
                    <a:gd name="connsiteY356" fmla="*/ 746890 h 1933093"/>
                    <a:gd name="connsiteX357" fmla="*/ 616517 w 1595634"/>
                    <a:gd name="connsiteY357" fmla="*/ 746890 h 1933093"/>
                    <a:gd name="connsiteX358" fmla="*/ 616517 w 1595634"/>
                    <a:gd name="connsiteY358" fmla="*/ 746890 h 1933093"/>
                    <a:gd name="connsiteX359" fmla="*/ 616517 w 1595634"/>
                    <a:gd name="connsiteY359" fmla="*/ 746890 h 1933093"/>
                    <a:gd name="connsiteX360" fmla="*/ 616517 w 1595634"/>
                    <a:gd name="connsiteY360" fmla="*/ 746890 h 1933093"/>
                    <a:gd name="connsiteX361" fmla="*/ 616517 w 1595634"/>
                    <a:gd name="connsiteY361" fmla="*/ 746890 h 1933093"/>
                    <a:gd name="connsiteX362" fmla="*/ 616517 w 1595634"/>
                    <a:gd name="connsiteY362" fmla="*/ 746890 h 1933093"/>
                    <a:gd name="connsiteX363" fmla="*/ 616517 w 1595634"/>
                    <a:gd name="connsiteY363" fmla="*/ 746890 h 1933093"/>
                    <a:gd name="connsiteX364" fmla="*/ 616517 w 1595634"/>
                    <a:gd name="connsiteY364" fmla="*/ 746890 h 1933093"/>
                    <a:gd name="connsiteX365" fmla="*/ 616517 w 1595634"/>
                    <a:gd name="connsiteY365" fmla="*/ 746890 h 1933093"/>
                    <a:gd name="connsiteX366" fmla="*/ 616517 w 1595634"/>
                    <a:gd name="connsiteY366" fmla="*/ 746890 h 1933093"/>
                    <a:gd name="connsiteX367" fmla="*/ 616517 w 1595634"/>
                    <a:gd name="connsiteY367" fmla="*/ 746890 h 1933093"/>
                    <a:gd name="connsiteX368" fmla="*/ 616517 w 1595634"/>
                    <a:gd name="connsiteY368" fmla="*/ 746890 h 1933093"/>
                    <a:gd name="connsiteX369" fmla="*/ 616437 w 1595634"/>
                    <a:gd name="connsiteY369" fmla="*/ 746890 h 1933093"/>
                    <a:gd name="connsiteX370" fmla="*/ 616437 w 1595634"/>
                    <a:gd name="connsiteY370" fmla="*/ 746890 h 1933093"/>
                    <a:gd name="connsiteX371" fmla="*/ 616437 w 1595634"/>
                    <a:gd name="connsiteY371" fmla="*/ 746890 h 1933093"/>
                    <a:gd name="connsiteX372" fmla="*/ 616437 w 1595634"/>
                    <a:gd name="connsiteY372" fmla="*/ 746890 h 1933093"/>
                    <a:gd name="connsiteX373" fmla="*/ 616437 w 1595634"/>
                    <a:gd name="connsiteY373" fmla="*/ 746890 h 1933093"/>
                    <a:gd name="connsiteX374" fmla="*/ 616437 w 1595634"/>
                    <a:gd name="connsiteY374" fmla="*/ 746890 h 1933093"/>
                    <a:gd name="connsiteX375" fmla="*/ 616437 w 1595634"/>
                    <a:gd name="connsiteY375" fmla="*/ 746890 h 1933093"/>
                    <a:gd name="connsiteX376" fmla="*/ 616437 w 1595634"/>
                    <a:gd name="connsiteY376" fmla="*/ 746890 h 1933093"/>
                    <a:gd name="connsiteX377" fmla="*/ 616437 w 1595634"/>
                    <a:gd name="connsiteY377" fmla="*/ 746890 h 1933093"/>
                    <a:gd name="connsiteX378" fmla="*/ 616437 w 1595634"/>
                    <a:gd name="connsiteY378" fmla="*/ 746890 h 1933093"/>
                    <a:gd name="connsiteX379" fmla="*/ 616437 w 1595634"/>
                    <a:gd name="connsiteY379" fmla="*/ 746890 h 1933093"/>
                    <a:gd name="connsiteX380" fmla="*/ 616437 w 1595634"/>
                    <a:gd name="connsiteY380" fmla="*/ 746890 h 1933093"/>
                    <a:gd name="connsiteX381" fmla="*/ 616357 w 1595634"/>
                    <a:gd name="connsiteY381" fmla="*/ 746890 h 1933093"/>
                    <a:gd name="connsiteX382" fmla="*/ 616357 w 1595634"/>
                    <a:gd name="connsiteY382" fmla="*/ 746890 h 1933093"/>
                    <a:gd name="connsiteX383" fmla="*/ 616357 w 1595634"/>
                    <a:gd name="connsiteY383" fmla="*/ 746890 h 1933093"/>
                    <a:gd name="connsiteX384" fmla="*/ 616357 w 1595634"/>
                    <a:gd name="connsiteY384" fmla="*/ 746890 h 1933093"/>
                    <a:gd name="connsiteX385" fmla="*/ 616357 w 1595634"/>
                    <a:gd name="connsiteY385" fmla="*/ 746890 h 1933093"/>
                    <a:gd name="connsiteX386" fmla="*/ 616357 w 1595634"/>
                    <a:gd name="connsiteY386" fmla="*/ 746890 h 1933093"/>
                    <a:gd name="connsiteX387" fmla="*/ 616276 w 1595634"/>
                    <a:gd name="connsiteY387" fmla="*/ 746890 h 1933093"/>
                    <a:gd name="connsiteX388" fmla="*/ 616276 w 1595634"/>
                    <a:gd name="connsiteY388" fmla="*/ 746890 h 1933093"/>
                    <a:gd name="connsiteX389" fmla="*/ 616276 w 1595634"/>
                    <a:gd name="connsiteY389" fmla="*/ 746890 h 1933093"/>
                    <a:gd name="connsiteX390" fmla="*/ 616276 w 1595634"/>
                    <a:gd name="connsiteY390" fmla="*/ 746890 h 1933093"/>
                    <a:gd name="connsiteX391" fmla="*/ 616276 w 1595634"/>
                    <a:gd name="connsiteY391" fmla="*/ 746890 h 1933093"/>
                    <a:gd name="connsiteX392" fmla="*/ 616276 w 1595634"/>
                    <a:gd name="connsiteY392" fmla="*/ 746890 h 1933093"/>
                    <a:gd name="connsiteX393" fmla="*/ 616276 w 1595634"/>
                    <a:gd name="connsiteY393" fmla="*/ 746890 h 1933093"/>
                    <a:gd name="connsiteX394" fmla="*/ 616276 w 1595634"/>
                    <a:gd name="connsiteY394" fmla="*/ 746890 h 1933093"/>
                    <a:gd name="connsiteX395" fmla="*/ 616276 w 1595634"/>
                    <a:gd name="connsiteY395" fmla="*/ 746890 h 1933093"/>
                    <a:gd name="connsiteX396" fmla="*/ 616196 w 1595634"/>
                    <a:gd name="connsiteY396" fmla="*/ 746890 h 1933093"/>
                    <a:gd name="connsiteX397" fmla="*/ 616196 w 1595634"/>
                    <a:gd name="connsiteY397" fmla="*/ 746890 h 1933093"/>
                    <a:gd name="connsiteX398" fmla="*/ 616196 w 1595634"/>
                    <a:gd name="connsiteY398" fmla="*/ 746890 h 1933093"/>
                    <a:gd name="connsiteX399" fmla="*/ 616196 w 1595634"/>
                    <a:gd name="connsiteY399" fmla="*/ 746970 h 1933093"/>
                    <a:gd name="connsiteX400" fmla="*/ 616196 w 1595634"/>
                    <a:gd name="connsiteY400" fmla="*/ 746970 h 1933093"/>
                    <a:gd name="connsiteX401" fmla="*/ 616196 w 1595634"/>
                    <a:gd name="connsiteY401" fmla="*/ 746970 h 1933093"/>
                    <a:gd name="connsiteX402" fmla="*/ 616116 w 1595634"/>
                    <a:gd name="connsiteY402" fmla="*/ 746970 h 1933093"/>
                    <a:gd name="connsiteX403" fmla="*/ 616116 w 1595634"/>
                    <a:gd name="connsiteY403" fmla="*/ 746970 h 1933093"/>
                    <a:gd name="connsiteX404" fmla="*/ 616116 w 1595634"/>
                    <a:gd name="connsiteY404" fmla="*/ 746970 h 1933093"/>
                    <a:gd name="connsiteX405" fmla="*/ 616116 w 1595634"/>
                    <a:gd name="connsiteY405" fmla="*/ 746970 h 1933093"/>
                    <a:gd name="connsiteX406" fmla="*/ 616116 w 1595634"/>
                    <a:gd name="connsiteY406" fmla="*/ 746970 h 1933093"/>
                    <a:gd name="connsiteX407" fmla="*/ 616116 w 1595634"/>
                    <a:gd name="connsiteY407" fmla="*/ 746970 h 1933093"/>
                    <a:gd name="connsiteX408" fmla="*/ 616035 w 1595634"/>
                    <a:gd name="connsiteY408" fmla="*/ 746970 h 1933093"/>
                    <a:gd name="connsiteX409" fmla="*/ 616035 w 1595634"/>
                    <a:gd name="connsiteY409" fmla="*/ 746970 h 1933093"/>
                    <a:gd name="connsiteX410" fmla="*/ 616035 w 1595634"/>
                    <a:gd name="connsiteY410" fmla="*/ 746970 h 1933093"/>
                    <a:gd name="connsiteX411" fmla="*/ 616035 w 1595634"/>
                    <a:gd name="connsiteY411" fmla="*/ 746970 h 1933093"/>
                    <a:gd name="connsiteX412" fmla="*/ 616035 w 1595634"/>
                    <a:gd name="connsiteY412" fmla="*/ 746970 h 1933093"/>
                    <a:gd name="connsiteX413" fmla="*/ 616035 w 1595634"/>
                    <a:gd name="connsiteY413" fmla="*/ 746970 h 1933093"/>
                    <a:gd name="connsiteX414" fmla="*/ 615955 w 1595634"/>
                    <a:gd name="connsiteY414" fmla="*/ 746970 h 1933093"/>
                    <a:gd name="connsiteX415" fmla="*/ 615955 w 1595634"/>
                    <a:gd name="connsiteY415" fmla="*/ 746970 h 1933093"/>
                    <a:gd name="connsiteX416" fmla="*/ 615955 w 1595634"/>
                    <a:gd name="connsiteY416" fmla="*/ 746970 h 1933093"/>
                    <a:gd name="connsiteX417" fmla="*/ 615955 w 1595634"/>
                    <a:gd name="connsiteY417" fmla="*/ 746970 h 1933093"/>
                    <a:gd name="connsiteX418" fmla="*/ 615955 w 1595634"/>
                    <a:gd name="connsiteY418" fmla="*/ 746970 h 1933093"/>
                    <a:gd name="connsiteX419" fmla="*/ 615955 w 1595634"/>
                    <a:gd name="connsiteY419" fmla="*/ 746970 h 1933093"/>
                    <a:gd name="connsiteX420" fmla="*/ 615875 w 1595634"/>
                    <a:gd name="connsiteY420" fmla="*/ 746970 h 1933093"/>
                    <a:gd name="connsiteX421" fmla="*/ 615875 w 1595634"/>
                    <a:gd name="connsiteY421" fmla="*/ 746970 h 1933093"/>
                    <a:gd name="connsiteX422" fmla="*/ 615875 w 1595634"/>
                    <a:gd name="connsiteY422" fmla="*/ 746970 h 1933093"/>
                    <a:gd name="connsiteX423" fmla="*/ 615875 w 1595634"/>
                    <a:gd name="connsiteY423" fmla="*/ 746970 h 1933093"/>
                    <a:gd name="connsiteX424" fmla="*/ 615875 w 1595634"/>
                    <a:gd name="connsiteY424" fmla="*/ 746970 h 1933093"/>
                    <a:gd name="connsiteX425" fmla="*/ 615875 w 1595634"/>
                    <a:gd name="connsiteY425" fmla="*/ 746970 h 1933093"/>
                    <a:gd name="connsiteX426" fmla="*/ 615794 w 1595634"/>
                    <a:gd name="connsiteY426" fmla="*/ 746970 h 1933093"/>
                    <a:gd name="connsiteX427" fmla="*/ 615794 w 1595634"/>
                    <a:gd name="connsiteY427" fmla="*/ 746970 h 1933093"/>
                    <a:gd name="connsiteX428" fmla="*/ 615794 w 1595634"/>
                    <a:gd name="connsiteY428" fmla="*/ 746970 h 1933093"/>
                    <a:gd name="connsiteX429" fmla="*/ 615714 w 1595634"/>
                    <a:gd name="connsiteY429" fmla="*/ 746970 h 1933093"/>
                    <a:gd name="connsiteX430" fmla="*/ 615714 w 1595634"/>
                    <a:gd name="connsiteY430" fmla="*/ 746970 h 1933093"/>
                    <a:gd name="connsiteX431" fmla="*/ 615714 w 1595634"/>
                    <a:gd name="connsiteY431" fmla="*/ 746970 h 1933093"/>
                    <a:gd name="connsiteX432" fmla="*/ 615714 w 1595634"/>
                    <a:gd name="connsiteY432" fmla="*/ 746970 h 1933093"/>
                    <a:gd name="connsiteX433" fmla="*/ 615714 w 1595634"/>
                    <a:gd name="connsiteY433" fmla="*/ 746970 h 1933093"/>
                    <a:gd name="connsiteX434" fmla="*/ 615714 w 1595634"/>
                    <a:gd name="connsiteY434" fmla="*/ 746970 h 1933093"/>
                    <a:gd name="connsiteX435" fmla="*/ 615634 w 1595634"/>
                    <a:gd name="connsiteY435" fmla="*/ 746970 h 1933093"/>
                    <a:gd name="connsiteX436" fmla="*/ 615634 w 1595634"/>
                    <a:gd name="connsiteY436" fmla="*/ 746970 h 1933093"/>
                    <a:gd name="connsiteX437" fmla="*/ 615634 w 1595634"/>
                    <a:gd name="connsiteY437" fmla="*/ 746970 h 1933093"/>
                    <a:gd name="connsiteX438" fmla="*/ 615634 w 1595634"/>
                    <a:gd name="connsiteY438" fmla="*/ 746970 h 1933093"/>
                    <a:gd name="connsiteX439" fmla="*/ 615634 w 1595634"/>
                    <a:gd name="connsiteY439" fmla="*/ 746970 h 1933093"/>
                    <a:gd name="connsiteX440" fmla="*/ 615634 w 1595634"/>
                    <a:gd name="connsiteY440" fmla="*/ 746970 h 1933093"/>
                    <a:gd name="connsiteX441" fmla="*/ 615553 w 1595634"/>
                    <a:gd name="connsiteY441" fmla="*/ 747050 h 1933093"/>
                    <a:gd name="connsiteX442" fmla="*/ 615553 w 1595634"/>
                    <a:gd name="connsiteY442" fmla="*/ 747050 h 1933093"/>
                    <a:gd name="connsiteX443" fmla="*/ 615553 w 1595634"/>
                    <a:gd name="connsiteY443" fmla="*/ 747050 h 1933093"/>
                    <a:gd name="connsiteX444" fmla="*/ 615473 w 1595634"/>
                    <a:gd name="connsiteY444" fmla="*/ 747050 h 1933093"/>
                    <a:gd name="connsiteX445" fmla="*/ 615393 w 1595634"/>
                    <a:gd name="connsiteY445" fmla="*/ 747050 h 1933093"/>
                    <a:gd name="connsiteX446" fmla="*/ 615473 w 1595634"/>
                    <a:gd name="connsiteY446" fmla="*/ 747050 h 1933093"/>
                    <a:gd name="connsiteX447" fmla="*/ 615393 w 1595634"/>
                    <a:gd name="connsiteY447" fmla="*/ 747050 h 1933093"/>
                    <a:gd name="connsiteX448" fmla="*/ 615393 w 1595634"/>
                    <a:gd name="connsiteY448" fmla="*/ 747050 h 1933093"/>
                    <a:gd name="connsiteX449" fmla="*/ 615393 w 1595634"/>
                    <a:gd name="connsiteY449" fmla="*/ 747050 h 1933093"/>
                    <a:gd name="connsiteX450" fmla="*/ 615393 w 1595634"/>
                    <a:gd name="connsiteY450" fmla="*/ 747050 h 1933093"/>
                    <a:gd name="connsiteX451" fmla="*/ 615312 w 1595634"/>
                    <a:gd name="connsiteY451" fmla="*/ 747050 h 1933093"/>
                    <a:gd name="connsiteX452" fmla="*/ 615393 w 1595634"/>
                    <a:gd name="connsiteY452" fmla="*/ 747050 h 1933093"/>
                    <a:gd name="connsiteX453" fmla="*/ 615312 w 1595634"/>
                    <a:gd name="connsiteY453" fmla="*/ 747050 h 1933093"/>
                    <a:gd name="connsiteX454" fmla="*/ 615312 w 1595634"/>
                    <a:gd name="connsiteY454" fmla="*/ 747050 h 1933093"/>
                    <a:gd name="connsiteX455" fmla="*/ 615312 w 1595634"/>
                    <a:gd name="connsiteY455" fmla="*/ 747050 h 1933093"/>
                    <a:gd name="connsiteX456" fmla="*/ 615232 w 1595634"/>
                    <a:gd name="connsiteY456" fmla="*/ 747050 h 1933093"/>
                    <a:gd name="connsiteX457" fmla="*/ 615152 w 1595634"/>
                    <a:gd name="connsiteY457" fmla="*/ 747050 h 1933093"/>
                    <a:gd name="connsiteX458" fmla="*/ 615232 w 1595634"/>
                    <a:gd name="connsiteY458" fmla="*/ 747050 h 1933093"/>
                    <a:gd name="connsiteX459" fmla="*/ 615152 w 1595634"/>
                    <a:gd name="connsiteY459" fmla="*/ 747050 h 1933093"/>
                    <a:gd name="connsiteX460" fmla="*/ 615152 w 1595634"/>
                    <a:gd name="connsiteY460" fmla="*/ 747050 h 1933093"/>
                    <a:gd name="connsiteX461" fmla="*/ 615152 w 1595634"/>
                    <a:gd name="connsiteY461" fmla="*/ 747050 h 1933093"/>
                    <a:gd name="connsiteX462" fmla="*/ 615152 w 1595634"/>
                    <a:gd name="connsiteY462" fmla="*/ 747050 h 1933093"/>
                    <a:gd name="connsiteX463" fmla="*/ 614991 w 1595634"/>
                    <a:gd name="connsiteY463" fmla="*/ 747050 h 1933093"/>
                    <a:gd name="connsiteX464" fmla="*/ 615152 w 1595634"/>
                    <a:gd name="connsiteY464" fmla="*/ 747050 h 1933093"/>
                    <a:gd name="connsiteX465" fmla="*/ 614991 w 1595634"/>
                    <a:gd name="connsiteY465" fmla="*/ 747050 h 1933093"/>
                    <a:gd name="connsiteX466" fmla="*/ 614991 w 1595634"/>
                    <a:gd name="connsiteY466" fmla="*/ 747050 h 1933093"/>
                    <a:gd name="connsiteX467" fmla="*/ 614991 w 1595634"/>
                    <a:gd name="connsiteY467" fmla="*/ 747050 h 1933093"/>
                    <a:gd name="connsiteX468" fmla="*/ 614911 w 1595634"/>
                    <a:gd name="connsiteY468" fmla="*/ 747131 h 1933093"/>
                    <a:gd name="connsiteX469" fmla="*/ 615071 w 1595634"/>
                    <a:gd name="connsiteY469" fmla="*/ 747131 h 1933093"/>
                    <a:gd name="connsiteX470" fmla="*/ 614911 w 1595634"/>
                    <a:gd name="connsiteY470" fmla="*/ 747131 h 1933093"/>
                    <a:gd name="connsiteX471" fmla="*/ 614911 w 1595634"/>
                    <a:gd name="connsiteY471" fmla="*/ 747131 h 1933093"/>
                    <a:gd name="connsiteX472" fmla="*/ 614911 w 1595634"/>
                    <a:gd name="connsiteY472" fmla="*/ 747131 h 1933093"/>
                    <a:gd name="connsiteX473" fmla="*/ 614911 w 1595634"/>
                    <a:gd name="connsiteY473" fmla="*/ 747131 h 1933093"/>
                    <a:gd name="connsiteX474" fmla="*/ 614750 w 1595634"/>
                    <a:gd name="connsiteY474" fmla="*/ 747131 h 1933093"/>
                    <a:gd name="connsiteX475" fmla="*/ 614911 w 1595634"/>
                    <a:gd name="connsiteY475" fmla="*/ 747131 h 1933093"/>
                    <a:gd name="connsiteX476" fmla="*/ 614750 w 1595634"/>
                    <a:gd name="connsiteY476" fmla="*/ 747131 h 1933093"/>
                    <a:gd name="connsiteX477" fmla="*/ 614750 w 1595634"/>
                    <a:gd name="connsiteY477" fmla="*/ 747131 h 1933093"/>
                    <a:gd name="connsiteX478" fmla="*/ 614750 w 1595634"/>
                    <a:gd name="connsiteY478" fmla="*/ 747131 h 1933093"/>
                    <a:gd name="connsiteX479" fmla="*/ 614750 w 1595634"/>
                    <a:gd name="connsiteY479" fmla="*/ 747131 h 1933093"/>
                    <a:gd name="connsiteX480" fmla="*/ 614589 w 1595634"/>
                    <a:gd name="connsiteY480" fmla="*/ 747131 h 1933093"/>
                    <a:gd name="connsiteX481" fmla="*/ 614670 w 1595634"/>
                    <a:gd name="connsiteY481" fmla="*/ 747131 h 1933093"/>
                    <a:gd name="connsiteX482" fmla="*/ 614589 w 1595634"/>
                    <a:gd name="connsiteY482" fmla="*/ 747131 h 1933093"/>
                    <a:gd name="connsiteX483" fmla="*/ 614589 w 1595634"/>
                    <a:gd name="connsiteY483" fmla="*/ 747131 h 1933093"/>
                    <a:gd name="connsiteX484" fmla="*/ 614589 w 1595634"/>
                    <a:gd name="connsiteY484" fmla="*/ 747131 h 1933093"/>
                    <a:gd name="connsiteX485" fmla="*/ 614589 w 1595634"/>
                    <a:gd name="connsiteY485" fmla="*/ 747131 h 1933093"/>
                    <a:gd name="connsiteX486" fmla="*/ 614509 w 1595634"/>
                    <a:gd name="connsiteY486" fmla="*/ 747131 h 1933093"/>
                    <a:gd name="connsiteX487" fmla="*/ 614589 w 1595634"/>
                    <a:gd name="connsiteY487" fmla="*/ 747131 h 1933093"/>
                    <a:gd name="connsiteX488" fmla="*/ 614509 w 1595634"/>
                    <a:gd name="connsiteY488" fmla="*/ 747131 h 1933093"/>
                    <a:gd name="connsiteX489" fmla="*/ 614429 w 1595634"/>
                    <a:gd name="connsiteY489" fmla="*/ 747131 h 1933093"/>
                    <a:gd name="connsiteX490" fmla="*/ 614429 w 1595634"/>
                    <a:gd name="connsiteY490" fmla="*/ 747131 h 1933093"/>
                    <a:gd name="connsiteX491" fmla="*/ 614429 w 1595634"/>
                    <a:gd name="connsiteY491" fmla="*/ 747131 h 1933093"/>
                    <a:gd name="connsiteX492" fmla="*/ 614348 w 1595634"/>
                    <a:gd name="connsiteY492" fmla="*/ 747211 h 1933093"/>
                    <a:gd name="connsiteX493" fmla="*/ 614348 w 1595634"/>
                    <a:gd name="connsiteY493" fmla="*/ 747211 h 1933093"/>
                    <a:gd name="connsiteX494" fmla="*/ 614348 w 1595634"/>
                    <a:gd name="connsiteY494" fmla="*/ 747211 h 1933093"/>
                    <a:gd name="connsiteX495" fmla="*/ 614268 w 1595634"/>
                    <a:gd name="connsiteY495" fmla="*/ 747211 h 1933093"/>
                    <a:gd name="connsiteX496" fmla="*/ 614348 w 1595634"/>
                    <a:gd name="connsiteY496" fmla="*/ 747211 h 1933093"/>
                    <a:gd name="connsiteX497" fmla="*/ 614268 w 1595634"/>
                    <a:gd name="connsiteY497" fmla="*/ 747211 h 1933093"/>
                    <a:gd name="connsiteX498" fmla="*/ 614188 w 1595634"/>
                    <a:gd name="connsiteY498" fmla="*/ 747211 h 1933093"/>
                    <a:gd name="connsiteX499" fmla="*/ 614188 w 1595634"/>
                    <a:gd name="connsiteY499" fmla="*/ 747211 h 1933093"/>
                    <a:gd name="connsiteX500" fmla="*/ 614188 w 1595634"/>
                    <a:gd name="connsiteY500" fmla="*/ 747211 h 1933093"/>
                    <a:gd name="connsiteX501" fmla="*/ 614027 w 1595634"/>
                    <a:gd name="connsiteY501" fmla="*/ 747211 h 1933093"/>
                    <a:gd name="connsiteX502" fmla="*/ 614188 w 1595634"/>
                    <a:gd name="connsiteY502" fmla="*/ 747211 h 1933093"/>
                    <a:gd name="connsiteX503" fmla="*/ 614027 w 1595634"/>
                    <a:gd name="connsiteY503" fmla="*/ 747211 h 1933093"/>
                    <a:gd name="connsiteX504" fmla="*/ 614027 w 1595634"/>
                    <a:gd name="connsiteY504" fmla="*/ 747211 h 1933093"/>
                    <a:gd name="connsiteX505" fmla="*/ 614027 w 1595634"/>
                    <a:gd name="connsiteY505" fmla="*/ 747211 h 1933093"/>
                    <a:gd name="connsiteX506" fmla="*/ 613866 w 1595634"/>
                    <a:gd name="connsiteY506" fmla="*/ 747211 h 1933093"/>
                    <a:gd name="connsiteX507" fmla="*/ 614027 w 1595634"/>
                    <a:gd name="connsiteY507" fmla="*/ 747211 h 1933093"/>
                    <a:gd name="connsiteX508" fmla="*/ 46510 w 1595634"/>
                    <a:gd name="connsiteY508" fmla="*/ 838303 h 1933093"/>
                    <a:gd name="connsiteX509" fmla="*/ 43457 w 1595634"/>
                    <a:gd name="connsiteY509" fmla="*/ 840793 h 1933093"/>
                    <a:gd name="connsiteX510" fmla="*/ 44903 w 1595634"/>
                    <a:gd name="connsiteY510" fmla="*/ 836455 h 1933093"/>
                    <a:gd name="connsiteX511" fmla="*/ 46510 w 1595634"/>
                    <a:gd name="connsiteY511" fmla="*/ 838303 h 1933093"/>
                    <a:gd name="connsiteX512" fmla="*/ 757252 w 1595634"/>
                    <a:gd name="connsiteY512" fmla="*/ 692668 h 1933093"/>
                    <a:gd name="connsiteX513" fmla="*/ 759421 w 1595634"/>
                    <a:gd name="connsiteY513" fmla="*/ 693391 h 1933093"/>
                    <a:gd name="connsiteX514" fmla="*/ 758617 w 1595634"/>
                    <a:gd name="connsiteY514" fmla="*/ 692186 h 1933093"/>
                    <a:gd name="connsiteX515" fmla="*/ 759662 w 1595634"/>
                    <a:gd name="connsiteY515" fmla="*/ 692588 h 1933093"/>
                    <a:gd name="connsiteX516" fmla="*/ 772675 w 1595634"/>
                    <a:gd name="connsiteY516" fmla="*/ 698211 h 1933093"/>
                    <a:gd name="connsiteX517" fmla="*/ 757252 w 1595634"/>
                    <a:gd name="connsiteY517" fmla="*/ 692668 h 1933093"/>
                    <a:gd name="connsiteX518" fmla="*/ 60166 w 1595634"/>
                    <a:gd name="connsiteY518" fmla="*/ 821354 h 1933093"/>
                    <a:gd name="connsiteX519" fmla="*/ 60166 w 1595634"/>
                    <a:gd name="connsiteY519" fmla="*/ 821354 h 1933093"/>
                    <a:gd name="connsiteX520" fmla="*/ 60326 w 1595634"/>
                    <a:gd name="connsiteY520" fmla="*/ 821193 h 1933093"/>
                    <a:gd name="connsiteX521" fmla="*/ 60326 w 1595634"/>
                    <a:gd name="connsiteY521" fmla="*/ 821193 h 1933093"/>
                    <a:gd name="connsiteX522" fmla="*/ 60166 w 1595634"/>
                    <a:gd name="connsiteY522" fmla="*/ 821354 h 1933093"/>
                    <a:gd name="connsiteX523" fmla="*/ 45626 w 1595634"/>
                    <a:gd name="connsiteY523" fmla="*/ 877985 h 1933093"/>
                    <a:gd name="connsiteX524" fmla="*/ 51330 w 1595634"/>
                    <a:gd name="connsiteY524" fmla="*/ 877985 h 1933093"/>
                    <a:gd name="connsiteX525" fmla="*/ 45466 w 1595634"/>
                    <a:gd name="connsiteY525" fmla="*/ 877905 h 1933093"/>
                    <a:gd name="connsiteX526" fmla="*/ 45626 w 1595634"/>
                    <a:gd name="connsiteY526" fmla="*/ 877985 h 1933093"/>
                    <a:gd name="connsiteX527" fmla="*/ 964 w 1595634"/>
                    <a:gd name="connsiteY527" fmla="*/ 876619 h 1933093"/>
                    <a:gd name="connsiteX528" fmla="*/ 0 w 1595634"/>
                    <a:gd name="connsiteY528" fmla="*/ 874290 h 1933093"/>
                    <a:gd name="connsiteX529" fmla="*/ 33336 w 1595634"/>
                    <a:gd name="connsiteY529" fmla="*/ 865374 h 1933093"/>
                    <a:gd name="connsiteX530" fmla="*/ 41449 w 1595634"/>
                    <a:gd name="connsiteY530" fmla="*/ 847541 h 1933093"/>
                    <a:gd name="connsiteX531" fmla="*/ 45867 w 1595634"/>
                    <a:gd name="connsiteY531" fmla="*/ 842319 h 1933093"/>
                    <a:gd name="connsiteX532" fmla="*/ 56471 w 1595634"/>
                    <a:gd name="connsiteY532" fmla="*/ 846175 h 1933093"/>
                    <a:gd name="connsiteX533" fmla="*/ 57675 w 1595634"/>
                    <a:gd name="connsiteY533" fmla="*/ 845051 h 1933093"/>
                    <a:gd name="connsiteX534" fmla="*/ 61853 w 1595634"/>
                    <a:gd name="connsiteY534" fmla="*/ 826816 h 1933093"/>
                    <a:gd name="connsiteX535" fmla="*/ 58559 w 1595634"/>
                    <a:gd name="connsiteY535" fmla="*/ 828021 h 1933093"/>
                    <a:gd name="connsiteX536" fmla="*/ 75107 w 1595634"/>
                    <a:gd name="connsiteY536" fmla="*/ 809144 h 1933093"/>
                    <a:gd name="connsiteX537" fmla="*/ 78561 w 1595634"/>
                    <a:gd name="connsiteY537" fmla="*/ 810027 h 1933093"/>
                    <a:gd name="connsiteX538" fmla="*/ 80810 w 1595634"/>
                    <a:gd name="connsiteY538" fmla="*/ 801352 h 1933093"/>
                    <a:gd name="connsiteX539" fmla="*/ 81613 w 1595634"/>
                    <a:gd name="connsiteY539" fmla="*/ 801111 h 1933093"/>
                    <a:gd name="connsiteX540" fmla="*/ 87076 w 1595634"/>
                    <a:gd name="connsiteY540" fmla="*/ 799906 h 1933093"/>
                    <a:gd name="connsiteX541" fmla="*/ 79043 w 1595634"/>
                    <a:gd name="connsiteY541" fmla="*/ 817578 h 1933093"/>
                    <a:gd name="connsiteX542" fmla="*/ 73821 w 1595634"/>
                    <a:gd name="connsiteY542" fmla="*/ 816454 h 1933093"/>
                    <a:gd name="connsiteX543" fmla="*/ 70528 w 1595634"/>
                    <a:gd name="connsiteY543" fmla="*/ 832600 h 1933093"/>
                    <a:gd name="connsiteX544" fmla="*/ 71010 w 1595634"/>
                    <a:gd name="connsiteY544" fmla="*/ 825932 h 1933093"/>
                    <a:gd name="connsiteX545" fmla="*/ 65869 w 1595634"/>
                    <a:gd name="connsiteY545" fmla="*/ 832519 h 1933093"/>
                    <a:gd name="connsiteX546" fmla="*/ 65708 w 1595634"/>
                    <a:gd name="connsiteY546" fmla="*/ 831314 h 1933093"/>
                    <a:gd name="connsiteX547" fmla="*/ 65146 w 1595634"/>
                    <a:gd name="connsiteY547" fmla="*/ 838142 h 1933093"/>
                    <a:gd name="connsiteX548" fmla="*/ 68279 w 1595634"/>
                    <a:gd name="connsiteY548" fmla="*/ 835411 h 1933093"/>
                    <a:gd name="connsiteX549" fmla="*/ 57836 w 1595634"/>
                    <a:gd name="connsiteY549" fmla="*/ 847541 h 1933093"/>
                    <a:gd name="connsiteX550" fmla="*/ 61612 w 1595634"/>
                    <a:gd name="connsiteY550" fmla="*/ 847942 h 1933093"/>
                    <a:gd name="connsiteX551" fmla="*/ 63539 w 1595634"/>
                    <a:gd name="connsiteY551" fmla="*/ 846095 h 1933093"/>
                    <a:gd name="connsiteX552" fmla="*/ 61772 w 1595634"/>
                    <a:gd name="connsiteY552" fmla="*/ 850191 h 1933093"/>
                    <a:gd name="connsiteX553" fmla="*/ 60969 w 1595634"/>
                    <a:gd name="connsiteY553" fmla="*/ 857501 h 1933093"/>
                    <a:gd name="connsiteX554" fmla="*/ 82095 w 1595634"/>
                    <a:gd name="connsiteY554" fmla="*/ 886500 h 1933093"/>
                    <a:gd name="connsiteX555" fmla="*/ 67395 w 1595634"/>
                    <a:gd name="connsiteY555" fmla="*/ 910518 h 1933093"/>
                    <a:gd name="connsiteX556" fmla="*/ 31328 w 1595634"/>
                    <a:gd name="connsiteY556" fmla="*/ 895657 h 1933093"/>
                    <a:gd name="connsiteX557" fmla="*/ 15584 w 1595634"/>
                    <a:gd name="connsiteY557" fmla="*/ 894051 h 1933093"/>
                    <a:gd name="connsiteX558" fmla="*/ 964 w 1595634"/>
                    <a:gd name="connsiteY558" fmla="*/ 876619 h 1933093"/>
                    <a:gd name="connsiteX559" fmla="*/ 1191425 w 1595634"/>
                    <a:gd name="connsiteY559" fmla="*/ 554665 h 1933093"/>
                    <a:gd name="connsiteX560" fmla="*/ 1191505 w 1595634"/>
                    <a:gd name="connsiteY560" fmla="*/ 554504 h 1933093"/>
                    <a:gd name="connsiteX561" fmla="*/ 1191505 w 1595634"/>
                    <a:gd name="connsiteY561" fmla="*/ 554986 h 1933093"/>
                    <a:gd name="connsiteX562" fmla="*/ 1191425 w 1595634"/>
                    <a:gd name="connsiteY562" fmla="*/ 554665 h 1933093"/>
                    <a:gd name="connsiteX563" fmla="*/ 902083 w 1595634"/>
                    <a:gd name="connsiteY563" fmla="*/ 430237 h 1933093"/>
                    <a:gd name="connsiteX564" fmla="*/ 907867 w 1595634"/>
                    <a:gd name="connsiteY564" fmla="*/ 437065 h 1933093"/>
                    <a:gd name="connsiteX565" fmla="*/ 905537 w 1595634"/>
                    <a:gd name="connsiteY565" fmla="*/ 428550 h 1933093"/>
                    <a:gd name="connsiteX566" fmla="*/ 901521 w 1595634"/>
                    <a:gd name="connsiteY566" fmla="*/ 429755 h 1933093"/>
                    <a:gd name="connsiteX567" fmla="*/ 902083 w 1595634"/>
                    <a:gd name="connsiteY567" fmla="*/ 430237 h 1933093"/>
                    <a:gd name="connsiteX568" fmla="*/ 446302 w 1595634"/>
                    <a:gd name="connsiteY568" fmla="*/ 656922 h 1933093"/>
                    <a:gd name="connsiteX569" fmla="*/ 496829 w 1595634"/>
                    <a:gd name="connsiteY569" fmla="*/ 546391 h 1933093"/>
                    <a:gd name="connsiteX570" fmla="*/ 515063 w 1595634"/>
                    <a:gd name="connsiteY570" fmla="*/ 519320 h 1933093"/>
                    <a:gd name="connsiteX571" fmla="*/ 512011 w 1595634"/>
                    <a:gd name="connsiteY571" fmla="*/ 519883 h 1933093"/>
                    <a:gd name="connsiteX572" fmla="*/ 621899 w 1595634"/>
                    <a:gd name="connsiteY572" fmla="*/ 386538 h 1933093"/>
                    <a:gd name="connsiteX573" fmla="*/ 625112 w 1595634"/>
                    <a:gd name="connsiteY573" fmla="*/ 387101 h 1933093"/>
                    <a:gd name="connsiteX574" fmla="*/ 638929 w 1595634"/>
                    <a:gd name="connsiteY574" fmla="*/ 399230 h 1933093"/>
                    <a:gd name="connsiteX575" fmla="*/ 642303 w 1595634"/>
                    <a:gd name="connsiteY575" fmla="*/ 403006 h 1933093"/>
                    <a:gd name="connsiteX576" fmla="*/ 640776 w 1595634"/>
                    <a:gd name="connsiteY576" fmla="*/ 407825 h 1933093"/>
                    <a:gd name="connsiteX577" fmla="*/ 752754 w 1595634"/>
                    <a:gd name="connsiteY577" fmla="*/ 390715 h 1933093"/>
                    <a:gd name="connsiteX578" fmla="*/ 756850 w 1595634"/>
                    <a:gd name="connsiteY578" fmla="*/ 391840 h 1933093"/>
                    <a:gd name="connsiteX579" fmla="*/ 760786 w 1595634"/>
                    <a:gd name="connsiteY579" fmla="*/ 387342 h 1933093"/>
                    <a:gd name="connsiteX580" fmla="*/ 758778 w 1595634"/>
                    <a:gd name="connsiteY580" fmla="*/ 386056 h 1933093"/>
                    <a:gd name="connsiteX581" fmla="*/ 830832 w 1595634"/>
                    <a:gd name="connsiteY581" fmla="*/ 378104 h 1933093"/>
                    <a:gd name="connsiteX582" fmla="*/ 823201 w 1595634"/>
                    <a:gd name="connsiteY582" fmla="*/ 385173 h 1933093"/>
                    <a:gd name="connsiteX583" fmla="*/ 859831 w 1595634"/>
                    <a:gd name="connsiteY583" fmla="*/ 386137 h 1933093"/>
                    <a:gd name="connsiteX584" fmla="*/ 860313 w 1595634"/>
                    <a:gd name="connsiteY584" fmla="*/ 388386 h 1933093"/>
                    <a:gd name="connsiteX585" fmla="*/ 888026 w 1595634"/>
                    <a:gd name="connsiteY585" fmla="*/ 412083 h 1933093"/>
                    <a:gd name="connsiteX586" fmla="*/ 884250 w 1595634"/>
                    <a:gd name="connsiteY586" fmla="*/ 414252 h 1933093"/>
                    <a:gd name="connsiteX587" fmla="*/ 915096 w 1595634"/>
                    <a:gd name="connsiteY587" fmla="*/ 418991 h 1933093"/>
                    <a:gd name="connsiteX588" fmla="*/ 917024 w 1595634"/>
                    <a:gd name="connsiteY588" fmla="*/ 418027 h 1933093"/>
                    <a:gd name="connsiteX589" fmla="*/ 918711 w 1595634"/>
                    <a:gd name="connsiteY589" fmla="*/ 419232 h 1933093"/>
                    <a:gd name="connsiteX590" fmla="*/ 927788 w 1595634"/>
                    <a:gd name="connsiteY590" fmla="*/ 404773 h 1933093"/>
                    <a:gd name="connsiteX591" fmla="*/ 953895 w 1595634"/>
                    <a:gd name="connsiteY591" fmla="*/ 402283 h 1933093"/>
                    <a:gd name="connsiteX592" fmla="*/ 959598 w 1595634"/>
                    <a:gd name="connsiteY592" fmla="*/ 409753 h 1933093"/>
                    <a:gd name="connsiteX593" fmla="*/ 962249 w 1595634"/>
                    <a:gd name="connsiteY593" fmla="*/ 407665 h 1933093"/>
                    <a:gd name="connsiteX594" fmla="*/ 963855 w 1595634"/>
                    <a:gd name="connsiteY594" fmla="*/ 408548 h 1933093"/>
                    <a:gd name="connsiteX595" fmla="*/ 978395 w 1595634"/>
                    <a:gd name="connsiteY595" fmla="*/ 415537 h 1933093"/>
                    <a:gd name="connsiteX596" fmla="*/ 977350 w 1595634"/>
                    <a:gd name="connsiteY596" fmla="*/ 419633 h 1933093"/>
                    <a:gd name="connsiteX597" fmla="*/ 988275 w 1595634"/>
                    <a:gd name="connsiteY597" fmla="*/ 420758 h 1933093"/>
                    <a:gd name="connsiteX598" fmla="*/ 989721 w 1595634"/>
                    <a:gd name="connsiteY598" fmla="*/ 429112 h 1933093"/>
                    <a:gd name="connsiteX599" fmla="*/ 1006670 w 1595634"/>
                    <a:gd name="connsiteY599" fmla="*/ 431120 h 1933093"/>
                    <a:gd name="connsiteX600" fmla="*/ 1002814 w 1595634"/>
                    <a:gd name="connsiteY600" fmla="*/ 439555 h 1933093"/>
                    <a:gd name="connsiteX601" fmla="*/ 1032616 w 1595634"/>
                    <a:gd name="connsiteY601" fmla="*/ 452086 h 1933093"/>
                    <a:gd name="connsiteX602" fmla="*/ 1182267 w 1595634"/>
                    <a:gd name="connsiteY602" fmla="*/ 510726 h 1933093"/>
                    <a:gd name="connsiteX603" fmla="*/ 1182187 w 1595634"/>
                    <a:gd name="connsiteY603" fmla="*/ 502452 h 1933093"/>
                    <a:gd name="connsiteX604" fmla="*/ 1188613 w 1595634"/>
                    <a:gd name="connsiteY604" fmla="*/ 554263 h 1933093"/>
                    <a:gd name="connsiteX605" fmla="*/ 1188613 w 1595634"/>
                    <a:gd name="connsiteY605" fmla="*/ 555789 h 1933093"/>
                    <a:gd name="connsiteX606" fmla="*/ 1190220 w 1595634"/>
                    <a:gd name="connsiteY606" fmla="*/ 557717 h 1933093"/>
                    <a:gd name="connsiteX607" fmla="*/ 1194477 w 1595634"/>
                    <a:gd name="connsiteY607" fmla="*/ 556753 h 1933093"/>
                    <a:gd name="connsiteX608" fmla="*/ 1197690 w 1595634"/>
                    <a:gd name="connsiteY608" fmla="*/ 559083 h 1933093"/>
                    <a:gd name="connsiteX609" fmla="*/ 1169254 w 1595634"/>
                    <a:gd name="connsiteY609" fmla="*/ 654432 h 1933093"/>
                    <a:gd name="connsiteX610" fmla="*/ 1030528 w 1595634"/>
                    <a:gd name="connsiteY610" fmla="*/ 650094 h 1933093"/>
                    <a:gd name="connsiteX611" fmla="*/ 851316 w 1595634"/>
                    <a:gd name="connsiteY611" fmla="*/ 641580 h 1933093"/>
                    <a:gd name="connsiteX612" fmla="*/ 809385 w 1595634"/>
                    <a:gd name="connsiteY612" fmla="*/ 657726 h 1933093"/>
                    <a:gd name="connsiteX613" fmla="*/ 789544 w 1595634"/>
                    <a:gd name="connsiteY613" fmla="*/ 680137 h 1933093"/>
                    <a:gd name="connsiteX614" fmla="*/ 751790 w 1595634"/>
                    <a:gd name="connsiteY614" fmla="*/ 649693 h 1933093"/>
                    <a:gd name="connsiteX615" fmla="*/ 772353 w 1595634"/>
                    <a:gd name="connsiteY615" fmla="*/ 685118 h 1933093"/>
                    <a:gd name="connsiteX616" fmla="*/ 748978 w 1595634"/>
                    <a:gd name="connsiteY616" fmla="*/ 675398 h 1933093"/>
                    <a:gd name="connsiteX617" fmla="*/ 743275 w 1595634"/>
                    <a:gd name="connsiteY617" fmla="*/ 677567 h 1933093"/>
                    <a:gd name="connsiteX618" fmla="*/ 747934 w 1595634"/>
                    <a:gd name="connsiteY618" fmla="*/ 692508 h 1933093"/>
                    <a:gd name="connsiteX619" fmla="*/ 726968 w 1595634"/>
                    <a:gd name="connsiteY619" fmla="*/ 694516 h 1933093"/>
                    <a:gd name="connsiteX620" fmla="*/ 730824 w 1595634"/>
                    <a:gd name="connsiteY620" fmla="*/ 693231 h 1933093"/>
                    <a:gd name="connsiteX621" fmla="*/ 628245 w 1595634"/>
                    <a:gd name="connsiteY621" fmla="*/ 743114 h 1933093"/>
                    <a:gd name="connsiteX622" fmla="*/ 631779 w 1595634"/>
                    <a:gd name="connsiteY622" fmla="*/ 741749 h 1933093"/>
                    <a:gd name="connsiteX623" fmla="*/ 624068 w 1595634"/>
                    <a:gd name="connsiteY623" fmla="*/ 741106 h 1933093"/>
                    <a:gd name="connsiteX624" fmla="*/ 627442 w 1595634"/>
                    <a:gd name="connsiteY624" fmla="*/ 745203 h 1933093"/>
                    <a:gd name="connsiteX625" fmla="*/ 614589 w 1595634"/>
                    <a:gd name="connsiteY625" fmla="*/ 746890 h 1933093"/>
                    <a:gd name="connsiteX626" fmla="*/ 613706 w 1595634"/>
                    <a:gd name="connsiteY626" fmla="*/ 747211 h 1933093"/>
                    <a:gd name="connsiteX627" fmla="*/ 613706 w 1595634"/>
                    <a:gd name="connsiteY627" fmla="*/ 747211 h 1933093"/>
                    <a:gd name="connsiteX628" fmla="*/ 613625 w 1595634"/>
                    <a:gd name="connsiteY628" fmla="*/ 747211 h 1933093"/>
                    <a:gd name="connsiteX629" fmla="*/ 613625 w 1595634"/>
                    <a:gd name="connsiteY629" fmla="*/ 747211 h 1933093"/>
                    <a:gd name="connsiteX630" fmla="*/ 613545 w 1595634"/>
                    <a:gd name="connsiteY630" fmla="*/ 747211 h 1933093"/>
                    <a:gd name="connsiteX631" fmla="*/ 613545 w 1595634"/>
                    <a:gd name="connsiteY631" fmla="*/ 747211 h 1933093"/>
                    <a:gd name="connsiteX632" fmla="*/ 613465 w 1595634"/>
                    <a:gd name="connsiteY632" fmla="*/ 747211 h 1933093"/>
                    <a:gd name="connsiteX633" fmla="*/ 613465 w 1595634"/>
                    <a:gd name="connsiteY633" fmla="*/ 747211 h 1933093"/>
                    <a:gd name="connsiteX634" fmla="*/ 613384 w 1595634"/>
                    <a:gd name="connsiteY634" fmla="*/ 747211 h 1933093"/>
                    <a:gd name="connsiteX635" fmla="*/ 613384 w 1595634"/>
                    <a:gd name="connsiteY635" fmla="*/ 747211 h 1933093"/>
                    <a:gd name="connsiteX636" fmla="*/ 613304 w 1595634"/>
                    <a:gd name="connsiteY636" fmla="*/ 747211 h 1933093"/>
                    <a:gd name="connsiteX637" fmla="*/ 613304 w 1595634"/>
                    <a:gd name="connsiteY637" fmla="*/ 747211 h 1933093"/>
                    <a:gd name="connsiteX638" fmla="*/ 613224 w 1595634"/>
                    <a:gd name="connsiteY638" fmla="*/ 747211 h 1933093"/>
                    <a:gd name="connsiteX639" fmla="*/ 613224 w 1595634"/>
                    <a:gd name="connsiteY639" fmla="*/ 747211 h 1933093"/>
                    <a:gd name="connsiteX640" fmla="*/ 613063 w 1595634"/>
                    <a:gd name="connsiteY640" fmla="*/ 747211 h 1933093"/>
                    <a:gd name="connsiteX641" fmla="*/ 613224 w 1595634"/>
                    <a:gd name="connsiteY641" fmla="*/ 747211 h 1933093"/>
                    <a:gd name="connsiteX642" fmla="*/ 613304 w 1595634"/>
                    <a:gd name="connsiteY642" fmla="*/ 747211 h 1933093"/>
                    <a:gd name="connsiteX643" fmla="*/ 613304 w 1595634"/>
                    <a:gd name="connsiteY643" fmla="*/ 747211 h 1933093"/>
                    <a:gd name="connsiteX644" fmla="*/ 613384 w 1595634"/>
                    <a:gd name="connsiteY644" fmla="*/ 747211 h 1933093"/>
                    <a:gd name="connsiteX645" fmla="*/ 613384 w 1595634"/>
                    <a:gd name="connsiteY645" fmla="*/ 747211 h 1933093"/>
                    <a:gd name="connsiteX646" fmla="*/ 613465 w 1595634"/>
                    <a:gd name="connsiteY646" fmla="*/ 747211 h 1933093"/>
                    <a:gd name="connsiteX647" fmla="*/ 613465 w 1595634"/>
                    <a:gd name="connsiteY647" fmla="*/ 747211 h 1933093"/>
                    <a:gd name="connsiteX648" fmla="*/ 613545 w 1595634"/>
                    <a:gd name="connsiteY648" fmla="*/ 747211 h 1933093"/>
                    <a:gd name="connsiteX649" fmla="*/ 613545 w 1595634"/>
                    <a:gd name="connsiteY649" fmla="*/ 747211 h 1933093"/>
                    <a:gd name="connsiteX650" fmla="*/ 613625 w 1595634"/>
                    <a:gd name="connsiteY650" fmla="*/ 747211 h 1933093"/>
                    <a:gd name="connsiteX651" fmla="*/ 613625 w 1595634"/>
                    <a:gd name="connsiteY651" fmla="*/ 747211 h 1933093"/>
                    <a:gd name="connsiteX652" fmla="*/ 613706 w 1595634"/>
                    <a:gd name="connsiteY652" fmla="*/ 747211 h 1933093"/>
                    <a:gd name="connsiteX653" fmla="*/ 613706 w 1595634"/>
                    <a:gd name="connsiteY653" fmla="*/ 747211 h 1933093"/>
                    <a:gd name="connsiteX654" fmla="*/ 613786 w 1595634"/>
                    <a:gd name="connsiteY654" fmla="*/ 747211 h 1933093"/>
                    <a:gd name="connsiteX655" fmla="*/ 493214 w 1595634"/>
                    <a:gd name="connsiteY655" fmla="*/ 702549 h 1933093"/>
                    <a:gd name="connsiteX656" fmla="*/ 495222 w 1595634"/>
                    <a:gd name="connsiteY656" fmla="*/ 701906 h 1933093"/>
                    <a:gd name="connsiteX657" fmla="*/ 492732 w 1595634"/>
                    <a:gd name="connsiteY657" fmla="*/ 701986 h 1933093"/>
                    <a:gd name="connsiteX658" fmla="*/ 471445 w 1595634"/>
                    <a:gd name="connsiteY658" fmla="*/ 687768 h 1933093"/>
                    <a:gd name="connsiteX659" fmla="*/ 472409 w 1595634"/>
                    <a:gd name="connsiteY659" fmla="*/ 687045 h 1933093"/>
                    <a:gd name="connsiteX660" fmla="*/ 446302 w 1595634"/>
                    <a:gd name="connsiteY660" fmla="*/ 656922 h 1933093"/>
                    <a:gd name="connsiteX661" fmla="*/ 694275 w 1595634"/>
                    <a:gd name="connsiteY661" fmla="*/ 345089 h 1933093"/>
                    <a:gd name="connsiteX662" fmla="*/ 693070 w 1595634"/>
                    <a:gd name="connsiteY662" fmla="*/ 345169 h 1933093"/>
                    <a:gd name="connsiteX663" fmla="*/ 694435 w 1595634"/>
                    <a:gd name="connsiteY663" fmla="*/ 345089 h 1933093"/>
                    <a:gd name="connsiteX664" fmla="*/ 713232 w 1595634"/>
                    <a:gd name="connsiteY664" fmla="*/ 344045 h 1933093"/>
                    <a:gd name="connsiteX665" fmla="*/ 694275 w 1595634"/>
                    <a:gd name="connsiteY665" fmla="*/ 345089 h 1933093"/>
                    <a:gd name="connsiteX666" fmla="*/ 1169254 w 1595634"/>
                    <a:gd name="connsiteY666" fmla="*/ 345250 h 1933093"/>
                    <a:gd name="connsiteX667" fmla="*/ 1160579 w 1595634"/>
                    <a:gd name="connsiteY667" fmla="*/ 345410 h 1933093"/>
                    <a:gd name="connsiteX668" fmla="*/ 1284846 w 1595634"/>
                    <a:gd name="connsiteY668" fmla="*/ 324686 h 1933093"/>
                    <a:gd name="connsiteX669" fmla="*/ 1285569 w 1595634"/>
                    <a:gd name="connsiteY669" fmla="*/ 325971 h 1933093"/>
                    <a:gd name="connsiteX670" fmla="*/ 1308703 w 1595634"/>
                    <a:gd name="connsiteY670" fmla="*/ 334968 h 1933093"/>
                    <a:gd name="connsiteX671" fmla="*/ 1313041 w 1595634"/>
                    <a:gd name="connsiteY671" fmla="*/ 337458 h 1933093"/>
                    <a:gd name="connsiteX672" fmla="*/ 1169254 w 1595634"/>
                    <a:gd name="connsiteY672" fmla="*/ 345250 h 1933093"/>
                    <a:gd name="connsiteX673" fmla="*/ 994701 w 1595634"/>
                    <a:gd name="connsiteY673" fmla="*/ 248776 h 1933093"/>
                    <a:gd name="connsiteX674" fmla="*/ 994380 w 1595634"/>
                    <a:gd name="connsiteY674" fmla="*/ 248535 h 1933093"/>
                    <a:gd name="connsiteX675" fmla="*/ 995424 w 1595634"/>
                    <a:gd name="connsiteY675" fmla="*/ 247571 h 1933093"/>
                    <a:gd name="connsiteX676" fmla="*/ 995826 w 1595634"/>
                    <a:gd name="connsiteY676" fmla="*/ 247731 h 1933093"/>
                    <a:gd name="connsiteX677" fmla="*/ 1005465 w 1595634"/>
                    <a:gd name="connsiteY677" fmla="*/ 254158 h 1933093"/>
                    <a:gd name="connsiteX678" fmla="*/ 994701 w 1595634"/>
                    <a:gd name="connsiteY678" fmla="*/ 248776 h 1933093"/>
                    <a:gd name="connsiteX679" fmla="*/ 453371 w 1595634"/>
                    <a:gd name="connsiteY679" fmla="*/ 404050 h 1933093"/>
                    <a:gd name="connsiteX680" fmla="*/ 601094 w 1595634"/>
                    <a:gd name="connsiteY680" fmla="*/ 298499 h 1933093"/>
                    <a:gd name="connsiteX681" fmla="*/ 764883 w 1595634"/>
                    <a:gd name="connsiteY681" fmla="*/ 281389 h 1933093"/>
                    <a:gd name="connsiteX682" fmla="*/ 769944 w 1595634"/>
                    <a:gd name="connsiteY682" fmla="*/ 277292 h 1933093"/>
                    <a:gd name="connsiteX683" fmla="*/ 771631 w 1595634"/>
                    <a:gd name="connsiteY683" fmla="*/ 278658 h 1933093"/>
                    <a:gd name="connsiteX684" fmla="*/ 804083 w 1595634"/>
                    <a:gd name="connsiteY684" fmla="*/ 251748 h 1933093"/>
                    <a:gd name="connsiteX685" fmla="*/ 836134 w 1595634"/>
                    <a:gd name="connsiteY685" fmla="*/ 257612 h 1933093"/>
                    <a:gd name="connsiteX686" fmla="*/ 820390 w 1595634"/>
                    <a:gd name="connsiteY686" fmla="*/ 262432 h 1933093"/>
                    <a:gd name="connsiteX687" fmla="*/ 781832 w 1595634"/>
                    <a:gd name="connsiteY687" fmla="*/ 270866 h 1933093"/>
                    <a:gd name="connsiteX688" fmla="*/ 784885 w 1595634"/>
                    <a:gd name="connsiteY688" fmla="*/ 272955 h 1933093"/>
                    <a:gd name="connsiteX689" fmla="*/ 783840 w 1595634"/>
                    <a:gd name="connsiteY689" fmla="*/ 274641 h 1933093"/>
                    <a:gd name="connsiteX690" fmla="*/ 822076 w 1595634"/>
                    <a:gd name="connsiteY690" fmla="*/ 276489 h 1933093"/>
                    <a:gd name="connsiteX691" fmla="*/ 786411 w 1595634"/>
                    <a:gd name="connsiteY691" fmla="*/ 282032 h 1933093"/>
                    <a:gd name="connsiteX692" fmla="*/ 699657 w 1595634"/>
                    <a:gd name="connsiteY692" fmla="*/ 318902 h 1933093"/>
                    <a:gd name="connsiteX693" fmla="*/ 702790 w 1595634"/>
                    <a:gd name="connsiteY693" fmla="*/ 320188 h 1933093"/>
                    <a:gd name="connsiteX694" fmla="*/ 699255 w 1595634"/>
                    <a:gd name="connsiteY694" fmla="*/ 320910 h 1933093"/>
                    <a:gd name="connsiteX695" fmla="*/ 691142 w 1595634"/>
                    <a:gd name="connsiteY695" fmla="*/ 333442 h 1933093"/>
                    <a:gd name="connsiteX696" fmla="*/ 695239 w 1595634"/>
                    <a:gd name="connsiteY696" fmla="*/ 333442 h 1933093"/>
                    <a:gd name="connsiteX697" fmla="*/ 685358 w 1595634"/>
                    <a:gd name="connsiteY697" fmla="*/ 337940 h 1933093"/>
                    <a:gd name="connsiteX698" fmla="*/ 686483 w 1595634"/>
                    <a:gd name="connsiteY698" fmla="*/ 337860 h 1933093"/>
                    <a:gd name="connsiteX699" fmla="*/ 693070 w 1595634"/>
                    <a:gd name="connsiteY699" fmla="*/ 337779 h 1933093"/>
                    <a:gd name="connsiteX700" fmla="*/ 691222 w 1595634"/>
                    <a:gd name="connsiteY700" fmla="*/ 347820 h 1933093"/>
                    <a:gd name="connsiteX701" fmla="*/ 668971 w 1595634"/>
                    <a:gd name="connsiteY701" fmla="*/ 348784 h 1933093"/>
                    <a:gd name="connsiteX702" fmla="*/ 654914 w 1595634"/>
                    <a:gd name="connsiteY702" fmla="*/ 355210 h 1933093"/>
                    <a:gd name="connsiteX703" fmla="*/ 619730 w 1595634"/>
                    <a:gd name="connsiteY703" fmla="*/ 369187 h 1933093"/>
                    <a:gd name="connsiteX704" fmla="*/ 625675 w 1595634"/>
                    <a:gd name="connsiteY704" fmla="*/ 356014 h 1933093"/>
                    <a:gd name="connsiteX705" fmla="*/ 596917 w 1595634"/>
                    <a:gd name="connsiteY705" fmla="*/ 359387 h 1933093"/>
                    <a:gd name="connsiteX706" fmla="*/ 598363 w 1595634"/>
                    <a:gd name="connsiteY706" fmla="*/ 356817 h 1933093"/>
                    <a:gd name="connsiteX707" fmla="*/ 590973 w 1595634"/>
                    <a:gd name="connsiteY707" fmla="*/ 358022 h 1933093"/>
                    <a:gd name="connsiteX708" fmla="*/ 591776 w 1595634"/>
                    <a:gd name="connsiteY708" fmla="*/ 356978 h 1933093"/>
                    <a:gd name="connsiteX709" fmla="*/ 589768 w 1595634"/>
                    <a:gd name="connsiteY709" fmla="*/ 357219 h 1933093"/>
                    <a:gd name="connsiteX710" fmla="*/ 593784 w 1595634"/>
                    <a:gd name="connsiteY710" fmla="*/ 351676 h 1933093"/>
                    <a:gd name="connsiteX711" fmla="*/ 558601 w 1595634"/>
                    <a:gd name="connsiteY711" fmla="*/ 360512 h 1933093"/>
                    <a:gd name="connsiteX712" fmla="*/ 530004 w 1595634"/>
                    <a:gd name="connsiteY712" fmla="*/ 378345 h 1933093"/>
                    <a:gd name="connsiteX713" fmla="*/ 459235 w 1595634"/>
                    <a:gd name="connsiteY713" fmla="*/ 406379 h 1933093"/>
                    <a:gd name="connsiteX714" fmla="*/ 460922 w 1595634"/>
                    <a:gd name="connsiteY714" fmla="*/ 404451 h 1933093"/>
                    <a:gd name="connsiteX715" fmla="*/ 453371 w 1595634"/>
                    <a:gd name="connsiteY715" fmla="*/ 404050 h 1933093"/>
                    <a:gd name="connsiteX716" fmla="*/ 1004341 w 1595634"/>
                    <a:gd name="connsiteY716" fmla="*/ 290225 h 1933093"/>
                    <a:gd name="connsiteX717" fmla="*/ 1004180 w 1595634"/>
                    <a:gd name="connsiteY717" fmla="*/ 289422 h 1933093"/>
                    <a:gd name="connsiteX718" fmla="*/ 1005385 w 1595634"/>
                    <a:gd name="connsiteY718" fmla="*/ 254077 h 1933093"/>
                    <a:gd name="connsiteX719" fmla="*/ 1040890 w 1595634"/>
                    <a:gd name="connsiteY719" fmla="*/ 245241 h 1933093"/>
                    <a:gd name="connsiteX720" fmla="*/ 1042175 w 1595634"/>
                    <a:gd name="connsiteY720" fmla="*/ 245884 h 1933093"/>
                    <a:gd name="connsiteX721" fmla="*/ 1051574 w 1595634"/>
                    <a:gd name="connsiteY721" fmla="*/ 250463 h 1933093"/>
                    <a:gd name="connsiteX722" fmla="*/ 1053742 w 1595634"/>
                    <a:gd name="connsiteY722" fmla="*/ 248535 h 1933093"/>
                    <a:gd name="connsiteX723" fmla="*/ 1070129 w 1595634"/>
                    <a:gd name="connsiteY723" fmla="*/ 279622 h 1933093"/>
                    <a:gd name="connsiteX724" fmla="*/ 1049485 w 1595634"/>
                    <a:gd name="connsiteY724" fmla="*/ 304282 h 1933093"/>
                    <a:gd name="connsiteX725" fmla="*/ 1004341 w 1595634"/>
                    <a:gd name="connsiteY725" fmla="*/ 290225 h 1933093"/>
                    <a:gd name="connsiteX726" fmla="*/ 1020326 w 1595634"/>
                    <a:gd name="connsiteY726" fmla="*/ 233755 h 1933093"/>
                    <a:gd name="connsiteX727" fmla="*/ 1018960 w 1595634"/>
                    <a:gd name="connsiteY727" fmla="*/ 233032 h 1933093"/>
                    <a:gd name="connsiteX728" fmla="*/ 1019764 w 1595634"/>
                    <a:gd name="connsiteY728" fmla="*/ 233192 h 1933093"/>
                    <a:gd name="connsiteX729" fmla="*/ 1042818 w 1595634"/>
                    <a:gd name="connsiteY729" fmla="*/ 237690 h 1933093"/>
                    <a:gd name="connsiteX730" fmla="*/ 1040890 w 1595634"/>
                    <a:gd name="connsiteY730" fmla="*/ 245241 h 1933093"/>
                    <a:gd name="connsiteX731" fmla="*/ 1020326 w 1595634"/>
                    <a:gd name="connsiteY731" fmla="*/ 233755 h 1933093"/>
                    <a:gd name="connsiteX732" fmla="*/ 947067 w 1595634"/>
                    <a:gd name="connsiteY732" fmla="*/ 223794 h 1933093"/>
                    <a:gd name="connsiteX733" fmla="*/ 945219 w 1595634"/>
                    <a:gd name="connsiteY733" fmla="*/ 223473 h 1933093"/>
                    <a:gd name="connsiteX734" fmla="*/ 971888 w 1595634"/>
                    <a:gd name="connsiteY734" fmla="*/ 222268 h 1933093"/>
                    <a:gd name="connsiteX735" fmla="*/ 1018960 w 1595634"/>
                    <a:gd name="connsiteY735" fmla="*/ 233032 h 1933093"/>
                    <a:gd name="connsiteX736" fmla="*/ 947067 w 1595634"/>
                    <a:gd name="connsiteY736" fmla="*/ 223794 h 1933093"/>
                    <a:gd name="connsiteX737" fmla="*/ 1392887 w 1595634"/>
                    <a:gd name="connsiteY737" fmla="*/ 251828 h 1933093"/>
                    <a:gd name="connsiteX738" fmla="*/ 1398189 w 1595634"/>
                    <a:gd name="connsiteY738" fmla="*/ 251909 h 1933093"/>
                    <a:gd name="connsiteX739" fmla="*/ 1397385 w 1595634"/>
                    <a:gd name="connsiteY739" fmla="*/ 251587 h 1933093"/>
                    <a:gd name="connsiteX740" fmla="*/ 1395458 w 1595634"/>
                    <a:gd name="connsiteY740" fmla="*/ 251427 h 1933093"/>
                    <a:gd name="connsiteX741" fmla="*/ 1395458 w 1595634"/>
                    <a:gd name="connsiteY741" fmla="*/ 250623 h 1933093"/>
                    <a:gd name="connsiteX742" fmla="*/ 1399876 w 1595634"/>
                    <a:gd name="connsiteY742" fmla="*/ 249017 h 1933093"/>
                    <a:gd name="connsiteX743" fmla="*/ 1392887 w 1595634"/>
                    <a:gd name="connsiteY743" fmla="*/ 251828 h 1933093"/>
                    <a:gd name="connsiteX744" fmla="*/ 1305330 w 1595634"/>
                    <a:gd name="connsiteY744" fmla="*/ 306532 h 1933093"/>
                    <a:gd name="connsiteX745" fmla="*/ 1333123 w 1595634"/>
                    <a:gd name="connsiteY745" fmla="*/ 270304 h 1933093"/>
                    <a:gd name="connsiteX746" fmla="*/ 1332962 w 1595634"/>
                    <a:gd name="connsiteY746" fmla="*/ 261869 h 1933093"/>
                    <a:gd name="connsiteX747" fmla="*/ 1345172 w 1595634"/>
                    <a:gd name="connsiteY747" fmla="*/ 266127 h 1933093"/>
                    <a:gd name="connsiteX748" fmla="*/ 1352081 w 1595634"/>
                    <a:gd name="connsiteY748" fmla="*/ 255925 h 1933093"/>
                    <a:gd name="connsiteX749" fmla="*/ 1355535 w 1595634"/>
                    <a:gd name="connsiteY749" fmla="*/ 254077 h 1933093"/>
                    <a:gd name="connsiteX750" fmla="*/ 1366941 w 1595634"/>
                    <a:gd name="connsiteY750" fmla="*/ 251748 h 1933093"/>
                    <a:gd name="connsiteX751" fmla="*/ 1389674 w 1595634"/>
                    <a:gd name="connsiteY751" fmla="*/ 237048 h 1933093"/>
                    <a:gd name="connsiteX752" fmla="*/ 1429677 w 1595634"/>
                    <a:gd name="connsiteY752" fmla="*/ 233353 h 1933093"/>
                    <a:gd name="connsiteX753" fmla="*/ 1438433 w 1595634"/>
                    <a:gd name="connsiteY753" fmla="*/ 236968 h 1933093"/>
                    <a:gd name="connsiteX754" fmla="*/ 1323082 w 1595634"/>
                    <a:gd name="connsiteY754" fmla="*/ 326051 h 1933093"/>
                    <a:gd name="connsiteX755" fmla="*/ 1305330 w 1595634"/>
                    <a:gd name="connsiteY755" fmla="*/ 306532 h 1933093"/>
                    <a:gd name="connsiteX756" fmla="*/ 1068041 w 1595634"/>
                    <a:gd name="connsiteY756" fmla="*/ 230622 h 1933093"/>
                    <a:gd name="connsiteX757" fmla="*/ 1067238 w 1595634"/>
                    <a:gd name="connsiteY757" fmla="*/ 229819 h 1933093"/>
                    <a:gd name="connsiteX758" fmla="*/ 1083544 w 1595634"/>
                    <a:gd name="connsiteY758" fmla="*/ 219376 h 1933093"/>
                    <a:gd name="connsiteX759" fmla="*/ 1084588 w 1595634"/>
                    <a:gd name="connsiteY759" fmla="*/ 210700 h 1933093"/>
                    <a:gd name="connsiteX760" fmla="*/ 1083303 w 1595634"/>
                    <a:gd name="connsiteY760" fmla="*/ 209977 h 1933093"/>
                    <a:gd name="connsiteX761" fmla="*/ 1085633 w 1595634"/>
                    <a:gd name="connsiteY761" fmla="*/ 209576 h 1933093"/>
                    <a:gd name="connsiteX762" fmla="*/ 1084267 w 1595634"/>
                    <a:gd name="connsiteY762" fmla="*/ 209335 h 1933093"/>
                    <a:gd name="connsiteX763" fmla="*/ 1093344 w 1595634"/>
                    <a:gd name="connsiteY763" fmla="*/ 202346 h 1933093"/>
                    <a:gd name="connsiteX764" fmla="*/ 1060892 w 1595634"/>
                    <a:gd name="connsiteY764" fmla="*/ 182023 h 1933093"/>
                    <a:gd name="connsiteX765" fmla="*/ 1070692 w 1595634"/>
                    <a:gd name="connsiteY765" fmla="*/ 175115 h 1933093"/>
                    <a:gd name="connsiteX766" fmla="*/ 1079528 w 1595634"/>
                    <a:gd name="connsiteY766" fmla="*/ 177284 h 1933093"/>
                    <a:gd name="connsiteX767" fmla="*/ 1083705 w 1595634"/>
                    <a:gd name="connsiteY767" fmla="*/ 168207 h 1933093"/>
                    <a:gd name="connsiteX768" fmla="*/ 1114952 w 1595634"/>
                    <a:gd name="connsiteY768" fmla="*/ 182023 h 1933093"/>
                    <a:gd name="connsiteX769" fmla="*/ 1126761 w 1595634"/>
                    <a:gd name="connsiteY769" fmla="*/ 190297 h 1933093"/>
                    <a:gd name="connsiteX770" fmla="*/ 1126198 w 1595634"/>
                    <a:gd name="connsiteY770" fmla="*/ 189012 h 1933093"/>
                    <a:gd name="connsiteX771" fmla="*/ 1198493 w 1595634"/>
                    <a:gd name="connsiteY771" fmla="*/ 222428 h 1933093"/>
                    <a:gd name="connsiteX772" fmla="*/ 1200984 w 1595634"/>
                    <a:gd name="connsiteY772" fmla="*/ 233915 h 1933093"/>
                    <a:gd name="connsiteX773" fmla="*/ 1224118 w 1595634"/>
                    <a:gd name="connsiteY773" fmla="*/ 230461 h 1933093"/>
                    <a:gd name="connsiteX774" fmla="*/ 1226849 w 1595634"/>
                    <a:gd name="connsiteY774" fmla="*/ 229578 h 1933093"/>
                    <a:gd name="connsiteX775" fmla="*/ 1238898 w 1595634"/>
                    <a:gd name="connsiteY775" fmla="*/ 239538 h 1933093"/>
                    <a:gd name="connsiteX776" fmla="*/ 1236730 w 1595634"/>
                    <a:gd name="connsiteY776" fmla="*/ 239137 h 1933093"/>
                    <a:gd name="connsiteX777" fmla="*/ 1238657 w 1595634"/>
                    <a:gd name="connsiteY777" fmla="*/ 239940 h 1933093"/>
                    <a:gd name="connsiteX778" fmla="*/ 1178170 w 1595634"/>
                    <a:gd name="connsiteY778" fmla="*/ 280104 h 1933093"/>
                    <a:gd name="connsiteX779" fmla="*/ 1173270 w 1595634"/>
                    <a:gd name="connsiteY779" fmla="*/ 283237 h 1933093"/>
                    <a:gd name="connsiteX780" fmla="*/ 1155679 w 1595634"/>
                    <a:gd name="connsiteY780" fmla="*/ 281871 h 1933093"/>
                    <a:gd name="connsiteX781" fmla="*/ 1156241 w 1595634"/>
                    <a:gd name="connsiteY781" fmla="*/ 283960 h 1933093"/>
                    <a:gd name="connsiteX782" fmla="*/ 1153269 w 1595634"/>
                    <a:gd name="connsiteY782" fmla="*/ 283478 h 1933093"/>
                    <a:gd name="connsiteX783" fmla="*/ 1121298 w 1595634"/>
                    <a:gd name="connsiteY783" fmla="*/ 278497 h 1933093"/>
                    <a:gd name="connsiteX784" fmla="*/ 1122744 w 1595634"/>
                    <a:gd name="connsiteY784" fmla="*/ 276489 h 1933093"/>
                    <a:gd name="connsiteX785" fmla="*/ 1118246 w 1595634"/>
                    <a:gd name="connsiteY785" fmla="*/ 273035 h 1933093"/>
                    <a:gd name="connsiteX786" fmla="*/ 1119531 w 1595634"/>
                    <a:gd name="connsiteY786" fmla="*/ 272553 h 1933093"/>
                    <a:gd name="connsiteX787" fmla="*/ 1115033 w 1595634"/>
                    <a:gd name="connsiteY787" fmla="*/ 269260 h 1933093"/>
                    <a:gd name="connsiteX788" fmla="*/ 1118487 w 1595634"/>
                    <a:gd name="connsiteY788" fmla="*/ 267332 h 1933093"/>
                    <a:gd name="connsiteX789" fmla="*/ 1115675 w 1595634"/>
                    <a:gd name="connsiteY789" fmla="*/ 263797 h 1933093"/>
                    <a:gd name="connsiteX790" fmla="*/ 1118406 w 1595634"/>
                    <a:gd name="connsiteY790" fmla="*/ 263315 h 1933093"/>
                    <a:gd name="connsiteX791" fmla="*/ 1108606 w 1595634"/>
                    <a:gd name="connsiteY791" fmla="*/ 254559 h 1933093"/>
                    <a:gd name="connsiteX792" fmla="*/ 1083062 w 1595634"/>
                    <a:gd name="connsiteY792" fmla="*/ 229658 h 1933093"/>
                    <a:gd name="connsiteX793" fmla="*/ 1068041 w 1595634"/>
                    <a:gd name="connsiteY793" fmla="*/ 230622 h 1933093"/>
                    <a:gd name="connsiteX794" fmla="*/ 1595394 w 1595634"/>
                    <a:gd name="connsiteY794" fmla="*/ 272714 h 1933093"/>
                    <a:gd name="connsiteX795" fmla="*/ 1594591 w 1595634"/>
                    <a:gd name="connsiteY795" fmla="*/ 270545 h 1933093"/>
                    <a:gd name="connsiteX796" fmla="*/ 1594671 w 1595634"/>
                    <a:gd name="connsiteY796" fmla="*/ 270625 h 1933093"/>
                    <a:gd name="connsiteX797" fmla="*/ 1595394 w 1595634"/>
                    <a:gd name="connsiteY797" fmla="*/ 272714 h 1933093"/>
                    <a:gd name="connsiteX798" fmla="*/ 1581497 w 1595634"/>
                    <a:gd name="connsiteY798" fmla="*/ 273115 h 1933093"/>
                    <a:gd name="connsiteX799" fmla="*/ 1581658 w 1595634"/>
                    <a:gd name="connsiteY799" fmla="*/ 266528 h 1933093"/>
                    <a:gd name="connsiteX800" fmla="*/ 1585514 w 1595634"/>
                    <a:gd name="connsiteY800" fmla="*/ 254238 h 1933093"/>
                    <a:gd name="connsiteX801" fmla="*/ 1587923 w 1595634"/>
                    <a:gd name="connsiteY801" fmla="*/ 254961 h 1933093"/>
                    <a:gd name="connsiteX802" fmla="*/ 1588727 w 1595634"/>
                    <a:gd name="connsiteY802" fmla="*/ 257210 h 1933093"/>
                    <a:gd name="connsiteX803" fmla="*/ 1595153 w 1595634"/>
                    <a:gd name="connsiteY803" fmla="*/ 273517 h 1933093"/>
                    <a:gd name="connsiteX804" fmla="*/ 1595394 w 1595634"/>
                    <a:gd name="connsiteY804" fmla="*/ 272794 h 1933093"/>
                    <a:gd name="connsiteX805" fmla="*/ 1595635 w 1595634"/>
                    <a:gd name="connsiteY805" fmla="*/ 273356 h 1933093"/>
                    <a:gd name="connsiteX806" fmla="*/ 1581497 w 1595634"/>
                    <a:gd name="connsiteY806" fmla="*/ 273115 h 1933093"/>
                    <a:gd name="connsiteX807" fmla="*/ 909473 w 1595634"/>
                    <a:gd name="connsiteY807" fmla="*/ 158809 h 1933093"/>
                    <a:gd name="connsiteX808" fmla="*/ 909795 w 1595634"/>
                    <a:gd name="connsiteY808" fmla="*/ 139128 h 1933093"/>
                    <a:gd name="connsiteX809" fmla="*/ 919514 w 1595634"/>
                    <a:gd name="connsiteY809" fmla="*/ 134871 h 1933093"/>
                    <a:gd name="connsiteX810" fmla="*/ 922326 w 1595634"/>
                    <a:gd name="connsiteY810" fmla="*/ 137040 h 1933093"/>
                    <a:gd name="connsiteX811" fmla="*/ 964337 w 1595634"/>
                    <a:gd name="connsiteY811" fmla="*/ 151981 h 1933093"/>
                    <a:gd name="connsiteX812" fmla="*/ 991167 w 1595634"/>
                    <a:gd name="connsiteY812" fmla="*/ 154390 h 1933093"/>
                    <a:gd name="connsiteX813" fmla="*/ 972531 w 1595634"/>
                    <a:gd name="connsiteY813" fmla="*/ 155515 h 1933093"/>
                    <a:gd name="connsiteX814" fmla="*/ 970924 w 1595634"/>
                    <a:gd name="connsiteY814" fmla="*/ 157443 h 1933093"/>
                    <a:gd name="connsiteX815" fmla="*/ 967631 w 1595634"/>
                    <a:gd name="connsiteY815" fmla="*/ 158648 h 1933093"/>
                    <a:gd name="connsiteX816" fmla="*/ 965382 w 1595634"/>
                    <a:gd name="connsiteY816" fmla="*/ 160897 h 1933093"/>
                    <a:gd name="connsiteX817" fmla="*/ 943613 w 1595634"/>
                    <a:gd name="connsiteY817" fmla="*/ 172786 h 1933093"/>
                    <a:gd name="connsiteX818" fmla="*/ 921523 w 1595634"/>
                    <a:gd name="connsiteY818" fmla="*/ 159853 h 1933093"/>
                    <a:gd name="connsiteX819" fmla="*/ 916783 w 1595634"/>
                    <a:gd name="connsiteY819" fmla="*/ 171099 h 1933093"/>
                    <a:gd name="connsiteX820" fmla="*/ 909473 w 1595634"/>
                    <a:gd name="connsiteY820" fmla="*/ 158809 h 1933093"/>
                    <a:gd name="connsiteX821" fmla="*/ 940159 w 1595634"/>
                    <a:gd name="connsiteY821" fmla="*/ 100651 h 1933093"/>
                    <a:gd name="connsiteX822" fmla="*/ 939757 w 1595634"/>
                    <a:gd name="connsiteY822" fmla="*/ 98723 h 1933093"/>
                    <a:gd name="connsiteX823" fmla="*/ 946424 w 1595634"/>
                    <a:gd name="connsiteY823" fmla="*/ 97839 h 1933093"/>
                    <a:gd name="connsiteX824" fmla="*/ 971969 w 1595634"/>
                    <a:gd name="connsiteY824" fmla="*/ 88602 h 1933093"/>
                    <a:gd name="connsiteX825" fmla="*/ 969398 w 1595634"/>
                    <a:gd name="connsiteY825" fmla="*/ 57756 h 1933093"/>
                    <a:gd name="connsiteX826" fmla="*/ 960803 w 1595634"/>
                    <a:gd name="connsiteY826" fmla="*/ 41449 h 1933093"/>
                    <a:gd name="connsiteX827" fmla="*/ 967390 w 1595634"/>
                    <a:gd name="connsiteY827" fmla="*/ 41931 h 1933093"/>
                    <a:gd name="connsiteX828" fmla="*/ 995264 w 1595634"/>
                    <a:gd name="connsiteY828" fmla="*/ 51731 h 1933093"/>
                    <a:gd name="connsiteX829" fmla="*/ 1008518 w 1595634"/>
                    <a:gd name="connsiteY829" fmla="*/ 65869 h 1933093"/>
                    <a:gd name="connsiteX830" fmla="*/ 1008919 w 1595634"/>
                    <a:gd name="connsiteY830" fmla="*/ 78722 h 1933093"/>
                    <a:gd name="connsiteX831" fmla="*/ 997754 w 1595634"/>
                    <a:gd name="connsiteY831" fmla="*/ 81935 h 1933093"/>
                    <a:gd name="connsiteX832" fmla="*/ 1003055 w 1595634"/>
                    <a:gd name="connsiteY832" fmla="*/ 90931 h 1933093"/>
                    <a:gd name="connsiteX833" fmla="*/ 942649 w 1595634"/>
                    <a:gd name="connsiteY833" fmla="*/ 103543 h 1933093"/>
                    <a:gd name="connsiteX834" fmla="*/ 940159 w 1595634"/>
                    <a:gd name="connsiteY834" fmla="*/ 100651 h 1933093"/>
                    <a:gd name="connsiteX835" fmla="*/ 1158329 w 1595634"/>
                    <a:gd name="connsiteY835" fmla="*/ 40325 h 1933093"/>
                    <a:gd name="connsiteX836" fmla="*/ 1163631 w 1595634"/>
                    <a:gd name="connsiteY836" fmla="*/ 35907 h 1933093"/>
                    <a:gd name="connsiteX837" fmla="*/ 1163952 w 1595634"/>
                    <a:gd name="connsiteY837" fmla="*/ 36790 h 1933093"/>
                    <a:gd name="connsiteX838" fmla="*/ 1184677 w 1595634"/>
                    <a:gd name="connsiteY838" fmla="*/ 40967 h 1933093"/>
                    <a:gd name="connsiteX839" fmla="*/ 1183070 w 1595634"/>
                    <a:gd name="connsiteY839" fmla="*/ 40887 h 1933093"/>
                    <a:gd name="connsiteX840" fmla="*/ 1187087 w 1595634"/>
                    <a:gd name="connsiteY840" fmla="*/ 42815 h 1933093"/>
                    <a:gd name="connsiteX841" fmla="*/ 1189095 w 1595634"/>
                    <a:gd name="connsiteY841" fmla="*/ 55185 h 1933093"/>
                    <a:gd name="connsiteX842" fmla="*/ 1158329 w 1595634"/>
                    <a:gd name="connsiteY842" fmla="*/ 40325 h 1933093"/>
                    <a:gd name="connsiteX843" fmla="*/ 1170780 w 1595634"/>
                    <a:gd name="connsiteY843" fmla="*/ 33015 h 1933093"/>
                    <a:gd name="connsiteX844" fmla="*/ 1169254 w 1595634"/>
                    <a:gd name="connsiteY844" fmla="*/ 33015 h 1933093"/>
                    <a:gd name="connsiteX845" fmla="*/ 1169334 w 1595634"/>
                    <a:gd name="connsiteY845" fmla="*/ 32935 h 1933093"/>
                    <a:gd name="connsiteX846" fmla="*/ 1170780 w 1595634"/>
                    <a:gd name="connsiteY846" fmla="*/ 33015 h 1933093"/>
                    <a:gd name="connsiteX847" fmla="*/ 982893 w 1595634"/>
                    <a:gd name="connsiteY847" fmla="*/ 0 h 1933093"/>
                    <a:gd name="connsiteX848" fmla="*/ 982732 w 1595634"/>
                    <a:gd name="connsiteY848" fmla="*/ 80 h 1933093"/>
                    <a:gd name="connsiteX849" fmla="*/ 982732 w 1595634"/>
                    <a:gd name="connsiteY849" fmla="*/ 80 h 1933093"/>
                    <a:gd name="connsiteX850" fmla="*/ 982893 w 1595634"/>
                    <a:gd name="connsiteY850" fmla="*/ 0 h 1933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</a:cxnLst>
                  <a:rect l="l" t="t" r="r" b="b"/>
                  <a:pathLst>
                    <a:path w="1595634" h="1933093">
                      <a:moveTo>
                        <a:pt x="534583" y="1930362"/>
                      </a:moveTo>
                      <a:cubicBezTo>
                        <a:pt x="534663" y="1930362"/>
                        <a:pt x="534743" y="1930362"/>
                        <a:pt x="534824" y="1930442"/>
                      </a:cubicBezTo>
                      <a:cubicBezTo>
                        <a:pt x="519642" y="1932209"/>
                        <a:pt x="516429" y="1932049"/>
                        <a:pt x="516107" y="1932049"/>
                      </a:cubicBezTo>
                      <a:cubicBezTo>
                        <a:pt x="516830" y="1931808"/>
                        <a:pt x="516830" y="1931808"/>
                        <a:pt x="527112" y="1930041"/>
                      </a:cubicBezTo>
                      <a:cubicBezTo>
                        <a:pt x="523819" y="1930041"/>
                        <a:pt x="521891" y="1929880"/>
                        <a:pt x="518758" y="1929398"/>
                      </a:cubicBezTo>
                      <a:cubicBezTo>
                        <a:pt x="513858" y="1928675"/>
                        <a:pt x="510404" y="1928595"/>
                        <a:pt x="500042" y="1929237"/>
                      </a:cubicBezTo>
                      <a:cubicBezTo>
                        <a:pt x="504299" y="1928434"/>
                        <a:pt x="504299" y="1928434"/>
                        <a:pt x="529442" y="1926105"/>
                      </a:cubicBezTo>
                      <a:cubicBezTo>
                        <a:pt x="527514" y="1926587"/>
                        <a:pt x="527193" y="1926747"/>
                        <a:pt x="526871" y="1927069"/>
                      </a:cubicBezTo>
                      <a:cubicBezTo>
                        <a:pt x="527915" y="1927631"/>
                        <a:pt x="527915" y="1927631"/>
                        <a:pt x="532896" y="1926988"/>
                      </a:cubicBezTo>
                      <a:cubicBezTo>
                        <a:pt x="545989" y="1925382"/>
                        <a:pt x="549042" y="1925061"/>
                        <a:pt x="549684" y="1925703"/>
                      </a:cubicBezTo>
                      <a:cubicBezTo>
                        <a:pt x="545266" y="1929318"/>
                        <a:pt x="539081" y="1927069"/>
                        <a:pt x="534502" y="1930282"/>
                      </a:cubicBezTo>
                      <a:cubicBezTo>
                        <a:pt x="534583" y="1930282"/>
                        <a:pt x="534583" y="1930282"/>
                        <a:pt x="534583" y="1930362"/>
                      </a:cubicBezTo>
                      <a:moveTo>
                        <a:pt x="492732" y="1930683"/>
                      </a:moveTo>
                      <a:cubicBezTo>
                        <a:pt x="489679" y="1930844"/>
                        <a:pt x="481406" y="1931166"/>
                        <a:pt x="471204" y="1931245"/>
                      </a:cubicBezTo>
                      <a:cubicBezTo>
                        <a:pt x="471686" y="1931245"/>
                        <a:pt x="472248" y="1931245"/>
                        <a:pt x="472730" y="1931245"/>
                      </a:cubicBezTo>
                      <a:cubicBezTo>
                        <a:pt x="481727" y="1931166"/>
                        <a:pt x="487751" y="1930924"/>
                        <a:pt x="492732" y="1930683"/>
                      </a:cubicBezTo>
                      <a:moveTo>
                        <a:pt x="463251" y="1932370"/>
                      </a:moveTo>
                      <a:cubicBezTo>
                        <a:pt x="462689" y="1932370"/>
                        <a:pt x="461806" y="1932451"/>
                        <a:pt x="458110" y="1932209"/>
                      </a:cubicBezTo>
                      <a:cubicBezTo>
                        <a:pt x="456665" y="1932129"/>
                        <a:pt x="456584" y="1932049"/>
                        <a:pt x="456504" y="1931969"/>
                      </a:cubicBezTo>
                      <a:cubicBezTo>
                        <a:pt x="457227" y="1931567"/>
                        <a:pt x="466304" y="1931326"/>
                        <a:pt x="467348" y="1931888"/>
                      </a:cubicBezTo>
                      <a:cubicBezTo>
                        <a:pt x="467107" y="1931969"/>
                        <a:pt x="466947" y="1932129"/>
                        <a:pt x="463251" y="1932370"/>
                      </a:cubicBezTo>
                      <a:moveTo>
                        <a:pt x="432165" y="1932852"/>
                      </a:moveTo>
                      <a:cubicBezTo>
                        <a:pt x="432004" y="1932852"/>
                        <a:pt x="431683" y="1932852"/>
                        <a:pt x="431522" y="1932852"/>
                      </a:cubicBezTo>
                      <a:cubicBezTo>
                        <a:pt x="431602" y="1932852"/>
                        <a:pt x="431763" y="1932772"/>
                        <a:pt x="431843" y="1932772"/>
                      </a:cubicBezTo>
                      <a:cubicBezTo>
                        <a:pt x="444214" y="1929880"/>
                        <a:pt x="447347" y="1930763"/>
                        <a:pt x="448069" y="1931567"/>
                      </a:cubicBezTo>
                      <a:cubicBezTo>
                        <a:pt x="447828" y="1931727"/>
                        <a:pt x="447427" y="1931647"/>
                        <a:pt x="447106" y="1931647"/>
                      </a:cubicBezTo>
                      <a:cubicBezTo>
                        <a:pt x="446142" y="1931647"/>
                        <a:pt x="444133" y="1931808"/>
                        <a:pt x="441563" y="1932129"/>
                      </a:cubicBezTo>
                      <a:cubicBezTo>
                        <a:pt x="440117" y="1932290"/>
                        <a:pt x="438751" y="1932531"/>
                        <a:pt x="437306" y="1932691"/>
                      </a:cubicBezTo>
                      <a:cubicBezTo>
                        <a:pt x="437065" y="1932691"/>
                        <a:pt x="436743" y="1932772"/>
                        <a:pt x="436502" y="1932772"/>
                      </a:cubicBezTo>
                      <a:cubicBezTo>
                        <a:pt x="435378" y="1932852"/>
                        <a:pt x="434012" y="1932852"/>
                        <a:pt x="432165" y="1932852"/>
                      </a:cubicBezTo>
                      <a:moveTo>
                        <a:pt x="615553" y="1928434"/>
                      </a:moveTo>
                      <a:cubicBezTo>
                        <a:pt x="613224" y="1928916"/>
                        <a:pt x="613224" y="1928916"/>
                        <a:pt x="586073" y="1931245"/>
                      </a:cubicBezTo>
                      <a:lnTo>
                        <a:pt x="556432" y="1933093"/>
                      </a:lnTo>
                      <a:lnTo>
                        <a:pt x="556512" y="1933093"/>
                      </a:lnTo>
                      <a:cubicBezTo>
                        <a:pt x="559966" y="1932772"/>
                        <a:pt x="564143" y="1931808"/>
                        <a:pt x="570971" y="1929960"/>
                      </a:cubicBezTo>
                      <a:cubicBezTo>
                        <a:pt x="570088" y="1930121"/>
                        <a:pt x="569284" y="1930282"/>
                        <a:pt x="568401" y="1930362"/>
                      </a:cubicBezTo>
                      <a:cubicBezTo>
                        <a:pt x="568481" y="1930282"/>
                        <a:pt x="568561" y="1930201"/>
                        <a:pt x="568642" y="1930201"/>
                      </a:cubicBezTo>
                      <a:cubicBezTo>
                        <a:pt x="568320" y="1929960"/>
                        <a:pt x="568160" y="1929800"/>
                        <a:pt x="564224" y="1930362"/>
                      </a:cubicBezTo>
                      <a:cubicBezTo>
                        <a:pt x="588804" y="1924819"/>
                        <a:pt x="592580" y="1923936"/>
                        <a:pt x="603424" y="1925703"/>
                      </a:cubicBezTo>
                      <a:cubicBezTo>
                        <a:pt x="612983" y="1927229"/>
                        <a:pt x="615875" y="1927711"/>
                        <a:pt x="619088" y="1927309"/>
                      </a:cubicBezTo>
                      <a:cubicBezTo>
                        <a:pt x="617963" y="1927791"/>
                        <a:pt x="617080" y="1928113"/>
                        <a:pt x="615553" y="1928434"/>
                      </a:cubicBezTo>
                      <a:moveTo>
                        <a:pt x="682547" y="1854452"/>
                      </a:moveTo>
                      <a:lnTo>
                        <a:pt x="681984" y="1854211"/>
                      </a:lnTo>
                      <a:cubicBezTo>
                        <a:pt x="665357" y="1845375"/>
                        <a:pt x="634430" y="1814770"/>
                        <a:pt x="637804" y="1799990"/>
                      </a:cubicBezTo>
                      <a:cubicBezTo>
                        <a:pt x="639973" y="1799427"/>
                        <a:pt x="642945" y="1798704"/>
                        <a:pt x="645114" y="1798142"/>
                      </a:cubicBezTo>
                      <a:cubicBezTo>
                        <a:pt x="627362" y="1777658"/>
                        <a:pt x="626317" y="1749222"/>
                        <a:pt x="611698" y="1727293"/>
                      </a:cubicBezTo>
                      <a:cubicBezTo>
                        <a:pt x="613545" y="1724963"/>
                        <a:pt x="615955" y="1721830"/>
                        <a:pt x="617803" y="1719421"/>
                      </a:cubicBezTo>
                      <a:cubicBezTo>
                        <a:pt x="601014" y="1703195"/>
                        <a:pt x="595793" y="1677650"/>
                        <a:pt x="574425" y="1665039"/>
                      </a:cubicBezTo>
                      <a:cubicBezTo>
                        <a:pt x="562135" y="1670019"/>
                        <a:pt x="548158" y="1661665"/>
                        <a:pt x="536350" y="1669858"/>
                      </a:cubicBezTo>
                      <a:cubicBezTo>
                        <a:pt x="534824" y="1661745"/>
                        <a:pt x="538278" y="1653472"/>
                        <a:pt x="535788" y="1645358"/>
                      </a:cubicBezTo>
                      <a:cubicBezTo>
                        <a:pt x="537635" y="1646965"/>
                        <a:pt x="540125" y="1649134"/>
                        <a:pt x="542053" y="1650821"/>
                      </a:cubicBezTo>
                      <a:cubicBezTo>
                        <a:pt x="544302" y="1650258"/>
                        <a:pt x="547275" y="1649535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49524" y="1648973"/>
                        <a:pt x="549524" y="1648973"/>
                        <a:pt x="549524" y="1648973"/>
                      </a:cubicBezTo>
                      <a:cubicBezTo>
                        <a:pt x="533378" y="1610978"/>
                        <a:pt x="529281" y="1582863"/>
                        <a:pt x="534984" y="1548804"/>
                      </a:cubicBezTo>
                      <a:cubicBezTo>
                        <a:pt x="521650" y="1546796"/>
                        <a:pt x="511047" y="1545270"/>
                        <a:pt x="474417" y="1512737"/>
                      </a:cubicBezTo>
                      <a:cubicBezTo>
                        <a:pt x="472007" y="1513299"/>
                        <a:pt x="468714" y="1514102"/>
                        <a:pt x="466304" y="1514665"/>
                      </a:cubicBezTo>
                      <a:cubicBezTo>
                        <a:pt x="465420" y="1512656"/>
                        <a:pt x="464215" y="1509926"/>
                        <a:pt x="463332" y="1507837"/>
                      </a:cubicBezTo>
                      <a:cubicBezTo>
                        <a:pt x="458351" y="1508479"/>
                        <a:pt x="451604" y="1508319"/>
                        <a:pt x="446624" y="1507837"/>
                      </a:cubicBezTo>
                      <a:cubicBezTo>
                        <a:pt x="445660" y="1505507"/>
                        <a:pt x="444374" y="1502294"/>
                        <a:pt x="443410" y="1499964"/>
                      </a:cubicBezTo>
                      <a:cubicBezTo>
                        <a:pt x="444856" y="1497153"/>
                        <a:pt x="446865" y="1493378"/>
                        <a:pt x="448310" y="1490566"/>
                      </a:cubicBezTo>
                      <a:cubicBezTo>
                        <a:pt x="437386" y="1498599"/>
                        <a:pt x="435699" y="1499482"/>
                        <a:pt x="424453" y="1505186"/>
                      </a:cubicBezTo>
                      <a:cubicBezTo>
                        <a:pt x="419714" y="1502857"/>
                        <a:pt x="414091" y="1498037"/>
                        <a:pt x="411119" y="1493699"/>
                      </a:cubicBezTo>
                      <a:cubicBezTo>
                        <a:pt x="412163" y="1491209"/>
                        <a:pt x="413528" y="1487915"/>
                        <a:pt x="414573" y="1485425"/>
                      </a:cubicBezTo>
                      <a:cubicBezTo>
                        <a:pt x="412645" y="1486550"/>
                        <a:pt x="410074" y="1488076"/>
                        <a:pt x="408146" y="1489201"/>
                      </a:cubicBezTo>
                      <a:cubicBezTo>
                        <a:pt x="390715" y="1484140"/>
                        <a:pt x="383887" y="1460845"/>
                        <a:pt x="383887" y="1460604"/>
                      </a:cubicBezTo>
                      <a:cubicBezTo>
                        <a:pt x="385655" y="1462050"/>
                        <a:pt x="388064" y="1463978"/>
                        <a:pt x="389832" y="1465424"/>
                      </a:cubicBezTo>
                      <a:cubicBezTo>
                        <a:pt x="432807" y="1401483"/>
                        <a:pt x="464938" y="1420199"/>
                        <a:pt x="475461" y="1426384"/>
                      </a:cubicBezTo>
                      <a:cubicBezTo>
                        <a:pt x="477470" y="1408471"/>
                        <a:pt x="480442" y="1381320"/>
                        <a:pt x="547997" y="1344771"/>
                      </a:cubicBezTo>
                      <a:cubicBezTo>
                        <a:pt x="568320" y="1333766"/>
                        <a:pt x="592017" y="1342522"/>
                        <a:pt x="612662" y="1333445"/>
                      </a:cubicBezTo>
                      <a:cubicBezTo>
                        <a:pt x="641820" y="1320592"/>
                        <a:pt x="661180" y="1293040"/>
                        <a:pt x="691303" y="1281633"/>
                      </a:cubicBezTo>
                      <a:lnTo>
                        <a:pt x="809465" y="1245566"/>
                      </a:lnTo>
                      <a:cubicBezTo>
                        <a:pt x="809786" y="1245485"/>
                        <a:pt x="899673" y="1247654"/>
                        <a:pt x="1019924" y="1270709"/>
                      </a:cubicBezTo>
                      <a:cubicBezTo>
                        <a:pt x="1015426" y="1267576"/>
                        <a:pt x="1009080" y="1263961"/>
                        <a:pt x="1004180" y="1261551"/>
                      </a:cubicBezTo>
                      <a:cubicBezTo>
                        <a:pt x="1027877" y="1260909"/>
                        <a:pt x="1044424" y="1264282"/>
                        <a:pt x="1077841" y="1276733"/>
                      </a:cubicBezTo>
                      <a:cubicBezTo>
                        <a:pt x="1078724" y="1261792"/>
                        <a:pt x="1080010" y="1241309"/>
                        <a:pt x="1097923" y="1243718"/>
                      </a:cubicBezTo>
                      <a:cubicBezTo>
                        <a:pt x="1226608" y="1260909"/>
                        <a:pt x="1307097" y="1283722"/>
                        <a:pt x="1337139" y="1311435"/>
                      </a:cubicBezTo>
                      <a:cubicBezTo>
                        <a:pt x="1421886" y="1389594"/>
                        <a:pt x="1336577" y="1494422"/>
                        <a:pt x="1295610" y="1544868"/>
                      </a:cubicBezTo>
                      <a:cubicBezTo>
                        <a:pt x="1444538" y="1382525"/>
                        <a:pt x="1444538" y="1382525"/>
                        <a:pt x="1448233" y="1435381"/>
                      </a:cubicBezTo>
                      <a:cubicBezTo>
                        <a:pt x="1448394" y="1437791"/>
                        <a:pt x="1448072" y="1440924"/>
                        <a:pt x="1447992" y="1443333"/>
                      </a:cubicBezTo>
                      <a:cubicBezTo>
                        <a:pt x="1450804" y="1439879"/>
                        <a:pt x="1454900" y="1435461"/>
                        <a:pt x="1458113" y="1432328"/>
                      </a:cubicBezTo>
                      <a:cubicBezTo>
                        <a:pt x="1460202" y="1444538"/>
                        <a:pt x="1424858" y="1545751"/>
                        <a:pt x="1217692" y="1699901"/>
                      </a:cubicBezTo>
                      <a:cubicBezTo>
                        <a:pt x="1131259" y="1759504"/>
                        <a:pt x="1083223" y="1788503"/>
                        <a:pt x="985705" y="1832603"/>
                      </a:cubicBezTo>
                      <a:cubicBezTo>
                        <a:pt x="931564" y="1855014"/>
                        <a:pt x="931564" y="1855014"/>
                        <a:pt x="903208" y="1865055"/>
                      </a:cubicBezTo>
                      <a:cubicBezTo>
                        <a:pt x="856377" y="1880719"/>
                        <a:pt x="856377" y="1880719"/>
                        <a:pt x="832599" y="1887547"/>
                      </a:cubicBezTo>
                      <a:cubicBezTo>
                        <a:pt x="790186" y="1899034"/>
                        <a:pt x="790186" y="1899034"/>
                        <a:pt x="768899" y="1903854"/>
                      </a:cubicBezTo>
                      <a:cubicBezTo>
                        <a:pt x="728655" y="1912449"/>
                        <a:pt x="728655" y="1912449"/>
                        <a:pt x="708493" y="1916064"/>
                      </a:cubicBezTo>
                      <a:lnTo>
                        <a:pt x="693712" y="1918554"/>
                      </a:lnTo>
                      <a:lnTo>
                        <a:pt x="703834" y="1916786"/>
                      </a:lnTo>
                      <a:cubicBezTo>
                        <a:pt x="711786" y="1915180"/>
                        <a:pt x="722470" y="1913092"/>
                        <a:pt x="730422" y="1911565"/>
                      </a:cubicBezTo>
                      <a:cubicBezTo>
                        <a:pt x="702227" y="1915983"/>
                        <a:pt x="659734" y="1922650"/>
                        <a:pt x="644391" y="1913975"/>
                      </a:cubicBezTo>
                      <a:cubicBezTo>
                        <a:pt x="645998" y="1910923"/>
                        <a:pt x="648086" y="1906906"/>
                        <a:pt x="649693" y="1903854"/>
                      </a:cubicBezTo>
                      <a:cubicBezTo>
                        <a:pt x="625755" y="1910200"/>
                        <a:pt x="625755" y="1910200"/>
                        <a:pt x="620293" y="1907469"/>
                      </a:cubicBezTo>
                      <a:cubicBezTo>
                        <a:pt x="626558" y="1897267"/>
                        <a:pt x="626558" y="1897267"/>
                        <a:pt x="653709" y="1877104"/>
                      </a:cubicBezTo>
                      <a:cubicBezTo>
                        <a:pt x="645676" y="1881040"/>
                        <a:pt x="638447" y="1886262"/>
                        <a:pt x="630414" y="1890037"/>
                      </a:cubicBezTo>
                      <a:cubicBezTo>
                        <a:pt x="611135" y="1899275"/>
                        <a:pt x="588563" y="1900480"/>
                        <a:pt x="571132" y="1914216"/>
                      </a:cubicBezTo>
                      <a:cubicBezTo>
                        <a:pt x="434494" y="1927470"/>
                        <a:pt x="434494" y="1927470"/>
                        <a:pt x="344928" y="1920401"/>
                      </a:cubicBezTo>
                      <a:cubicBezTo>
                        <a:pt x="338663" y="1919839"/>
                        <a:pt x="338663" y="1919839"/>
                        <a:pt x="338663" y="1919839"/>
                      </a:cubicBezTo>
                      <a:cubicBezTo>
                        <a:pt x="338663" y="1919839"/>
                        <a:pt x="338663" y="1919839"/>
                        <a:pt x="338663" y="1919839"/>
                      </a:cubicBezTo>
                      <a:lnTo>
                        <a:pt x="338663" y="1919839"/>
                      </a:lnTo>
                      <a:lnTo>
                        <a:pt x="338663" y="1919839"/>
                      </a:lnTo>
                      <a:lnTo>
                        <a:pt x="338663" y="1919839"/>
                      </a:lnTo>
                      <a:lnTo>
                        <a:pt x="338663" y="1919839"/>
                      </a:lnTo>
                      <a:lnTo>
                        <a:pt x="338663" y="1919839"/>
                      </a:lnTo>
                      <a:lnTo>
                        <a:pt x="338663" y="1919839"/>
                      </a:lnTo>
                      <a:cubicBezTo>
                        <a:pt x="334084" y="1919437"/>
                        <a:pt x="327979" y="1918956"/>
                        <a:pt x="323400" y="1918554"/>
                      </a:cubicBezTo>
                      <a:cubicBezTo>
                        <a:pt x="344366" y="1921847"/>
                        <a:pt x="344366" y="1921847"/>
                        <a:pt x="370232" y="1924658"/>
                      </a:cubicBezTo>
                      <a:cubicBezTo>
                        <a:pt x="357700" y="1924177"/>
                        <a:pt x="355050" y="1924097"/>
                        <a:pt x="325248" y="1920401"/>
                      </a:cubicBezTo>
                      <a:cubicBezTo>
                        <a:pt x="340832" y="1922972"/>
                        <a:pt x="356496" y="1924980"/>
                        <a:pt x="372079" y="1927711"/>
                      </a:cubicBezTo>
                      <a:cubicBezTo>
                        <a:pt x="320268" y="1924337"/>
                        <a:pt x="256889" y="1911003"/>
                        <a:pt x="226364" y="1904576"/>
                      </a:cubicBezTo>
                      <a:cubicBezTo>
                        <a:pt x="190136" y="1895339"/>
                        <a:pt x="142100" y="1882165"/>
                        <a:pt x="106435" y="1871080"/>
                      </a:cubicBezTo>
                      <a:lnTo>
                        <a:pt x="106113" y="1870999"/>
                      </a:lnTo>
                      <a:cubicBezTo>
                        <a:pt x="78561" y="1861440"/>
                        <a:pt x="69484" y="1856701"/>
                        <a:pt x="26107" y="1833888"/>
                      </a:cubicBezTo>
                      <a:cubicBezTo>
                        <a:pt x="42654" y="1840073"/>
                        <a:pt x="58318" y="1848347"/>
                        <a:pt x="74384" y="1855577"/>
                      </a:cubicBezTo>
                      <a:cubicBezTo>
                        <a:pt x="72135" y="1854050"/>
                        <a:pt x="69162" y="1852042"/>
                        <a:pt x="66913" y="1850596"/>
                      </a:cubicBezTo>
                      <a:cubicBezTo>
                        <a:pt x="85389" y="1854452"/>
                        <a:pt x="102739" y="1862324"/>
                        <a:pt x="120974" y="1866903"/>
                      </a:cubicBezTo>
                      <a:cubicBezTo>
                        <a:pt x="112459" y="1854854"/>
                        <a:pt x="112459" y="1854854"/>
                        <a:pt x="54944" y="1828988"/>
                      </a:cubicBezTo>
                      <a:cubicBezTo>
                        <a:pt x="60005" y="1829872"/>
                        <a:pt x="66753" y="1831237"/>
                        <a:pt x="71813" y="1832281"/>
                      </a:cubicBezTo>
                      <a:cubicBezTo>
                        <a:pt x="60407" y="1823044"/>
                        <a:pt x="45867" y="1820072"/>
                        <a:pt x="33256" y="1813164"/>
                      </a:cubicBezTo>
                      <a:cubicBezTo>
                        <a:pt x="68439" y="1802400"/>
                        <a:pt x="78079" y="1726731"/>
                        <a:pt x="119849" y="1753480"/>
                      </a:cubicBezTo>
                      <a:cubicBezTo>
                        <a:pt x="120010" y="1751150"/>
                        <a:pt x="120251" y="1748017"/>
                        <a:pt x="120412" y="1745688"/>
                      </a:cubicBezTo>
                      <a:cubicBezTo>
                        <a:pt x="128766" y="1739503"/>
                        <a:pt x="132541" y="1736691"/>
                        <a:pt x="161379" y="1750588"/>
                      </a:cubicBezTo>
                      <a:cubicBezTo>
                        <a:pt x="160254" y="1748419"/>
                        <a:pt x="158728" y="1745527"/>
                        <a:pt x="157604" y="1743359"/>
                      </a:cubicBezTo>
                      <a:cubicBezTo>
                        <a:pt x="158648" y="1741430"/>
                        <a:pt x="160013" y="1738860"/>
                        <a:pt x="161058" y="1736932"/>
                      </a:cubicBezTo>
                      <a:cubicBezTo>
                        <a:pt x="163307" y="1736530"/>
                        <a:pt x="166279" y="1736049"/>
                        <a:pt x="168528" y="1735727"/>
                      </a:cubicBezTo>
                      <a:cubicBezTo>
                        <a:pt x="189413" y="1755568"/>
                        <a:pt x="228212" y="1792439"/>
                        <a:pt x="238735" y="1724803"/>
                      </a:cubicBezTo>
                      <a:cubicBezTo>
                        <a:pt x="274400" y="1737494"/>
                        <a:pt x="276168" y="1740948"/>
                        <a:pt x="282192" y="1752436"/>
                      </a:cubicBezTo>
                      <a:cubicBezTo>
                        <a:pt x="280746" y="1754926"/>
                        <a:pt x="278738" y="1758300"/>
                        <a:pt x="277292" y="1760870"/>
                      </a:cubicBezTo>
                      <a:cubicBezTo>
                        <a:pt x="280264" y="1761994"/>
                        <a:pt x="280264" y="1761994"/>
                        <a:pt x="412243" y="1824570"/>
                      </a:cubicBezTo>
                      <a:cubicBezTo>
                        <a:pt x="441081" y="1812842"/>
                        <a:pt x="454335" y="1817421"/>
                        <a:pt x="476265" y="1825132"/>
                      </a:cubicBezTo>
                      <a:cubicBezTo>
                        <a:pt x="510083" y="1836940"/>
                        <a:pt x="543820" y="1842242"/>
                        <a:pt x="633386" y="1849632"/>
                      </a:cubicBezTo>
                      <a:cubicBezTo>
                        <a:pt x="619650" y="1846660"/>
                        <a:pt x="604870" y="1837422"/>
                        <a:pt x="594909" y="1830113"/>
                      </a:cubicBezTo>
                      <a:cubicBezTo>
                        <a:pt x="594668" y="1828345"/>
                        <a:pt x="595391" y="1828587"/>
                        <a:pt x="596194" y="1828908"/>
                      </a:cubicBezTo>
                      <a:lnTo>
                        <a:pt x="604227" y="1833165"/>
                      </a:lnTo>
                      <a:cubicBezTo>
                        <a:pt x="621257" y="1840797"/>
                        <a:pt x="639089" y="1848749"/>
                        <a:pt x="682547" y="1854452"/>
                      </a:cubicBezTo>
                      <a:moveTo>
                        <a:pt x="220982" y="959919"/>
                      </a:moveTo>
                      <a:cubicBezTo>
                        <a:pt x="220902" y="959839"/>
                        <a:pt x="220822" y="959839"/>
                        <a:pt x="220741" y="959759"/>
                      </a:cubicBezTo>
                      <a:cubicBezTo>
                        <a:pt x="222589" y="959438"/>
                        <a:pt x="223633" y="958714"/>
                        <a:pt x="223713" y="957429"/>
                      </a:cubicBezTo>
                      <a:cubicBezTo>
                        <a:pt x="223231" y="957671"/>
                        <a:pt x="222589" y="957911"/>
                        <a:pt x="222107" y="958153"/>
                      </a:cubicBezTo>
                      <a:cubicBezTo>
                        <a:pt x="224356" y="954618"/>
                        <a:pt x="225400" y="953975"/>
                        <a:pt x="226766" y="953814"/>
                      </a:cubicBezTo>
                      <a:cubicBezTo>
                        <a:pt x="228051" y="954136"/>
                        <a:pt x="228694" y="955100"/>
                        <a:pt x="229658" y="958072"/>
                      </a:cubicBezTo>
                      <a:cubicBezTo>
                        <a:pt x="232068" y="958875"/>
                        <a:pt x="233272" y="959598"/>
                        <a:pt x="234558" y="960964"/>
                      </a:cubicBezTo>
                      <a:cubicBezTo>
                        <a:pt x="227890" y="961847"/>
                        <a:pt x="223151" y="960964"/>
                        <a:pt x="220982" y="959919"/>
                      </a:cubicBezTo>
                      <a:moveTo>
                        <a:pt x="241064" y="932206"/>
                      </a:moveTo>
                      <a:cubicBezTo>
                        <a:pt x="240984" y="932126"/>
                        <a:pt x="241225" y="932046"/>
                        <a:pt x="241305" y="932046"/>
                      </a:cubicBezTo>
                      <a:cubicBezTo>
                        <a:pt x="241787" y="931966"/>
                        <a:pt x="242510" y="931966"/>
                        <a:pt x="244599" y="932046"/>
                      </a:cubicBezTo>
                      <a:cubicBezTo>
                        <a:pt x="244036" y="932287"/>
                        <a:pt x="243313" y="932688"/>
                        <a:pt x="242831" y="932929"/>
                      </a:cubicBezTo>
                      <a:cubicBezTo>
                        <a:pt x="242349" y="932769"/>
                        <a:pt x="241225" y="932447"/>
                        <a:pt x="241064" y="932206"/>
                      </a:cubicBezTo>
                      <a:moveTo>
                        <a:pt x="234397" y="927949"/>
                      </a:moveTo>
                      <a:cubicBezTo>
                        <a:pt x="234317" y="927949"/>
                        <a:pt x="234236" y="928029"/>
                        <a:pt x="234156" y="928029"/>
                      </a:cubicBezTo>
                      <a:cubicBezTo>
                        <a:pt x="234236" y="927387"/>
                        <a:pt x="234317" y="926503"/>
                        <a:pt x="234397" y="925861"/>
                      </a:cubicBezTo>
                      <a:lnTo>
                        <a:pt x="234638" y="925861"/>
                      </a:lnTo>
                      <a:cubicBezTo>
                        <a:pt x="235763" y="926101"/>
                        <a:pt x="236807" y="926423"/>
                        <a:pt x="235602" y="927226"/>
                      </a:cubicBezTo>
                      <a:cubicBezTo>
                        <a:pt x="235200" y="927547"/>
                        <a:pt x="234799" y="927788"/>
                        <a:pt x="234397" y="927949"/>
                      </a:cubicBezTo>
                      <a:moveTo>
                        <a:pt x="587680" y="827860"/>
                      </a:moveTo>
                      <a:cubicBezTo>
                        <a:pt x="587439" y="826977"/>
                        <a:pt x="587920" y="826173"/>
                        <a:pt x="588081" y="825772"/>
                      </a:cubicBezTo>
                      <a:cubicBezTo>
                        <a:pt x="588161" y="825852"/>
                        <a:pt x="588242" y="825932"/>
                        <a:pt x="588322" y="825932"/>
                      </a:cubicBezTo>
                      <a:cubicBezTo>
                        <a:pt x="589607" y="826896"/>
                        <a:pt x="590732" y="827298"/>
                        <a:pt x="592178" y="827298"/>
                      </a:cubicBezTo>
                      <a:cubicBezTo>
                        <a:pt x="592098" y="827700"/>
                        <a:pt x="592017" y="828503"/>
                        <a:pt x="590571" y="828905"/>
                      </a:cubicBezTo>
                      <a:cubicBezTo>
                        <a:pt x="588643" y="829387"/>
                        <a:pt x="588483" y="829226"/>
                        <a:pt x="587920" y="828423"/>
                      </a:cubicBezTo>
                      <a:cubicBezTo>
                        <a:pt x="587840" y="828342"/>
                        <a:pt x="587760" y="828101"/>
                        <a:pt x="587680" y="827860"/>
                      </a:cubicBezTo>
                      <a:moveTo>
                        <a:pt x="585591" y="825290"/>
                      </a:moveTo>
                      <a:cubicBezTo>
                        <a:pt x="585350" y="824085"/>
                        <a:pt x="586314" y="823362"/>
                        <a:pt x="587037" y="822880"/>
                      </a:cubicBezTo>
                      <a:cubicBezTo>
                        <a:pt x="587358" y="823201"/>
                        <a:pt x="587840" y="823603"/>
                        <a:pt x="588161" y="823924"/>
                      </a:cubicBezTo>
                      <a:lnTo>
                        <a:pt x="585671" y="825531"/>
                      </a:lnTo>
                      <a:cubicBezTo>
                        <a:pt x="585671" y="825451"/>
                        <a:pt x="585671" y="825370"/>
                        <a:pt x="585591" y="825290"/>
                      </a:cubicBezTo>
                      <a:moveTo>
                        <a:pt x="572096" y="819185"/>
                      </a:moveTo>
                      <a:lnTo>
                        <a:pt x="570811" y="818462"/>
                      </a:lnTo>
                      <a:lnTo>
                        <a:pt x="571212" y="817819"/>
                      </a:lnTo>
                      <a:lnTo>
                        <a:pt x="571453" y="817819"/>
                      </a:lnTo>
                      <a:cubicBezTo>
                        <a:pt x="572498" y="817819"/>
                        <a:pt x="573863" y="817900"/>
                        <a:pt x="573301" y="818542"/>
                      </a:cubicBezTo>
                      <a:cubicBezTo>
                        <a:pt x="572979" y="818783"/>
                        <a:pt x="572417" y="819105"/>
                        <a:pt x="572096" y="819185"/>
                      </a:cubicBezTo>
                      <a:moveTo>
                        <a:pt x="85710" y="901360"/>
                      </a:moveTo>
                      <a:cubicBezTo>
                        <a:pt x="85630" y="901360"/>
                        <a:pt x="85630" y="901360"/>
                        <a:pt x="85710" y="901360"/>
                      </a:cubicBezTo>
                      <a:cubicBezTo>
                        <a:pt x="85630" y="901360"/>
                        <a:pt x="85710" y="901360"/>
                        <a:pt x="85710" y="901360"/>
                      </a:cubicBezTo>
                      <a:cubicBezTo>
                        <a:pt x="86031" y="901441"/>
                        <a:pt x="86353" y="901601"/>
                        <a:pt x="86674" y="901682"/>
                      </a:cubicBezTo>
                      <a:cubicBezTo>
                        <a:pt x="86272" y="901601"/>
                        <a:pt x="85951" y="901521"/>
                        <a:pt x="85710" y="901360"/>
                      </a:cubicBezTo>
                      <a:moveTo>
                        <a:pt x="91333" y="894613"/>
                      </a:moveTo>
                      <a:lnTo>
                        <a:pt x="90851" y="893569"/>
                      </a:lnTo>
                      <a:lnTo>
                        <a:pt x="91092" y="893569"/>
                      </a:lnTo>
                      <a:cubicBezTo>
                        <a:pt x="93341" y="893488"/>
                        <a:pt x="94626" y="894131"/>
                        <a:pt x="95108" y="895577"/>
                      </a:cubicBezTo>
                      <a:cubicBezTo>
                        <a:pt x="93180" y="895818"/>
                        <a:pt x="91895" y="895497"/>
                        <a:pt x="91333" y="894613"/>
                      </a:cubicBezTo>
                      <a:moveTo>
                        <a:pt x="566553" y="810108"/>
                      </a:moveTo>
                      <a:cubicBezTo>
                        <a:pt x="563983" y="797657"/>
                        <a:pt x="566312" y="794123"/>
                        <a:pt x="572337" y="791311"/>
                      </a:cubicBezTo>
                      <a:cubicBezTo>
                        <a:pt x="574988" y="790106"/>
                        <a:pt x="581976" y="789865"/>
                        <a:pt x="589848" y="791793"/>
                      </a:cubicBezTo>
                      <a:cubicBezTo>
                        <a:pt x="595070" y="793078"/>
                        <a:pt x="615473" y="785929"/>
                        <a:pt x="631619" y="779744"/>
                      </a:cubicBezTo>
                      <a:cubicBezTo>
                        <a:pt x="631779" y="780627"/>
                        <a:pt x="631940" y="781832"/>
                        <a:pt x="632101" y="782796"/>
                      </a:cubicBezTo>
                      <a:cubicBezTo>
                        <a:pt x="632262" y="790909"/>
                        <a:pt x="630414" y="796291"/>
                        <a:pt x="624711" y="804083"/>
                      </a:cubicBezTo>
                      <a:cubicBezTo>
                        <a:pt x="624148" y="803923"/>
                        <a:pt x="623345" y="803682"/>
                        <a:pt x="622783" y="803521"/>
                      </a:cubicBezTo>
                      <a:cubicBezTo>
                        <a:pt x="620212" y="805770"/>
                        <a:pt x="619730" y="807136"/>
                        <a:pt x="620935" y="809224"/>
                      </a:cubicBezTo>
                      <a:cubicBezTo>
                        <a:pt x="621417" y="807216"/>
                        <a:pt x="622542" y="806091"/>
                        <a:pt x="625434" y="804565"/>
                      </a:cubicBezTo>
                      <a:cubicBezTo>
                        <a:pt x="624229" y="814205"/>
                        <a:pt x="619811" y="819426"/>
                        <a:pt x="608484" y="824406"/>
                      </a:cubicBezTo>
                      <a:cubicBezTo>
                        <a:pt x="615393" y="823041"/>
                        <a:pt x="612260" y="826896"/>
                        <a:pt x="612180" y="826977"/>
                      </a:cubicBezTo>
                      <a:cubicBezTo>
                        <a:pt x="612099" y="827057"/>
                        <a:pt x="599327" y="833162"/>
                        <a:pt x="592419" y="825370"/>
                      </a:cubicBezTo>
                      <a:cubicBezTo>
                        <a:pt x="592821" y="824728"/>
                        <a:pt x="593383" y="823844"/>
                        <a:pt x="593865" y="823201"/>
                      </a:cubicBezTo>
                      <a:cubicBezTo>
                        <a:pt x="587840" y="825049"/>
                        <a:pt x="586957" y="822559"/>
                        <a:pt x="587439" y="818382"/>
                      </a:cubicBezTo>
                      <a:cubicBezTo>
                        <a:pt x="585591" y="819827"/>
                        <a:pt x="585029" y="820711"/>
                        <a:pt x="584948" y="822559"/>
                      </a:cubicBezTo>
                      <a:cubicBezTo>
                        <a:pt x="579004" y="819667"/>
                        <a:pt x="578361" y="821996"/>
                        <a:pt x="579165" y="826334"/>
                      </a:cubicBezTo>
                      <a:cubicBezTo>
                        <a:pt x="577237" y="822559"/>
                        <a:pt x="571855" y="812839"/>
                        <a:pt x="568481" y="808421"/>
                      </a:cubicBezTo>
                      <a:lnTo>
                        <a:pt x="569365" y="809706"/>
                      </a:lnTo>
                      <a:lnTo>
                        <a:pt x="566955" y="813160"/>
                      </a:lnTo>
                      <a:cubicBezTo>
                        <a:pt x="566794" y="812036"/>
                        <a:pt x="566714" y="811072"/>
                        <a:pt x="566553" y="810108"/>
                      </a:cubicBezTo>
                      <a:moveTo>
                        <a:pt x="566071" y="787375"/>
                      </a:moveTo>
                      <a:lnTo>
                        <a:pt x="564866" y="786411"/>
                      </a:lnTo>
                      <a:lnTo>
                        <a:pt x="567276" y="786170"/>
                      </a:lnTo>
                      <a:lnTo>
                        <a:pt x="566071" y="787375"/>
                      </a:lnTo>
                      <a:moveTo>
                        <a:pt x="176320" y="921683"/>
                      </a:moveTo>
                      <a:cubicBezTo>
                        <a:pt x="176240" y="921603"/>
                        <a:pt x="176079" y="921523"/>
                        <a:pt x="175999" y="921523"/>
                      </a:cubicBezTo>
                      <a:cubicBezTo>
                        <a:pt x="176159" y="921603"/>
                        <a:pt x="176240" y="921683"/>
                        <a:pt x="176320" y="921683"/>
                      </a:cubicBezTo>
                      <a:moveTo>
                        <a:pt x="177445" y="926262"/>
                      </a:moveTo>
                      <a:cubicBezTo>
                        <a:pt x="178730" y="925459"/>
                        <a:pt x="180497" y="923772"/>
                        <a:pt x="177766" y="920960"/>
                      </a:cubicBezTo>
                      <a:lnTo>
                        <a:pt x="177525" y="922406"/>
                      </a:lnTo>
                      <a:lnTo>
                        <a:pt x="176400" y="921764"/>
                      </a:lnTo>
                      <a:cubicBezTo>
                        <a:pt x="177445" y="922406"/>
                        <a:pt x="178971" y="923933"/>
                        <a:pt x="177203" y="926423"/>
                      </a:cubicBezTo>
                      <a:cubicBezTo>
                        <a:pt x="177284" y="926342"/>
                        <a:pt x="177364" y="926262"/>
                        <a:pt x="177445" y="926262"/>
                      </a:cubicBezTo>
                      <a:moveTo>
                        <a:pt x="173508" y="925379"/>
                      </a:moveTo>
                      <a:cubicBezTo>
                        <a:pt x="172866" y="922647"/>
                        <a:pt x="172545" y="921121"/>
                        <a:pt x="172223" y="919113"/>
                      </a:cubicBezTo>
                      <a:cubicBezTo>
                        <a:pt x="171822" y="918952"/>
                        <a:pt x="171259" y="918711"/>
                        <a:pt x="170858" y="918551"/>
                      </a:cubicBezTo>
                      <a:cubicBezTo>
                        <a:pt x="171581" y="920880"/>
                        <a:pt x="172143" y="923370"/>
                        <a:pt x="172545" y="925780"/>
                      </a:cubicBezTo>
                      <a:cubicBezTo>
                        <a:pt x="172866" y="925620"/>
                        <a:pt x="173187" y="925459"/>
                        <a:pt x="173508" y="925379"/>
                      </a:cubicBezTo>
                      <a:moveTo>
                        <a:pt x="162745" y="920237"/>
                      </a:moveTo>
                      <a:cubicBezTo>
                        <a:pt x="163467" y="921201"/>
                        <a:pt x="164753" y="922728"/>
                        <a:pt x="166761" y="924495"/>
                      </a:cubicBezTo>
                      <a:cubicBezTo>
                        <a:pt x="166199" y="922567"/>
                        <a:pt x="165476" y="920719"/>
                        <a:pt x="164833" y="918872"/>
                      </a:cubicBezTo>
                      <a:cubicBezTo>
                        <a:pt x="164994" y="919916"/>
                        <a:pt x="164833" y="920800"/>
                        <a:pt x="162664" y="920077"/>
                      </a:cubicBezTo>
                      <a:cubicBezTo>
                        <a:pt x="162664" y="920077"/>
                        <a:pt x="162745" y="920157"/>
                        <a:pt x="162745" y="920237"/>
                      </a:cubicBezTo>
                      <a:moveTo>
                        <a:pt x="87959" y="902324"/>
                      </a:moveTo>
                      <a:cubicBezTo>
                        <a:pt x="87558" y="902164"/>
                        <a:pt x="86995" y="901923"/>
                        <a:pt x="86594" y="901762"/>
                      </a:cubicBezTo>
                      <a:cubicBezTo>
                        <a:pt x="89003" y="902324"/>
                        <a:pt x="89646" y="902244"/>
                        <a:pt x="92056" y="901682"/>
                      </a:cubicBezTo>
                      <a:cubicBezTo>
                        <a:pt x="89325" y="901521"/>
                        <a:pt x="88441" y="901119"/>
                        <a:pt x="86835" y="900236"/>
                      </a:cubicBezTo>
                      <a:cubicBezTo>
                        <a:pt x="87076" y="899995"/>
                        <a:pt x="87477" y="899754"/>
                        <a:pt x="87718" y="899513"/>
                      </a:cubicBezTo>
                      <a:lnTo>
                        <a:pt x="87879" y="898870"/>
                      </a:lnTo>
                      <a:lnTo>
                        <a:pt x="91494" y="897987"/>
                      </a:lnTo>
                      <a:lnTo>
                        <a:pt x="91333" y="899192"/>
                      </a:lnTo>
                      <a:cubicBezTo>
                        <a:pt x="93421" y="900236"/>
                        <a:pt x="93743" y="900396"/>
                        <a:pt x="96313" y="900878"/>
                      </a:cubicBezTo>
                      <a:cubicBezTo>
                        <a:pt x="94466" y="898790"/>
                        <a:pt x="93582" y="898067"/>
                        <a:pt x="91092" y="896782"/>
                      </a:cubicBezTo>
                      <a:cubicBezTo>
                        <a:pt x="113503" y="897023"/>
                        <a:pt x="111817" y="890918"/>
                        <a:pt x="107800" y="885536"/>
                      </a:cubicBezTo>
                      <a:cubicBezTo>
                        <a:pt x="109567" y="885857"/>
                        <a:pt x="111897" y="886259"/>
                        <a:pt x="113584" y="886580"/>
                      </a:cubicBezTo>
                      <a:cubicBezTo>
                        <a:pt x="129087" y="890837"/>
                        <a:pt x="137682" y="895978"/>
                        <a:pt x="145394" y="905538"/>
                      </a:cubicBezTo>
                      <a:cubicBezTo>
                        <a:pt x="149812" y="906019"/>
                        <a:pt x="151820" y="907305"/>
                        <a:pt x="152704" y="910357"/>
                      </a:cubicBezTo>
                      <a:cubicBezTo>
                        <a:pt x="152704" y="909554"/>
                        <a:pt x="152704" y="908429"/>
                        <a:pt x="152704" y="907626"/>
                      </a:cubicBezTo>
                      <a:cubicBezTo>
                        <a:pt x="155435" y="908349"/>
                        <a:pt x="157684" y="910919"/>
                        <a:pt x="160817" y="909715"/>
                      </a:cubicBezTo>
                      <a:cubicBezTo>
                        <a:pt x="160977" y="910196"/>
                        <a:pt x="160897" y="910919"/>
                        <a:pt x="160656" y="911401"/>
                      </a:cubicBezTo>
                      <a:cubicBezTo>
                        <a:pt x="161941" y="910357"/>
                        <a:pt x="163226" y="909393"/>
                        <a:pt x="166279" y="910196"/>
                      </a:cubicBezTo>
                      <a:cubicBezTo>
                        <a:pt x="165877" y="910678"/>
                        <a:pt x="165315" y="911241"/>
                        <a:pt x="164833" y="911723"/>
                      </a:cubicBezTo>
                      <a:cubicBezTo>
                        <a:pt x="168367" y="911000"/>
                        <a:pt x="171340" y="911241"/>
                        <a:pt x="175436" y="912847"/>
                      </a:cubicBezTo>
                      <a:cubicBezTo>
                        <a:pt x="175195" y="913008"/>
                        <a:pt x="174954" y="913169"/>
                        <a:pt x="174713" y="913329"/>
                      </a:cubicBezTo>
                      <a:lnTo>
                        <a:pt x="175999" y="913169"/>
                      </a:lnTo>
                      <a:cubicBezTo>
                        <a:pt x="176079" y="913570"/>
                        <a:pt x="176240" y="913972"/>
                        <a:pt x="176320" y="914293"/>
                      </a:cubicBezTo>
                      <a:cubicBezTo>
                        <a:pt x="183549" y="913329"/>
                        <a:pt x="187164" y="913972"/>
                        <a:pt x="189654" y="916783"/>
                      </a:cubicBezTo>
                      <a:cubicBezTo>
                        <a:pt x="208371" y="913088"/>
                        <a:pt x="213994" y="917747"/>
                        <a:pt x="215440" y="922326"/>
                      </a:cubicBezTo>
                      <a:cubicBezTo>
                        <a:pt x="221786" y="919916"/>
                        <a:pt x="223713" y="922406"/>
                        <a:pt x="224597" y="924736"/>
                      </a:cubicBezTo>
                      <a:cubicBezTo>
                        <a:pt x="224677" y="924093"/>
                        <a:pt x="224838" y="923210"/>
                        <a:pt x="224999" y="922567"/>
                      </a:cubicBezTo>
                      <a:cubicBezTo>
                        <a:pt x="228292" y="922647"/>
                        <a:pt x="228453" y="922808"/>
                        <a:pt x="229658" y="923772"/>
                      </a:cubicBezTo>
                      <a:cubicBezTo>
                        <a:pt x="229497" y="924415"/>
                        <a:pt x="229176" y="925218"/>
                        <a:pt x="228774" y="925780"/>
                      </a:cubicBezTo>
                      <a:cubicBezTo>
                        <a:pt x="229417" y="925459"/>
                        <a:pt x="230300" y="924977"/>
                        <a:pt x="231023" y="924656"/>
                      </a:cubicBezTo>
                      <a:cubicBezTo>
                        <a:pt x="232710" y="925298"/>
                        <a:pt x="232710" y="925298"/>
                        <a:pt x="233192" y="926503"/>
                      </a:cubicBezTo>
                      <a:cubicBezTo>
                        <a:pt x="232148" y="927869"/>
                        <a:pt x="232148" y="927869"/>
                        <a:pt x="230140" y="928833"/>
                      </a:cubicBezTo>
                      <a:cubicBezTo>
                        <a:pt x="230782" y="928752"/>
                        <a:pt x="231666" y="928672"/>
                        <a:pt x="232308" y="928913"/>
                      </a:cubicBezTo>
                      <a:cubicBezTo>
                        <a:pt x="232308" y="929234"/>
                        <a:pt x="232389" y="929556"/>
                        <a:pt x="232389" y="929877"/>
                      </a:cubicBezTo>
                      <a:cubicBezTo>
                        <a:pt x="233192" y="929636"/>
                        <a:pt x="233192" y="929636"/>
                        <a:pt x="236727" y="927547"/>
                      </a:cubicBezTo>
                      <a:cubicBezTo>
                        <a:pt x="236566" y="928110"/>
                        <a:pt x="236405" y="928833"/>
                        <a:pt x="236245" y="929315"/>
                      </a:cubicBezTo>
                      <a:cubicBezTo>
                        <a:pt x="238976" y="928431"/>
                        <a:pt x="239458" y="928833"/>
                        <a:pt x="240100" y="930118"/>
                      </a:cubicBezTo>
                      <a:cubicBezTo>
                        <a:pt x="238735" y="930600"/>
                        <a:pt x="236887" y="931162"/>
                        <a:pt x="235522" y="931564"/>
                      </a:cubicBezTo>
                      <a:cubicBezTo>
                        <a:pt x="237691" y="931805"/>
                        <a:pt x="238012" y="931805"/>
                        <a:pt x="238976" y="932126"/>
                      </a:cubicBezTo>
                      <a:cubicBezTo>
                        <a:pt x="238895" y="932447"/>
                        <a:pt x="238815" y="932929"/>
                        <a:pt x="238735" y="933251"/>
                      </a:cubicBezTo>
                      <a:cubicBezTo>
                        <a:pt x="237931" y="933652"/>
                        <a:pt x="236887" y="934054"/>
                        <a:pt x="236084" y="934295"/>
                      </a:cubicBezTo>
                      <a:cubicBezTo>
                        <a:pt x="242349" y="933090"/>
                        <a:pt x="244840" y="933492"/>
                        <a:pt x="246205" y="935982"/>
                      </a:cubicBezTo>
                      <a:cubicBezTo>
                        <a:pt x="244117" y="936624"/>
                        <a:pt x="243233" y="936544"/>
                        <a:pt x="241787" y="935821"/>
                      </a:cubicBezTo>
                      <a:cubicBezTo>
                        <a:pt x="242349" y="936464"/>
                        <a:pt x="243153" y="937267"/>
                        <a:pt x="243715" y="937910"/>
                      </a:cubicBezTo>
                      <a:cubicBezTo>
                        <a:pt x="241466" y="938311"/>
                        <a:pt x="240904" y="938311"/>
                        <a:pt x="238574" y="937749"/>
                      </a:cubicBezTo>
                      <a:cubicBezTo>
                        <a:pt x="193189" y="976869"/>
                        <a:pt x="155676" y="938151"/>
                        <a:pt x="154712" y="932046"/>
                      </a:cubicBezTo>
                      <a:cubicBezTo>
                        <a:pt x="148687" y="931724"/>
                        <a:pt x="142663" y="931483"/>
                        <a:pt x="136638" y="931162"/>
                      </a:cubicBezTo>
                      <a:cubicBezTo>
                        <a:pt x="137682" y="929074"/>
                        <a:pt x="137762" y="928752"/>
                        <a:pt x="138164" y="927467"/>
                      </a:cubicBezTo>
                      <a:cubicBezTo>
                        <a:pt x="135272" y="930439"/>
                        <a:pt x="133264" y="931403"/>
                        <a:pt x="129569" y="931403"/>
                      </a:cubicBezTo>
                      <a:cubicBezTo>
                        <a:pt x="130051" y="931483"/>
                        <a:pt x="130694" y="931644"/>
                        <a:pt x="131176" y="931724"/>
                      </a:cubicBezTo>
                      <a:cubicBezTo>
                        <a:pt x="123625" y="934054"/>
                        <a:pt x="122581" y="933893"/>
                        <a:pt x="121215" y="933572"/>
                      </a:cubicBezTo>
                      <a:cubicBezTo>
                        <a:pt x="122179" y="931082"/>
                        <a:pt x="122179" y="931001"/>
                        <a:pt x="128525" y="926423"/>
                      </a:cubicBezTo>
                      <a:cubicBezTo>
                        <a:pt x="126597" y="926503"/>
                        <a:pt x="126597" y="926503"/>
                        <a:pt x="125151" y="926101"/>
                      </a:cubicBezTo>
                      <a:cubicBezTo>
                        <a:pt x="125071" y="925861"/>
                        <a:pt x="124990" y="925539"/>
                        <a:pt x="124990" y="925298"/>
                      </a:cubicBezTo>
                      <a:cubicBezTo>
                        <a:pt x="125312" y="924897"/>
                        <a:pt x="125633" y="924415"/>
                        <a:pt x="125954" y="924013"/>
                      </a:cubicBezTo>
                      <a:cubicBezTo>
                        <a:pt x="104185" y="919756"/>
                        <a:pt x="94385" y="912124"/>
                        <a:pt x="92618" y="906983"/>
                      </a:cubicBezTo>
                      <a:cubicBezTo>
                        <a:pt x="92698" y="906180"/>
                        <a:pt x="91574" y="904011"/>
                        <a:pt x="87959" y="902324"/>
                      </a:cubicBezTo>
                      <a:moveTo>
                        <a:pt x="562617" y="786491"/>
                      </a:moveTo>
                      <a:lnTo>
                        <a:pt x="561734" y="786491"/>
                      </a:lnTo>
                      <a:cubicBezTo>
                        <a:pt x="562135" y="786250"/>
                        <a:pt x="562537" y="786009"/>
                        <a:pt x="562938" y="785849"/>
                      </a:cubicBezTo>
                      <a:cubicBezTo>
                        <a:pt x="562858" y="786009"/>
                        <a:pt x="562778" y="786250"/>
                        <a:pt x="562617" y="786491"/>
                      </a:cubicBezTo>
                      <a:moveTo>
                        <a:pt x="630253" y="777254"/>
                      </a:moveTo>
                      <a:cubicBezTo>
                        <a:pt x="630173" y="776932"/>
                        <a:pt x="630173" y="776611"/>
                        <a:pt x="630093" y="776209"/>
                      </a:cubicBezTo>
                      <a:lnTo>
                        <a:pt x="631539" y="776772"/>
                      </a:lnTo>
                      <a:lnTo>
                        <a:pt x="630896" y="778539"/>
                      </a:lnTo>
                      <a:lnTo>
                        <a:pt x="630253" y="777254"/>
                      </a:lnTo>
                      <a:moveTo>
                        <a:pt x="563179" y="785688"/>
                      </a:moveTo>
                      <a:cubicBezTo>
                        <a:pt x="563099" y="785688"/>
                        <a:pt x="563099" y="785768"/>
                        <a:pt x="563019" y="785768"/>
                      </a:cubicBezTo>
                      <a:cubicBezTo>
                        <a:pt x="563099" y="785688"/>
                        <a:pt x="563179" y="785528"/>
                        <a:pt x="563179" y="785447"/>
                      </a:cubicBezTo>
                      <a:cubicBezTo>
                        <a:pt x="564224" y="784965"/>
                        <a:pt x="565268" y="784403"/>
                        <a:pt x="566393" y="783921"/>
                      </a:cubicBezTo>
                      <a:cubicBezTo>
                        <a:pt x="566634" y="783841"/>
                        <a:pt x="566875" y="783680"/>
                        <a:pt x="567116" y="783600"/>
                      </a:cubicBezTo>
                      <a:cubicBezTo>
                        <a:pt x="567196" y="783600"/>
                        <a:pt x="567276" y="783439"/>
                        <a:pt x="567357" y="783519"/>
                      </a:cubicBezTo>
                      <a:cubicBezTo>
                        <a:pt x="566875" y="783921"/>
                        <a:pt x="566232" y="784162"/>
                        <a:pt x="565670" y="784403"/>
                      </a:cubicBezTo>
                      <a:cubicBezTo>
                        <a:pt x="564866" y="784805"/>
                        <a:pt x="563983" y="785287"/>
                        <a:pt x="563179" y="785688"/>
                      </a:cubicBezTo>
                      <a:moveTo>
                        <a:pt x="563179" y="781592"/>
                      </a:moveTo>
                      <a:cubicBezTo>
                        <a:pt x="563099" y="781592"/>
                        <a:pt x="562938" y="781592"/>
                        <a:pt x="562778" y="781592"/>
                      </a:cubicBezTo>
                      <a:cubicBezTo>
                        <a:pt x="563099" y="781190"/>
                        <a:pt x="563501" y="780708"/>
                        <a:pt x="563822" y="780306"/>
                      </a:cubicBezTo>
                      <a:lnTo>
                        <a:pt x="562698" y="778700"/>
                      </a:lnTo>
                      <a:cubicBezTo>
                        <a:pt x="565348" y="777173"/>
                        <a:pt x="567196" y="775727"/>
                        <a:pt x="568883" y="773880"/>
                      </a:cubicBezTo>
                      <a:cubicBezTo>
                        <a:pt x="569927" y="774362"/>
                        <a:pt x="571373" y="775005"/>
                        <a:pt x="572417" y="775567"/>
                      </a:cubicBezTo>
                      <a:cubicBezTo>
                        <a:pt x="571453" y="778298"/>
                        <a:pt x="569365" y="781832"/>
                        <a:pt x="563179" y="781592"/>
                      </a:cubicBezTo>
                      <a:moveTo>
                        <a:pt x="643427" y="763357"/>
                      </a:moveTo>
                      <a:lnTo>
                        <a:pt x="643427" y="763357"/>
                      </a:lnTo>
                      <a:cubicBezTo>
                        <a:pt x="644391" y="765365"/>
                        <a:pt x="645275" y="767454"/>
                        <a:pt x="646239" y="769462"/>
                      </a:cubicBezTo>
                      <a:cubicBezTo>
                        <a:pt x="645596" y="768177"/>
                        <a:pt x="645034" y="766811"/>
                        <a:pt x="644391" y="765526"/>
                      </a:cubicBezTo>
                      <a:cubicBezTo>
                        <a:pt x="644070" y="764803"/>
                        <a:pt x="643668" y="764160"/>
                        <a:pt x="643427" y="763357"/>
                      </a:cubicBezTo>
                      <a:moveTo>
                        <a:pt x="620052" y="748978"/>
                      </a:moveTo>
                      <a:lnTo>
                        <a:pt x="615714" y="749942"/>
                      </a:lnTo>
                      <a:cubicBezTo>
                        <a:pt x="616276" y="748898"/>
                        <a:pt x="616919" y="748416"/>
                        <a:pt x="617803" y="748336"/>
                      </a:cubicBezTo>
                      <a:cubicBezTo>
                        <a:pt x="618525" y="748336"/>
                        <a:pt x="619168" y="748496"/>
                        <a:pt x="620052" y="748978"/>
                      </a:cubicBezTo>
                      <a:moveTo>
                        <a:pt x="616678" y="746890"/>
                      </a:moveTo>
                      <a:lnTo>
                        <a:pt x="616678" y="746890"/>
                      </a:lnTo>
                      <a:lnTo>
                        <a:pt x="616678" y="746890"/>
                      </a:lnTo>
                      <a:moveTo>
                        <a:pt x="616678" y="746890"/>
                      </a:moveTo>
                      <a:lnTo>
                        <a:pt x="616678" y="746890"/>
                      </a:lnTo>
                      <a:lnTo>
                        <a:pt x="616678" y="746890"/>
                      </a:lnTo>
                      <a:moveTo>
                        <a:pt x="616678" y="746890"/>
                      </a:moveTo>
                      <a:cubicBezTo>
                        <a:pt x="616678" y="746890"/>
                        <a:pt x="616678" y="746890"/>
                        <a:pt x="616678" y="746890"/>
                      </a:cubicBezTo>
                      <a:cubicBezTo>
                        <a:pt x="616678" y="746890"/>
                        <a:pt x="616678" y="746890"/>
                        <a:pt x="616678" y="746890"/>
                      </a:cubicBezTo>
                      <a:moveTo>
                        <a:pt x="616678" y="746890"/>
                      </a:moveTo>
                      <a:lnTo>
                        <a:pt x="616678" y="746890"/>
                      </a:lnTo>
                      <a:lnTo>
                        <a:pt x="616678" y="746890"/>
                      </a:lnTo>
                      <a:moveTo>
                        <a:pt x="616678" y="746890"/>
                      </a:moveTo>
                      <a:cubicBezTo>
                        <a:pt x="616678" y="746890"/>
                        <a:pt x="616678" y="746890"/>
                        <a:pt x="616678" y="746890"/>
                      </a:cubicBezTo>
                      <a:cubicBezTo>
                        <a:pt x="616678" y="746890"/>
                        <a:pt x="616678" y="746890"/>
                        <a:pt x="616678" y="746890"/>
                      </a:cubicBezTo>
                      <a:moveTo>
                        <a:pt x="616678" y="746890"/>
                      </a:moveTo>
                      <a:cubicBezTo>
                        <a:pt x="616678" y="746890"/>
                        <a:pt x="616678" y="746890"/>
                        <a:pt x="616678" y="746890"/>
                      </a:cubicBezTo>
                      <a:cubicBezTo>
                        <a:pt x="616678" y="746890"/>
                        <a:pt x="616678" y="746890"/>
                        <a:pt x="61667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98" y="746890"/>
                      </a:moveTo>
                      <a:cubicBezTo>
                        <a:pt x="616598" y="746890"/>
                        <a:pt x="616598" y="746890"/>
                        <a:pt x="616598" y="746890"/>
                      </a:cubicBezTo>
                      <a:cubicBezTo>
                        <a:pt x="616598" y="746890"/>
                        <a:pt x="616598" y="746890"/>
                        <a:pt x="616598" y="746890"/>
                      </a:cubicBezTo>
                      <a:moveTo>
                        <a:pt x="616517" y="746890"/>
                      </a:moveTo>
                      <a:cubicBezTo>
                        <a:pt x="616598" y="746890"/>
                        <a:pt x="616598" y="746890"/>
                        <a:pt x="616517" y="746890"/>
                      </a:cubicBezTo>
                      <a:cubicBezTo>
                        <a:pt x="616598" y="746890"/>
                        <a:pt x="616598" y="746890"/>
                        <a:pt x="616517" y="746890"/>
                      </a:cubicBezTo>
                      <a:moveTo>
                        <a:pt x="616517" y="746890"/>
                      </a:moveTo>
                      <a:cubicBezTo>
                        <a:pt x="616517" y="746890"/>
                        <a:pt x="616517" y="746890"/>
                        <a:pt x="616517" y="746890"/>
                      </a:cubicBezTo>
                      <a:cubicBezTo>
                        <a:pt x="616517" y="746890"/>
                        <a:pt x="616517" y="746890"/>
                        <a:pt x="616517" y="746890"/>
                      </a:cubicBezTo>
                      <a:moveTo>
                        <a:pt x="616517" y="746890"/>
                      </a:moveTo>
                      <a:cubicBezTo>
                        <a:pt x="616517" y="746890"/>
                        <a:pt x="616517" y="746890"/>
                        <a:pt x="616517" y="746890"/>
                      </a:cubicBezTo>
                      <a:cubicBezTo>
                        <a:pt x="616517" y="746890"/>
                        <a:pt x="616517" y="746890"/>
                        <a:pt x="616517" y="746890"/>
                      </a:cubicBezTo>
                      <a:moveTo>
                        <a:pt x="616517" y="746890"/>
                      </a:moveTo>
                      <a:lnTo>
                        <a:pt x="616517" y="746890"/>
                      </a:lnTo>
                      <a:lnTo>
                        <a:pt x="616517" y="746890"/>
                      </a:lnTo>
                      <a:moveTo>
                        <a:pt x="616517" y="746890"/>
                      </a:moveTo>
                      <a:cubicBezTo>
                        <a:pt x="616517" y="746890"/>
                        <a:pt x="616517" y="746890"/>
                        <a:pt x="616517" y="746890"/>
                      </a:cubicBezTo>
                      <a:cubicBezTo>
                        <a:pt x="616517" y="746890"/>
                        <a:pt x="616517" y="746890"/>
                        <a:pt x="616517" y="746890"/>
                      </a:cubicBezTo>
                      <a:moveTo>
                        <a:pt x="616437" y="746890"/>
                      </a:moveTo>
                      <a:lnTo>
                        <a:pt x="616437" y="746890"/>
                      </a:lnTo>
                      <a:lnTo>
                        <a:pt x="616437" y="746890"/>
                      </a:lnTo>
                      <a:moveTo>
                        <a:pt x="616437" y="746890"/>
                      </a:moveTo>
                      <a:cubicBezTo>
                        <a:pt x="616437" y="746890"/>
                        <a:pt x="616437" y="746890"/>
                        <a:pt x="616437" y="746890"/>
                      </a:cubicBezTo>
                      <a:cubicBezTo>
                        <a:pt x="616437" y="746890"/>
                        <a:pt x="616437" y="746890"/>
                        <a:pt x="616437" y="746890"/>
                      </a:cubicBezTo>
                      <a:moveTo>
                        <a:pt x="616437" y="746890"/>
                      </a:moveTo>
                      <a:lnTo>
                        <a:pt x="616437" y="746890"/>
                      </a:lnTo>
                      <a:lnTo>
                        <a:pt x="616437" y="746890"/>
                      </a:lnTo>
                      <a:moveTo>
                        <a:pt x="616437" y="746890"/>
                      </a:moveTo>
                      <a:cubicBezTo>
                        <a:pt x="616437" y="746890"/>
                        <a:pt x="616357" y="746890"/>
                        <a:pt x="616437" y="746890"/>
                      </a:cubicBezTo>
                      <a:cubicBezTo>
                        <a:pt x="616357" y="746890"/>
                        <a:pt x="616437" y="746890"/>
                        <a:pt x="616437" y="746890"/>
                      </a:cubicBezTo>
                      <a:moveTo>
                        <a:pt x="616357" y="746890"/>
                      </a:moveTo>
                      <a:cubicBezTo>
                        <a:pt x="616357" y="746890"/>
                        <a:pt x="616357" y="746890"/>
                        <a:pt x="616357" y="746890"/>
                      </a:cubicBezTo>
                      <a:cubicBezTo>
                        <a:pt x="616357" y="746890"/>
                        <a:pt x="616357" y="746890"/>
                        <a:pt x="616357" y="746890"/>
                      </a:cubicBezTo>
                      <a:moveTo>
                        <a:pt x="616357" y="746890"/>
                      </a:moveTo>
                      <a:cubicBezTo>
                        <a:pt x="616357" y="746890"/>
                        <a:pt x="616357" y="746890"/>
                        <a:pt x="616357" y="746890"/>
                      </a:cubicBezTo>
                      <a:cubicBezTo>
                        <a:pt x="616357" y="746890"/>
                        <a:pt x="616357" y="746890"/>
                        <a:pt x="616357" y="746890"/>
                      </a:cubicBezTo>
                      <a:moveTo>
                        <a:pt x="616276" y="746890"/>
                      </a:moveTo>
                      <a:cubicBezTo>
                        <a:pt x="616276" y="746890"/>
                        <a:pt x="616276" y="746890"/>
                        <a:pt x="616276" y="746890"/>
                      </a:cubicBezTo>
                      <a:cubicBezTo>
                        <a:pt x="616276" y="746890"/>
                        <a:pt x="616276" y="746890"/>
                        <a:pt x="616276" y="746890"/>
                      </a:cubicBezTo>
                      <a:moveTo>
                        <a:pt x="616276" y="746890"/>
                      </a:moveTo>
                      <a:cubicBezTo>
                        <a:pt x="616276" y="746890"/>
                        <a:pt x="616276" y="746890"/>
                        <a:pt x="616276" y="746890"/>
                      </a:cubicBezTo>
                      <a:cubicBezTo>
                        <a:pt x="616276" y="746890"/>
                        <a:pt x="616276" y="746890"/>
                        <a:pt x="616276" y="746890"/>
                      </a:cubicBezTo>
                      <a:moveTo>
                        <a:pt x="616276" y="746890"/>
                      </a:moveTo>
                      <a:cubicBezTo>
                        <a:pt x="616276" y="746890"/>
                        <a:pt x="616196" y="746890"/>
                        <a:pt x="616276" y="746890"/>
                      </a:cubicBezTo>
                      <a:cubicBezTo>
                        <a:pt x="616196" y="746890"/>
                        <a:pt x="616276" y="746890"/>
                        <a:pt x="616276" y="746890"/>
                      </a:cubicBezTo>
                      <a:moveTo>
                        <a:pt x="616196" y="746890"/>
                      </a:moveTo>
                      <a:cubicBezTo>
                        <a:pt x="616196" y="746890"/>
                        <a:pt x="616196" y="746890"/>
                        <a:pt x="616196" y="746890"/>
                      </a:cubicBezTo>
                      <a:cubicBezTo>
                        <a:pt x="616196" y="746890"/>
                        <a:pt x="616196" y="746890"/>
                        <a:pt x="616196" y="746890"/>
                      </a:cubicBezTo>
                      <a:moveTo>
                        <a:pt x="616196" y="746970"/>
                      </a:moveTo>
                      <a:cubicBezTo>
                        <a:pt x="616196" y="746970"/>
                        <a:pt x="616196" y="746970"/>
                        <a:pt x="616196" y="746970"/>
                      </a:cubicBezTo>
                      <a:cubicBezTo>
                        <a:pt x="616196" y="746970"/>
                        <a:pt x="616196" y="746970"/>
                        <a:pt x="616196" y="746970"/>
                      </a:cubicBezTo>
                      <a:moveTo>
                        <a:pt x="616116" y="746970"/>
                      </a:moveTo>
                      <a:cubicBezTo>
                        <a:pt x="616116" y="746970"/>
                        <a:pt x="616116" y="746970"/>
                        <a:pt x="616116" y="746970"/>
                      </a:cubicBezTo>
                      <a:cubicBezTo>
                        <a:pt x="616116" y="746970"/>
                        <a:pt x="616116" y="746970"/>
                        <a:pt x="616116" y="746970"/>
                      </a:cubicBezTo>
                      <a:moveTo>
                        <a:pt x="616116" y="746970"/>
                      </a:moveTo>
                      <a:cubicBezTo>
                        <a:pt x="616116" y="746970"/>
                        <a:pt x="616116" y="746970"/>
                        <a:pt x="616116" y="746970"/>
                      </a:cubicBezTo>
                      <a:cubicBezTo>
                        <a:pt x="616116" y="746970"/>
                        <a:pt x="616116" y="746970"/>
                        <a:pt x="616116" y="746970"/>
                      </a:cubicBezTo>
                      <a:moveTo>
                        <a:pt x="616035" y="746970"/>
                      </a:moveTo>
                      <a:cubicBezTo>
                        <a:pt x="616035" y="746970"/>
                        <a:pt x="616035" y="746970"/>
                        <a:pt x="616035" y="746970"/>
                      </a:cubicBezTo>
                      <a:cubicBezTo>
                        <a:pt x="616035" y="746970"/>
                        <a:pt x="616035" y="746970"/>
                        <a:pt x="616035" y="746970"/>
                      </a:cubicBezTo>
                      <a:moveTo>
                        <a:pt x="616035" y="746970"/>
                      </a:moveTo>
                      <a:cubicBezTo>
                        <a:pt x="616035" y="746970"/>
                        <a:pt x="616035" y="746970"/>
                        <a:pt x="616035" y="746970"/>
                      </a:cubicBezTo>
                      <a:cubicBezTo>
                        <a:pt x="616035" y="746970"/>
                        <a:pt x="616035" y="746970"/>
                        <a:pt x="616035" y="746970"/>
                      </a:cubicBezTo>
                      <a:moveTo>
                        <a:pt x="615955" y="746970"/>
                      </a:moveTo>
                      <a:cubicBezTo>
                        <a:pt x="615955" y="746970"/>
                        <a:pt x="615955" y="746970"/>
                        <a:pt x="615955" y="746970"/>
                      </a:cubicBezTo>
                      <a:cubicBezTo>
                        <a:pt x="615955" y="746970"/>
                        <a:pt x="615955" y="746970"/>
                        <a:pt x="615955" y="746970"/>
                      </a:cubicBezTo>
                      <a:moveTo>
                        <a:pt x="615955" y="746970"/>
                      </a:moveTo>
                      <a:cubicBezTo>
                        <a:pt x="615955" y="746970"/>
                        <a:pt x="615875" y="746970"/>
                        <a:pt x="615955" y="746970"/>
                      </a:cubicBezTo>
                      <a:cubicBezTo>
                        <a:pt x="615875" y="746970"/>
                        <a:pt x="615955" y="746970"/>
                        <a:pt x="615955" y="746970"/>
                      </a:cubicBezTo>
                      <a:moveTo>
                        <a:pt x="615875" y="746970"/>
                      </a:moveTo>
                      <a:cubicBezTo>
                        <a:pt x="615875" y="746970"/>
                        <a:pt x="615875" y="746970"/>
                        <a:pt x="615875" y="746970"/>
                      </a:cubicBezTo>
                      <a:cubicBezTo>
                        <a:pt x="615875" y="746970"/>
                        <a:pt x="615875" y="746970"/>
                        <a:pt x="615875" y="746970"/>
                      </a:cubicBezTo>
                      <a:moveTo>
                        <a:pt x="615875" y="746970"/>
                      </a:moveTo>
                      <a:cubicBezTo>
                        <a:pt x="615794" y="746970"/>
                        <a:pt x="615794" y="746970"/>
                        <a:pt x="615875" y="746970"/>
                      </a:cubicBezTo>
                      <a:cubicBezTo>
                        <a:pt x="615794" y="746970"/>
                        <a:pt x="615794" y="746970"/>
                        <a:pt x="615875" y="746970"/>
                      </a:cubicBezTo>
                      <a:moveTo>
                        <a:pt x="615794" y="746970"/>
                      </a:moveTo>
                      <a:cubicBezTo>
                        <a:pt x="615794" y="746970"/>
                        <a:pt x="615794" y="746970"/>
                        <a:pt x="615794" y="746970"/>
                      </a:cubicBezTo>
                      <a:cubicBezTo>
                        <a:pt x="615794" y="746970"/>
                        <a:pt x="615794" y="746970"/>
                        <a:pt x="615794" y="746970"/>
                      </a:cubicBezTo>
                      <a:moveTo>
                        <a:pt x="615714" y="746970"/>
                      </a:moveTo>
                      <a:cubicBezTo>
                        <a:pt x="615714" y="746970"/>
                        <a:pt x="615714" y="746970"/>
                        <a:pt x="615714" y="746970"/>
                      </a:cubicBezTo>
                      <a:cubicBezTo>
                        <a:pt x="615714" y="746970"/>
                        <a:pt x="615714" y="746970"/>
                        <a:pt x="615714" y="746970"/>
                      </a:cubicBezTo>
                      <a:moveTo>
                        <a:pt x="615714" y="746970"/>
                      </a:moveTo>
                      <a:cubicBezTo>
                        <a:pt x="615714" y="746970"/>
                        <a:pt x="615634" y="746970"/>
                        <a:pt x="615714" y="746970"/>
                      </a:cubicBezTo>
                      <a:cubicBezTo>
                        <a:pt x="615634" y="746970"/>
                        <a:pt x="615714" y="746970"/>
                        <a:pt x="615714" y="746970"/>
                      </a:cubicBezTo>
                      <a:moveTo>
                        <a:pt x="615634" y="746970"/>
                      </a:moveTo>
                      <a:cubicBezTo>
                        <a:pt x="615634" y="746970"/>
                        <a:pt x="615634" y="746970"/>
                        <a:pt x="615634" y="746970"/>
                      </a:cubicBezTo>
                      <a:cubicBezTo>
                        <a:pt x="615634" y="746970"/>
                        <a:pt x="615634" y="746970"/>
                        <a:pt x="615634" y="746970"/>
                      </a:cubicBezTo>
                      <a:moveTo>
                        <a:pt x="615634" y="746970"/>
                      </a:moveTo>
                      <a:cubicBezTo>
                        <a:pt x="615553" y="746970"/>
                        <a:pt x="615553" y="747050"/>
                        <a:pt x="615634" y="746970"/>
                      </a:cubicBezTo>
                      <a:cubicBezTo>
                        <a:pt x="615553" y="747050"/>
                        <a:pt x="615553" y="746970"/>
                        <a:pt x="615634" y="746970"/>
                      </a:cubicBezTo>
                      <a:moveTo>
                        <a:pt x="615553" y="747050"/>
                      </a:moveTo>
                      <a:cubicBezTo>
                        <a:pt x="615473" y="747050"/>
                        <a:pt x="615473" y="747050"/>
                        <a:pt x="615553" y="747050"/>
                      </a:cubicBezTo>
                      <a:cubicBezTo>
                        <a:pt x="615473" y="747050"/>
                        <a:pt x="615473" y="747050"/>
                        <a:pt x="615553" y="747050"/>
                      </a:cubicBezTo>
                      <a:moveTo>
                        <a:pt x="615473" y="747050"/>
                      </a:moveTo>
                      <a:cubicBezTo>
                        <a:pt x="615473" y="747050"/>
                        <a:pt x="615393" y="747050"/>
                        <a:pt x="615393" y="747050"/>
                      </a:cubicBezTo>
                      <a:cubicBezTo>
                        <a:pt x="615473" y="747050"/>
                        <a:pt x="615473" y="747050"/>
                        <a:pt x="615473" y="747050"/>
                      </a:cubicBezTo>
                      <a:moveTo>
                        <a:pt x="615393" y="747050"/>
                      </a:moveTo>
                      <a:cubicBezTo>
                        <a:pt x="615393" y="747050"/>
                        <a:pt x="615393" y="747050"/>
                        <a:pt x="615393" y="747050"/>
                      </a:cubicBezTo>
                      <a:cubicBezTo>
                        <a:pt x="615393" y="747050"/>
                        <a:pt x="615393" y="747050"/>
                        <a:pt x="615393" y="747050"/>
                      </a:cubicBezTo>
                      <a:moveTo>
                        <a:pt x="615393" y="747050"/>
                      </a:moveTo>
                      <a:cubicBezTo>
                        <a:pt x="615393" y="747050"/>
                        <a:pt x="615312" y="747050"/>
                        <a:pt x="615312" y="747050"/>
                      </a:cubicBezTo>
                      <a:cubicBezTo>
                        <a:pt x="615312" y="747050"/>
                        <a:pt x="615312" y="747050"/>
                        <a:pt x="615393" y="747050"/>
                      </a:cubicBezTo>
                      <a:moveTo>
                        <a:pt x="615312" y="747050"/>
                      </a:moveTo>
                      <a:cubicBezTo>
                        <a:pt x="615312" y="747050"/>
                        <a:pt x="615232" y="747050"/>
                        <a:pt x="615312" y="747050"/>
                      </a:cubicBezTo>
                      <a:cubicBezTo>
                        <a:pt x="615232" y="747050"/>
                        <a:pt x="615312" y="747050"/>
                        <a:pt x="615312" y="747050"/>
                      </a:cubicBezTo>
                      <a:moveTo>
                        <a:pt x="615232" y="747050"/>
                      </a:moveTo>
                      <a:cubicBezTo>
                        <a:pt x="615232" y="747050"/>
                        <a:pt x="615152" y="747050"/>
                        <a:pt x="615152" y="747050"/>
                      </a:cubicBezTo>
                      <a:cubicBezTo>
                        <a:pt x="615152" y="747050"/>
                        <a:pt x="615232" y="747050"/>
                        <a:pt x="615232" y="747050"/>
                      </a:cubicBezTo>
                      <a:moveTo>
                        <a:pt x="615152" y="747050"/>
                      </a:moveTo>
                      <a:cubicBezTo>
                        <a:pt x="615152" y="747050"/>
                        <a:pt x="615152" y="747050"/>
                        <a:pt x="615152" y="747050"/>
                      </a:cubicBezTo>
                      <a:cubicBezTo>
                        <a:pt x="615152" y="747050"/>
                        <a:pt x="615152" y="747050"/>
                        <a:pt x="615152" y="747050"/>
                      </a:cubicBezTo>
                      <a:moveTo>
                        <a:pt x="615152" y="747050"/>
                      </a:moveTo>
                      <a:cubicBezTo>
                        <a:pt x="615071" y="747050"/>
                        <a:pt x="615071" y="747050"/>
                        <a:pt x="614991" y="747050"/>
                      </a:cubicBezTo>
                      <a:cubicBezTo>
                        <a:pt x="615071" y="747050"/>
                        <a:pt x="615071" y="747050"/>
                        <a:pt x="615152" y="747050"/>
                      </a:cubicBezTo>
                      <a:moveTo>
                        <a:pt x="614991" y="747050"/>
                      </a:moveTo>
                      <a:lnTo>
                        <a:pt x="614991" y="747050"/>
                      </a:lnTo>
                      <a:lnTo>
                        <a:pt x="614991" y="747050"/>
                      </a:lnTo>
                      <a:moveTo>
                        <a:pt x="614911" y="747131"/>
                      </a:moveTo>
                      <a:cubicBezTo>
                        <a:pt x="614991" y="747131"/>
                        <a:pt x="614991" y="747131"/>
                        <a:pt x="615071" y="747131"/>
                      </a:cubicBezTo>
                      <a:cubicBezTo>
                        <a:pt x="614991" y="747050"/>
                        <a:pt x="614911" y="747131"/>
                        <a:pt x="614911" y="747131"/>
                      </a:cubicBezTo>
                      <a:moveTo>
                        <a:pt x="614911" y="747131"/>
                      </a:moveTo>
                      <a:cubicBezTo>
                        <a:pt x="614911" y="747131"/>
                        <a:pt x="614911" y="747131"/>
                        <a:pt x="614911" y="747131"/>
                      </a:cubicBezTo>
                      <a:cubicBezTo>
                        <a:pt x="614911" y="747131"/>
                        <a:pt x="614911" y="747131"/>
                        <a:pt x="614911" y="747131"/>
                      </a:cubicBezTo>
                      <a:moveTo>
                        <a:pt x="614750" y="747131"/>
                      </a:moveTo>
                      <a:cubicBezTo>
                        <a:pt x="614830" y="747131"/>
                        <a:pt x="614830" y="747131"/>
                        <a:pt x="614911" y="747131"/>
                      </a:cubicBezTo>
                      <a:cubicBezTo>
                        <a:pt x="614830" y="747131"/>
                        <a:pt x="614830" y="747131"/>
                        <a:pt x="614750" y="747131"/>
                      </a:cubicBezTo>
                      <a:moveTo>
                        <a:pt x="614750" y="747131"/>
                      </a:moveTo>
                      <a:cubicBezTo>
                        <a:pt x="614750" y="747131"/>
                        <a:pt x="614750" y="747131"/>
                        <a:pt x="614750" y="747131"/>
                      </a:cubicBezTo>
                      <a:cubicBezTo>
                        <a:pt x="614750" y="747131"/>
                        <a:pt x="614750" y="747131"/>
                        <a:pt x="614750" y="747131"/>
                      </a:cubicBezTo>
                      <a:moveTo>
                        <a:pt x="614589" y="747131"/>
                      </a:moveTo>
                      <a:cubicBezTo>
                        <a:pt x="614589" y="747131"/>
                        <a:pt x="614670" y="747131"/>
                        <a:pt x="614670" y="747131"/>
                      </a:cubicBezTo>
                      <a:cubicBezTo>
                        <a:pt x="614670" y="747131"/>
                        <a:pt x="614670" y="747131"/>
                        <a:pt x="614589" y="747131"/>
                      </a:cubicBezTo>
                      <a:moveTo>
                        <a:pt x="614589" y="747131"/>
                      </a:moveTo>
                      <a:cubicBezTo>
                        <a:pt x="614589" y="747131"/>
                        <a:pt x="614589" y="747131"/>
                        <a:pt x="614589" y="747131"/>
                      </a:cubicBezTo>
                      <a:cubicBezTo>
                        <a:pt x="614589" y="747131"/>
                        <a:pt x="614589" y="747131"/>
                        <a:pt x="614589" y="747131"/>
                      </a:cubicBezTo>
                      <a:moveTo>
                        <a:pt x="614509" y="747131"/>
                      </a:moveTo>
                      <a:cubicBezTo>
                        <a:pt x="614509" y="747131"/>
                        <a:pt x="614589" y="747131"/>
                        <a:pt x="614589" y="747131"/>
                      </a:cubicBezTo>
                      <a:cubicBezTo>
                        <a:pt x="614509" y="747131"/>
                        <a:pt x="614509" y="747131"/>
                        <a:pt x="614509" y="747131"/>
                      </a:cubicBezTo>
                      <a:moveTo>
                        <a:pt x="614429" y="747131"/>
                      </a:moveTo>
                      <a:cubicBezTo>
                        <a:pt x="614429" y="747131"/>
                        <a:pt x="614429" y="747131"/>
                        <a:pt x="614429" y="747131"/>
                      </a:cubicBezTo>
                      <a:cubicBezTo>
                        <a:pt x="614429" y="747131"/>
                        <a:pt x="614429" y="747131"/>
                        <a:pt x="614429" y="747131"/>
                      </a:cubicBezTo>
                      <a:moveTo>
                        <a:pt x="614348" y="747211"/>
                      </a:moveTo>
                      <a:cubicBezTo>
                        <a:pt x="614348" y="747131"/>
                        <a:pt x="614348" y="747131"/>
                        <a:pt x="614348" y="747211"/>
                      </a:cubicBezTo>
                      <a:cubicBezTo>
                        <a:pt x="614348" y="747131"/>
                        <a:pt x="614348" y="747131"/>
                        <a:pt x="614348" y="747211"/>
                      </a:cubicBezTo>
                      <a:moveTo>
                        <a:pt x="614268" y="747211"/>
                      </a:moveTo>
                      <a:cubicBezTo>
                        <a:pt x="614268" y="747211"/>
                        <a:pt x="614348" y="747211"/>
                        <a:pt x="614348" y="747211"/>
                      </a:cubicBezTo>
                      <a:cubicBezTo>
                        <a:pt x="614268" y="747211"/>
                        <a:pt x="614268" y="747211"/>
                        <a:pt x="614268" y="747211"/>
                      </a:cubicBezTo>
                      <a:moveTo>
                        <a:pt x="614188" y="747211"/>
                      </a:moveTo>
                      <a:cubicBezTo>
                        <a:pt x="614188" y="747211"/>
                        <a:pt x="614188" y="747211"/>
                        <a:pt x="614188" y="747211"/>
                      </a:cubicBezTo>
                      <a:cubicBezTo>
                        <a:pt x="614188" y="747211"/>
                        <a:pt x="614188" y="747211"/>
                        <a:pt x="614188" y="747211"/>
                      </a:cubicBezTo>
                      <a:moveTo>
                        <a:pt x="614027" y="747211"/>
                      </a:moveTo>
                      <a:cubicBezTo>
                        <a:pt x="614027" y="747211"/>
                        <a:pt x="614107" y="747211"/>
                        <a:pt x="614188" y="747211"/>
                      </a:cubicBezTo>
                      <a:cubicBezTo>
                        <a:pt x="614107" y="747211"/>
                        <a:pt x="614107" y="747211"/>
                        <a:pt x="614027" y="747211"/>
                      </a:cubicBezTo>
                      <a:moveTo>
                        <a:pt x="614027" y="747211"/>
                      </a:moveTo>
                      <a:cubicBezTo>
                        <a:pt x="614027" y="747211"/>
                        <a:pt x="614027" y="747211"/>
                        <a:pt x="614027" y="747211"/>
                      </a:cubicBezTo>
                      <a:cubicBezTo>
                        <a:pt x="614027" y="747211"/>
                        <a:pt x="613947" y="747211"/>
                        <a:pt x="613866" y="747211"/>
                      </a:cubicBezTo>
                      <a:cubicBezTo>
                        <a:pt x="613947" y="747211"/>
                        <a:pt x="613947" y="747211"/>
                        <a:pt x="614027" y="747211"/>
                      </a:cubicBezTo>
                      <a:moveTo>
                        <a:pt x="46510" y="838303"/>
                      </a:moveTo>
                      <a:lnTo>
                        <a:pt x="43457" y="840793"/>
                      </a:lnTo>
                      <a:cubicBezTo>
                        <a:pt x="43216" y="839267"/>
                        <a:pt x="43618" y="837982"/>
                        <a:pt x="44903" y="836455"/>
                      </a:cubicBezTo>
                      <a:cubicBezTo>
                        <a:pt x="45385" y="837018"/>
                        <a:pt x="46028" y="837821"/>
                        <a:pt x="46510" y="838303"/>
                      </a:cubicBezTo>
                      <a:moveTo>
                        <a:pt x="757252" y="692668"/>
                      </a:moveTo>
                      <a:cubicBezTo>
                        <a:pt x="758055" y="692829"/>
                        <a:pt x="758698" y="693150"/>
                        <a:pt x="759421" y="693391"/>
                      </a:cubicBezTo>
                      <a:cubicBezTo>
                        <a:pt x="759180" y="693070"/>
                        <a:pt x="758858" y="692588"/>
                        <a:pt x="758617" y="692186"/>
                      </a:cubicBezTo>
                      <a:lnTo>
                        <a:pt x="759662" y="692588"/>
                      </a:lnTo>
                      <a:cubicBezTo>
                        <a:pt x="765285" y="694918"/>
                        <a:pt x="772112" y="697729"/>
                        <a:pt x="772675" y="698211"/>
                      </a:cubicBezTo>
                      <a:cubicBezTo>
                        <a:pt x="771711" y="698372"/>
                        <a:pt x="757332" y="692749"/>
                        <a:pt x="757252" y="692668"/>
                      </a:cubicBezTo>
                      <a:moveTo>
                        <a:pt x="60166" y="821354"/>
                      </a:moveTo>
                      <a:cubicBezTo>
                        <a:pt x="60166" y="821354"/>
                        <a:pt x="60166" y="821354"/>
                        <a:pt x="60166" y="821354"/>
                      </a:cubicBezTo>
                      <a:cubicBezTo>
                        <a:pt x="60166" y="821354"/>
                        <a:pt x="60246" y="821273"/>
                        <a:pt x="60326" y="821193"/>
                      </a:cubicBezTo>
                      <a:lnTo>
                        <a:pt x="60326" y="821193"/>
                      </a:lnTo>
                      <a:cubicBezTo>
                        <a:pt x="60246" y="821273"/>
                        <a:pt x="60166" y="821273"/>
                        <a:pt x="60166" y="821354"/>
                      </a:cubicBezTo>
                      <a:moveTo>
                        <a:pt x="45626" y="877985"/>
                      </a:moveTo>
                      <a:cubicBezTo>
                        <a:pt x="46349" y="878306"/>
                        <a:pt x="48438" y="878869"/>
                        <a:pt x="51330" y="877985"/>
                      </a:cubicBezTo>
                      <a:cubicBezTo>
                        <a:pt x="49643" y="874210"/>
                        <a:pt x="47795" y="874210"/>
                        <a:pt x="45466" y="877905"/>
                      </a:cubicBezTo>
                      <a:cubicBezTo>
                        <a:pt x="45466" y="877985"/>
                        <a:pt x="45546" y="877985"/>
                        <a:pt x="45626" y="877985"/>
                      </a:cubicBezTo>
                      <a:moveTo>
                        <a:pt x="964" y="876619"/>
                      </a:moveTo>
                      <a:cubicBezTo>
                        <a:pt x="643" y="875896"/>
                        <a:pt x="321" y="874933"/>
                        <a:pt x="0" y="874290"/>
                      </a:cubicBezTo>
                      <a:cubicBezTo>
                        <a:pt x="19198" y="873647"/>
                        <a:pt x="30364" y="867301"/>
                        <a:pt x="33336" y="865374"/>
                      </a:cubicBezTo>
                      <a:cubicBezTo>
                        <a:pt x="40003" y="861036"/>
                        <a:pt x="40325" y="860875"/>
                        <a:pt x="41449" y="847541"/>
                      </a:cubicBezTo>
                      <a:cubicBezTo>
                        <a:pt x="44020" y="846255"/>
                        <a:pt x="45225" y="844729"/>
                        <a:pt x="45867" y="842319"/>
                      </a:cubicBezTo>
                      <a:cubicBezTo>
                        <a:pt x="45546" y="846898"/>
                        <a:pt x="44984" y="856377"/>
                        <a:pt x="56471" y="846175"/>
                      </a:cubicBezTo>
                      <a:cubicBezTo>
                        <a:pt x="56872" y="845854"/>
                        <a:pt x="57274" y="845372"/>
                        <a:pt x="57675" y="845051"/>
                      </a:cubicBezTo>
                      <a:cubicBezTo>
                        <a:pt x="57836" y="839347"/>
                        <a:pt x="58961" y="834608"/>
                        <a:pt x="61853" y="826816"/>
                      </a:cubicBezTo>
                      <a:cubicBezTo>
                        <a:pt x="60889" y="827218"/>
                        <a:pt x="59523" y="827700"/>
                        <a:pt x="58559" y="828021"/>
                      </a:cubicBezTo>
                      <a:cubicBezTo>
                        <a:pt x="58398" y="822719"/>
                        <a:pt x="58398" y="822719"/>
                        <a:pt x="75107" y="809144"/>
                      </a:cubicBezTo>
                      <a:cubicBezTo>
                        <a:pt x="76151" y="809385"/>
                        <a:pt x="77517" y="809786"/>
                        <a:pt x="78561" y="810027"/>
                      </a:cubicBezTo>
                      <a:cubicBezTo>
                        <a:pt x="81533" y="806332"/>
                        <a:pt x="82095" y="803923"/>
                        <a:pt x="80810" y="801352"/>
                      </a:cubicBezTo>
                      <a:cubicBezTo>
                        <a:pt x="81051" y="801272"/>
                        <a:pt x="81372" y="801191"/>
                        <a:pt x="81613" y="801111"/>
                      </a:cubicBezTo>
                      <a:cubicBezTo>
                        <a:pt x="83862" y="800468"/>
                        <a:pt x="85148" y="800227"/>
                        <a:pt x="87076" y="799906"/>
                      </a:cubicBezTo>
                      <a:cubicBezTo>
                        <a:pt x="82657" y="807457"/>
                        <a:pt x="81212" y="810590"/>
                        <a:pt x="79043" y="817578"/>
                      </a:cubicBezTo>
                      <a:cubicBezTo>
                        <a:pt x="77597" y="816373"/>
                        <a:pt x="76231" y="816052"/>
                        <a:pt x="73821" y="816454"/>
                      </a:cubicBezTo>
                      <a:cubicBezTo>
                        <a:pt x="71331" y="830672"/>
                        <a:pt x="70769" y="832118"/>
                        <a:pt x="70528" y="832600"/>
                      </a:cubicBezTo>
                      <a:cubicBezTo>
                        <a:pt x="70448" y="831556"/>
                        <a:pt x="70448" y="831314"/>
                        <a:pt x="71010" y="825932"/>
                      </a:cubicBezTo>
                      <a:cubicBezTo>
                        <a:pt x="70608" y="828664"/>
                        <a:pt x="69323" y="830350"/>
                        <a:pt x="65869" y="832519"/>
                      </a:cubicBezTo>
                      <a:cubicBezTo>
                        <a:pt x="65789" y="832118"/>
                        <a:pt x="65708" y="831636"/>
                        <a:pt x="65708" y="831314"/>
                      </a:cubicBezTo>
                      <a:cubicBezTo>
                        <a:pt x="63700" y="833965"/>
                        <a:pt x="63539" y="835813"/>
                        <a:pt x="65146" y="838142"/>
                      </a:cubicBezTo>
                      <a:cubicBezTo>
                        <a:pt x="65869" y="836455"/>
                        <a:pt x="66431" y="835893"/>
                        <a:pt x="68279" y="835411"/>
                      </a:cubicBezTo>
                      <a:cubicBezTo>
                        <a:pt x="66833" y="842560"/>
                        <a:pt x="61612" y="845452"/>
                        <a:pt x="57836" y="847541"/>
                      </a:cubicBezTo>
                      <a:cubicBezTo>
                        <a:pt x="60246" y="846898"/>
                        <a:pt x="60728" y="847300"/>
                        <a:pt x="61612" y="847942"/>
                      </a:cubicBezTo>
                      <a:cubicBezTo>
                        <a:pt x="62094" y="847782"/>
                        <a:pt x="62094" y="847782"/>
                        <a:pt x="63539" y="846095"/>
                      </a:cubicBezTo>
                      <a:cubicBezTo>
                        <a:pt x="63379" y="846978"/>
                        <a:pt x="63379" y="846978"/>
                        <a:pt x="61772" y="850191"/>
                      </a:cubicBezTo>
                      <a:cubicBezTo>
                        <a:pt x="63298" y="852441"/>
                        <a:pt x="63057" y="854369"/>
                        <a:pt x="60969" y="857501"/>
                      </a:cubicBezTo>
                      <a:cubicBezTo>
                        <a:pt x="70769" y="864731"/>
                        <a:pt x="80408" y="872924"/>
                        <a:pt x="82095" y="886500"/>
                      </a:cubicBezTo>
                      <a:cubicBezTo>
                        <a:pt x="83862" y="901200"/>
                        <a:pt x="78882" y="909233"/>
                        <a:pt x="67395" y="910518"/>
                      </a:cubicBezTo>
                      <a:cubicBezTo>
                        <a:pt x="52535" y="912124"/>
                        <a:pt x="37674" y="900557"/>
                        <a:pt x="31328" y="895657"/>
                      </a:cubicBezTo>
                      <a:cubicBezTo>
                        <a:pt x="31328" y="892444"/>
                        <a:pt x="31408" y="883849"/>
                        <a:pt x="15584" y="894051"/>
                      </a:cubicBezTo>
                      <a:cubicBezTo>
                        <a:pt x="6185" y="886580"/>
                        <a:pt x="2249" y="879351"/>
                        <a:pt x="964" y="876619"/>
                      </a:cubicBezTo>
                      <a:moveTo>
                        <a:pt x="1191425" y="554665"/>
                      </a:moveTo>
                      <a:cubicBezTo>
                        <a:pt x="1191425" y="554585"/>
                        <a:pt x="1191425" y="554504"/>
                        <a:pt x="1191505" y="554504"/>
                      </a:cubicBezTo>
                      <a:cubicBezTo>
                        <a:pt x="1191505" y="554504"/>
                        <a:pt x="1191585" y="554585"/>
                        <a:pt x="1191505" y="554986"/>
                      </a:cubicBezTo>
                      <a:cubicBezTo>
                        <a:pt x="1191425" y="554826"/>
                        <a:pt x="1191425" y="554745"/>
                        <a:pt x="1191425" y="554665"/>
                      </a:cubicBezTo>
                      <a:moveTo>
                        <a:pt x="902083" y="430237"/>
                      </a:moveTo>
                      <a:cubicBezTo>
                        <a:pt x="905055" y="432647"/>
                        <a:pt x="906260" y="434334"/>
                        <a:pt x="907867" y="437065"/>
                      </a:cubicBezTo>
                      <a:cubicBezTo>
                        <a:pt x="911964" y="433691"/>
                        <a:pt x="911160" y="430799"/>
                        <a:pt x="905537" y="428550"/>
                      </a:cubicBezTo>
                      <a:cubicBezTo>
                        <a:pt x="905216" y="429433"/>
                        <a:pt x="904573" y="429835"/>
                        <a:pt x="901521" y="429755"/>
                      </a:cubicBezTo>
                      <a:cubicBezTo>
                        <a:pt x="901682" y="429916"/>
                        <a:pt x="901923" y="430076"/>
                        <a:pt x="902083" y="430237"/>
                      </a:cubicBezTo>
                      <a:moveTo>
                        <a:pt x="446302" y="656922"/>
                      </a:moveTo>
                      <a:cubicBezTo>
                        <a:pt x="425497" y="590170"/>
                        <a:pt x="480281" y="543339"/>
                        <a:pt x="496829" y="546391"/>
                      </a:cubicBezTo>
                      <a:cubicBezTo>
                        <a:pt x="502050" y="538358"/>
                        <a:pt x="507833" y="529602"/>
                        <a:pt x="515063" y="519320"/>
                      </a:cubicBezTo>
                      <a:cubicBezTo>
                        <a:pt x="514179" y="519481"/>
                        <a:pt x="512894" y="519722"/>
                        <a:pt x="512011" y="519883"/>
                      </a:cubicBezTo>
                      <a:cubicBezTo>
                        <a:pt x="567678" y="495704"/>
                        <a:pt x="621578" y="387583"/>
                        <a:pt x="621899" y="386538"/>
                      </a:cubicBezTo>
                      <a:cubicBezTo>
                        <a:pt x="622863" y="386699"/>
                        <a:pt x="624148" y="386940"/>
                        <a:pt x="625112" y="387101"/>
                      </a:cubicBezTo>
                      <a:cubicBezTo>
                        <a:pt x="630976" y="389671"/>
                        <a:pt x="633788" y="395776"/>
                        <a:pt x="638929" y="399230"/>
                      </a:cubicBezTo>
                      <a:cubicBezTo>
                        <a:pt x="639973" y="400355"/>
                        <a:pt x="641258" y="401881"/>
                        <a:pt x="642303" y="403006"/>
                      </a:cubicBezTo>
                      <a:cubicBezTo>
                        <a:pt x="641820" y="404451"/>
                        <a:pt x="641258" y="406379"/>
                        <a:pt x="640776" y="407825"/>
                      </a:cubicBezTo>
                      <a:cubicBezTo>
                        <a:pt x="651460" y="417143"/>
                        <a:pt x="745444" y="495624"/>
                        <a:pt x="752754" y="390715"/>
                      </a:cubicBezTo>
                      <a:cubicBezTo>
                        <a:pt x="753958" y="391037"/>
                        <a:pt x="755645" y="391519"/>
                        <a:pt x="756850" y="391840"/>
                      </a:cubicBezTo>
                      <a:cubicBezTo>
                        <a:pt x="758296" y="390796"/>
                        <a:pt x="760144" y="389028"/>
                        <a:pt x="760786" y="387342"/>
                      </a:cubicBezTo>
                      <a:lnTo>
                        <a:pt x="758778" y="386056"/>
                      </a:lnTo>
                      <a:cubicBezTo>
                        <a:pt x="825531" y="373204"/>
                        <a:pt x="825531" y="373204"/>
                        <a:pt x="830832" y="378104"/>
                      </a:cubicBezTo>
                      <a:cubicBezTo>
                        <a:pt x="828744" y="380433"/>
                        <a:pt x="825691" y="383325"/>
                        <a:pt x="823201" y="385173"/>
                      </a:cubicBezTo>
                      <a:cubicBezTo>
                        <a:pt x="832117" y="385012"/>
                        <a:pt x="859750" y="386056"/>
                        <a:pt x="859831" y="386137"/>
                      </a:cubicBezTo>
                      <a:lnTo>
                        <a:pt x="860313" y="388386"/>
                      </a:lnTo>
                      <a:cubicBezTo>
                        <a:pt x="876860" y="393527"/>
                        <a:pt x="879913" y="398587"/>
                        <a:pt x="888026" y="412083"/>
                      </a:cubicBezTo>
                      <a:cubicBezTo>
                        <a:pt x="886901" y="412725"/>
                        <a:pt x="885375" y="413609"/>
                        <a:pt x="884250" y="414252"/>
                      </a:cubicBezTo>
                      <a:cubicBezTo>
                        <a:pt x="894211" y="417947"/>
                        <a:pt x="907786" y="406219"/>
                        <a:pt x="915096" y="418991"/>
                      </a:cubicBezTo>
                      <a:cubicBezTo>
                        <a:pt x="915659" y="418669"/>
                        <a:pt x="916462" y="418268"/>
                        <a:pt x="917024" y="418027"/>
                      </a:cubicBezTo>
                      <a:lnTo>
                        <a:pt x="918711" y="419232"/>
                      </a:lnTo>
                      <a:cubicBezTo>
                        <a:pt x="919354" y="416420"/>
                        <a:pt x="921282" y="407825"/>
                        <a:pt x="927788" y="404773"/>
                      </a:cubicBezTo>
                      <a:cubicBezTo>
                        <a:pt x="936223" y="400756"/>
                        <a:pt x="945460" y="405897"/>
                        <a:pt x="953895" y="402283"/>
                      </a:cubicBezTo>
                      <a:cubicBezTo>
                        <a:pt x="955341" y="404692"/>
                        <a:pt x="957670" y="407745"/>
                        <a:pt x="959598" y="409753"/>
                      </a:cubicBezTo>
                      <a:cubicBezTo>
                        <a:pt x="960401" y="409110"/>
                        <a:pt x="961446" y="408307"/>
                        <a:pt x="962249" y="407665"/>
                      </a:cubicBezTo>
                      <a:lnTo>
                        <a:pt x="963855" y="408548"/>
                      </a:lnTo>
                      <a:cubicBezTo>
                        <a:pt x="972531" y="411520"/>
                        <a:pt x="975101" y="413288"/>
                        <a:pt x="978395" y="415537"/>
                      </a:cubicBezTo>
                      <a:cubicBezTo>
                        <a:pt x="978073" y="416742"/>
                        <a:pt x="977672" y="418428"/>
                        <a:pt x="977350" y="419633"/>
                      </a:cubicBezTo>
                      <a:cubicBezTo>
                        <a:pt x="983295" y="416661"/>
                        <a:pt x="984660" y="417786"/>
                        <a:pt x="988275" y="420758"/>
                      </a:cubicBezTo>
                      <a:cubicBezTo>
                        <a:pt x="988034" y="423248"/>
                        <a:pt x="988516" y="426863"/>
                        <a:pt x="989721" y="429112"/>
                      </a:cubicBezTo>
                      <a:cubicBezTo>
                        <a:pt x="1002172" y="429273"/>
                        <a:pt x="1002172" y="429273"/>
                        <a:pt x="1006670" y="431120"/>
                      </a:cubicBezTo>
                      <a:cubicBezTo>
                        <a:pt x="1004983" y="433289"/>
                        <a:pt x="1003296" y="436824"/>
                        <a:pt x="1002814" y="439555"/>
                      </a:cubicBezTo>
                      <a:cubicBezTo>
                        <a:pt x="1006108" y="443491"/>
                        <a:pt x="1006188" y="443571"/>
                        <a:pt x="1032616" y="452086"/>
                      </a:cubicBezTo>
                      <a:cubicBezTo>
                        <a:pt x="1078724" y="466947"/>
                        <a:pt x="1129090" y="486707"/>
                        <a:pt x="1182267" y="510726"/>
                      </a:cubicBezTo>
                      <a:cubicBezTo>
                        <a:pt x="1182348" y="508235"/>
                        <a:pt x="1182267" y="504942"/>
                        <a:pt x="1182187" y="502452"/>
                      </a:cubicBezTo>
                      <a:cubicBezTo>
                        <a:pt x="1184838" y="511529"/>
                        <a:pt x="1188131" y="522775"/>
                        <a:pt x="1188613" y="554263"/>
                      </a:cubicBezTo>
                      <a:cubicBezTo>
                        <a:pt x="1188613" y="555789"/>
                        <a:pt x="1188613" y="555789"/>
                        <a:pt x="1188613" y="555789"/>
                      </a:cubicBezTo>
                      <a:lnTo>
                        <a:pt x="1190220" y="557717"/>
                      </a:lnTo>
                      <a:cubicBezTo>
                        <a:pt x="1191505" y="557396"/>
                        <a:pt x="1193192" y="557075"/>
                        <a:pt x="1194477" y="556753"/>
                      </a:cubicBezTo>
                      <a:cubicBezTo>
                        <a:pt x="1195441" y="557476"/>
                        <a:pt x="1196726" y="558360"/>
                        <a:pt x="1197690" y="559083"/>
                      </a:cubicBezTo>
                      <a:cubicBezTo>
                        <a:pt x="1174957" y="591054"/>
                        <a:pt x="1157044" y="616276"/>
                        <a:pt x="1169254" y="654432"/>
                      </a:cubicBezTo>
                      <a:cubicBezTo>
                        <a:pt x="1130536" y="661581"/>
                        <a:pt x="1096638" y="659011"/>
                        <a:pt x="1030528" y="650094"/>
                      </a:cubicBezTo>
                      <a:cubicBezTo>
                        <a:pt x="969398" y="641821"/>
                        <a:pt x="911723" y="634029"/>
                        <a:pt x="851316" y="641580"/>
                      </a:cubicBezTo>
                      <a:cubicBezTo>
                        <a:pt x="820309" y="645435"/>
                        <a:pt x="819908" y="645596"/>
                        <a:pt x="809385" y="657726"/>
                      </a:cubicBezTo>
                      <a:cubicBezTo>
                        <a:pt x="790186" y="679896"/>
                        <a:pt x="790186" y="679896"/>
                        <a:pt x="789544" y="680137"/>
                      </a:cubicBezTo>
                      <a:cubicBezTo>
                        <a:pt x="776932" y="669132"/>
                        <a:pt x="766409" y="660537"/>
                        <a:pt x="751790" y="649693"/>
                      </a:cubicBezTo>
                      <a:cubicBezTo>
                        <a:pt x="750986" y="665276"/>
                        <a:pt x="756690" y="675237"/>
                        <a:pt x="772353" y="685118"/>
                      </a:cubicBezTo>
                      <a:cubicBezTo>
                        <a:pt x="756127" y="685599"/>
                        <a:pt x="753798" y="682145"/>
                        <a:pt x="748978" y="675398"/>
                      </a:cubicBezTo>
                      <a:cubicBezTo>
                        <a:pt x="747291" y="676040"/>
                        <a:pt x="745042" y="676924"/>
                        <a:pt x="743275" y="677567"/>
                      </a:cubicBezTo>
                      <a:cubicBezTo>
                        <a:pt x="741106" y="684636"/>
                        <a:pt x="741668" y="686322"/>
                        <a:pt x="747934" y="692508"/>
                      </a:cubicBezTo>
                      <a:cubicBezTo>
                        <a:pt x="732752" y="690258"/>
                        <a:pt x="731145" y="691383"/>
                        <a:pt x="726968" y="694516"/>
                      </a:cubicBezTo>
                      <a:cubicBezTo>
                        <a:pt x="728093" y="694114"/>
                        <a:pt x="729619" y="693632"/>
                        <a:pt x="730824" y="693231"/>
                      </a:cubicBezTo>
                      <a:cubicBezTo>
                        <a:pt x="727209" y="706404"/>
                        <a:pt x="709296" y="749059"/>
                        <a:pt x="628245" y="743114"/>
                      </a:cubicBezTo>
                      <a:cubicBezTo>
                        <a:pt x="629289" y="742713"/>
                        <a:pt x="630735" y="742150"/>
                        <a:pt x="631779" y="741749"/>
                      </a:cubicBezTo>
                      <a:cubicBezTo>
                        <a:pt x="629530" y="741347"/>
                        <a:pt x="626398" y="741106"/>
                        <a:pt x="624068" y="741106"/>
                      </a:cubicBezTo>
                      <a:cubicBezTo>
                        <a:pt x="625112" y="742311"/>
                        <a:pt x="626398" y="743918"/>
                        <a:pt x="627442" y="745203"/>
                      </a:cubicBezTo>
                      <a:cubicBezTo>
                        <a:pt x="620373" y="745444"/>
                        <a:pt x="619650" y="745604"/>
                        <a:pt x="614589" y="746890"/>
                      </a:cubicBezTo>
                      <a:cubicBezTo>
                        <a:pt x="613786" y="747211"/>
                        <a:pt x="613706" y="747211"/>
                        <a:pt x="613706" y="747211"/>
                      </a:cubicBezTo>
                      <a:lnTo>
                        <a:pt x="613706" y="747211"/>
                      </a:lnTo>
                      <a:cubicBezTo>
                        <a:pt x="613706" y="747211"/>
                        <a:pt x="613625" y="747211"/>
                        <a:pt x="613625" y="747211"/>
                      </a:cubicBezTo>
                      <a:lnTo>
                        <a:pt x="613625" y="747211"/>
                      </a:lnTo>
                      <a:cubicBezTo>
                        <a:pt x="613625" y="747211"/>
                        <a:pt x="613545" y="747211"/>
                        <a:pt x="613545" y="747211"/>
                      </a:cubicBezTo>
                      <a:lnTo>
                        <a:pt x="613545" y="747211"/>
                      </a:lnTo>
                      <a:cubicBezTo>
                        <a:pt x="613545" y="747211"/>
                        <a:pt x="613465" y="747211"/>
                        <a:pt x="613465" y="747211"/>
                      </a:cubicBezTo>
                      <a:lnTo>
                        <a:pt x="613465" y="747211"/>
                      </a:lnTo>
                      <a:cubicBezTo>
                        <a:pt x="613465" y="747211"/>
                        <a:pt x="613384" y="747211"/>
                        <a:pt x="613384" y="747211"/>
                      </a:cubicBezTo>
                      <a:lnTo>
                        <a:pt x="613384" y="747211"/>
                      </a:lnTo>
                      <a:cubicBezTo>
                        <a:pt x="613384" y="747211"/>
                        <a:pt x="613304" y="747211"/>
                        <a:pt x="613304" y="747211"/>
                      </a:cubicBezTo>
                      <a:lnTo>
                        <a:pt x="613304" y="747211"/>
                      </a:lnTo>
                      <a:cubicBezTo>
                        <a:pt x="613304" y="747211"/>
                        <a:pt x="613224" y="747211"/>
                        <a:pt x="613224" y="747211"/>
                      </a:cubicBezTo>
                      <a:lnTo>
                        <a:pt x="613224" y="747211"/>
                      </a:lnTo>
                      <a:cubicBezTo>
                        <a:pt x="613143" y="747211"/>
                        <a:pt x="613143" y="747211"/>
                        <a:pt x="613063" y="747211"/>
                      </a:cubicBezTo>
                      <a:cubicBezTo>
                        <a:pt x="613143" y="747211"/>
                        <a:pt x="613143" y="747211"/>
                        <a:pt x="613224" y="747211"/>
                      </a:cubicBezTo>
                      <a:cubicBezTo>
                        <a:pt x="613224" y="747211"/>
                        <a:pt x="613304" y="747211"/>
                        <a:pt x="613304" y="747211"/>
                      </a:cubicBezTo>
                      <a:lnTo>
                        <a:pt x="613304" y="747211"/>
                      </a:lnTo>
                      <a:cubicBezTo>
                        <a:pt x="613304" y="747211"/>
                        <a:pt x="613384" y="747211"/>
                        <a:pt x="613384" y="747211"/>
                      </a:cubicBezTo>
                      <a:lnTo>
                        <a:pt x="613384" y="747211"/>
                      </a:lnTo>
                      <a:cubicBezTo>
                        <a:pt x="613384" y="747211"/>
                        <a:pt x="613465" y="747211"/>
                        <a:pt x="613465" y="747211"/>
                      </a:cubicBezTo>
                      <a:lnTo>
                        <a:pt x="613465" y="747211"/>
                      </a:lnTo>
                      <a:cubicBezTo>
                        <a:pt x="613465" y="747211"/>
                        <a:pt x="613545" y="747211"/>
                        <a:pt x="613545" y="747211"/>
                      </a:cubicBezTo>
                      <a:lnTo>
                        <a:pt x="613545" y="747211"/>
                      </a:lnTo>
                      <a:cubicBezTo>
                        <a:pt x="613545" y="747211"/>
                        <a:pt x="613625" y="747211"/>
                        <a:pt x="613625" y="747211"/>
                      </a:cubicBezTo>
                      <a:lnTo>
                        <a:pt x="613625" y="747211"/>
                      </a:lnTo>
                      <a:cubicBezTo>
                        <a:pt x="613625" y="747211"/>
                        <a:pt x="613706" y="747211"/>
                        <a:pt x="613706" y="747211"/>
                      </a:cubicBezTo>
                      <a:lnTo>
                        <a:pt x="613706" y="747211"/>
                      </a:lnTo>
                      <a:cubicBezTo>
                        <a:pt x="613706" y="747211"/>
                        <a:pt x="613786" y="747211"/>
                        <a:pt x="613786" y="747211"/>
                      </a:cubicBezTo>
                      <a:cubicBezTo>
                        <a:pt x="596837" y="776450"/>
                        <a:pt x="521329" y="748496"/>
                        <a:pt x="493214" y="702549"/>
                      </a:cubicBezTo>
                      <a:cubicBezTo>
                        <a:pt x="493856" y="702388"/>
                        <a:pt x="494660" y="702067"/>
                        <a:pt x="495222" y="701906"/>
                      </a:cubicBezTo>
                      <a:lnTo>
                        <a:pt x="492732" y="701986"/>
                      </a:lnTo>
                      <a:cubicBezTo>
                        <a:pt x="489117" y="695721"/>
                        <a:pt x="486788" y="691544"/>
                        <a:pt x="471445" y="687768"/>
                      </a:cubicBezTo>
                      <a:cubicBezTo>
                        <a:pt x="471766" y="687527"/>
                        <a:pt x="472088" y="687286"/>
                        <a:pt x="472409" y="687045"/>
                      </a:cubicBezTo>
                      <a:cubicBezTo>
                        <a:pt x="465340" y="682949"/>
                        <a:pt x="452006" y="675157"/>
                        <a:pt x="446302" y="656922"/>
                      </a:cubicBezTo>
                      <a:moveTo>
                        <a:pt x="694275" y="345089"/>
                      </a:moveTo>
                      <a:cubicBezTo>
                        <a:pt x="693953" y="345089"/>
                        <a:pt x="693471" y="345169"/>
                        <a:pt x="693070" y="345169"/>
                      </a:cubicBezTo>
                      <a:cubicBezTo>
                        <a:pt x="693471" y="345169"/>
                        <a:pt x="694034" y="345089"/>
                        <a:pt x="694435" y="345089"/>
                      </a:cubicBezTo>
                      <a:cubicBezTo>
                        <a:pt x="700701" y="344768"/>
                        <a:pt x="706966" y="344366"/>
                        <a:pt x="713232" y="344045"/>
                      </a:cubicBezTo>
                      <a:cubicBezTo>
                        <a:pt x="706886" y="344446"/>
                        <a:pt x="700540" y="344768"/>
                        <a:pt x="694275" y="345089"/>
                      </a:cubicBezTo>
                      <a:moveTo>
                        <a:pt x="1169254" y="345250"/>
                      </a:moveTo>
                      <a:cubicBezTo>
                        <a:pt x="1166603" y="345330"/>
                        <a:pt x="1163149" y="345410"/>
                        <a:pt x="1160579" y="345410"/>
                      </a:cubicBezTo>
                      <a:cubicBezTo>
                        <a:pt x="1196003" y="327738"/>
                        <a:pt x="1230866" y="321955"/>
                        <a:pt x="1284846" y="324686"/>
                      </a:cubicBezTo>
                      <a:cubicBezTo>
                        <a:pt x="1285087" y="325087"/>
                        <a:pt x="1285408" y="325569"/>
                        <a:pt x="1285569" y="325971"/>
                      </a:cubicBezTo>
                      <a:cubicBezTo>
                        <a:pt x="1303321" y="325328"/>
                        <a:pt x="1308141" y="333924"/>
                        <a:pt x="1308703" y="334968"/>
                      </a:cubicBezTo>
                      <a:cubicBezTo>
                        <a:pt x="1310872" y="339225"/>
                        <a:pt x="1312318" y="338020"/>
                        <a:pt x="1313041" y="337458"/>
                      </a:cubicBezTo>
                      <a:cubicBezTo>
                        <a:pt x="1308462" y="341314"/>
                        <a:pt x="1170620" y="345169"/>
                        <a:pt x="1169254" y="345250"/>
                      </a:cubicBezTo>
                      <a:moveTo>
                        <a:pt x="994701" y="248776"/>
                      </a:moveTo>
                      <a:cubicBezTo>
                        <a:pt x="994621" y="248695"/>
                        <a:pt x="994460" y="248615"/>
                        <a:pt x="994380" y="248535"/>
                      </a:cubicBezTo>
                      <a:cubicBezTo>
                        <a:pt x="994701" y="248213"/>
                        <a:pt x="995103" y="247812"/>
                        <a:pt x="995424" y="247571"/>
                      </a:cubicBezTo>
                      <a:lnTo>
                        <a:pt x="995826" y="247731"/>
                      </a:lnTo>
                      <a:cubicBezTo>
                        <a:pt x="999762" y="249338"/>
                        <a:pt x="1002814" y="251346"/>
                        <a:pt x="1005465" y="254158"/>
                      </a:cubicBezTo>
                      <a:cubicBezTo>
                        <a:pt x="1003859" y="253676"/>
                        <a:pt x="999280" y="252310"/>
                        <a:pt x="994701" y="248776"/>
                      </a:cubicBezTo>
                      <a:moveTo>
                        <a:pt x="453371" y="404050"/>
                      </a:moveTo>
                      <a:cubicBezTo>
                        <a:pt x="466224" y="386699"/>
                        <a:pt x="521007" y="329988"/>
                        <a:pt x="601094" y="298499"/>
                      </a:cubicBezTo>
                      <a:cubicBezTo>
                        <a:pt x="668329" y="271991"/>
                        <a:pt x="681181" y="273276"/>
                        <a:pt x="764883" y="281389"/>
                      </a:cubicBezTo>
                      <a:cubicBezTo>
                        <a:pt x="767212" y="277774"/>
                        <a:pt x="767212" y="277774"/>
                        <a:pt x="769944" y="277292"/>
                      </a:cubicBezTo>
                      <a:cubicBezTo>
                        <a:pt x="770426" y="277694"/>
                        <a:pt x="771068" y="278256"/>
                        <a:pt x="771631" y="278658"/>
                      </a:cubicBezTo>
                      <a:cubicBezTo>
                        <a:pt x="772595" y="266127"/>
                        <a:pt x="773558" y="253194"/>
                        <a:pt x="804083" y="251748"/>
                      </a:cubicBezTo>
                      <a:cubicBezTo>
                        <a:pt x="828101" y="251105"/>
                        <a:pt x="835411" y="256969"/>
                        <a:pt x="836134" y="257612"/>
                      </a:cubicBezTo>
                      <a:cubicBezTo>
                        <a:pt x="832198" y="260664"/>
                        <a:pt x="832198" y="260664"/>
                        <a:pt x="820390" y="262432"/>
                      </a:cubicBezTo>
                      <a:cubicBezTo>
                        <a:pt x="817900" y="266368"/>
                        <a:pt x="812035" y="275686"/>
                        <a:pt x="781832" y="270866"/>
                      </a:cubicBezTo>
                      <a:cubicBezTo>
                        <a:pt x="782716" y="271509"/>
                        <a:pt x="783921" y="272312"/>
                        <a:pt x="784885" y="272955"/>
                      </a:cubicBezTo>
                      <a:cubicBezTo>
                        <a:pt x="784563" y="273437"/>
                        <a:pt x="784162" y="274159"/>
                        <a:pt x="783840" y="274641"/>
                      </a:cubicBezTo>
                      <a:cubicBezTo>
                        <a:pt x="796211" y="282353"/>
                        <a:pt x="809385" y="274722"/>
                        <a:pt x="822076" y="276489"/>
                      </a:cubicBezTo>
                      <a:cubicBezTo>
                        <a:pt x="810108" y="291269"/>
                        <a:pt x="810108" y="291269"/>
                        <a:pt x="786411" y="282032"/>
                      </a:cubicBezTo>
                      <a:cubicBezTo>
                        <a:pt x="786090" y="286209"/>
                        <a:pt x="786090" y="286209"/>
                        <a:pt x="699657" y="318902"/>
                      </a:cubicBezTo>
                      <a:cubicBezTo>
                        <a:pt x="700621" y="319304"/>
                        <a:pt x="701825" y="319786"/>
                        <a:pt x="702790" y="320188"/>
                      </a:cubicBezTo>
                      <a:lnTo>
                        <a:pt x="699255" y="320910"/>
                      </a:lnTo>
                      <a:cubicBezTo>
                        <a:pt x="699175" y="325810"/>
                        <a:pt x="698050" y="328702"/>
                        <a:pt x="691142" y="333442"/>
                      </a:cubicBezTo>
                      <a:cubicBezTo>
                        <a:pt x="692347" y="333442"/>
                        <a:pt x="694034" y="333442"/>
                        <a:pt x="695239" y="333442"/>
                      </a:cubicBezTo>
                      <a:cubicBezTo>
                        <a:pt x="693953" y="335530"/>
                        <a:pt x="692749" y="337458"/>
                        <a:pt x="685358" y="337940"/>
                      </a:cubicBezTo>
                      <a:lnTo>
                        <a:pt x="686483" y="337860"/>
                      </a:lnTo>
                      <a:cubicBezTo>
                        <a:pt x="689937" y="337699"/>
                        <a:pt x="690499" y="337699"/>
                        <a:pt x="693070" y="337779"/>
                      </a:cubicBezTo>
                      <a:cubicBezTo>
                        <a:pt x="695239" y="342920"/>
                        <a:pt x="692106" y="347499"/>
                        <a:pt x="691222" y="347820"/>
                      </a:cubicBezTo>
                      <a:lnTo>
                        <a:pt x="668971" y="348784"/>
                      </a:lnTo>
                      <a:cubicBezTo>
                        <a:pt x="664553" y="347338"/>
                        <a:pt x="659011" y="352961"/>
                        <a:pt x="654914" y="355210"/>
                      </a:cubicBezTo>
                      <a:cubicBezTo>
                        <a:pt x="627281" y="370232"/>
                        <a:pt x="623425" y="369670"/>
                        <a:pt x="619730" y="369187"/>
                      </a:cubicBezTo>
                      <a:cubicBezTo>
                        <a:pt x="618847" y="366296"/>
                        <a:pt x="618525" y="365412"/>
                        <a:pt x="625675" y="356014"/>
                      </a:cubicBezTo>
                      <a:cubicBezTo>
                        <a:pt x="621498" y="357219"/>
                        <a:pt x="612822" y="359709"/>
                        <a:pt x="596917" y="359387"/>
                      </a:cubicBezTo>
                      <a:cubicBezTo>
                        <a:pt x="597319" y="358584"/>
                        <a:pt x="597961" y="357620"/>
                        <a:pt x="598363" y="356817"/>
                      </a:cubicBezTo>
                      <a:cubicBezTo>
                        <a:pt x="595873" y="357299"/>
                        <a:pt x="593383" y="357620"/>
                        <a:pt x="590973" y="358022"/>
                      </a:cubicBezTo>
                      <a:cubicBezTo>
                        <a:pt x="591214" y="357701"/>
                        <a:pt x="591535" y="357299"/>
                        <a:pt x="591776" y="356978"/>
                      </a:cubicBezTo>
                      <a:cubicBezTo>
                        <a:pt x="591134" y="357058"/>
                        <a:pt x="590411" y="357138"/>
                        <a:pt x="589768" y="357219"/>
                      </a:cubicBezTo>
                      <a:cubicBezTo>
                        <a:pt x="591214" y="353925"/>
                        <a:pt x="591214" y="353925"/>
                        <a:pt x="593784" y="351676"/>
                      </a:cubicBezTo>
                      <a:cubicBezTo>
                        <a:pt x="582378" y="356014"/>
                        <a:pt x="569927" y="355773"/>
                        <a:pt x="558601" y="360512"/>
                      </a:cubicBezTo>
                      <a:cubicBezTo>
                        <a:pt x="543579" y="366778"/>
                        <a:pt x="533378" y="375453"/>
                        <a:pt x="530004" y="378345"/>
                      </a:cubicBezTo>
                      <a:cubicBezTo>
                        <a:pt x="522935" y="384369"/>
                        <a:pt x="504058" y="400355"/>
                        <a:pt x="459235" y="406379"/>
                      </a:cubicBezTo>
                      <a:cubicBezTo>
                        <a:pt x="459717" y="405817"/>
                        <a:pt x="460440" y="405094"/>
                        <a:pt x="460922" y="404451"/>
                      </a:cubicBezTo>
                      <a:cubicBezTo>
                        <a:pt x="458271" y="404130"/>
                        <a:pt x="455781" y="404291"/>
                        <a:pt x="453371" y="404050"/>
                      </a:cubicBezTo>
                      <a:moveTo>
                        <a:pt x="1004341" y="290225"/>
                      </a:moveTo>
                      <a:cubicBezTo>
                        <a:pt x="1004260" y="289984"/>
                        <a:pt x="1004260" y="289663"/>
                        <a:pt x="1004180" y="289422"/>
                      </a:cubicBezTo>
                      <a:cubicBezTo>
                        <a:pt x="1007554" y="284200"/>
                        <a:pt x="1017755" y="268456"/>
                        <a:pt x="1005385" y="254077"/>
                      </a:cubicBezTo>
                      <a:cubicBezTo>
                        <a:pt x="1013900" y="256327"/>
                        <a:pt x="1031010" y="257050"/>
                        <a:pt x="1040890" y="245241"/>
                      </a:cubicBezTo>
                      <a:cubicBezTo>
                        <a:pt x="1041292" y="245482"/>
                        <a:pt x="1041774" y="245723"/>
                        <a:pt x="1042175" y="245884"/>
                      </a:cubicBezTo>
                      <a:cubicBezTo>
                        <a:pt x="1045951" y="247812"/>
                        <a:pt x="1047959" y="248856"/>
                        <a:pt x="1051574" y="250463"/>
                      </a:cubicBezTo>
                      <a:cubicBezTo>
                        <a:pt x="1052216" y="249901"/>
                        <a:pt x="1053100" y="249097"/>
                        <a:pt x="1053742" y="248535"/>
                      </a:cubicBezTo>
                      <a:cubicBezTo>
                        <a:pt x="1063141" y="252712"/>
                        <a:pt x="1070692" y="272392"/>
                        <a:pt x="1070129" y="279622"/>
                      </a:cubicBezTo>
                      <a:cubicBezTo>
                        <a:pt x="1069165" y="292715"/>
                        <a:pt x="1061454" y="298820"/>
                        <a:pt x="1049485" y="304282"/>
                      </a:cubicBezTo>
                      <a:cubicBezTo>
                        <a:pt x="1049244" y="268054"/>
                        <a:pt x="1034142" y="271107"/>
                        <a:pt x="1004341" y="290225"/>
                      </a:cubicBezTo>
                      <a:moveTo>
                        <a:pt x="1020326" y="233755"/>
                      </a:moveTo>
                      <a:cubicBezTo>
                        <a:pt x="1019924" y="233514"/>
                        <a:pt x="1019362" y="233273"/>
                        <a:pt x="1018960" y="233032"/>
                      </a:cubicBezTo>
                      <a:cubicBezTo>
                        <a:pt x="1019201" y="233032"/>
                        <a:pt x="1019523" y="233112"/>
                        <a:pt x="1019764" y="233192"/>
                      </a:cubicBezTo>
                      <a:cubicBezTo>
                        <a:pt x="1029082" y="234718"/>
                        <a:pt x="1036151" y="236084"/>
                        <a:pt x="1042818" y="237690"/>
                      </a:cubicBezTo>
                      <a:cubicBezTo>
                        <a:pt x="1043059" y="240663"/>
                        <a:pt x="1042577" y="242510"/>
                        <a:pt x="1040890" y="245241"/>
                      </a:cubicBezTo>
                      <a:cubicBezTo>
                        <a:pt x="1033982" y="241546"/>
                        <a:pt x="1027314" y="237369"/>
                        <a:pt x="1020326" y="233755"/>
                      </a:cubicBezTo>
                      <a:moveTo>
                        <a:pt x="947067" y="223794"/>
                      </a:moveTo>
                      <a:cubicBezTo>
                        <a:pt x="946505" y="223714"/>
                        <a:pt x="945782" y="223633"/>
                        <a:pt x="945219" y="223473"/>
                      </a:cubicBezTo>
                      <a:cubicBezTo>
                        <a:pt x="959036" y="222187"/>
                        <a:pt x="964980" y="222187"/>
                        <a:pt x="971888" y="222268"/>
                      </a:cubicBezTo>
                      <a:cubicBezTo>
                        <a:pt x="991569" y="222910"/>
                        <a:pt x="1003939" y="225722"/>
                        <a:pt x="1018960" y="233032"/>
                      </a:cubicBezTo>
                      <a:cubicBezTo>
                        <a:pt x="995023" y="229337"/>
                        <a:pt x="970924" y="227409"/>
                        <a:pt x="947067" y="223794"/>
                      </a:cubicBezTo>
                      <a:moveTo>
                        <a:pt x="1392887" y="251828"/>
                      </a:moveTo>
                      <a:cubicBezTo>
                        <a:pt x="1393289" y="252230"/>
                        <a:pt x="1396823" y="251989"/>
                        <a:pt x="1398189" y="251909"/>
                      </a:cubicBezTo>
                      <a:cubicBezTo>
                        <a:pt x="1397948" y="251748"/>
                        <a:pt x="1397626" y="251587"/>
                        <a:pt x="1397385" y="251587"/>
                      </a:cubicBezTo>
                      <a:cubicBezTo>
                        <a:pt x="1396582" y="251587"/>
                        <a:pt x="1395940" y="251507"/>
                        <a:pt x="1395458" y="251427"/>
                      </a:cubicBezTo>
                      <a:cubicBezTo>
                        <a:pt x="1395136" y="251346"/>
                        <a:pt x="1394494" y="251186"/>
                        <a:pt x="1395458" y="250623"/>
                      </a:cubicBezTo>
                      <a:cubicBezTo>
                        <a:pt x="1396823" y="249820"/>
                        <a:pt x="1398430" y="249579"/>
                        <a:pt x="1399876" y="249017"/>
                      </a:cubicBezTo>
                      <a:cubicBezTo>
                        <a:pt x="1396261" y="250141"/>
                        <a:pt x="1392325" y="251346"/>
                        <a:pt x="1392887" y="251828"/>
                      </a:cubicBezTo>
                      <a:moveTo>
                        <a:pt x="1305330" y="306532"/>
                      </a:moveTo>
                      <a:cubicBezTo>
                        <a:pt x="1298582" y="288136"/>
                        <a:pt x="1323644" y="275123"/>
                        <a:pt x="1333123" y="270304"/>
                      </a:cubicBezTo>
                      <a:cubicBezTo>
                        <a:pt x="1329990" y="266528"/>
                        <a:pt x="1325331" y="260745"/>
                        <a:pt x="1332962" y="261869"/>
                      </a:cubicBezTo>
                      <a:cubicBezTo>
                        <a:pt x="1336657" y="262432"/>
                        <a:pt x="1342843" y="265082"/>
                        <a:pt x="1345172" y="266127"/>
                      </a:cubicBezTo>
                      <a:cubicBezTo>
                        <a:pt x="1345494" y="263235"/>
                        <a:pt x="1345895" y="259942"/>
                        <a:pt x="1352081" y="255925"/>
                      </a:cubicBezTo>
                      <a:cubicBezTo>
                        <a:pt x="1353044" y="255282"/>
                        <a:pt x="1354490" y="254559"/>
                        <a:pt x="1355535" y="254077"/>
                      </a:cubicBezTo>
                      <a:cubicBezTo>
                        <a:pt x="1359149" y="252230"/>
                        <a:pt x="1363326" y="253515"/>
                        <a:pt x="1366941" y="251748"/>
                      </a:cubicBezTo>
                      <a:cubicBezTo>
                        <a:pt x="1375054" y="247731"/>
                        <a:pt x="1381079" y="240422"/>
                        <a:pt x="1389674" y="237048"/>
                      </a:cubicBezTo>
                      <a:cubicBezTo>
                        <a:pt x="1396903" y="234236"/>
                        <a:pt x="1412005" y="228372"/>
                        <a:pt x="1429677" y="233353"/>
                      </a:cubicBezTo>
                      <a:cubicBezTo>
                        <a:pt x="1433131" y="234397"/>
                        <a:pt x="1435220" y="235281"/>
                        <a:pt x="1438433" y="236968"/>
                      </a:cubicBezTo>
                      <a:cubicBezTo>
                        <a:pt x="1394413" y="281710"/>
                        <a:pt x="1334649" y="318982"/>
                        <a:pt x="1323082" y="326051"/>
                      </a:cubicBezTo>
                      <a:cubicBezTo>
                        <a:pt x="1317299" y="321553"/>
                        <a:pt x="1308382" y="314966"/>
                        <a:pt x="1305330" y="306532"/>
                      </a:cubicBezTo>
                      <a:moveTo>
                        <a:pt x="1068041" y="230622"/>
                      </a:moveTo>
                      <a:cubicBezTo>
                        <a:pt x="1067719" y="230461"/>
                        <a:pt x="1067479" y="230059"/>
                        <a:pt x="1067238" y="229819"/>
                      </a:cubicBezTo>
                      <a:cubicBezTo>
                        <a:pt x="1067960" y="228051"/>
                        <a:pt x="1068523" y="226766"/>
                        <a:pt x="1083544" y="219376"/>
                      </a:cubicBezTo>
                      <a:cubicBezTo>
                        <a:pt x="1076797" y="216002"/>
                        <a:pt x="1077038" y="213753"/>
                        <a:pt x="1084588" y="210700"/>
                      </a:cubicBezTo>
                      <a:cubicBezTo>
                        <a:pt x="1084187" y="210459"/>
                        <a:pt x="1083705" y="210218"/>
                        <a:pt x="1083303" y="209977"/>
                      </a:cubicBezTo>
                      <a:lnTo>
                        <a:pt x="1085633" y="209576"/>
                      </a:lnTo>
                      <a:lnTo>
                        <a:pt x="1084267" y="209335"/>
                      </a:lnTo>
                      <a:cubicBezTo>
                        <a:pt x="1087882" y="206041"/>
                        <a:pt x="1089247" y="204997"/>
                        <a:pt x="1093344" y="202346"/>
                      </a:cubicBezTo>
                      <a:cubicBezTo>
                        <a:pt x="1083223" y="202909"/>
                        <a:pt x="1056313" y="190699"/>
                        <a:pt x="1060892" y="182023"/>
                      </a:cubicBezTo>
                      <a:cubicBezTo>
                        <a:pt x="1062578" y="178891"/>
                        <a:pt x="1067559" y="176802"/>
                        <a:pt x="1070692" y="175115"/>
                      </a:cubicBezTo>
                      <a:cubicBezTo>
                        <a:pt x="1073664" y="176481"/>
                        <a:pt x="1075913" y="177043"/>
                        <a:pt x="1079528" y="177284"/>
                      </a:cubicBezTo>
                      <a:cubicBezTo>
                        <a:pt x="1077760" y="168850"/>
                        <a:pt x="1077519" y="167805"/>
                        <a:pt x="1083705" y="168207"/>
                      </a:cubicBezTo>
                      <a:cubicBezTo>
                        <a:pt x="1091256" y="169332"/>
                        <a:pt x="1095111" y="169894"/>
                        <a:pt x="1114952" y="182023"/>
                      </a:cubicBezTo>
                      <a:cubicBezTo>
                        <a:pt x="1115675" y="186923"/>
                        <a:pt x="1118165" y="188690"/>
                        <a:pt x="1126761" y="190297"/>
                      </a:cubicBezTo>
                      <a:cubicBezTo>
                        <a:pt x="1126600" y="189895"/>
                        <a:pt x="1126359" y="189414"/>
                        <a:pt x="1126198" y="189012"/>
                      </a:cubicBezTo>
                      <a:cubicBezTo>
                        <a:pt x="1150056" y="200740"/>
                        <a:pt x="1175600" y="208692"/>
                        <a:pt x="1198493" y="222428"/>
                      </a:cubicBezTo>
                      <a:cubicBezTo>
                        <a:pt x="1198574" y="222428"/>
                        <a:pt x="1202670" y="228372"/>
                        <a:pt x="1200984" y="233915"/>
                      </a:cubicBezTo>
                      <a:cubicBezTo>
                        <a:pt x="1214238" y="233273"/>
                        <a:pt x="1221548" y="231264"/>
                        <a:pt x="1224118" y="230461"/>
                      </a:cubicBezTo>
                      <a:cubicBezTo>
                        <a:pt x="1224921" y="230220"/>
                        <a:pt x="1225966" y="229497"/>
                        <a:pt x="1226849" y="229578"/>
                      </a:cubicBezTo>
                      <a:cubicBezTo>
                        <a:pt x="1226930" y="229578"/>
                        <a:pt x="1234079" y="231746"/>
                        <a:pt x="1238898" y="239538"/>
                      </a:cubicBezTo>
                      <a:cubicBezTo>
                        <a:pt x="1238256" y="239378"/>
                        <a:pt x="1237372" y="239217"/>
                        <a:pt x="1236730" y="239137"/>
                      </a:cubicBezTo>
                      <a:lnTo>
                        <a:pt x="1238657" y="239940"/>
                      </a:lnTo>
                      <a:cubicBezTo>
                        <a:pt x="1239300" y="266930"/>
                        <a:pt x="1220503" y="298338"/>
                        <a:pt x="1178170" y="280104"/>
                      </a:cubicBezTo>
                      <a:cubicBezTo>
                        <a:pt x="1176725" y="281068"/>
                        <a:pt x="1174716" y="282273"/>
                        <a:pt x="1173270" y="283237"/>
                      </a:cubicBezTo>
                      <a:cubicBezTo>
                        <a:pt x="1167246" y="284522"/>
                        <a:pt x="1162828" y="284200"/>
                        <a:pt x="1155679" y="281871"/>
                      </a:cubicBezTo>
                      <a:cubicBezTo>
                        <a:pt x="1155920" y="282433"/>
                        <a:pt x="1156161" y="283317"/>
                        <a:pt x="1156241" y="283960"/>
                      </a:cubicBezTo>
                      <a:cubicBezTo>
                        <a:pt x="1155116" y="284281"/>
                        <a:pt x="1155116" y="284281"/>
                        <a:pt x="1153269" y="283478"/>
                      </a:cubicBezTo>
                      <a:cubicBezTo>
                        <a:pt x="1148851" y="291028"/>
                        <a:pt x="1145397" y="296892"/>
                        <a:pt x="1121298" y="278497"/>
                      </a:cubicBezTo>
                      <a:cubicBezTo>
                        <a:pt x="1121700" y="277854"/>
                        <a:pt x="1122262" y="277051"/>
                        <a:pt x="1122744" y="276489"/>
                      </a:cubicBezTo>
                      <a:cubicBezTo>
                        <a:pt x="1119370" y="276248"/>
                        <a:pt x="1118888" y="275686"/>
                        <a:pt x="1118246" y="273035"/>
                      </a:cubicBezTo>
                      <a:cubicBezTo>
                        <a:pt x="1118647" y="272874"/>
                        <a:pt x="1119129" y="272714"/>
                        <a:pt x="1119531" y="272553"/>
                      </a:cubicBezTo>
                      <a:cubicBezTo>
                        <a:pt x="1115675" y="271107"/>
                        <a:pt x="1115595" y="270946"/>
                        <a:pt x="1115033" y="269260"/>
                      </a:cubicBezTo>
                      <a:cubicBezTo>
                        <a:pt x="1115997" y="268536"/>
                        <a:pt x="1117362" y="267733"/>
                        <a:pt x="1118487" y="267332"/>
                      </a:cubicBezTo>
                      <a:cubicBezTo>
                        <a:pt x="1115756" y="265966"/>
                        <a:pt x="1115756" y="265243"/>
                        <a:pt x="1115675" y="263797"/>
                      </a:cubicBezTo>
                      <a:cubicBezTo>
                        <a:pt x="1116720" y="263235"/>
                        <a:pt x="1117603" y="263315"/>
                        <a:pt x="1118406" y="263315"/>
                      </a:cubicBezTo>
                      <a:cubicBezTo>
                        <a:pt x="1111900" y="260584"/>
                        <a:pt x="1109570" y="258495"/>
                        <a:pt x="1108606" y="254559"/>
                      </a:cubicBezTo>
                      <a:cubicBezTo>
                        <a:pt x="1094469" y="250784"/>
                        <a:pt x="1087560" y="244036"/>
                        <a:pt x="1083062" y="229658"/>
                      </a:cubicBezTo>
                      <a:cubicBezTo>
                        <a:pt x="1080010" y="230220"/>
                        <a:pt x="1070210" y="231666"/>
                        <a:pt x="1068041" y="230622"/>
                      </a:cubicBezTo>
                      <a:moveTo>
                        <a:pt x="1595394" y="272714"/>
                      </a:moveTo>
                      <a:lnTo>
                        <a:pt x="1594591" y="270545"/>
                      </a:lnTo>
                      <a:lnTo>
                        <a:pt x="1594671" y="270625"/>
                      </a:lnTo>
                      <a:cubicBezTo>
                        <a:pt x="1595073" y="271589"/>
                        <a:pt x="1595314" y="272232"/>
                        <a:pt x="1595394" y="272714"/>
                      </a:cubicBezTo>
                      <a:moveTo>
                        <a:pt x="1581497" y="273115"/>
                      </a:moveTo>
                      <a:cubicBezTo>
                        <a:pt x="1580854" y="271107"/>
                        <a:pt x="1581256" y="268376"/>
                        <a:pt x="1581658" y="266528"/>
                      </a:cubicBezTo>
                      <a:cubicBezTo>
                        <a:pt x="1582542" y="262271"/>
                        <a:pt x="1584389" y="258335"/>
                        <a:pt x="1585514" y="254238"/>
                      </a:cubicBezTo>
                      <a:cubicBezTo>
                        <a:pt x="1586799" y="255122"/>
                        <a:pt x="1587361" y="255041"/>
                        <a:pt x="1587923" y="254961"/>
                      </a:cubicBezTo>
                      <a:cubicBezTo>
                        <a:pt x="1588164" y="255604"/>
                        <a:pt x="1588486" y="256568"/>
                        <a:pt x="1588727" y="257210"/>
                      </a:cubicBezTo>
                      <a:cubicBezTo>
                        <a:pt x="1591056" y="263476"/>
                        <a:pt x="1592583" y="267251"/>
                        <a:pt x="1595153" y="273517"/>
                      </a:cubicBezTo>
                      <a:cubicBezTo>
                        <a:pt x="1595314" y="273356"/>
                        <a:pt x="1595394" y="273276"/>
                        <a:pt x="1595394" y="272794"/>
                      </a:cubicBezTo>
                      <a:cubicBezTo>
                        <a:pt x="1595474" y="272955"/>
                        <a:pt x="1595555" y="273196"/>
                        <a:pt x="1595635" y="273356"/>
                      </a:cubicBezTo>
                      <a:cubicBezTo>
                        <a:pt x="1587522" y="277132"/>
                        <a:pt x="1582783" y="277051"/>
                        <a:pt x="1581497" y="273115"/>
                      </a:cubicBezTo>
                      <a:moveTo>
                        <a:pt x="909473" y="158809"/>
                      </a:moveTo>
                      <a:cubicBezTo>
                        <a:pt x="906260" y="149972"/>
                        <a:pt x="908509" y="143145"/>
                        <a:pt x="909795" y="139128"/>
                      </a:cubicBezTo>
                      <a:cubicBezTo>
                        <a:pt x="913570" y="138084"/>
                        <a:pt x="916060" y="136959"/>
                        <a:pt x="919514" y="134871"/>
                      </a:cubicBezTo>
                      <a:cubicBezTo>
                        <a:pt x="920398" y="135513"/>
                        <a:pt x="921523" y="136397"/>
                        <a:pt x="922326" y="137040"/>
                      </a:cubicBezTo>
                      <a:cubicBezTo>
                        <a:pt x="931242" y="142582"/>
                        <a:pt x="952770" y="151258"/>
                        <a:pt x="964337" y="151981"/>
                      </a:cubicBezTo>
                      <a:cubicBezTo>
                        <a:pt x="982491" y="153025"/>
                        <a:pt x="989239" y="153667"/>
                        <a:pt x="991167" y="154390"/>
                      </a:cubicBezTo>
                      <a:cubicBezTo>
                        <a:pt x="990042" y="154953"/>
                        <a:pt x="986910" y="155194"/>
                        <a:pt x="972531" y="155515"/>
                      </a:cubicBezTo>
                      <a:cubicBezTo>
                        <a:pt x="972290" y="156077"/>
                        <a:pt x="971969" y="156800"/>
                        <a:pt x="970924" y="157443"/>
                      </a:cubicBezTo>
                      <a:cubicBezTo>
                        <a:pt x="969880" y="158085"/>
                        <a:pt x="968675" y="158085"/>
                        <a:pt x="967631" y="158648"/>
                      </a:cubicBezTo>
                      <a:cubicBezTo>
                        <a:pt x="966828" y="159130"/>
                        <a:pt x="966024" y="160174"/>
                        <a:pt x="965382" y="160897"/>
                      </a:cubicBezTo>
                      <a:cubicBezTo>
                        <a:pt x="954939" y="171099"/>
                        <a:pt x="949557" y="172304"/>
                        <a:pt x="943613" y="172786"/>
                      </a:cubicBezTo>
                      <a:cubicBezTo>
                        <a:pt x="934054" y="173589"/>
                        <a:pt x="924896" y="163628"/>
                        <a:pt x="921523" y="159853"/>
                      </a:cubicBezTo>
                      <a:cubicBezTo>
                        <a:pt x="919032" y="164271"/>
                        <a:pt x="917908" y="166922"/>
                        <a:pt x="916783" y="171099"/>
                      </a:cubicBezTo>
                      <a:cubicBezTo>
                        <a:pt x="914373" y="167966"/>
                        <a:pt x="911241" y="163628"/>
                        <a:pt x="909473" y="158809"/>
                      </a:cubicBezTo>
                      <a:moveTo>
                        <a:pt x="940159" y="100651"/>
                      </a:moveTo>
                      <a:cubicBezTo>
                        <a:pt x="939837" y="99928"/>
                        <a:pt x="939757" y="99286"/>
                        <a:pt x="939757" y="98723"/>
                      </a:cubicBezTo>
                      <a:cubicBezTo>
                        <a:pt x="941926" y="98241"/>
                        <a:pt x="943693" y="98000"/>
                        <a:pt x="946424" y="97839"/>
                      </a:cubicBezTo>
                      <a:cubicBezTo>
                        <a:pt x="946906" y="93743"/>
                        <a:pt x="948031" y="84103"/>
                        <a:pt x="971969" y="88602"/>
                      </a:cubicBezTo>
                      <a:cubicBezTo>
                        <a:pt x="969960" y="78400"/>
                        <a:pt x="971808" y="67957"/>
                        <a:pt x="969398" y="57756"/>
                      </a:cubicBezTo>
                      <a:cubicBezTo>
                        <a:pt x="967631" y="50285"/>
                        <a:pt x="963373" y="44743"/>
                        <a:pt x="960803" y="41449"/>
                      </a:cubicBezTo>
                      <a:cubicBezTo>
                        <a:pt x="962731" y="41610"/>
                        <a:pt x="965382" y="41771"/>
                        <a:pt x="967390" y="41931"/>
                      </a:cubicBezTo>
                      <a:cubicBezTo>
                        <a:pt x="982652" y="43779"/>
                        <a:pt x="988677" y="45867"/>
                        <a:pt x="995264" y="51731"/>
                      </a:cubicBezTo>
                      <a:cubicBezTo>
                        <a:pt x="995746" y="52213"/>
                        <a:pt x="1008357" y="65708"/>
                        <a:pt x="1008518" y="65869"/>
                      </a:cubicBezTo>
                      <a:cubicBezTo>
                        <a:pt x="1010285" y="69404"/>
                        <a:pt x="1012373" y="76071"/>
                        <a:pt x="1008919" y="78722"/>
                      </a:cubicBezTo>
                      <a:cubicBezTo>
                        <a:pt x="1005626" y="81292"/>
                        <a:pt x="1000083" y="76954"/>
                        <a:pt x="997754" y="81935"/>
                      </a:cubicBezTo>
                      <a:cubicBezTo>
                        <a:pt x="996629" y="84264"/>
                        <a:pt x="996790" y="85790"/>
                        <a:pt x="1003055" y="90931"/>
                      </a:cubicBezTo>
                      <a:cubicBezTo>
                        <a:pt x="971728" y="88039"/>
                        <a:pt x="959919" y="90530"/>
                        <a:pt x="942649" y="103543"/>
                      </a:cubicBezTo>
                      <a:cubicBezTo>
                        <a:pt x="941846" y="102981"/>
                        <a:pt x="940721" y="102017"/>
                        <a:pt x="940159" y="100651"/>
                      </a:cubicBezTo>
                      <a:moveTo>
                        <a:pt x="1158329" y="40325"/>
                      </a:moveTo>
                      <a:cubicBezTo>
                        <a:pt x="1156723" y="37192"/>
                        <a:pt x="1159615" y="36630"/>
                        <a:pt x="1163631" y="35907"/>
                      </a:cubicBezTo>
                      <a:cubicBezTo>
                        <a:pt x="1163711" y="36228"/>
                        <a:pt x="1163792" y="36469"/>
                        <a:pt x="1163952" y="36790"/>
                      </a:cubicBezTo>
                      <a:cubicBezTo>
                        <a:pt x="1167647" y="36630"/>
                        <a:pt x="1175279" y="36871"/>
                        <a:pt x="1184677" y="40967"/>
                      </a:cubicBezTo>
                      <a:cubicBezTo>
                        <a:pt x="1184195" y="40967"/>
                        <a:pt x="1183552" y="40887"/>
                        <a:pt x="1183070" y="40887"/>
                      </a:cubicBezTo>
                      <a:lnTo>
                        <a:pt x="1187087" y="42815"/>
                      </a:lnTo>
                      <a:cubicBezTo>
                        <a:pt x="1190300" y="46108"/>
                        <a:pt x="1198895" y="54864"/>
                        <a:pt x="1189095" y="55185"/>
                      </a:cubicBezTo>
                      <a:cubicBezTo>
                        <a:pt x="1172708" y="55748"/>
                        <a:pt x="1159695" y="42976"/>
                        <a:pt x="1158329" y="40325"/>
                      </a:cubicBezTo>
                      <a:moveTo>
                        <a:pt x="1170780" y="33015"/>
                      </a:moveTo>
                      <a:lnTo>
                        <a:pt x="1169254" y="33015"/>
                      </a:lnTo>
                      <a:cubicBezTo>
                        <a:pt x="1169254" y="33015"/>
                        <a:pt x="1169334" y="32935"/>
                        <a:pt x="1169334" y="32935"/>
                      </a:cubicBezTo>
                      <a:cubicBezTo>
                        <a:pt x="1169736" y="33015"/>
                        <a:pt x="1170218" y="33015"/>
                        <a:pt x="1170780" y="33015"/>
                      </a:cubicBezTo>
                      <a:moveTo>
                        <a:pt x="982893" y="0"/>
                      </a:moveTo>
                      <a:lnTo>
                        <a:pt x="982732" y="80"/>
                      </a:lnTo>
                      <a:cubicBezTo>
                        <a:pt x="982732" y="80"/>
                        <a:pt x="982732" y="80"/>
                        <a:pt x="982732" y="80"/>
                      </a:cubicBezTo>
                      <a:cubicBezTo>
                        <a:pt x="982813" y="80"/>
                        <a:pt x="982893" y="80"/>
                        <a:pt x="982893" y="0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21" name="Graphic 9">
                <a:extLst>
                  <a:ext uri="{FF2B5EF4-FFF2-40B4-BE49-F238E27FC236}">
                    <a16:creationId xmlns:a16="http://schemas.microsoft.com/office/drawing/2014/main" id="{999BEA62-2D31-8D55-C0C2-5E66B575E69E}"/>
                  </a:ext>
                </a:extLst>
              </p:cNvPr>
              <p:cNvGrpSpPr/>
              <p:nvPr/>
            </p:nvGrpSpPr>
            <p:grpSpPr>
              <a:xfrm>
                <a:off x="-5378635" y="1905630"/>
                <a:ext cx="2455184" cy="2457568"/>
                <a:chOff x="-5378635" y="1905630"/>
                <a:chExt cx="2455184" cy="2457568"/>
              </a:xfrm>
            </p:grpSpPr>
            <p:sp>
              <p:nvSpPr>
                <p:cNvPr id="422" name="Freeform: Shape 421">
                  <a:extLst>
                    <a:ext uri="{FF2B5EF4-FFF2-40B4-BE49-F238E27FC236}">
                      <a16:creationId xmlns:a16="http://schemas.microsoft.com/office/drawing/2014/main" id="{716C64A2-DDE1-97FC-E546-1DFBF9239972}"/>
                    </a:ext>
                  </a:extLst>
                </p:cNvPr>
                <p:cNvSpPr/>
                <p:nvPr/>
              </p:nvSpPr>
              <p:spPr>
                <a:xfrm>
                  <a:off x="-5291725" y="1905630"/>
                  <a:ext cx="2368274" cy="2457568"/>
                </a:xfrm>
                <a:custGeom>
                  <a:avLst/>
                  <a:gdLst>
                    <a:gd name="connsiteX0" fmla="*/ 881444 w 2368274"/>
                    <a:gd name="connsiteY0" fmla="*/ 2409566 h 2457568"/>
                    <a:gd name="connsiteX1" fmla="*/ 902651 w 2368274"/>
                    <a:gd name="connsiteY1" fmla="*/ 2420651 h 2457568"/>
                    <a:gd name="connsiteX2" fmla="*/ 896867 w 2368274"/>
                    <a:gd name="connsiteY2" fmla="*/ 2419205 h 2457568"/>
                    <a:gd name="connsiteX3" fmla="*/ 874054 w 2368274"/>
                    <a:gd name="connsiteY3" fmla="*/ 2413422 h 2457568"/>
                    <a:gd name="connsiteX4" fmla="*/ 866905 w 2368274"/>
                    <a:gd name="connsiteY4" fmla="*/ 2412779 h 2457568"/>
                    <a:gd name="connsiteX5" fmla="*/ 859033 w 2368274"/>
                    <a:gd name="connsiteY5" fmla="*/ 2413502 h 2457568"/>
                    <a:gd name="connsiteX6" fmla="*/ 850598 w 2368274"/>
                    <a:gd name="connsiteY6" fmla="*/ 2411815 h 2457568"/>
                    <a:gd name="connsiteX7" fmla="*/ 850197 w 2368274"/>
                    <a:gd name="connsiteY7" fmla="*/ 2411815 h 2457568"/>
                    <a:gd name="connsiteX8" fmla="*/ 840718 w 2368274"/>
                    <a:gd name="connsiteY8" fmla="*/ 2409405 h 2457568"/>
                    <a:gd name="connsiteX9" fmla="*/ 835737 w 2368274"/>
                    <a:gd name="connsiteY9" fmla="*/ 2407236 h 2457568"/>
                    <a:gd name="connsiteX10" fmla="*/ 859274 w 2368274"/>
                    <a:gd name="connsiteY10" fmla="*/ 2407959 h 2457568"/>
                    <a:gd name="connsiteX11" fmla="*/ 846582 w 2368274"/>
                    <a:gd name="connsiteY11" fmla="*/ 2404987 h 2457568"/>
                    <a:gd name="connsiteX12" fmla="*/ 881444 w 2368274"/>
                    <a:gd name="connsiteY12" fmla="*/ 2409566 h 2457568"/>
                    <a:gd name="connsiteX13" fmla="*/ 877347 w 2368274"/>
                    <a:gd name="connsiteY13" fmla="*/ 2407317 h 2457568"/>
                    <a:gd name="connsiteX14" fmla="*/ 878311 w 2368274"/>
                    <a:gd name="connsiteY14" fmla="*/ 2408120 h 2457568"/>
                    <a:gd name="connsiteX15" fmla="*/ 877749 w 2368274"/>
                    <a:gd name="connsiteY15" fmla="*/ 2407879 h 2457568"/>
                    <a:gd name="connsiteX16" fmla="*/ 877187 w 2368274"/>
                    <a:gd name="connsiteY16" fmla="*/ 2407558 h 2457568"/>
                    <a:gd name="connsiteX17" fmla="*/ 876624 w 2368274"/>
                    <a:gd name="connsiteY17" fmla="*/ 2407236 h 2457568"/>
                    <a:gd name="connsiteX18" fmla="*/ 876062 w 2368274"/>
                    <a:gd name="connsiteY18" fmla="*/ 2406915 h 2457568"/>
                    <a:gd name="connsiteX19" fmla="*/ 875500 w 2368274"/>
                    <a:gd name="connsiteY19" fmla="*/ 2406594 h 2457568"/>
                    <a:gd name="connsiteX20" fmla="*/ 874938 w 2368274"/>
                    <a:gd name="connsiteY20" fmla="*/ 2406272 h 2457568"/>
                    <a:gd name="connsiteX21" fmla="*/ 874375 w 2368274"/>
                    <a:gd name="connsiteY21" fmla="*/ 2405951 h 2457568"/>
                    <a:gd name="connsiteX22" fmla="*/ 873813 w 2368274"/>
                    <a:gd name="connsiteY22" fmla="*/ 2405629 h 2457568"/>
                    <a:gd name="connsiteX23" fmla="*/ 873893 w 2368274"/>
                    <a:gd name="connsiteY23" fmla="*/ 2405629 h 2457568"/>
                    <a:gd name="connsiteX24" fmla="*/ 877347 w 2368274"/>
                    <a:gd name="connsiteY24" fmla="*/ 2407317 h 2457568"/>
                    <a:gd name="connsiteX25" fmla="*/ 867306 w 2368274"/>
                    <a:gd name="connsiteY25" fmla="*/ 2401372 h 2457568"/>
                    <a:gd name="connsiteX26" fmla="*/ 864897 w 2368274"/>
                    <a:gd name="connsiteY26" fmla="*/ 2401372 h 2457568"/>
                    <a:gd name="connsiteX27" fmla="*/ 873813 w 2368274"/>
                    <a:gd name="connsiteY27" fmla="*/ 2405871 h 2457568"/>
                    <a:gd name="connsiteX28" fmla="*/ 857587 w 2368274"/>
                    <a:gd name="connsiteY28" fmla="*/ 2401854 h 2457568"/>
                    <a:gd name="connsiteX29" fmla="*/ 864897 w 2368274"/>
                    <a:gd name="connsiteY29" fmla="*/ 2401372 h 2457568"/>
                    <a:gd name="connsiteX30" fmla="*/ 862487 w 2368274"/>
                    <a:gd name="connsiteY30" fmla="*/ 2400087 h 2457568"/>
                    <a:gd name="connsiteX31" fmla="*/ 867628 w 2368274"/>
                    <a:gd name="connsiteY31" fmla="*/ 2401372 h 2457568"/>
                    <a:gd name="connsiteX32" fmla="*/ 867306 w 2368274"/>
                    <a:gd name="connsiteY32" fmla="*/ 2401372 h 2457568"/>
                    <a:gd name="connsiteX33" fmla="*/ 859756 w 2368274"/>
                    <a:gd name="connsiteY33" fmla="*/ 2399364 h 2457568"/>
                    <a:gd name="connsiteX34" fmla="*/ 822965 w 2368274"/>
                    <a:gd name="connsiteY34" fmla="*/ 2388038 h 2457568"/>
                    <a:gd name="connsiteX35" fmla="*/ 823126 w 2368274"/>
                    <a:gd name="connsiteY35" fmla="*/ 2387716 h 2457568"/>
                    <a:gd name="connsiteX36" fmla="*/ 843369 w 2368274"/>
                    <a:gd name="connsiteY36" fmla="*/ 2389885 h 2457568"/>
                    <a:gd name="connsiteX37" fmla="*/ 844654 w 2368274"/>
                    <a:gd name="connsiteY37" fmla="*/ 2390528 h 2457568"/>
                    <a:gd name="connsiteX38" fmla="*/ 862567 w 2368274"/>
                    <a:gd name="connsiteY38" fmla="*/ 2399926 h 2457568"/>
                    <a:gd name="connsiteX39" fmla="*/ 859756 w 2368274"/>
                    <a:gd name="connsiteY39" fmla="*/ 2399364 h 2457568"/>
                    <a:gd name="connsiteX40" fmla="*/ 908434 w 2368274"/>
                    <a:gd name="connsiteY40" fmla="*/ 2361690 h 2457568"/>
                    <a:gd name="connsiteX41" fmla="*/ 908434 w 2368274"/>
                    <a:gd name="connsiteY41" fmla="*/ 2361690 h 2457568"/>
                    <a:gd name="connsiteX42" fmla="*/ 908274 w 2368274"/>
                    <a:gd name="connsiteY42" fmla="*/ 2361690 h 2457568"/>
                    <a:gd name="connsiteX43" fmla="*/ 908193 w 2368274"/>
                    <a:gd name="connsiteY43" fmla="*/ 2361690 h 2457568"/>
                    <a:gd name="connsiteX44" fmla="*/ 908113 w 2368274"/>
                    <a:gd name="connsiteY44" fmla="*/ 2361690 h 2457568"/>
                    <a:gd name="connsiteX45" fmla="*/ 908033 w 2368274"/>
                    <a:gd name="connsiteY45" fmla="*/ 2361690 h 2457568"/>
                    <a:gd name="connsiteX46" fmla="*/ 907952 w 2368274"/>
                    <a:gd name="connsiteY46" fmla="*/ 2361690 h 2457568"/>
                    <a:gd name="connsiteX47" fmla="*/ 907872 w 2368274"/>
                    <a:gd name="connsiteY47" fmla="*/ 2361690 h 2457568"/>
                    <a:gd name="connsiteX48" fmla="*/ 907792 w 2368274"/>
                    <a:gd name="connsiteY48" fmla="*/ 2361690 h 2457568"/>
                    <a:gd name="connsiteX49" fmla="*/ 907711 w 2368274"/>
                    <a:gd name="connsiteY49" fmla="*/ 2361690 h 2457568"/>
                    <a:gd name="connsiteX50" fmla="*/ 907631 w 2368274"/>
                    <a:gd name="connsiteY50" fmla="*/ 2361690 h 2457568"/>
                    <a:gd name="connsiteX51" fmla="*/ 907551 w 2368274"/>
                    <a:gd name="connsiteY51" fmla="*/ 2361690 h 2457568"/>
                    <a:gd name="connsiteX52" fmla="*/ 907470 w 2368274"/>
                    <a:gd name="connsiteY52" fmla="*/ 2361690 h 2457568"/>
                    <a:gd name="connsiteX53" fmla="*/ 907390 w 2368274"/>
                    <a:gd name="connsiteY53" fmla="*/ 2361690 h 2457568"/>
                    <a:gd name="connsiteX54" fmla="*/ 907310 w 2368274"/>
                    <a:gd name="connsiteY54" fmla="*/ 2361690 h 2457568"/>
                    <a:gd name="connsiteX55" fmla="*/ 907229 w 2368274"/>
                    <a:gd name="connsiteY55" fmla="*/ 2361690 h 2457568"/>
                    <a:gd name="connsiteX56" fmla="*/ 907149 w 2368274"/>
                    <a:gd name="connsiteY56" fmla="*/ 2361690 h 2457568"/>
                    <a:gd name="connsiteX57" fmla="*/ 907069 w 2368274"/>
                    <a:gd name="connsiteY57" fmla="*/ 2361690 h 2457568"/>
                    <a:gd name="connsiteX58" fmla="*/ 906988 w 2368274"/>
                    <a:gd name="connsiteY58" fmla="*/ 2361690 h 2457568"/>
                    <a:gd name="connsiteX59" fmla="*/ 906908 w 2368274"/>
                    <a:gd name="connsiteY59" fmla="*/ 2361690 h 2457568"/>
                    <a:gd name="connsiteX60" fmla="*/ 906828 w 2368274"/>
                    <a:gd name="connsiteY60" fmla="*/ 2361690 h 2457568"/>
                    <a:gd name="connsiteX61" fmla="*/ 906747 w 2368274"/>
                    <a:gd name="connsiteY61" fmla="*/ 2361690 h 2457568"/>
                    <a:gd name="connsiteX62" fmla="*/ 906667 w 2368274"/>
                    <a:gd name="connsiteY62" fmla="*/ 2361690 h 2457568"/>
                    <a:gd name="connsiteX63" fmla="*/ 906587 w 2368274"/>
                    <a:gd name="connsiteY63" fmla="*/ 2361690 h 2457568"/>
                    <a:gd name="connsiteX64" fmla="*/ 906506 w 2368274"/>
                    <a:gd name="connsiteY64" fmla="*/ 2361690 h 2457568"/>
                    <a:gd name="connsiteX65" fmla="*/ 906426 w 2368274"/>
                    <a:gd name="connsiteY65" fmla="*/ 2361690 h 2457568"/>
                    <a:gd name="connsiteX66" fmla="*/ 906346 w 2368274"/>
                    <a:gd name="connsiteY66" fmla="*/ 2361690 h 2457568"/>
                    <a:gd name="connsiteX67" fmla="*/ 906265 w 2368274"/>
                    <a:gd name="connsiteY67" fmla="*/ 2361690 h 2457568"/>
                    <a:gd name="connsiteX68" fmla="*/ 906185 w 2368274"/>
                    <a:gd name="connsiteY68" fmla="*/ 2361690 h 2457568"/>
                    <a:gd name="connsiteX69" fmla="*/ 906105 w 2368274"/>
                    <a:gd name="connsiteY69" fmla="*/ 2361690 h 2457568"/>
                    <a:gd name="connsiteX70" fmla="*/ 906024 w 2368274"/>
                    <a:gd name="connsiteY70" fmla="*/ 2361690 h 2457568"/>
                    <a:gd name="connsiteX71" fmla="*/ 905944 w 2368274"/>
                    <a:gd name="connsiteY71" fmla="*/ 2361690 h 2457568"/>
                    <a:gd name="connsiteX72" fmla="*/ 908434 w 2368274"/>
                    <a:gd name="connsiteY72" fmla="*/ 2361690 h 2457568"/>
                    <a:gd name="connsiteX73" fmla="*/ 908434 w 2368274"/>
                    <a:gd name="connsiteY73" fmla="*/ 2361690 h 2457568"/>
                    <a:gd name="connsiteX74" fmla="*/ 731311 w 2368274"/>
                    <a:gd name="connsiteY74" fmla="*/ 2234371 h 2457568"/>
                    <a:gd name="connsiteX75" fmla="*/ 657731 w 2368274"/>
                    <a:gd name="connsiteY75" fmla="*/ 2227302 h 2457568"/>
                    <a:gd name="connsiteX76" fmla="*/ 637408 w 2368274"/>
                    <a:gd name="connsiteY76" fmla="*/ 2222000 h 2457568"/>
                    <a:gd name="connsiteX77" fmla="*/ 659337 w 2368274"/>
                    <a:gd name="connsiteY77" fmla="*/ 2225133 h 2457568"/>
                    <a:gd name="connsiteX78" fmla="*/ 648493 w 2368274"/>
                    <a:gd name="connsiteY78" fmla="*/ 2216698 h 2457568"/>
                    <a:gd name="connsiteX79" fmla="*/ 647047 w 2368274"/>
                    <a:gd name="connsiteY79" fmla="*/ 2215333 h 2457568"/>
                    <a:gd name="connsiteX80" fmla="*/ 648332 w 2368274"/>
                    <a:gd name="connsiteY80" fmla="*/ 2214610 h 2457568"/>
                    <a:gd name="connsiteX81" fmla="*/ 653714 w 2368274"/>
                    <a:gd name="connsiteY81" fmla="*/ 2218867 h 2457568"/>
                    <a:gd name="connsiteX82" fmla="*/ 650341 w 2368274"/>
                    <a:gd name="connsiteY82" fmla="*/ 2218787 h 2457568"/>
                    <a:gd name="connsiteX83" fmla="*/ 674037 w 2368274"/>
                    <a:gd name="connsiteY83" fmla="*/ 2226820 h 2457568"/>
                    <a:gd name="connsiteX84" fmla="*/ 643352 w 2368274"/>
                    <a:gd name="connsiteY84" fmla="*/ 2204970 h 2457568"/>
                    <a:gd name="connsiteX85" fmla="*/ 677250 w 2368274"/>
                    <a:gd name="connsiteY85" fmla="*/ 2211236 h 2457568"/>
                    <a:gd name="connsiteX86" fmla="*/ 733239 w 2368274"/>
                    <a:gd name="connsiteY86" fmla="*/ 2234451 h 2457568"/>
                    <a:gd name="connsiteX87" fmla="*/ 731311 w 2368274"/>
                    <a:gd name="connsiteY87" fmla="*/ 2234371 h 2457568"/>
                    <a:gd name="connsiteX88" fmla="*/ 1185726 w 2368274"/>
                    <a:gd name="connsiteY88" fmla="*/ 2456959 h 2457568"/>
                    <a:gd name="connsiteX89" fmla="*/ 904338 w 2368274"/>
                    <a:gd name="connsiteY89" fmla="*/ 2184406 h 2457568"/>
                    <a:gd name="connsiteX90" fmla="*/ 650341 w 2368274"/>
                    <a:gd name="connsiteY90" fmla="*/ 2180390 h 2457568"/>
                    <a:gd name="connsiteX91" fmla="*/ 646886 w 2368274"/>
                    <a:gd name="connsiteY91" fmla="*/ 2186575 h 2457568"/>
                    <a:gd name="connsiteX92" fmla="*/ 650983 w 2368274"/>
                    <a:gd name="connsiteY92" fmla="*/ 2189306 h 2457568"/>
                    <a:gd name="connsiteX93" fmla="*/ 628090 w 2368274"/>
                    <a:gd name="connsiteY93" fmla="*/ 2211477 h 2457568"/>
                    <a:gd name="connsiteX94" fmla="*/ 630339 w 2368274"/>
                    <a:gd name="connsiteY94" fmla="*/ 2206416 h 2457568"/>
                    <a:gd name="connsiteX95" fmla="*/ 610337 w 2368274"/>
                    <a:gd name="connsiteY95" fmla="*/ 2205854 h 2457568"/>
                    <a:gd name="connsiteX96" fmla="*/ 625760 w 2368274"/>
                    <a:gd name="connsiteY96" fmla="*/ 2201597 h 2457568"/>
                    <a:gd name="connsiteX97" fmla="*/ 585034 w 2368274"/>
                    <a:gd name="connsiteY97" fmla="*/ 2193725 h 2457568"/>
                    <a:gd name="connsiteX98" fmla="*/ 606240 w 2368274"/>
                    <a:gd name="connsiteY98" fmla="*/ 2195251 h 2457568"/>
                    <a:gd name="connsiteX99" fmla="*/ 592263 w 2368274"/>
                    <a:gd name="connsiteY99" fmla="*/ 2186174 h 2457568"/>
                    <a:gd name="connsiteX100" fmla="*/ 597565 w 2368274"/>
                    <a:gd name="connsiteY100" fmla="*/ 2188985 h 2457568"/>
                    <a:gd name="connsiteX101" fmla="*/ 558847 w 2368274"/>
                    <a:gd name="connsiteY101" fmla="*/ 2173803 h 2457568"/>
                    <a:gd name="connsiteX102" fmla="*/ 573627 w 2368274"/>
                    <a:gd name="connsiteY102" fmla="*/ 2173964 h 2457568"/>
                    <a:gd name="connsiteX103" fmla="*/ 568968 w 2368274"/>
                    <a:gd name="connsiteY103" fmla="*/ 2172518 h 2457568"/>
                    <a:gd name="connsiteX104" fmla="*/ 451368 w 2368274"/>
                    <a:gd name="connsiteY104" fmla="*/ 2151954 h 2457568"/>
                    <a:gd name="connsiteX105" fmla="*/ 222594 w 2368274"/>
                    <a:gd name="connsiteY105" fmla="*/ 2044555 h 2457568"/>
                    <a:gd name="connsiteX106" fmla="*/ 297701 w 2368274"/>
                    <a:gd name="connsiteY106" fmla="*/ 2121911 h 2457568"/>
                    <a:gd name="connsiteX107" fmla="*/ 459722 w 2368274"/>
                    <a:gd name="connsiteY107" fmla="*/ 2250838 h 2457568"/>
                    <a:gd name="connsiteX108" fmla="*/ 648091 w 2368274"/>
                    <a:gd name="connsiteY108" fmla="*/ 2353979 h 2457568"/>
                    <a:gd name="connsiteX109" fmla="*/ 752277 w 2368274"/>
                    <a:gd name="connsiteY109" fmla="*/ 2394143 h 2457568"/>
                    <a:gd name="connsiteX110" fmla="*/ 752437 w 2368274"/>
                    <a:gd name="connsiteY110" fmla="*/ 2394223 h 2457568"/>
                    <a:gd name="connsiteX111" fmla="*/ 918315 w 2368274"/>
                    <a:gd name="connsiteY111" fmla="*/ 2425069 h 2457568"/>
                    <a:gd name="connsiteX112" fmla="*/ 916949 w 2368274"/>
                    <a:gd name="connsiteY112" fmla="*/ 2417518 h 2457568"/>
                    <a:gd name="connsiteX113" fmla="*/ 860478 w 2368274"/>
                    <a:gd name="connsiteY113" fmla="*/ 2392376 h 2457568"/>
                    <a:gd name="connsiteX114" fmla="*/ 871564 w 2368274"/>
                    <a:gd name="connsiteY114" fmla="*/ 2392616 h 2457568"/>
                    <a:gd name="connsiteX115" fmla="*/ 850036 w 2368274"/>
                    <a:gd name="connsiteY115" fmla="*/ 2373258 h 2457568"/>
                    <a:gd name="connsiteX116" fmla="*/ 852526 w 2368274"/>
                    <a:gd name="connsiteY116" fmla="*/ 2371731 h 2457568"/>
                    <a:gd name="connsiteX117" fmla="*/ 848108 w 2368274"/>
                    <a:gd name="connsiteY117" fmla="*/ 2367715 h 2457568"/>
                    <a:gd name="connsiteX118" fmla="*/ 848108 w 2368274"/>
                    <a:gd name="connsiteY118" fmla="*/ 2362011 h 2457568"/>
                    <a:gd name="connsiteX119" fmla="*/ 857426 w 2368274"/>
                    <a:gd name="connsiteY119" fmla="*/ 2359120 h 2457568"/>
                    <a:gd name="connsiteX120" fmla="*/ 859675 w 2368274"/>
                    <a:gd name="connsiteY120" fmla="*/ 2354782 h 2457568"/>
                    <a:gd name="connsiteX121" fmla="*/ 856221 w 2368274"/>
                    <a:gd name="connsiteY121" fmla="*/ 2350605 h 2457568"/>
                    <a:gd name="connsiteX122" fmla="*/ 927552 w 2368274"/>
                    <a:gd name="connsiteY122" fmla="*/ 2334620 h 2457568"/>
                    <a:gd name="connsiteX123" fmla="*/ 883613 w 2368274"/>
                    <a:gd name="connsiteY123" fmla="*/ 2350766 h 2457568"/>
                    <a:gd name="connsiteX124" fmla="*/ 903695 w 2368274"/>
                    <a:gd name="connsiteY124" fmla="*/ 2361529 h 2457568"/>
                    <a:gd name="connsiteX125" fmla="*/ 889156 w 2368274"/>
                    <a:gd name="connsiteY125" fmla="*/ 2362735 h 2457568"/>
                    <a:gd name="connsiteX126" fmla="*/ 893252 w 2368274"/>
                    <a:gd name="connsiteY126" fmla="*/ 2367634 h 2457568"/>
                    <a:gd name="connsiteX127" fmla="*/ 872608 w 2368274"/>
                    <a:gd name="connsiteY127" fmla="*/ 2362493 h 2457568"/>
                    <a:gd name="connsiteX128" fmla="*/ 875741 w 2368274"/>
                    <a:gd name="connsiteY128" fmla="*/ 2367153 h 2457568"/>
                    <a:gd name="connsiteX129" fmla="*/ 870359 w 2368274"/>
                    <a:gd name="connsiteY129" fmla="*/ 2376631 h 2457568"/>
                    <a:gd name="connsiteX130" fmla="*/ 911647 w 2368274"/>
                    <a:gd name="connsiteY130" fmla="*/ 2386190 h 2457568"/>
                    <a:gd name="connsiteX131" fmla="*/ 949161 w 2368274"/>
                    <a:gd name="connsiteY131" fmla="*/ 2404505 h 2457568"/>
                    <a:gd name="connsiteX132" fmla="*/ 946108 w 2368274"/>
                    <a:gd name="connsiteY132" fmla="*/ 2403943 h 2457568"/>
                    <a:gd name="connsiteX133" fmla="*/ 972054 w 2368274"/>
                    <a:gd name="connsiteY133" fmla="*/ 2412698 h 2457568"/>
                    <a:gd name="connsiteX134" fmla="*/ 973018 w 2368274"/>
                    <a:gd name="connsiteY134" fmla="*/ 2417438 h 2457568"/>
                    <a:gd name="connsiteX135" fmla="*/ 979685 w 2368274"/>
                    <a:gd name="connsiteY135" fmla="*/ 2417599 h 2457568"/>
                    <a:gd name="connsiteX136" fmla="*/ 974384 w 2368274"/>
                    <a:gd name="connsiteY136" fmla="*/ 2420571 h 2457568"/>
                    <a:gd name="connsiteX137" fmla="*/ 1017921 w 2368274"/>
                    <a:gd name="connsiteY137" fmla="*/ 2431334 h 2457568"/>
                    <a:gd name="connsiteX138" fmla="*/ 996875 w 2368274"/>
                    <a:gd name="connsiteY138" fmla="*/ 2430290 h 2457568"/>
                    <a:gd name="connsiteX139" fmla="*/ 1026436 w 2368274"/>
                    <a:gd name="connsiteY139" fmla="*/ 2439448 h 2457568"/>
                    <a:gd name="connsiteX140" fmla="*/ 1020652 w 2368274"/>
                    <a:gd name="connsiteY140" fmla="*/ 2440251 h 2457568"/>
                    <a:gd name="connsiteX141" fmla="*/ 1025713 w 2368274"/>
                    <a:gd name="connsiteY141" fmla="*/ 2442420 h 2457568"/>
                    <a:gd name="connsiteX142" fmla="*/ 1015913 w 2368274"/>
                    <a:gd name="connsiteY142" fmla="*/ 2443143 h 2457568"/>
                    <a:gd name="connsiteX143" fmla="*/ 1022339 w 2368274"/>
                    <a:gd name="connsiteY143" fmla="*/ 2444107 h 2457568"/>
                    <a:gd name="connsiteX144" fmla="*/ 964262 w 2368274"/>
                    <a:gd name="connsiteY144" fmla="*/ 2444589 h 2457568"/>
                    <a:gd name="connsiteX145" fmla="*/ 993502 w 2368274"/>
                    <a:gd name="connsiteY145" fmla="*/ 2448525 h 2457568"/>
                    <a:gd name="connsiteX146" fmla="*/ 1087405 w 2368274"/>
                    <a:gd name="connsiteY146" fmla="*/ 2456317 h 2457568"/>
                    <a:gd name="connsiteX147" fmla="*/ 1164841 w 2368274"/>
                    <a:gd name="connsiteY147" fmla="*/ 2457281 h 2457568"/>
                    <a:gd name="connsiteX148" fmla="*/ 1185726 w 2368274"/>
                    <a:gd name="connsiteY148" fmla="*/ 2456959 h 2457568"/>
                    <a:gd name="connsiteX149" fmla="*/ 2359961 w 2368274"/>
                    <a:gd name="connsiteY149" fmla="*/ 1239508 h 2457568"/>
                    <a:gd name="connsiteX150" fmla="*/ 2344859 w 2368274"/>
                    <a:gd name="connsiteY150" fmla="*/ 1385304 h 2457568"/>
                    <a:gd name="connsiteX151" fmla="*/ 2338915 w 2368274"/>
                    <a:gd name="connsiteY151" fmla="*/ 1345140 h 2457568"/>
                    <a:gd name="connsiteX152" fmla="*/ 2352892 w 2368274"/>
                    <a:gd name="connsiteY152" fmla="*/ 1259189 h 2457568"/>
                    <a:gd name="connsiteX153" fmla="*/ 2353454 w 2368274"/>
                    <a:gd name="connsiteY153" fmla="*/ 1260393 h 2457568"/>
                    <a:gd name="connsiteX154" fmla="*/ 2358274 w 2368274"/>
                    <a:gd name="connsiteY154" fmla="*/ 1216052 h 2457568"/>
                    <a:gd name="connsiteX155" fmla="*/ 2359961 w 2368274"/>
                    <a:gd name="connsiteY155" fmla="*/ 1239508 h 2457568"/>
                    <a:gd name="connsiteX156" fmla="*/ 1731876 w 2368274"/>
                    <a:gd name="connsiteY156" fmla="*/ 1396871 h 2457568"/>
                    <a:gd name="connsiteX157" fmla="*/ 1734367 w 2368274"/>
                    <a:gd name="connsiteY157" fmla="*/ 1395907 h 2457568"/>
                    <a:gd name="connsiteX158" fmla="*/ 1731876 w 2368274"/>
                    <a:gd name="connsiteY158" fmla="*/ 1396871 h 2457568"/>
                    <a:gd name="connsiteX159" fmla="*/ 2121548 w 2368274"/>
                    <a:gd name="connsiteY159" fmla="*/ 844696 h 2457568"/>
                    <a:gd name="connsiteX160" fmla="*/ 2119379 w 2368274"/>
                    <a:gd name="connsiteY160" fmla="*/ 844937 h 2457568"/>
                    <a:gd name="connsiteX161" fmla="*/ 2121548 w 2368274"/>
                    <a:gd name="connsiteY161" fmla="*/ 844696 h 2457568"/>
                    <a:gd name="connsiteX162" fmla="*/ 2121548 w 2368274"/>
                    <a:gd name="connsiteY162" fmla="*/ 844696 h 2457568"/>
                    <a:gd name="connsiteX163" fmla="*/ 2119379 w 2368274"/>
                    <a:gd name="connsiteY163" fmla="*/ 844857 h 2457568"/>
                    <a:gd name="connsiteX164" fmla="*/ 2118977 w 2368274"/>
                    <a:gd name="connsiteY164" fmla="*/ 844937 h 2457568"/>
                    <a:gd name="connsiteX165" fmla="*/ 2118897 w 2368274"/>
                    <a:gd name="connsiteY165" fmla="*/ 844535 h 2457568"/>
                    <a:gd name="connsiteX166" fmla="*/ 2119379 w 2368274"/>
                    <a:gd name="connsiteY166" fmla="*/ 844857 h 2457568"/>
                    <a:gd name="connsiteX167" fmla="*/ 2119379 w 2368274"/>
                    <a:gd name="connsiteY167" fmla="*/ 844857 h 2457568"/>
                    <a:gd name="connsiteX168" fmla="*/ 1904260 w 2368274"/>
                    <a:gd name="connsiteY168" fmla="*/ 875140 h 2457568"/>
                    <a:gd name="connsiteX169" fmla="*/ 1906590 w 2368274"/>
                    <a:gd name="connsiteY169" fmla="*/ 888716 h 2457568"/>
                    <a:gd name="connsiteX170" fmla="*/ 1906027 w 2368274"/>
                    <a:gd name="connsiteY170" fmla="*/ 889599 h 2457568"/>
                    <a:gd name="connsiteX171" fmla="*/ 1908598 w 2368274"/>
                    <a:gd name="connsiteY171" fmla="*/ 896668 h 2457568"/>
                    <a:gd name="connsiteX172" fmla="*/ 1867390 w 2368274"/>
                    <a:gd name="connsiteY172" fmla="*/ 893295 h 2457568"/>
                    <a:gd name="connsiteX173" fmla="*/ 1882170 w 2368274"/>
                    <a:gd name="connsiteY173" fmla="*/ 889198 h 2457568"/>
                    <a:gd name="connsiteX174" fmla="*/ 1905304 w 2368274"/>
                    <a:gd name="connsiteY174" fmla="*/ 872731 h 2457568"/>
                    <a:gd name="connsiteX175" fmla="*/ 1904260 w 2368274"/>
                    <a:gd name="connsiteY175" fmla="*/ 875140 h 2457568"/>
                    <a:gd name="connsiteX176" fmla="*/ 1928278 w 2368274"/>
                    <a:gd name="connsiteY176" fmla="*/ 833852 h 2457568"/>
                    <a:gd name="connsiteX177" fmla="*/ 1928278 w 2368274"/>
                    <a:gd name="connsiteY177" fmla="*/ 834093 h 2457568"/>
                    <a:gd name="connsiteX178" fmla="*/ 1927154 w 2368274"/>
                    <a:gd name="connsiteY178" fmla="*/ 834013 h 2457568"/>
                    <a:gd name="connsiteX179" fmla="*/ 1928278 w 2368274"/>
                    <a:gd name="connsiteY179" fmla="*/ 833852 h 2457568"/>
                    <a:gd name="connsiteX180" fmla="*/ 1811963 w 2368274"/>
                    <a:gd name="connsiteY180" fmla="*/ 885422 h 2457568"/>
                    <a:gd name="connsiteX181" fmla="*/ 1812606 w 2368274"/>
                    <a:gd name="connsiteY181" fmla="*/ 897150 h 2457568"/>
                    <a:gd name="connsiteX182" fmla="*/ 1810437 w 2368274"/>
                    <a:gd name="connsiteY182" fmla="*/ 901327 h 2457568"/>
                    <a:gd name="connsiteX183" fmla="*/ 1809795 w 2368274"/>
                    <a:gd name="connsiteY183" fmla="*/ 902131 h 2457568"/>
                    <a:gd name="connsiteX184" fmla="*/ 1804011 w 2368274"/>
                    <a:gd name="connsiteY184" fmla="*/ 909601 h 2457568"/>
                    <a:gd name="connsiteX185" fmla="*/ 1796540 w 2368274"/>
                    <a:gd name="connsiteY185" fmla="*/ 900604 h 2457568"/>
                    <a:gd name="connsiteX186" fmla="*/ 1785857 w 2368274"/>
                    <a:gd name="connsiteY186" fmla="*/ 888635 h 2457568"/>
                    <a:gd name="connsiteX187" fmla="*/ 1785455 w 2368274"/>
                    <a:gd name="connsiteY187" fmla="*/ 886467 h 2457568"/>
                    <a:gd name="connsiteX188" fmla="*/ 1805296 w 2368274"/>
                    <a:gd name="connsiteY188" fmla="*/ 876104 h 2457568"/>
                    <a:gd name="connsiteX189" fmla="*/ 1811963 w 2368274"/>
                    <a:gd name="connsiteY189" fmla="*/ 885422 h 2457568"/>
                    <a:gd name="connsiteX190" fmla="*/ 1794452 w 2368274"/>
                    <a:gd name="connsiteY190" fmla="*/ 854416 h 2457568"/>
                    <a:gd name="connsiteX191" fmla="*/ 1796621 w 2368274"/>
                    <a:gd name="connsiteY191" fmla="*/ 873855 h 2457568"/>
                    <a:gd name="connsiteX192" fmla="*/ 1786580 w 2368274"/>
                    <a:gd name="connsiteY192" fmla="*/ 869357 h 2457568"/>
                    <a:gd name="connsiteX193" fmla="*/ 1782081 w 2368274"/>
                    <a:gd name="connsiteY193" fmla="*/ 866304 h 2457568"/>
                    <a:gd name="connsiteX194" fmla="*/ 1783206 w 2368274"/>
                    <a:gd name="connsiteY194" fmla="*/ 864698 h 2457568"/>
                    <a:gd name="connsiteX195" fmla="*/ 1781117 w 2368274"/>
                    <a:gd name="connsiteY195" fmla="*/ 864377 h 2457568"/>
                    <a:gd name="connsiteX196" fmla="*/ 1789311 w 2368274"/>
                    <a:gd name="connsiteY196" fmla="*/ 855058 h 2457568"/>
                    <a:gd name="connsiteX197" fmla="*/ 1794452 w 2368274"/>
                    <a:gd name="connsiteY197" fmla="*/ 854416 h 2457568"/>
                    <a:gd name="connsiteX198" fmla="*/ 2302607 w 2368274"/>
                    <a:gd name="connsiteY198" fmla="*/ 826622 h 2457568"/>
                    <a:gd name="connsiteX199" fmla="*/ 2244208 w 2368274"/>
                    <a:gd name="connsiteY199" fmla="*/ 686370 h 2457568"/>
                    <a:gd name="connsiteX200" fmla="*/ 2244771 w 2368274"/>
                    <a:gd name="connsiteY200" fmla="*/ 687494 h 2457568"/>
                    <a:gd name="connsiteX201" fmla="*/ 2253446 w 2368274"/>
                    <a:gd name="connsiteY201" fmla="*/ 737057 h 2457568"/>
                    <a:gd name="connsiteX202" fmla="*/ 2282284 w 2368274"/>
                    <a:gd name="connsiteY202" fmla="*/ 975631 h 2457568"/>
                    <a:gd name="connsiteX203" fmla="*/ 2268789 w 2368274"/>
                    <a:gd name="connsiteY203" fmla="*/ 952175 h 2457568"/>
                    <a:gd name="connsiteX204" fmla="*/ 2269431 w 2368274"/>
                    <a:gd name="connsiteY204" fmla="*/ 952175 h 2457568"/>
                    <a:gd name="connsiteX205" fmla="*/ 2215130 w 2368274"/>
                    <a:gd name="connsiteY205" fmla="*/ 894740 h 2457568"/>
                    <a:gd name="connsiteX206" fmla="*/ 2215451 w 2368274"/>
                    <a:gd name="connsiteY206" fmla="*/ 894339 h 2457568"/>
                    <a:gd name="connsiteX207" fmla="*/ 2159703 w 2368274"/>
                    <a:gd name="connsiteY207" fmla="*/ 865581 h 2457568"/>
                    <a:gd name="connsiteX208" fmla="*/ 2153759 w 2368274"/>
                    <a:gd name="connsiteY208" fmla="*/ 845740 h 2457568"/>
                    <a:gd name="connsiteX209" fmla="*/ 2155928 w 2368274"/>
                    <a:gd name="connsiteY209" fmla="*/ 865019 h 2457568"/>
                    <a:gd name="connsiteX210" fmla="*/ 2148377 w 2368274"/>
                    <a:gd name="connsiteY210" fmla="*/ 870160 h 2457568"/>
                    <a:gd name="connsiteX211" fmla="*/ 2133115 w 2368274"/>
                    <a:gd name="connsiteY211" fmla="*/ 857790 h 2457568"/>
                    <a:gd name="connsiteX212" fmla="*/ 2212398 w 2368274"/>
                    <a:gd name="connsiteY212" fmla="*/ 927354 h 2457568"/>
                    <a:gd name="connsiteX213" fmla="*/ 2251438 w 2368274"/>
                    <a:gd name="connsiteY213" fmla="*/ 972016 h 2457568"/>
                    <a:gd name="connsiteX214" fmla="*/ 2279392 w 2368274"/>
                    <a:gd name="connsiteY214" fmla="*/ 978201 h 2457568"/>
                    <a:gd name="connsiteX215" fmla="*/ 2279151 w 2368274"/>
                    <a:gd name="connsiteY215" fmla="*/ 976916 h 2457568"/>
                    <a:gd name="connsiteX216" fmla="*/ 2281480 w 2368274"/>
                    <a:gd name="connsiteY216" fmla="*/ 995070 h 2457568"/>
                    <a:gd name="connsiteX217" fmla="*/ 2310479 w 2368274"/>
                    <a:gd name="connsiteY217" fmla="*/ 937073 h 2457568"/>
                    <a:gd name="connsiteX218" fmla="*/ 2309515 w 2368274"/>
                    <a:gd name="connsiteY218" fmla="*/ 1159100 h 2457568"/>
                    <a:gd name="connsiteX219" fmla="*/ 2309113 w 2368274"/>
                    <a:gd name="connsiteY219" fmla="*/ 1159261 h 2457568"/>
                    <a:gd name="connsiteX220" fmla="*/ 2319395 w 2368274"/>
                    <a:gd name="connsiteY220" fmla="*/ 1261839 h 2457568"/>
                    <a:gd name="connsiteX221" fmla="*/ 2320118 w 2368274"/>
                    <a:gd name="connsiteY221" fmla="*/ 1261679 h 2457568"/>
                    <a:gd name="connsiteX222" fmla="*/ 2320680 w 2368274"/>
                    <a:gd name="connsiteY222" fmla="*/ 1281439 h 2457568"/>
                    <a:gd name="connsiteX223" fmla="*/ 2321644 w 2368274"/>
                    <a:gd name="connsiteY223" fmla="*/ 1286580 h 2457568"/>
                    <a:gd name="connsiteX224" fmla="*/ 2114398 w 2368274"/>
                    <a:gd name="connsiteY224" fmla="*/ 1692478 h 2457568"/>
                    <a:gd name="connsiteX225" fmla="*/ 2064675 w 2368274"/>
                    <a:gd name="connsiteY225" fmla="*/ 1591586 h 2457568"/>
                    <a:gd name="connsiteX226" fmla="*/ 2065559 w 2368274"/>
                    <a:gd name="connsiteY226" fmla="*/ 1591586 h 2457568"/>
                    <a:gd name="connsiteX227" fmla="*/ 2035436 w 2368274"/>
                    <a:gd name="connsiteY227" fmla="*/ 1443541 h 2457568"/>
                    <a:gd name="connsiteX228" fmla="*/ 2035034 w 2368274"/>
                    <a:gd name="connsiteY228" fmla="*/ 1445068 h 2457568"/>
                    <a:gd name="connsiteX229" fmla="*/ 2030616 w 2368274"/>
                    <a:gd name="connsiteY229" fmla="*/ 1409402 h 2457568"/>
                    <a:gd name="connsiteX230" fmla="*/ 1965229 w 2368274"/>
                    <a:gd name="connsiteY230" fmla="*/ 1391890 h 2457568"/>
                    <a:gd name="connsiteX231" fmla="*/ 1968362 w 2368274"/>
                    <a:gd name="connsiteY231" fmla="*/ 1391248 h 2457568"/>
                    <a:gd name="connsiteX232" fmla="*/ 1953903 w 2368274"/>
                    <a:gd name="connsiteY232" fmla="*/ 1382572 h 2457568"/>
                    <a:gd name="connsiteX233" fmla="*/ 1961534 w 2368274"/>
                    <a:gd name="connsiteY233" fmla="*/ 1365864 h 2457568"/>
                    <a:gd name="connsiteX234" fmla="*/ 1969727 w 2368274"/>
                    <a:gd name="connsiteY234" fmla="*/ 1364418 h 2457568"/>
                    <a:gd name="connsiteX235" fmla="*/ 1961855 w 2368274"/>
                    <a:gd name="connsiteY235" fmla="*/ 1361526 h 2457568"/>
                    <a:gd name="connsiteX236" fmla="*/ 1960891 w 2368274"/>
                    <a:gd name="connsiteY236" fmla="*/ 1325620 h 2457568"/>
                    <a:gd name="connsiteX237" fmla="*/ 1959928 w 2368274"/>
                    <a:gd name="connsiteY237" fmla="*/ 1323290 h 2457568"/>
                    <a:gd name="connsiteX238" fmla="*/ 1958723 w 2368274"/>
                    <a:gd name="connsiteY238" fmla="*/ 1321282 h 2457568"/>
                    <a:gd name="connsiteX239" fmla="*/ 1958401 w 2368274"/>
                    <a:gd name="connsiteY239" fmla="*/ 1321121 h 2457568"/>
                    <a:gd name="connsiteX240" fmla="*/ 1955429 w 2368274"/>
                    <a:gd name="connsiteY240" fmla="*/ 1322567 h 2457568"/>
                    <a:gd name="connsiteX241" fmla="*/ 1938882 w 2368274"/>
                    <a:gd name="connsiteY241" fmla="*/ 1321443 h 2457568"/>
                    <a:gd name="connsiteX242" fmla="*/ 1892372 w 2368274"/>
                    <a:gd name="connsiteY242" fmla="*/ 1344015 h 2457568"/>
                    <a:gd name="connsiteX243" fmla="*/ 1882491 w 2368274"/>
                    <a:gd name="connsiteY243" fmla="*/ 1333653 h 2457568"/>
                    <a:gd name="connsiteX244" fmla="*/ 1735812 w 2368274"/>
                    <a:gd name="connsiteY244" fmla="*/ 1395184 h 2457568"/>
                    <a:gd name="connsiteX245" fmla="*/ 1735893 w 2368274"/>
                    <a:gd name="connsiteY245" fmla="*/ 1395184 h 2457568"/>
                    <a:gd name="connsiteX246" fmla="*/ 1735893 w 2368274"/>
                    <a:gd name="connsiteY246" fmla="*/ 1395184 h 2457568"/>
                    <a:gd name="connsiteX247" fmla="*/ 1735893 w 2368274"/>
                    <a:gd name="connsiteY247" fmla="*/ 1395184 h 2457568"/>
                    <a:gd name="connsiteX248" fmla="*/ 1735893 w 2368274"/>
                    <a:gd name="connsiteY248" fmla="*/ 1395184 h 2457568"/>
                    <a:gd name="connsiteX249" fmla="*/ 1735893 w 2368274"/>
                    <a:gd name="connsiteY249" fmla="*/ 1395184 h 2457568"/>
                    <a:gd name="connsiteX250" fmla="*/ 1735893 w 2368274"/>
                    <a:gd name="connsiteY250" fmla="*/ 1395184 h 2457568"/>
                    <a:gd name="connsiteX251" fmla="*/ 1735893 w 2368274"/>
                    <a:gd name="connsiteY251" fmla="*/ 1395184 h 2457568"/>
                    <a:gd name="connsiteX252" fmla="*/ 1735893 w 2368274"/>
                    <a:gd name="connsiteY252" fmla="*/ 1395184 h 2457568"/>
                    <a:gd name="connsiteX253" fmla="*/ 1735089 w 2368274"/>
                    <a:gd name="connsiteY253" fmla="*/ 1395505 h 2457568"/>
                    <a:gd name="connsiteX254" fmla="*/ 1631868 w 2368274"/>
                    <a:gd name="connsiteY254" fmla="*/ 1428841 h 2457568"/>
                    <a:gd name="connsiteX255" fmla="*/ 1541097 w 2368274"/>
                    <a:gd name="connsiteY255" fmla="*/ 1418881 h 2457568"/>
                    <a:gd name="connsiteX256" fmla="*/ 1501335 w 2368274"/>
                    <a:gd name="connsiteY256" fmla="*/ 1396469 h 2457568"/>
                    <a:gd name="connsiteX257" fmla="*/ 1492981 w 2368274"/>
                    <a:gd name="connsiteY257" fmla="*/ 1393176 h 2457568"/>
                    <a:gd name="connsiteX258" fmla="*/ 1489929 w 2368274"/>
                    <a:gd name="connsiteY258" fmla="*/ 1395345 h 2457568"/>
                    <a:gd name="connsiteX259" fmla="*/ 1489768 w 2368274"/>
                    <a:gd name="connsiteY259" fmla="*/ 1393738 h 2457568"/>
                    <a:gd name="connsiteX260" fmla="*/ 1489045 w 2368274"/>
                    <a:gd name="connsiteY260" fmla="*/ 1385304 h 2457568"/>
                    <a:gd name="connsiteX261" fmla="*/ 1456271 w 2368274"/>
                    <a:gd name="connsiteY261" fmla="*/ 1384500 h 2457568"/>
                    <a:gd name="connsiteX262" fmla="*/ 1454986 w 2368274"/>
                    <a:gd name="connsiteY262" fmla="*/ 1375745 h 2457568"/>
                    <a:gd name="connsiteX263" fmla="*/ 1463501 w 2368274"/>
                    <a:gd name="connsiteY263" fmla="*/ 1373656 h 2457568"/>
                    <a:gd name="connsiteX264" fmla="*/ 1468722 w 2368274"/>
                    <a:gd name="connsiteY264" fmla="*/ 1371728 h 2457568"/>
                    <a:gd name="connsiteX265" fmla="*/ 1468642 w 2368274"/>
                    <a:gd name="connsiteY265" fmla="*/ 1371728 h 2457568"/>
                    <a:gd name="connsiteX266" fmla="*/ 1468561 w 2368274"/>
                    <a:gd name="connsiteY266" fmla="*/ 1371728 h 2457568"/>
                    <a:gd name="connsiteX267" fmla="*/ 1468481 w 2368274"/>
                    <a:gd name="connsiteY267" fmla="*/ 1371728 h 2457568"/>
                    <a:gd name="connsiteX268" fmla="*/ 1468401 w 2368274"/>
                    <a:gd name="connsiteY268" fmla="*/ 1371728 h 2457568"/>
                    <a:gd name="connsiteX269" fmla="*/ 1468320 w 2368274"/>
                    <a:gd name="connsiteY269" fmla="*/ 1371728 h 2457568"/>
                    <a:gd name="connsiteX270" fmla="*/ 1468240 w 2368274"/>
                    <a:gd name="connsiteY270" fmla="*/ 1371728 h 2457568"/>
                    <a:gd name="connsiteX271" fmla="*/ 1468160 w 2368274"/>
                    <a:gd name="connsiteY271" fmla="*/ 1371728 h 2457568"/>
                    <a:gd name="connsiteX272" fmla="*/ 1452014 w 2368274"/>
                    <a:gd name="connsiteY272" fmla="*/ 1368033 h 2457568"/>
                    <a:gd name="connsiteX273" fmla="*/ 1435707 w 2368274"/>
                    <a:gd name="connsiteY273" fmla="*/ 1362651 h 2457568"/>
                    <a:gd name="connsiteX274" fmla="*/ 1447837 w 2368274"/>
                    <a:gd name="connsiteY274" fmla="*/ 1300156 h 2457568"/>
                    <a:gd name="connsiteX275" fmla="*/ 1445186 w 2368274"/>
                    <a:gd name="connsiteY275" fmla="*/ 1301361 h 2457568"/>
                    <a:gd name="connsiteX276" fmla="*/ 1447435 w 2368274"/>
                    <a:gd name="connsiteY276" fmla="*/ 1292525 h 2457568"/>
                    <a:gd name="connsiteX277" fmla="*/ 1440125 w 2368274"/>
                    <a:gd name="connsiteY277" fmla="*/ 1286821 h 2457568"/>
                    <a:gd name="connsiteX278" fmla="*/ 1439884 w 2368274"/>
                    <a:gd name="connsiteY278" fmla="*/ 1288267 h 2457568"/>
                    <a:gd name="connsiteX279" fmla="*/ 1432173 w 2368274"/>
                    <a:gd name="connsiteY279" fmla="*/ 1284010 h 2457568"/>
                    <a:gd name="connsiteX280" fmla="*/ 1442615 w 2368274"/>
                    <a:gd name="connsiteY280" fmla="*/ 1247862 h 2457568"/>
                    <a:gd name="connsiteX281" fmla="*/ 1594596 w 2368274"/>
                    <a:gd name="connsiteY281" fmla="*/ 1035475 h 2457568"/>
                    <a:gd name="connsiteX282" fmla="*/ 1794131 w 2368274"/>
                    <a:gd name="connsiteY282" fmla="*/ 945588 h 2457568"/>
                    <a:gd name="connsiteX283" fmla="*/ 1792845 w 2368274"/>
                    <a:gd name="connsiteY283" fmla="*/ 944142 h 2457568"/>
                    <a:gd name="connsiteX284" fmla="*/ 1832206 w 2368274"/>
                    <a:gd name="connsiteY284" fmla="*/ 926149 h 2457568"/>
                    <a:gd name="connsiteX285" fmla="*/ 1832206 w 2368274"/>
                    <a:gd name="connsiteY285" fmla="*/ 924382 h 2457568"/>
                    <a:gd name="connsiteX286" fmla="*/ 1840560 w 2368274"/>
                    <a:gd name="connsiteY286" fmla="*/ 926550 h 2457568"/>
                    <a:gd name="connsiteX287" fmla="*/ 1852529 w 2368274"/>
                    <a:gd name="connsiteY287" fmla="*/ 921008 h 2457568"/>
                    <a:gd name="connsiteX288" fmla="*/ 1865703 w 2368274"/>
                    <a:gd name="connsiteY288" fmla="*/ 966875 h 2457568"/>
                    <a:gd name="connsiteX289" fmla="*/ 1874057 w 2368274"/>
                    <a:gd name="connsiteY289" fmla="*/ 965750 h 2457568"/>
                    <a:gd name="connsiteX290" fmla="*/ 1873977 w 2368274"/>
                    <a:gd name="connsiteY290" fmla="*/ 967036 h 2457568"/>
                    <a:gd name="connsiteX291" fmla="*/ 2113033 w 2368274"/>
                    <a:gd name="connsiteY291" fmla="*/ 750231 h 2457568"/>
                    <a:gd name="connsiteX292" fmla="*/ 2051582 w 2368274"/>
                    <a:gd name="connsiteY292" fmla="*/ 806701 h 2457568"/>
                    <a:gd name="connsiteX293" fmla="*/ 2043308 w 2368274"/>
                    <a:gd name="connsiteY293" fmla="*/ 808789 h 2457568"/>
                    <a:gd name="connsiteX294" fmla="*/ 2026760 w 2368274"/>
                    <a:gd name="connsiteY294" fmla="*/ 798026 h 2457568"/>
                    <a:gd name="connsiteX295" fmla="*/ 2026118 w 2368274"/>
                    <a:gd name="connsiteY295" fmla="*/ 788868 h 2457568"/>
                    <a:gd name="connsiteX296" fmla="*/ 2013346 w 2368274"/>
                    <a:gd name="connsiteY296" fmla="*/ 776658 h 2457568"/>
                    <a:gd name="connsiteX297" fmla="*/ 2021138 w 2368274"/>
                    <a:gd name="connsiteY297" fmla="*/ 762038 h 2457568"/>
                    <a:gd name="connsiteX298" fmla="*/ 2029491 w 2368274"/>
                    <a:gd name="connsiteY298" fmla="*/ 757380 h 2457568"/>
                    <a:gd name="connsiteX299" fmla="*/ 2098252 w 2368274"/>
                    <a:gd name="connsiteY299" fmla="*/ 656247 h 2457568"/>
                    <a:gd name="connsiteX300" fmla="*/ 2046842 w 2368274"/>
                    <a:gd name="connsiteY300" fmla="*/ 639378 h 2457568"/>
                    <a:gd name="connsiteX301" fmla="*/ 2051421 w 2368274"/>
                    <a:gd name="connsiteY301" fmla="*/ 631747 h 2457568"/>
                    <a:gd name="connsiteX302" fmla="*/ 2042665 w 2368274"/>
                    <a:gd name="connsiteY302" fmla="*/ 609576 h 2457568"/>
                    <a:gd name="connsiteX303" fmla="*/ 2035115 w 2368274"/>
                    <a:gd name="connsiteY303" fmla="*/ 615601 h 2457568"/>
                    <a:gd name="connsiteX304" fmla="*/ 2030697 w 2368274"/>
                    <a:gd name="connsiteY304" fmla="*/ 642671 h 2457568"/>
                    <a:gd name="connsiteX305" fmla="*/ 2039372 w 2368274"/>
                    <a:gd name="connsiteY305" fmla="*/ 646045 h 2457568"/>
                    <a:gd name="connsiteX306" fmla="*/ 2045718 w 2368274"/>
                    <a:gd name="connsiteY306" fmla="*/ 640020 h 2457568"/>
                    <a:gd name="connsiteX307" fmla="*/ 2024511 w 2368274"/>
                    <a:gd name="connsiteY307" fmla="*/ 667653 h 2457568"/>
                    <a:gd name="connsiteX308" fmla="*/ 2019531 w 2368274"/>
                    <a:gd name="connsiteY308" fmla="*/ 650061 h 2457568"/>
                    <a:gd name="connsiteX309" fmla="*/ 2004188 w 2368274"/>
                    <a:gd name="connsiteY309" fmla="*/ 658737 h 2457568"/>
                    <a:gd name="connsiteX310" fmla="*/ 2007160 w 2368274"/>
                    <a:gd name="connsiteY310" fmla="*/ 650543 h 2457568"/>
                    <a:gd name="connsiteX311" fmla="*/ 1999690 w 2368274"/>
                    <a:gd name="connsiteY311" fmla="*/ 655283 h 2457568"/>
                    <a:gd name="connsiteX312" fmla="*/ 1998164 w 2368274"/>
                    <a:gd name="connsiteY312" fmla="*/ 654078 h 2457568"/>
                    <a:gd name="connsiteX313" fmla="*/ 1997280 w 2368274"/>
                    <a:gd name="connsiteY313" fmla="*/ 700909 h 2457568"/>
                    <a:gd name="connsiteX314" fmla="*/ 2002983 w 2368274"/>
                    <a:gd name="connsiteY314" fmla="*/ 737860 h 2457568"/>
                    <a:gd name="connsiteX315" fmla="*/ 2020495 w 2368274"/>
                    <a:gd name="connsiteY315" fmla="*/ 743724 h 2457568"/>
                    <a:gd name="connsiteX316" fmla="*/ 2011418 w 2368274"/>
                    <a:gd name="connsiteY316" fmla="*/ 772160 h 2457568"/>
                    <a:gd name="connsiteX317" fmla="*/ 1986998 w 2368274"/>
                    <a:gd name="connsiteY317" fmla="*/ 778104 h 2457568"/>
                    <a:gd name="connsiteX318" fmla="*/ 1988765 w 2368274"/>
                    <a:gd name="connsiteY318" fmla="*/ 787101 h 2457568"/>
                    <a:gd name="connsiteX319" fmla="*/ 1984026 w 2368274"/>
                    <a:gd name="connsiteY319" fmla="*/ 793929 h 2457568"/>
                    <a:gd name="connsiteX320" fmla="*/ 1974547 w 2368274"/>
                    <a:gd name="connsiteY320" fmla="*/ 794090 h 2457568"/>
                    <a:gd name="connsiteX321" fmla="*/ 1986195 w 2368274"/>
                    <a:gd name="connsiteY321" fmla="*/ 812083 h 2457568"/>
                    <a:gd name="connsiteX322" fmla="*/ 1999690 w 2368274"/>
                    <a:gd name="connsiteY322" fmla="*/ 827667 h 2457568"/>
                    <a:gd name="connsiteX323" fmla="*/ 1993746 w 2368274"/>
                    <a:gd name="connsiteY323" fmla="*/ 832325 h 2457568"/>
                    <a:gd name="connsiteX324" fmla="*/ 1993665 w 2368274"/>
                    <a:gd name="connsiteY324" fmla="*/ 832325 h 2457568"/>
                    <a:gd name="connsiteX325" fmla="*/ 1993585 w 2368274"/>
                    <a:gd name="connsiteY325" fmla="*/ 832406 h 2457568"/>
                    <a:gd name="connsiteX326" fmla="*/ 1993505 w 2368274"/>
                    <a:gd name="connsiteY326" fmla="*/ 832486 h 2457568"/>
                    <a:gd name="connsiteX327" fmla="*/ 1993424 w 2368274"/>
                    <a:gd name="connsiteY327" fmla="*/ 832567 h 2457568"/>
                    <a:gd name="connsiteX328" fmla="*/ 1993344 w 2368274"/>
                    <a:gd name="connsiteY328" fmla="*/ 832647 h 2457568"/>
                    <a:gd name="connsiteX329" fmla="*/ 1993264 w 2368274"/>
                    <a:gd name="connsiteY329" fmla="*/ 832727 h 2457568"/>
                    <a:gd name="connsiteX330" fmla="*/ 1993183 w 2368274"/>
                    <a:gd name="connsiteY330" fmla="*/ 832808 h 2457568"/>
                    <a:gd name="connsiteX331" fmla="*/ 2000413 w 2368274"/>
                    <a:gd name="connsiteY331" fmla="*/ 840198 h 2457568"/>
                    <a:gd name="connsiteX332" fmla="*/ 1997521 w 2368274"/>
                    <a:gd name="connsiteY332" fmla="*/ 848070 h 2457568"/>
                    <a:gd name="connsiteX333" fmla="*/ 1975350 w 2368274"/>
                    <a:gd name="connsiteY333" fmla="*/ 838190 h 2457568"/>
                    <a:gd name="connsiteX334" fmla="*/ 1991255 w 2368274"/>
                    <a:gd name="connsiteY334" fmla="*/ 826060 h 2457568"/>
                    <a:gd name="connsiteX335" fmla="*/ 1936632 w 2368274"/>
                    <a:gd name="connsiteY335" fmla="*/ 819393 h 2457568"/>
                    <a:gd name="connsiteX336" fmla="*/ 1822004 w 2368274"/>
                    <a:gd name="connsiteY336" fmla="*/ 786298 h 2457568"/>
                    <a:gd name="connsiteX337" fmla="*/ 1814614 w 2368274"/>
                    <a:gd name="connsiteY337" fmla="*/ 791840 h 2457568"/>
                    <a:gd name="connsiteX338" fmla="*/ 1926511 w 2368274"/>
                    <a:gd name="connsiteY338" fmla="*/ 833932 h 2457568"/>
                    <a:gd name="connsiteX339" fmla="*/ 1907875 w 2368274"/>
                    <a:gd name="connsiteY339" fmla="*/ 874578 h 2457568"/>
                    <a:gd name="connsiteX340" fmla="*/ 1717417 w 2368274"/>
                    <a:gd name="connsiteY340" fmla="*/ 873695 h 2457568"/>
                    <a:gd name="connsiteX341" fmla="*/ 1696612 w 2368274"/>
                    <a:gd name="connsiteY341" fmla="*/ 888394 h 2457568"/>
                    <a:gd name="connsiteX342" fmla="*/ 1701512 w 2368274"/>
                    <a:gd name="connsiteY342" fmla="*/ 898195 h 2457568"/>
                    <a:gd name="connsiteX343" fmla="*/ 1669381 w 2368274"/>
                    <a:gd name="connsiteY343" fmla="*/ 934182 h 2457568"/>
                    <a:gd name="connsiteX344" fmla="*/ 1663196 w 2368274"/>
                    <a:gd name="connsiteY344" fmla="*/ 986314 h 2457568"/>
                    <a:gd name="connsiteX345" fmla="*/ 1570739 w 2368274"/>
                    <a:gd name="connsiteY345" fmla="*/ 1029209 h 2457568"/>
                    <a:gd name="connsiteX346" fmla="*/ 1525915 w 2368274"/>
                    <a:gd name="connsiteY346" fmla="*/ 1039813 h 2457568"/>
                    <a:gd name="connsiteX347" fmla="*/ 1519007 w 2368274"/>
                    <a:gd name="connsiteY347" fmla="*/ 1010975 h 2457568"/>
                    <a:gd name="connsiteX348" fmla="*/ 1509930 w 2368274"/>
                    <a:gd name="connsiteY348" fmla="*/ 1010172 h 2457568"/>
                    <a:gd name="connsiteX349" fmla="*/ 1505512 w 2368274"/>
                    <a:gd name="connsiteY349" fmla="*/ 965027 h 2457568"/>
                    <a:gd name="connsiteX350" fmla="*/ 1503343 w 2368274"/>
                    <a:gd name="connsiteY350" fmla="*/ 965429 h 2457568"/>
                    <a:gd name="connsiteX351" fmla="*/ 1504227 w 2368274"/>
                    <a:gd name="connsiteY351" fmla="*/ 963180 h 2457568"/>
                    <a:gd name="connsiteX352" fmla="*/ 1617730 w 2368274"/>
                    <a:gd name="connsiteY352" fmla="*/ 889278 h 2457568"/>
                    <a:gd name="connsiteX353" fmla="*/ 1615963 w 2368274"/>
                    <a:gd name="connsiteY353" fmla="*/ 888635 h 2457568"/>
                    <a:gd name="connsiteX354" fmla="*/ 1615160 w 2368274"/>
                    <a:gd name="connsiteY354" fmla="*/ 890563 h 2457568"/>
                    <a:gd name="connsiteX355" fmla="*/ 1612750 w 2368274"/>
                    <a:gd name="connsiteY355" fmla="*/ 882209 h 2457568"/>
                    <a:gd name="connsiteX356" fmla="*/ 1621666 w 2368274"/>
                    <a:gd name="connsiteY356" fmla="*/ 880201 h 2457568"/>
                    <a:gd name="connsiteX357" fmla="*/ 1611786 w 2368274"/>
                    <a:gd name="connsiteY357" fmla="*/ 873534 h 2457568"/>
                    <a:gd name="connsiteX358" fmla="*/ 1593311 w 2368274"/>
                    <a:gd name="connsiteY358" fmla="*/ 864136 h 2457568"/>
                    <a:gd name="connsiteX359" fmla="*/ 714442 w 2368274"/>
                    <a:gd name="connsiteY359" fmla="*/ 1020775 h 2457568"/>
                    <a:gd name="connsiteX360" fmla="*/ 742637 w 2368274"/>
                    <a:gd name="connsiteY360" fmla="*/ 1570460 h 2457568"/>
                    <a:gd name="connsiteX361" fmla="*/ 756132 w 2368274"/>
                    <a:gd name="connsiteY361" fmla="*/ 1575761 h 2457568"/>
                    <a:gd name="connsiteX362" fmla="*/ 769708 w 2368274"/>
                    <a:gd name="connsiteY362" fmla="*/ 1644924 h 2457568"/>
                    <a:gd name="connsiteX363" fmla="*/ 758382 w 2368274"/>
                    <a:gd name="connsiteY363" fmla="*/ 1649663 h 2457568"/>
                    <a:gd name="connsiteX364" fmla="*/ 819029 w 2368274"/>
                    <a:gd name="connsiteY364" fmla="*/ 1647655 h 2457568"/>
                    <a:gd name="connsiteX365" fmla="*/ 821439 w 2368274"/>
                    <a:gd name="connsiteY365" fmla="*/ 1656732 h 2457568"/>
                    <a:gd name="connsiteX366" fmla="*/ 843449 w 2368274"/>
                    <a:gd name="connsiteY366" fmla="*/ 1644442 h 2457568"/>
                    <a:gd name="connsiteX367" fmla="*/ 847546 w 2368274"/>
                    <a:gd name="connsiteY367" fmla="*/ 1636409 h 2457568"/>
                    <a:gd name="connsiteX368" fmla="*/ 913013 w 2368274"/>
                    <a:gd name="connsiteY368" fmla="*/ 1640345 h 2457568"/>
                    <a:gd name="connsiteX369" fmla="*/ 915744 w 2368274"/>
                    <a:gd name="connsiteY369" fmla="*/ 1642674 h 2457568"/>
                    <a:gd name="connsiteX370" fmla="*/ 918154 w 2368274"/>
                    <a:gd name="connsiteY370" fmla="*/ 1641871 h 2457568"/>
                    <a:gd name="connsiteX371" fmla="*/ 919118 w 2368274"/>
                    <a:gd name="connsiteY371" fmla="*/ 1649100 h 2457568"/>
                    <a:gd name="connsiteX372" fmla="*/ 919359 w 2368274"/>
                    <a:gd name="connsiteY372" fmla="*/ 1658659 h 2457568"/>
                    <a:gd name="connsiteX373" fmla="*/ 925223 w 2368274"/>
                    <a:gd name="connsiteY373" fmla="*/ 1651993 h 2457568"/>
                    <a:gd name="connsiteX374" fmla="*/ 1072946 w 2368274"/>
                    <a:gd name="connsiteY374" fmla="*/ 1656812 h 2457568"/>
                    <a:gd name="connsiteX375" fmla="*/ 1104515 w 2368274"/>
                    <a:gd name="connsiteY375" fmla="*/ 1719147 h 2457568"/>
                    <a:gd name="connsiteX376" fmla="*/ 1084915 w 2368274"/>
                    <a:gd name="connsiteY376" fmla="*/ 1732321 h 2457568"/>
                    <a:gd name="connsiteX377" fmla="*/ 1056880 w 2368274"/>
                    <a:gd name="connsiteY377" fmla="*/ 1753527 h 2457568"/>
                    <a:gd name="connsiteX378" fmla="*/ 1056880 w 2368274"/>
                    <a:gd name="connsiteY378" fmla="*/ 1767102 h 2457568"/>
                    <a:gd name="connsiteX379" fmla="*/ 901687 w 2368274"/>
                    <a:gd name="connsiteY379" fmla="*/ 1903097 h 2457568"/>
                    <a:gd name="connsiteX380" fmla="*/ 903293 w 2368274"/>
                    <a:gd name="connsiteY380" fmla="*/ 1903339 h 2457568"/>
                    <a:gd name="connsiteX381" fmla="*/ 898554 w 2368274"/>
                    <a:gd name="connsiteY381" fmla="*/ 1906311 h 2457568"/>
                    <a:gd name="connsiteX382" fmla="*/ 889959 w 2368274"/>
                    <a:gd name="connsiteY382" fmla="*/ 1907757 h 2457568"/>
                    <a:gd name="connsiteX383" fmla="*/ 851080 w 2368274"/>
                    <a:gd name="connsiteY383" fmla="*/ 1980052 h 2457568"/>
                    <a:gd name="connsiteX384" fmla="*/ 862487 w 2368274"/>
                    <a:gd name="connsiteY384" fmla="*/ 1966798 h 2457568"/>
                    <a:gd name="connsiteX385" fmla="*/ 851964 w 2368274"/>
                    <a:gd name="connsiteY385" fmla="*/ 1960452 h 2457568"/>
                    <a:gd name="connsiteX386" fmla="*/ 852767 w 2368274"/>
                    <a:gd name="connsiteY386" fmla="*/ 1967440 h 2457568"/>
                    <a:gd name="connsiteX387" fmla="*/ 834533 w 2368274"/>
                    <a:gd name="connsiteY387" fmla="*/ 1990976 h 2457568"/>
                    <a:gd name="connsiteX388" fmla="*/ 903534 w 2368274"/>
                    <a:gd name="connsiteY388" fmla="*/ 2184166 h 2457568"/>
                    <a:gd name="connsiteX389" fmla="*/ 1928760 w 2368274"/>
                    <a:gd name="connsiteY389" fmla="*/ 1966396 h 2457568"/>
                    <a:gd name="connsiteX390" fmla="*/ 2271198 w 2368274"/>
                    <a:gd name="connsiteY390" fmla="*/ 1710150 h 2457568"/>
                    <a:gd name="connsiteX391" fmla="*/ 2330079 w 2368274"/>
                    <a:gd name="connsiteY391" fmla="*/ 1537605 h 2457568"/>
                    <a:gd name="connsiteX392" fmla="*/ 2364861 w 2368274"/>
                    <a:gd name="connsiteY392" fmla="*/ 1335340 h 2457568"/>
                    <a:gd name="connsiteX393" fmla="*/ 2353213 w 2368274"/>
                    <a:gd name="connsiteY393" fmla="*/ 1030977 h 2457568"/>
                    <a:gd name="connsiteX394" fmla="*/ 2302607 w 2368274"/>
                    <a:gd name="connsiteY394" fmla="*/ 826622 h 2457568"/>
                    <a:gd name="connsiteX395" fmla="*/ 1704565 w 2368274"/>
                    <a:gd name="connsiteY395" fmla="*/ 157329 h 2457568"/>
                    <a:gd name="connsiteX396" fmla="*/ 1701512 w 2368274"/>
                    <a:gd name="connsiteY396" fmla="*/ 156606 h 2457568"/>
                    <a:gd name="connsiteX397" fmla="*/ 1713883 w 2368274"/>
                    <a:gd name="connsiteY397" fmla="*/ 162310 h 2457568"/>
                    <a:gd name="connsiteX398" fmla="*/ 1704565 w 2368274"/>
                    <a:gd name="connsiteY398" fmla="*/ 157329 h 2457568"/>
                    <a:gd name="connsiteX399" fmla="*/ 533544 w 2368274"/>
                    <a:gd name="connsiteY399" fmla="*/ 989447 h 2457568"/>
                    <a:gd name="connsiteX400" fmla="*/ 528804 w 2368274"/>
                    <a:gd name="connsiteY400" fmla="*/ 989527 h 2457568"/>
                    <a:gd name="connsiteX401" fmla="*/ 529045 w 2368274"/>
                    <a:gd name="connsiteY401" fmla="*/ 988644 h 2457568"/>
                    <a:gd name="connsiteX402" fmla="*/ 533624 w 2368274"/>
                    <a:gd name="connsiteY402" fmla="*/ 989447 h 2457568"/>
                    <a:gd name="connsiteX403" fmla="*/ 533544 w 2368274"/>
                    <a:gd name="connsiteY403" fmla="*/ 989447 h 2457568"/>
                    <a:gd name="connsiteX404" fmla="*/ 400681 w 2368274"/>
                    <a:gd name="connsiteY404" fmla="*/ 676650 h 2457568"/>
                    <a:gd name="connsiteX405" fmla="*/ 335856 w 2368274"/>
                    <a:gd name="connsiteY405" fmla="*/ 664199 h 2457568"/>
                    <a:gd name="connsiteX406" fmla="*/ 379555 w 2368274"/>
                    <a:gd name="connsiteY406" fmla="*/ 615199 h 2457568"/>
                    <a:gd name="connsiteX407" fmla="*/ 398994 w 2368274"/>
                    <a:gd name="connsiteY407" fmla="*/ 663958 h 2457568"/>
                    <a:gd name="connsiteX408" fmla="*/ 403252 w 2368274"/>
                    <a:gd name="connsiteY408" fmla="*/ 672634 h 2457568"/>
                    <a:gd name="connsiteX409" fmla="*/ 405581 w 2368274"/>
                    <a:gd name="connsiteY409" fmla="*/ 676570 h 2457568"/>
                    <a:gd name="connsiteX410" fmla="*/ 400681 w 2368274"/>
                    <a:gd name="connsiteY410" fmla="*/ 676650 h 2457568"/>
                    <a:gd name="connsiteX411" fmla="*/ 349753 w 2368274"/>
                    <a:gd name="connsiteY411" fmla="*/ 518886 h 2457568"/>
                    <a:gd name="connsiteX412" fmla="*/ 339873 w 2368274"/>
                    <a:gd name="connsiteY412" fmla="*/ 501294 h 2457568"/>
                    <a:gd name="connsiteX413" fmla="*/ 347022 w 2368274"/>
                    <a:gd name="connsiteY413" fmla="*/ 494787 h 2457568"/>
                    <a:gd name="connsiteX414" fmla="*/ 348709 w 2368274"/>
                    <a:gd name="connsiteY414" fmla="*/ 492538 h 2457568"/>
                    <a:gd name="connsiteX415" fmla="*/ 348789 w 2368274"/>
                    <a:gd name="connsiteY415" fmla="*/ 496555 h 2457568"/>
                    <a:gd name="connsiteX416" fmla="*/ 358188 w 2368274"/>
                    <a:gd name="connsiteY416" fmla="*/ 491414 h 2457568"/>
                    <a:gd name="connsiteX417" fmla="*/ 354493 w 2368274"/>
                    <a:gd name="connsiteY417" fmla="*/ 508282 h 2457568"/>
                    <a:gd name="connsiteX418" fmla="*/ 350878 w 2368274"/>
                    <a:gd name="connsiteY418" fmla="*/ 518886 h 2457568"/>
                    <a:gd name="connsiteX419" fmla="*/ 349753 w 2368274"/>
                    <a:gd name="connsiteY419" fmla="*/ 518886 h 2457568"/>
                    <a:gd name="connsiteX420" fmla="*/ 295933 w 2368274"/>
                    <a:gd name="connsiteY420" fmla="*/ 368914 h 2457568"/>
                    <a:gd name="connsiteX421" fmla="*/ 295050 w 2368274"/>
                    <a:gd name="connsiteY421" fmla="*/ 369074 h 2457568"/>
                    <a:gd name="connsiteX422" fmla="*/ 296014 w 2368274"/>
                    <a:gd name="connsiteY422" fmla="*/ 368753 h 2457568"/>
                    <a:gd name="connsiteX423" fmla="*/ 295933 w 2368274"/>
                    <a:gd name="connsiteY423" fmla="*/ 368914 h 2457568"/>
                    <a:gd name="connsiteX424" fmla="*/ 440524 w 2368274"/>
                    <a:gd name="connsiteY424" fmla="*/ 403776 h 2457568"/>
                    <a:gd name="connsiteX425" fmla="*/ 436186 w 2368274"/>
                    <a:gd name="connsiteY425" fmla="*/ 407792 h 2457568"/>
                    <a:gd name="connsiteX426" fmla="*/ 442130 w 2368274"/>
                    <a:gd name="connsiteY426" fmla="*/ 401527 h 2457568"/>
                    <a:gd name="connsiteX427" fmla="*/ 440524 w 2368274"/>
                    <a:gd name="connsiteY427" fmla="*/ 403776 h 2457568"/>
                    <a:gd name="connsiteX428" fmla="*/ 572101 w 2368274"/>
                    <a:gd name="connsiteY428" fmla="*/ 443136 h 2457568"/>
                    <a:gd name="connsiteX429" fmla="*/ 554268 w 2368274"/>
                    <a:gd name="connsiteY429" fmla="*/ 447153 h 2457568"/>
                    <a:gd name="connsiteX430" fmla="*/ 549208 w 2368274"/>
                    <a:gd name="connsiteY430" fmla="*/ 424340 h 2457568"/>
                    <a:gd name="connsiteX431" fmla="*/ 575154 w 2368274"/>
                    <a:gd name="connsiteY431" fmla="*/ 439361 h 2457568"/>
                    <a:gd name="connsiteX432" fmla="*/ 575314 w 2368274"/>
                    <a:gd name="connsiteY432" fmla="*/ 441610 h 2457568"/>
                    <a:gd name="connsiteX433" fmla="*/ 572101 w 2368274"/>
                    <a:gd name="connsiteY433" fmla="*/ 443136 h 2457568"/>
                    <a:gd name="connsiteX434" fmla="*/ 643513 w 2368274"/>
                    <a:gd name="connsiteY434" fmla="*/ 625240 h 2457568"/>
                    <a:gd name="connsiteX435" fmla="*/ 640380 w 2368274"/>
                    <a:gd name="connsiteY435" fmla="*/ 627810 h 2457568"/>
                    <a:gd name="connsiteX436" fmla="*/ 637488 w 2368274"/>
                    <a:gd name="connsiteY436" fmla="*/ 628614 h 2457568"/>
                    <a:gd name="connsiteX437" fmla="*/ 640942 w 2368274"/>
                    <a:gd name="connsiteY437" fmla="*/ 634478 h 2457568"/>
                    <a:gd name="connsiteX438" fmla="*/ 639496 w 2368274"/>
                    <a:gd name="connsiteY438" fmla="*/ 636004 h 2457568"/>
                    <a:gd name="connsiteX439" fmla="*/ 631865 w 2368274"/>
                    <a:gd name="connsiteY439" fmla="*/ 634638 h 2457568"/>
                    <a:gd name="connsiteX440" fmla="*/ 630500 w 2368274"/>
                    <a:gd name="connsiteY440" fmla="*/ 635683 h 2457568"/>
                    <a:gd name="connsiteX441" fmla="*/ 634918 w 2368274"/>
                    <a:gd name="connsiteY441" fmla="*/ 643555 h 2457568"/>
                    <a:gd name="connsiteX442" fmla="*/ 627367 w 2368274"/>
                    <a:gd name="connsiteY442" fmla="*/ 643956 h 2457568"/>
                    <a:gd name="connsiteX443" fmla="*/ 624796 w 2368274"/>
                    <a:gd name="connsiteY443" fmla="*/ 651587 h 2457568"/>
                    <a:gd name="connsiteX444" fmla="*/ 614916 w 2368274"/>
                    <a:gd name="connsiteY444" fmla="*/ 648615 h 2457568"/>
                    <a:gd name="connsiteX445" fmla="*/ 613631 w 2368274"/>
                    <a:gd name="connsiteY445" fmla="*/ 652552 h 2457568"/>
                    <a:gd name="connsiteX446" fmla="*/ 615639 w 2368274"/>
                    <a:gd name="connsiteY446" fmla="*/ 653355 h 2457568"/>
                    <a:gd name="connsiteX447" fmla="*/ 607606 w 2368274"/>
                    <a:gd name="connsiteY447" fmla="*/ 669742 h 2457568"/>
                    <a:gd name="connsiteX448" fmla="*/ 602626 w 2368274"/>
                    <a:gd name="connsiteY448" fmla="*/ 665806 h 2457568"/>
                    <a:gd name="connsiteX449" fmla="*/ 600778 w 2368274"/>
                    <a:gd name="connsiteY449" fmla="*/ 664279 h 2457568"/>
                    <a:gd name="connsiteX450" fmla="*/ 602867 w 2368274"/>
                    <a:gd name="connsiteY450" fmla="*/ 658014 h 2457568"/>
                    <a:gd name="connsiteX451" fmla="*/ 597244 w 2368274"/>
                    <a:gd name="connsiteY451" fmla="*/ 664761 h 2457568"/>
                    <a:gd name="connsiteX452" fmla="*/ 601501 w 2368274"/>
                    <a:gd name="connsiteY452" fmla="*/ 639538 h 2457568"/>
                    <a:gd name="connsiteX453" fmla="*/ 592585 w 2368274"/>
                    <a:gd name="connsiteY453" fmla="*/ 642912 h 2457568"/>
                    <a:gd name="connsiteX454" fmla="*/ 592344 w 2368274"/>
                    <a:gd name="connsiteY454" fmla="*/ 637851 h 2457568"/>
                    <a:gd name="connsiteX455" fmla="*/ 580134 w 2368274"/>
                    <a:gd name="connsiteY455" fmla="*/ 626686 h 2457568"/>
                    <a:gd name="connsiteX456" fmla="*/ 579652 w 2368274"/>
                    <a:gd name="connsiteY456" fmla="*/ 628373 h 2457568"/>
                    <a:gd name="connsiteX457" fmla="*/ 576278 w 2368274"/>
                    <a:gd name="connsiteY457" fmla="*/ 627730 h 2457568"/>
                    <a:gd name="connsiteX458" fmla="*/ 574591 w 2368274"/>
                    <a:gd name="connsiteY458" fmla="*/ 633675 h 2457568"/>
                    <a:gd name="connsiteX459" fmla="*/ 569932 w 2368274"/>
                    <a:gd name="connsiteY459" fmla="*/ 630301 h 2457568"/>
                    <a:gd name="connsiteX460" fmla="*/ 569852 w 2368274"/>
                    <a:gd name="connsiteY460" fmla="*/ 641707 h 2457568"/>
                    <a:gd name="connsiteX461" fmla="*/ 556517 w 2368274"/>
                    <a:gd name="connsiteY461" fmla="*/ 635763 h 2457568"/>
                    <a:gd name="connsiteX462" fmla="*/ 568968 w 2368274"/>
                    <a:gd name="connsiteY462" fmla="*/ 655524 h 2457568"/>
                    <a:gd name="connsiteX463" fmla="*/ 565675 w 2368274"/>
                    <a:gd name="connsiteY463" fmla="*/ 657612 h 2457568"/>
                    <a:gd name="connsiteX464" fmla="*/ 569450 w 2368274"/>
                    <a:gd name="connsiteY464" fmla="*/ 669581 h 2457568"/>
                    <a:gd name="connsiteX465" fmla="*/ 571217 w 2368274"/>
                    <a:gd name="connsiteY465" fmla="*/ 666368 h 2457568"/>
                    <a:gd name="connsiteX466" fmla="*/ 584311 w 2368274"/>
                    <a:gd name="connsiteY466" fmla="*/ 674401 h 2457568"/>
                    <a:gd name="connsiteX467" fmla="*/ 584311 w 2368274"/>
                    <a:gd name="connsiteY467" fmla="*/ 676489 h 2457568"/>
                    <a:gd name="connsiteX468" fmla="*/ 580937 w 2368274"/>
                    <a:gd name="connsiteY468" fmla="*/ 678738 h 2457568"/>
                    <a:gd name="connsiteX469" fmla="*/ 585516 w 2368274"/>
                    <a:gd name="connsiteY469" fmla="*/ 680666 h 2457568"/>
                    <a:gd name="connsiteX470" fmla="*/ 578768 w 2368274"/>
                    <a:gd name="connsiteY470" fmla="*/ 683237 h 2457568"/>
                    <a:gd name="connsiteX471" fmla="*/ 585917 w 2368274"/>
                    <a:gd name="connsiteY471" fmla="*/ 692876 h 2457568"/>
                    <a:gd name="connsiteX472" fmla="*/ 589452 w 2368274"/>
                    <a:gd name="connsiteY472" fmla="*/ 698017 h 2457568"/>
                    <a:gd name="connsiteX473" fmla="*/ 587363 w 2368274"/>
                    <a:gd name="connsiteY473" fmla="*/ 698499 h 2457568"/>
                    <a:gd name="connsiteX474" fmla="*/ 585034 w 2368274"/>
                    <a:gd name="connsiteY474" fmla="*/ 706853 h 2457568"/>
                    <a:gd name="connsiteX475" fmla="*/ 583106 w 2368274"/>
                    <a:gd name="connsiteY475" fmla="*/ 706371 h 2457568"/>
                    <a:gd name="connsiteX476" fmla="*/ 580054 w 2368274"/>
                    <a:gd name="connsiteY476" fmla="*/ 696330 h 2457568"/>
                    <a:gd name="connsiteX477" fmla="*/ 575635 w 2368274"/>
                    <a:gd name="connsiteY477" fmla="*/ 714886 h 2457568"/>
                    <a:gd name="connsiteX478" fmla="*/ 562542 w 2368274"/>
                    <a:gd name="connsiteY478" fmla="*/ 710709 h 2457568"/>
                    <a:gd name="connsiteX479" fmla="*/ 561578 w 2368274"/>
                    <a:gd name="connsiteY479" fmla="*/ 712476 h 2457568"/>
                    <a:gd name="connsiteX480" fmla="*/ 559650 w 2368274"/>
                    <a:gd name="connsiteY480" fmla="*/ 711593 h 2457568"/>
                    <a:gd name="connsiteX481" fmla="*/ 558606 w 2368274"/>
                    <a:gd name="connsiteY481" fmla="*/ 707737 h 2457568"/>
                    <a:gd name="connsiteX482" fmla="*/ 546476 w 2368274"/>
                    <a:gd name="connsiteY482" fmla="*/ 695125 h 2457568"/>
                    <a:gd name="connsiteX483" fmla="*/ 546396 w 2368274"/>
                    <a:gd name="connsiteY483" fmla="*/ 702355 h 2457568"/>
                    <a:gd name="connsiteX484" fmla="*/ 543424 w 2368274"/>
                    <a:gd name="connsiteY484" fmla="*/ 696652 h 2457568"/>
                    <a:gd name="connsiteX485" fmla="*/ 560213 w 2368274"/>
                    <a:gd name="connsiteY485" fmla="*/ 730871 h 2457568"/>
                    <a:gd name="connsiteX486" fmla="*/ 557240 w 2368274"/>
                    <a:gd name="connsiteY486" fmla="*/ 735932 h 2457568"/>
                    <a:gd name="connsiteX487" fmla="*/ 496512 w 2368274"/>
                    <a:gd name="connsiteY487" fmla="*/ 700266 h 2457568"/>
                    <a:gd name="connsiteX488" fmla="*/ 503501 w 2368274"/>
                    <a:gd name="connsiteY488" fmla="*/ 695125 h 2457568"/>
                    <a:gd name="connsiteX489" fmla="*/ 496994 w 2368274"/>
                    <a:gd name="connsiteY489" fmla="*/ 687093 h 2457568"/>
                    <a:gd name="connsiteX490" fmla="*/ 490327 w 2368274"/>
                    <a:gd name="connsiteY490" fmla="*/ 669581 h 2457568"/>
                    <a:gd name="connsiteX491" fmla="*/ 473940 w 2368274"/>
                    <a:gd name="connsiteY491" fmla="*/ 662512 h 2457568"/>
                    <a:gd name="connsiteX492" fmla="*/ 443817 w 2368274"/>
                    <a:gd name="connsiteY492" fmla="*/ 659942 h 2457568"/>
                    <a:gd name="connsiteX493" fmla="*/ 468558 w 2368274"/>
                    <a:gd name="connsiteY493" fmla="*/ 660584 h 2457568"/>
                    <a:gd name="connsiteX494" fmla="*/ 495629 w 2368274"/>
                    <a:gd name="connsiteY494" fmla="*/ 647973 h 2457568"/>
                    <a:gd name="connsiteX495" fmla="*/ 530170 w 2368274"/>
                    <a:gd name="connsiteY495" fmla="*/ 576722 h 2457568"/>
                    <a:gd name="connsiteX496" fmla="*/ 523503 w 2368274"/>
                    <a:gd name="connsiteY496" fmla="*/ 558246 h 2457568"/>
                    <a:gd name="connsiteX497" fmla="*/ 507598 w 2368274"/>
                    <a:gd name="connsiteY497" fmla="*/ 509327 h 2457568"/>
                    <a:gd name="connsiteX498" fmla="*/ 476671 w 2368274"/>
                    <a:gd name="connsiteY498" fmla="*/ 518805 h 2457568"/>
                    <a:gd name="connsiteX499" fmla="*/ 476993 w 2368274"/>
                    <a:gd name="connsiteY499" fmla="*/ 529810 h 2457568"/>
                    <a:gd name="connsiteX500" fmla="*/ 444701 w 2368274"/>
                    <a:gd name="connsiteY500" fmla="*/ 499687 h 2457568"/>
                    <a:gd name="connsiteX501" fmla="*/ 436989 w 2368274"/>
                    <a:gd name="connsiteY501" fmla="*/ 502017 h 2457568"/>
                    <a:gd name="connsiteX502" fmla="*/ 434499 w 2368274"/>
                    <a:gd name="connsiteY502" fmla="*/ 477115 h 2457568"/>
                    <a:gd name="connsiteX503" fmla="*/ 443175 w 2368274"/>
                    <a:gd name="connsiteY503" fmla="*/ 482417 h 2457568"/>
                    <a:gd name="connsiteX504" fmla="*/ 448958 w 2368274"/>
                    <a:gd name="connsiteY504" fmla="*/ 483381 h 2457568"/>
                    <a:gd name="connsiteX505" fmla="*/ 514667 w 2368274"/>
                    <a:gd name="connsiteY505" fmla="*/ 407390 h 2457568"/>
                    <a:gd name="connsiteX506" fmla="*/ 525671 w 2368274"/>
                    <a:gd name="connsiteY506" fmla="*/ 408113 h 2457568"/>
                    <a:gd name="connsiteX507" fmla="*/ 453698 w 2368274"/>
                    <a:gd name="connsiteY507" fmla="*/ 485309 h 2457568"/>
                    <a:gd name="connsiteX508" fmla="*/ 466791 w 2368274"/>
                    <a:gd name="connsiteY508" fmla="*/ 483863 h 2457568"/>
                    <a:gd name="connsiteX509" fmla="*/ 491934 w 2368274"/>
                    <a:gd name="connsiteY509" fmla="*/ 460568 h 2457568"/>
                    <a:gd name="connsiteX510" fmla="*/ 496432 w 2368274"/>
                    <a:gd name="connsiteY510" fmla="*/ 450527 h 2457568"/>
                    <a:gd name="connsiteX511" fmla="*/ 507598 w 2368274"/>
                    <a:gd name="connsiteY511" fmla="*/ 438879 h 2457568"/>
                    <a:gd name="connsiteX512" fmla="*/ 542219 w 2368274"/>
                    <a:gd name="connsiteY512" fmla="*/ 422733 h 2457568"/>
                    <a:gd name="connsiteX513" fmla="*/ 527599 w 2368274"/>
                    <a:gd name="connsiteY513" fmla="*/ 451410 h 2457568"/>
                    <a:gd name="connsiteX514" fmla="*/ 519085 w 2368274"/>
                    <a:gd name="connsiteY514" fmla="*/ 464905 h 2457568"/>
                    <a:gd name="connsiteX515" fmla="*/ 528804 w 2368274"/>
                    <a:gd name="connsiteY515" fmla="*/ 464022 h 2457568"/>
                    <a:gd name="connsiteX516" fmla="*/ 536837 w 2368274"/>
                    <a:gd name="connsiteY516" fmla="*/ 458238 h 2457568"/>
                    <a:gd name="connsiteX517" fmla="*/ 533865 w 2368274"/>
                    <a:gd name="connsiteY517" fmla="*/ 474464 h 2457568"/>
                    <a:gd name="connsiteX518" fmla="*/ 541657 w 2368274"/>
                    <a:gd name="connsiteY518" fmla="*/ 460809 h 2457568"/>
                    <a:gd name="connsiteX519" fmla="*/ 548083 w 2368274"/>
                    <a:gd name="connsiteY519" fmla="*/ 467395 h 2457568"/>
                    <a:gd name="connsiteX520" fmla="*/ 563104 w 2368274"/>
                    <a:gd name="connsiteY520" fmla="*/ 455266 h 2457568"/>
                    <a:gd name="connsiteX521" fmla="*/ 553626 w 2368274"/>
                    <a:gd name="connsiteY521" fmla="*/ 482578 h 2457568"/>
                    <a:gd name="connsiteX522" fmla="*/ 571217 w 2368274"/>
                    <a:gd name="connsiteY522" fmla="*/ 475187 h 2457568"/>
                    <a:gd name="connsiteX523" fmla="*/ 559811 w 2368274"/>
                    <a:gd name="connsiteY523" fmla="*/ 483702 h 2457568"/>
                    <a:gd name="connsiteX524" fmla="*/ 562944 w 2368274"/>
                    <a:gd name="connsiteY524" fmla="*/ 485309 h 2457568"/>
                    <a:gd name="connsiteX525" fmla="*/ 553626 w 2368274"/>
                    <a:gd name="connsiteY525" fmla="*/ 497920 h 2457568"/>
                    <a:gd name="connsiteX526" fmla="*/ 570013 w 2368274"/>
                    <a:gd name="connsiteY526" fmla="*/ 484184 h 2457568"/>
                    <a:gd name="connsiteX527" fmla="*/ 563827 w 2368274"/>
                    <a:gd name="connsiteY527" fmla="*/ 493582 h 2457568"/>
                    <a:gd name="connsiteX528" fmla="*/ 571057 w 2368274"/>
                    <a:gd name="connsiteY528" fmla="*/ 489004 h 2457568"/>
                    <a:gd name="connsiteX529" fmla="*/ 571137 w 2368274"/>
                    <a:gd name="connsiteY529" fmla="*/ 498161 h 2457568"/>
                    <a:gd name="connsiteX530" fmla="*/ 579732 w 2368274"/>
                    <a:gd name="connsiteY530" fmla="*/ 487236 h 2457568"/>
                    <a:gd name="connsiteX531" fmla="*/ 569450 w 2368274"/>
                    <a:gd name="connsiteY531" fmla="*/ 511415 h 2457568"/>
                    <a:gd name="connsiteX532" fmla="*/ 588327 w 2368274"/>
                    <a:gd name="connsiteY532" fmla="*/ 508684 h 2457568"/>
                    <a:gd name="connsiteX533" fmla="*/ 570816 w 2368274"/>
                    <a:gd name="connsiteY533" fmla="*/ 523224 h 2457568"/>
                    <a:gd name="connsiteX534" fmla="*/ 575876 w 2368274"/>
                    <a:gd name="connsiteY534" fmla="*/ 521215 h 2457568"/>
                    <a:gd name="connsiteX535" fmla="*/ 577081 w 2368274"/>
                    <a:gd name="connsiteY535" fmla="*/ 522742 h 2457568"/>
                    <a:gd name="connsiteX536" fmla="*/ 571217 w 2368274"/>
                    <a:gd name="connsiteY536" fmla="*/ 532060 h 2457568"/>
                    <a:gd name="connsiteX537" fmla="*/ 606562 w 2368274"/>
                    <a:gd name="connsiteY537" fmla="*/ 521697 h 2457568"/>
                    <a:gd name="connsiteX538" fmla="*/ 606562 w 2368274"/>
                    <a:gd name="connsiteY538" fmla="*/ 523705 h 2457568"/>
                    <a:gd name="connsiteX539" fmla="*/ 590577 w 2368274"/>
                    <a:gd name="connsiteY539" fmla="*/ 531658 h 2457568"/>
                    <a:gd name="connsiteX540" fmla="*/ 594593 w 2368274"/>
                    <a:gd name="connsiteY540" fmla="*/ 535674 h 2457568"/>
                    <a:gd name="connsiteX541" fmla="*/ 593388 w 2368274"/>
                    <a:gd name="connsiteY541" fmla="*/ 538325 h 2457568"/>
                    <a:gd name="connsiteX542" fmla="*/ 608329 w 2368274"/>
                    <a:gd name="connsiteY542" fmla="*/ 537522 h 2457568"/>
                    <a:gd name="connsiteX543" fmla="*/ 608168 w 2368274"/>
                    <a:gd name="connsiteY543" fmla="*/ 539450 h 2457568"/>
                    <a:gd name="connsiteX544" fmla="*/ 585436 w 2368274"/>
                    <a:gd name="connsiteY544" fmla="*/ 550776 h 2457568"/>
                    <a:gd name="connsiteX545" fmla="*/ 605839 w 2368274"/>
                    <a:gd name="connsiteY545" fmla="*/ 557122 h 2457568"/>
                    <a:gd name="connsiteX546" fmla="*/ 591139 w 2368274"/>
                    <a:gd name="connsiteY546" fmla="*/ 561379 h 2457568"/>
                    <a:gd name="connsiteX547" fmla="*/ 591460 w 2368274"/>
                    <a:gd name="connsiteY547" fmla="*/ 571179 h 2457568"/>
                    <a:gd name="connsiteX548" fmla="*/ 579893 w 2368274"/>
                    <a:gd name="connsiteY548" fmla="*/ 570215 h 2457568"/>
                    <a:gd name="connsiteX549" fmla="*/ 580134 w 2368274"/>
                    <a:gd name="connsiteY549" fmla="*/ 572063 h 2457568"/>
                    <a:gd name="connsiteX550" fmla="*/ 600617 w 2368274"/>
                    <a:gd name="connsiteY550" fmla="*/ 580819 h 2457568"/>
                    <a:gd name="connsiteX551" fmla="*/ 594754 w 2368274"/>
                    <a:gd name="connsiteY551" fmla="*/ 590619 h 2457568"/>
                    <a:gd name="connsiteX552" fmla="*/ 603188 w 2368274"/>
                    <a:gd name="connsiteY552" fmla="*/ 585638 h 2457568"/>
                    <a:gd name="connsiteX553" fmla="*/ 597886 w 2368274"/>
                    <a:gd name="connsiteY553" fmla="*/ 595117 h 2457568"/>
                    <a:gd name="connsiteX554" fmla="*/ 599573 w 2368274"/>
                    <a:gd name="connsiteY554" fmla="*/ 595438 h 2457568"/>
                    <a:gd name="connsiteX555" fmla="*/ 605357 w 2368274"/>
                    <a:gd name="connsiteY555" fmla="*/ 591020 h 2457568"/>
                    <a:gd name="connsiteX556" fmla="*/ 604554 w 2368274"/>
                    <a:gd name="connsiteY556" fmla="*/ 594474 h 2457568"/>
                    <a:gd name="connsiteX557" fmla="*/ 608490 w 2368274"/>
                    <a:gd name="connsiteY557" fmla="*/ 594314 h 2457568"/>
                    <a:gd name="connsiteX558" fmla="*/ 607767 w 2368274"/>
                    <a:gd name="connsiteY558" fmla="*/ 601463 h 2457568"/>
                    <a:gd name="connsiteX559" fmla="*/ 621342 w 2368274"/>
                    <a:gd name="connsiteY559" fmla="*/ 603391 h 2457568"/>
                    <a:gd name="connsiteX560" fmla="*/ 623109 w 2368274"/>
                    <a:gd name="connsiteY560" fmla="*/ 602668 h 2457568"/>
                    <a:gd name="connsiteX561" fmla="*/ 624395 w 2368274"/>
                    <a:gd name="connsiteY561" fmla="*/ 604997 h 2457568"/>
                    <a:gd name="connsiteX562" fmla="*/ 620459 w 2368274"/>
                    <a:gd name="connsiteY562" fmla="*/ 609496 h 2457568"/>
                    <a:gd name="connsiteX563" fmla="*/ 612827 w 2368274"/>
                    <a:gd name="connsiteY563" fmla="*/ 610058 h 2457568"/>
                    <a:gd name="connsiteX564" fmla="*/ 622065 w 2368274"/>
                    <a:gd name="connsiteY564" fmla="*/ 612629 h 2457568"/>
                    <a:gd name="connsiteX565" fmla="*/ 630018 w 2368274"/>
                    <a:gd name="connsiteY565" fmla="*/ 612388 h 2457568"/>
                    <a:gd name="connsiteX566" fmla="*/ 620137 w 2368274"/>
                    <a:gd name="connsiteY566" fmla="*/ 623794 h 2457568"/>
                    <a:gd name="connsiteX567" fmla="*/ 643432 w 2368274"/>
                    <a:gd name="connsiteY567" fmla="*/ 623152 h 2457568"/>
                    <a:gd name="connsiteX568" fmla="*/ 643513 w 2368274"/>
                    <a:gd name="connsiteY568" fmla="*/ 625240 h 2457568"/>
                    <a:gd name="connsiteX569" fmla="*/ 474503 w 2368274"/>
                    <a:gd name="connsiteY569" fmla="*/ 411005 h 2457568"/>
                    <a:gd name="connsiteX570" fmla="*/ 471450 w 2368274"/>
                    <a:gd name="connsiteY570" fmla="*/ 412050 h 2457568"/>
                    <a:gd name="connsiteX571" fmla="*/ 469763 w 2368274"/>
                    <a:gd name="connsiteY571" fmla="*/ 413897 h 2457568"/>
                    <a:gd name="connsiteX572" fmla="*/ 458919 w 2368274"/>
                    <a:gd name="connsiteY572" fmla="*/ 422251 h 2457568"/>
                    <a:gd name="connsiteX573" fmla="*/ 449039 w 2368274"/>
                    <a:gd name="connsiteY573" fmla="*/ 423215 h 2457568"/>
                    <a:gd name="connsiteX574" fmla="*/ 444540 w 2368274"/>
                    <a:gd name="connsiteY574" fmla="*/ 419681 h 2457568"/>
                    <a:gd name="connsiteX575" fmla="*/ 456830 w 2368274"/>
                    <a:gd name="connsiteY575" fmla="*/ 402812 h 2457568"/>
                    <a:gd name="connsiteX576" fmla="*/ 466871 w 2368274"/>
                    <a:gd name="connsiteY576" fmla="*/ 391968 h 2457568"/>
                    <a:gd name="connsiteX577" fmla="*/ 476511 w 2368274"/>
                    <a:gd name="connsiteY577" fmla="*/ 391968 h 2457568"/>
                    <a:gd name="connsiteX578" fmla="*/ 474985 w 2368274"/>
                    <a:gd name="connsiteY578" fmla="*/ 410764 h 2457568"/>
                    <a:gd name="connsiteX579" fmla="*/ 474503 w 2368274"/>
                    <a:gd name="connsiteY579" fmla="*/ 411005 h 2457568"/>
                    <a:gd name="connsiteX580" fmla="*/ 460044 w 2368274"/>
                    <a:gd name="connsiteY580" fmla="*/ 374135 h 2457568"/>
                    <a:gd name="connsiteX581" fmla="*/ 451288 w 2368274"/>
                    <a:gd name="connsiteY581" fmla="*/ 377910 h 2457568"/>
                    <a:gd name="connsiteX582" fmla="*/ 462453 w 2368274"/>
                    <a:gd name="connsiteY582" fmla="*/ 373090 h 2457568"/>
                    <a:gd name="connsiteX583" fmla="*/ 460044 w 2368274"/>
                    <a:gd name="connsiteY583" fmla="*/ 374135 h 2457568"/>
                    <a:gd name="connsiteX584" fmla="*/ 426788 w 2368274"/>
                    <a:gd name="connsiteY584" fmla="*/ 420805 h 2457568"/>
                    <a:gd name="connsiteX585" fmla="*/ 421325 w 2368274"/>
                    <a:gd name="connsiteY585" fmla="*/ 425223 h 2457568"/>
                    <a:gd name="connsiteX586" fmla="*/ 416988 w 2368274"/>
                    <a:gd name="connsiteY586" fmla="*/ 428919 h 2457568"/>
                    <a:gd name="connsiteX587" fmla="*/ 400761 w 2368274"/>
                    <a:gd name="connsiteY587" fmla="*/ 434140 h 2457568"/>
                    <a:gd name="connsiteX588" fmla="*/ 400761 w 2368274"/>
                    <a:gd name="connsiteY588" fmla="*/ 434140 h 2457568"/>
                    <a:gd name="connsiteX589" fmla="*/ 400761 w 2368274"/>
                    <a:gd name="connsiteY589" fmla="*/ 434140 h 2457568"/>
                    <a:gd name="connsiteX590" fmla="*/ 400761 w 2368274"/>
                    <a:gd name="connsiteY590" fmla="*/ 434140 h 2457568"/>
                    <a:gd name="connsiteX591" fmla="*/ 400761 w 2368274"/>
                    <a:gd name="connsiteY591" fmla="*/ 434140 h 2457568"/>
                    <a:gd name="connsiteX592" fmla="*/ 400761 w 2368274"/>
                    <a:gd name="connsiteY592" fmla="*/ 434140 h 2457568"/>
                    <a:gd name="connsiteX593" fmla="*/ 400761 w 2368274"/>
                    <a:gd name="connsiteY593" fmla="*/ 434140 h 2457568"/>
                    <a:gd name="connsiteX594" fmla="*/ 400761 w 2368274"/>
                    <a:gd name="connsiteY594" fmla="*/ 434140 h 2457568"/>
                    <a:gd name="connsiteX595" fmla="*/ 400761 w 2368274"/>
                    <a:gd name="connsiteY595" fmla="*/ 434140 h 2457568"/>
                    <a:gd name="connsiteX596" fmla="*/ 400761 w 2368274"/>
                    <a:gd name="connsiteY596" fmla="*/ 434140 h 2457568"/>
                    <a:gd name="connsiteX597" fmla="*/ 400761 w 2368274"/>
                    <a:gd name="connsiteY597" fmla="*/ 434140 h 2457568"/>
                    <a:gd name="connsiteX598" fmla="*/ 400761 w 2368274"/>
                    <a:gd name="connsiteY598" fmla="*/ 434140 h 2457568"/>
                    <a:gd name="connsiteX599" fmla="*/ 400761 w 2368274"/>
                    <a:gd name="connsiteY599" fmla="*/ 434140 h 2457568"/>
                    <a:gd name="connsiteX600" fmla="*/ 400761 w 2368274"/>
                    <a:gd name="connsiteY600" fmla="*/ 434140 h 2457568"/>
                    <a:gd name="connsiteX601" fmla="*/ 400761 w 2368274"/>
                    <a:gd name="connsiteY601" fmla="*/ 434140 h 2457568"/>
                    <a:gd name="connsiteX602" fmla="*/ 400761 w 2368274"/>
                    <a:gd name="connsiteY602" fmla="*/ 434140 h 2457568"/>
                    <a:gd name="connsiteX603" fmla="*/ 400761 w 2368274"/>
                    <a:gd name="connsiteY603" fmla="*/ 434140 h 2457568"/>
                    <a:gd name="connsiteX604" fmla="*/ 405742 w 2368274"/>
                    <a:gd name="connsiteY604" fmla="*/ 397912 h 2457568"/>
                    <a:gd name="connsiteX605" fmla="*/ 410080 w 2368274"/>
                    <a:gd name="connsiteY605" fmla="*/ 398072 h 2457568"/>
                    <a:gd name="connsiteX606" fmla="*/ 413132 w 2368274"/>
                    <a:gd name="connsiteY606" fmla="*/ 400402 h 2457568"/>
                    <a:gd name="connsiteX607" fmla="*/ 420763 w 2368274"/>
                    <a:gd name="connsiteY607" fmla="*/ 398474 h 2457568"/>
                    <a:gd name="connsiteX608" fmla="*/ 429519 w 2368274"/>
                    <a:gd name="connsiteY608" fmla="*/ 393735 h 2457568"/>
                    <a:gd name="connsiteX609" fmla="*/ 431206 w 2368274"/>
                    <a:gd name="connsiteY609" fmla="*/ 388433 h 2457568"/>
                    <a:gd name="connsiteX610" fmla="*/ 430884 w 2368274"/>
                    <a:gd name="connsiteY610" fmla="*/ 382087 h 2457568"/>
                    <a:gd name="connsiteX611" fmla="*/ 433214 w 2368274"/>
                    <a:gd name="connsiteY611" fmla="*/ 385541 h 2457568"/>
                    <a:gd name="connsiteX612" fmla="*/ 452011 w 2368274"/>
                    <a:gd name="connsiteY612" fmla="*/ 381043 h 2457568"/>
                    <a:gd name="connsiteX613" fmla="*/ 443898 w 2368274"/>
                    <a:gd name="connsiteY613" fmla="*/ 393012 h 2457568"/>
                    <a:gd name="connsiteX614" fmla="*/ 426306 w 2368274"/>
                    <a:gd name="connsiteY614" fmla="*/ 416387 h 2457568"/>
                    <a:gd name="connsiteX615" fmla="*/ 430001 w 2368274"/>
                    <a:gd name="connsiteY615" fmla="*/ 416869 h 2457568"/>
                    <a:gd name="connsiteX616" fmla="*/ 426788 w 2368274"/>
                    <a:gd name="connsiteY616" fmla="*/ 420805 h 2457568"/>
                    <a:gd name="connsiteX617" fmla="*/ 338989 w 2368274"/>
                    <a:gd name="connsiteY617" fmla="*/ 481694 h 2457568"/>
                    <a:gd name="connsiteX618" fmla="*/ 337865 w 2368274"/>
                    <a:gd name="connsiteY618" fmla="*/ 481774 h 2457568"/>
                    <a:gd name="connsiteX619" fmla="*/ 337302 w 2368274"/>
                    <a:gd name="connsiteY619" fmla="*/ 480569 h 2457568"/>
                    <a:gd name="connsiteX620" fmla="*/ 339552 w 2368274"/>
                    <a:gd name="connsiteY620" fmla="*/ 476633 h 2457568"/>
                    <a:gd name="connsiteX621" fmla="*/ 318425 w 2368274"/>
                    <a:gd name="connsiteY621" fmla="*/ 487397 h 2457568"/>
                    <a:gd name="connsiteX622" fmla="*/ 296737 w 2368274"/>
                    <a:gd name="connsiteY622" fmla="*/ 418717 h 2457568"/>
                    <a:gd name="connsiteX623" fmla="*/ 313204 w 2368274"/>
                    <a:gd name="connsiteY623" fmla="*/ 433015 h 2457568"/>
                    <a:gd name="connsiteX624" fmla="*/ 330956 w 2368274"/>
                    <a:gd name="connsiteY624" fmla="*/ 393012 h 2457568"/>
                    <a:gd name="connsiteX625" fmla="*/ 335455 w 2368274"/>
                    <a:gd name="connsiteY625" fmla="*/ 380882 h 2457568"/>
                    <a:gd name="connsiteX626" fmla="*/ 335535 w 2368274"/>
                    <a:gd name="connsiteY626" fmla="*/ 380159 h 2457568"/>
                    <a:gd name="connsiteX627" fmla="*/ 335535 w 2368274"/>
                    <a:gd name="connsiteY627" fmla="*/ 380159 h 2457568"/>
                    <a:gd name="connsiteX628" fmla="*/ 335535 w 2368274"/>
                    <a:gd name="connsiteY628" fmla="*/ 380159 h 2457568"/>
                    <a:gd name="connsiteX629" fmla="*/ 335535 w 2368274"/>
                    <a:gd name="connsiteY629" fmla="*/ 380159 h 2457568"/>
                    <a:gd name="connsiteX630" fmla="*/ 335535 w 2368274"/>
                    <a:gd name="connsiteY630" fmla="*/ 380159 h 2457568"/>
                    <a:gd name="connsiteX631" fmla="*/ 335535 w 2368274"/>
                    <a:gd name="connsiteY631" fmla="*/ 380159 h 2457568"/>
                    <a:gd name="connsiteX632" fmla="*/ 335535 w 2368274"/>
                    <a:gd name="connsiteY632" fmla="*/ 380159 h 2457568"/>
                    <a:gd name="connsiteX633" fmla="*/ 335535 w 2368274"/>
                    <a:gd name="connsiteY633" fmla="*/ 380159 h 2457568"/>
                    <a:gd name="connsiteX634" fmla="*/ 357706 w 2368274"/>
                    <a:gd name="connsiteY634" fmla="*/ 360077 h 2457568"/>
                    <a:gd name="connsiteX635" fmla="*/ 331760 w 2368274"/>
                    <a:gd name="connsiteY635" fmla="*/ 362086 h 2457568"/>
                    <a:gd name="connsiteX636" fmla="*/ 341640 w 2368274"/>
                    <a:gd name="connsiteY636" fmla="*/ 343128 h 2457568"/>
                    <a:gd name="connsiteX637" fmla="*/ 412489 w 2368274"/>
                    <a:gd name="connsiteY637" fmla="*/ 293485 h 2457568"/>
                    <a:gd name="connsiteX638" fmla="*/ 417791 w 2368274"/>
                    <a:gd name="connsiteY638" fmla="*/ 294289 h 2457568"/>
                    <a:gd name="connsiteX639" fmla="*/ 415542 w 2368274"/>
                    <a:gd name="connsiteY639" fmla="*/ 302563 h 2457568"/>
                    <a:gd name="connsiteX640" fmla="*/ 410722 w 2368274"/>
                    <a:gd name="connsiteY640" fmla="*/ 312122 h 2457568"/>
                    <a:gd name="connsiteX641" fmla="*/ 406465 w 2368274"/>
                    <a:gd name="connsiteY641" fmla="*/ 314692 h 2457568"/>
                    <a:gd name="connsiteX642" fmla="*/ 408875 w 2368274"/>
                    <a:gd name="connsiteY642" fmla="*/ 313808 h 2457568"/>
                    <a:gd name="connsiteX643" fmla="*/ 408955 w 2368274"/>
                    <a:gd name="connsiteY643" fmla="*/ 314853 h 2457568"/>
                    <a:gd name="connsiteX644" fmla="*/ 369112 w 2368274"/>
                    <a:gd name="connsiteY644" fmla="*/ 353490 h 2457568"/>
                    <a:gd name="connsiteX645" fmla="*/ 389435 w 2368274"/>
                    <a:gd name="connsiteY645" fmla="*/ 348430 h 2457568"/>
                    <a:gd name="connsiteX646" fmla="*/ 368630 w 2368274"/>
                    <a:gd name="connsiteY646" fmla="*/ 367548 h 2457568"/>
                    <a:gd name="connsiteX647" fmla="*/ 376181 w 2368274"/>
                    <a:gd name="connsiteY647" fmla="*/ 366102 h 2457568"/>
                    <a:gd name="connsiteX648" fmla="*/ 376984 w 2368274"/>
                    <a:gd name="connsiteY648" fmla="*/ 367307 h 2457568"/>
                    <a:gd name="connsiteX649" fmla="*/ 364052 w 2368274"/>
                    <a:gd name="connsiteY649" fmla="*/ 384417 h 2457568"/>
                    <a:gd name="connsiteX650" fmla="*/ 369514 w 2368274"/>
                    <a:gd name="connsiteY650" fmla="*/ 381686 h 2457568"/>
                    <a:gd name="connsiteX651" fmla="*/ 386704 w 2368274"/>
                    <a:gd name="connsiteY651" fmla="*/ 369636 h 2457568"/>
                    <a:gd name="connsiteX652" fmla="*/ 365738 w 2368274"/>
                    <a:gd name="connsiteY652" fmla="*/ 407310 h 2457568"/>
                    <a:gd name="connsiteX653" fmla="*/ 403734 w 2368274"/>
                    <a:gd name="connsiteY653" fmla="*/ 368351 h 2457568"/>
                    <a:gd name="connsiteX654" fmla="*/ 339230 w 2368274"/>
                    <a:gd name="connsiteY654" fmla="*/ 481694 h 2457568"/>
                    <a:gd name="connsiteX655" fmla="*/ 338989 w 2368274"/>
                    <a:gd name="connsiteY655" fmla="*/ 481694 h 2457568"/>
                    <a:gd name="connsiteX656" fmla="*/ 488721 w 2368274"/>
                    <a:gd name="connsiteY656" fmla="*/ 365620 h 2457568"/>
                    <a:gd name="connsiteX657" fmla="*/ 486070 w 2368274"/>
                    <a:gd name="connsiteY657" fmla="*/ 365299 h 2457568"/>
                    <a:gd name="connsiteX658" fmla="*/ 488721 w 2368274"/>
                    <a:gd name="connsiteY658" fmla="*/ 365620 h 2457568"/>
                    <a:gd name="connsiteX659" fmla="*/ 488721 w 2368274"/>
                    <a:gd name="connsiteY659" fmla="*/ 365620 h 2457568"/>
                    <a:gd name="connsiteX660" fmla="*/ 479804 w 2368274"/>
                    <a:gd name="connsiteY660" fmla="*/ 361523 h 2457568"/>
                    <a:gd name="connsiteX661" fmla="*/ 478278 w 2368274"/>
                    <a:gd name="connsiteY661" fmla="*/ 362568 h 2457568"/>
                    <a:gd name="connsiteX662" fmla="*/ 475065 w 2368274"/>
                    <a:gd name="connsiteY662" fmla="*/ 363692 h 2457568"/>
                    <a:gd name="connsiteX663" fmla="*/ 481089 w 2368274"/>
                    <a:gd name="connsiteY663" fmla="*/ 359595 h 2457568"/>
                    <a:gd name="connsiteX664" fmla="*/ 479804 w 2368274"/>
                    <a:gd name="connsiteY664" fmla="*/ 361523 h 2457568"/>
                    <a:gd name="connsiteX665" fmla="*/ 474663 w 2368274"/>
                    <a:gd name="connsiteY665" fmla="*/ 329231 h 2457568"/>
                    <a:gd name="connsiteX666" fmla="*/ 477234 w 2368274"/>
                    <a:gd name="connsiteY666" fmla="*/ 323287 h 2457568"/>
                    <a:gd name="connsiteX667" fmla="*/ 474663 w 2368274"/>
                    <a:gd name="connsiteY667" fmla="*/ 329231 h 2457568"/>
                    <a:gd name="connsiteX668" fmla="*/ 474663 w 2368274"/>
                    <a:gd name="connsiteY668" fmla="*/ 329231 h 2457568"/>
                    <a:gd name="connsiteX669" fmla="*/ 506794 w 2368274"/>
                    <a:gd name="connsiteY669" fmla="*/ 360559 h 2457568"/>
                    <a:gd name="connsiteX670" fmla="*/ 502135 w 2368274"/>
                    <a:gd name="connsiteY670" fmla="*/ 358310 h 2457568"/>
                    <a:gd name="connsiteX671" fmla="*/ 496512 w 2368274"/>
                    <a:gd name="connsiteY671" fmla="*/ 352848 h 2457568"/>
                    <a:gd name="connsiteX672" fmla="*/ 495147 w 2368274"/>
                    <a:gd name="connsiteY672" fmla="*/ 353571 h 2457568"/>
                    <a:gd name="connsiteX673" fmla="*/ 524065 w 2368274"/>
                    <a:gd name="connsiteY673" fmla="*/ 339031 h 2457568"/>
                    <a:gd name="connsiteX674" fmla="*/ 506794 w 2368274"/>
                    <a:gd name="connsiteY674" fmla="*/ 360559 h 2457568"/>
                    <a:gd name="connsiteX675" fmla="*/ 515871 w 2368274"/>
                    <a:gd name="connsiteY675" fmla="*/ 335979 h 2457568"/>
                    <a:gd name="connsiteX676" fmla="*/ 513863 w 2368274"/>
                    <a:gd name="connsiteY676" fmla="*/ 336059 h 2457568"/>
                    <a:gd name="connsiteX677" fmla="*/ 513863 w 2368274"/>
                    <a:gd name="connsiteY677" fmla="*/ 336059 h 2457568"/>
                    <a:gd name="connsiteX678" fmla="*/ 513863 w 2368274"/>
                    <a:gd name="connsiteY678" fmla="*/ 336059 h 2457568"/>
                    <a:gd name="connsiteX679" fmla="*/ 513863 w 2368274"/>
                    <a:gd name="connsiteY679" fmla="*/ 336059 h 2457568"/>
                    <a:gd name="connsiteX680" fmla="*/ 513863 w 2368274"/>
                    <a:gd name="connsiteY680" fmla="*/ 336059 h 2457568"/>
                    <a:gd name="connsiteX681" fmla="*/ 513863 w 2368274"/>
                    <a:gd name="connsiteY681" fmla="*/ 336059 h 2457568"/>
                    <a:gd name="connsiteX682" fmla="*/ 513863 w 2368274"/>
                    <a:gd name="connsiteY682" fmla="*/ 336059 h 2457568"/>
                    <a:gd name="connsiteX683" fmla="*/ 513863 w 2368274"/>
                    <a:gd name="connsiteY683" fmla="*/ 336059 h 2457568"/>
                    <a:gd name="connsiteX684" fmla="*/ 513863 w 2368274"/>
                    <a:gd name="connsiteY684" fmla="*/ 336059 h 2457568"/>
                    <a:gd name="connsiteX685" fmla="*/ 508481 w 2368274"/>
                    <a:gd name="connsiteY685" fmla="*/ 337585 h 2457568"/>
                    <a:gd name="connsiteX686" fmla="*/ 508401 w 2368274"/>
                    <a:gd name="connsiteY686" fmla="*/ 337505 h 2457568"/>
                    <a:gd name="connsiteX687" fmla="*/ 518603 w 2368274"/>
                    <a:gd name="connsiteY687" fmla="*/ 331641 h 2457568"/>
                    <a:gd name="connsiteX688" fmla="*/ 515871 w 2368274"/>
                    <a:gd name="connsiteY688" fmla="*/ 335979 h 2457568"/>
                    <a:gd name="connsiteX689" fmla="*/ 532981 w 2368274"/>
                    <a:gd name="connsiteY689" fmla="*/ 328509 h 2457568"/>
                    <a:gd name="connsiteX690" fmla="*/ 532981 w 2368274"/>
                    <a:gd name="connsiteY690" fmla="*/ 328509 h 2457568"/>
                    <a:gd name="connsiteX691" fmla="*/ 532981 w 2368274"/>
                    <a:gd name="connsiteY691" fmla="*/ 328509 h 2457568"/>
                    <a:gd name="connsiteX692" fmla="*/ 532017 w 2368274"/>
                    <a:gd name="connsiteY692" fmla="*/ 328348 h 2457568"/>
                    <a:gd name="connsiteX693" fmla="*/ 532098 w 2368274"/>
                    <a:gd name="connsiteY693" fmla="*/ 328348 h 2457568"/>
                    <a:gd name="connsiteX694" fmla="*/ 532981 w 2368274"/>
                    <a:gd name="connsiteY694" fmla="*/ 328509 h 2457568"/>
                    <a:gd name="connsiteX695" fmla="*/ 534026 w 2368274"/>
                    <a:gd name="connsiteY695" fmla="*/ 328669 h 2457568"/>
                    <a:gd name="connsiteX696" fmla="*/ 534026 w 2368274"/>
                    <a:gd name="connsiteY696" fmla="*/ 328669 h 2457568"/>
                    <a:gd name="connsiteX697" fmla="*/ 533062 w 2368274"/>
                    <a:gd name="connsiteY697" fmla="*/ 328509 h 2457568"/>
                    <a:gd name="connsiteX698" fmla="*/ 533142 w 2368274"/>
                    <a:gd name="connsiteY698" fmla="*/ 328509 h 2457568"/>
                    <a:gd name="connsiteX699" fmla="*/ 534026 w 2368274"/>
                    <a:gd name="connsiteY699" fmla="*/ 328669 h 2457568"/>
                    <a:gd name="connsiteX700" fmla="*/ 468880 w 2368274"/>
                    <a:gd name="connsiteY700" fmla="*/ 267379 h 2457568"/>
                    <a:gd name="connsiteX701" fmla="*/ 465024 w 2368274"/>
                    <a:gd name="connsiteY701" fmla="*/ 269307 h 2457568"/>
                    <a:gd name="connsiteX702" fmla="*/ 465265 w 2368274"/>
                    <a:gd name="connsiteY702" fmla="*/ 268745 h 2457568"/>
                    <a:gd name="connsiteX703" fmla="*/ 471691 w 2368274"/>
                    <a:gd name="connsiteY703" fmla="*/ 265531 h 2457568"/>
                    <a:gd name="connsiteX704" fmla="*/ 468880 w 2368274"/>
                    <a:gd name="connsiteY704" fmla="*/ 267379 h 2457568"/>
                    <a:gd name="connsiteX705" fmla="*/ 479644 w 2368274"/>
                    <a:gd name="connsiteY705" fmla="*/ 270833 h 2457568"/>
                    <a:gd name="connsiteX706" fmla="*/ 460766 w 2368274"/>
                    <a:gd name="connsiteY706" fmla="*/ 278866 h 2457568"/>
                    <a:gd name="connsiteX707" fmla="*/ 480848 w 2368274"/>
                    <a:gd name="connsiteY707" fmla="*/ 270351 h 2457568"/>
                    <a:gd name="connsiteX708" fmla="*/ 479644 w 2368274"/>
                    <a:gd name="connsiteY708" fmla="*/ 270833 h 2457568"/>
                    <a:gd name="connsiteX709" fmla="*/ 622949 w 2368274"/>
                    <a:gd name="connsiteY709" fmla="*/ 347707 h 2457568"/>
                    <a:gd name="connsiteX710" fmla="*/ 618370 w 2368274"/>
                    <a:gd name="connsiteY710" fmla="*/ 352527 h 2457568"/>
                    <a:gd name="connsiteX711" fmla="*/ 616281 w 2368274"/>
                    <a:gd name="connsiteY711" fmla="*/ 352446 h 2457568"/>
                    <a:gd name="connsiteX712" fmla="*/ 621342 w 2368274"/>
                    <a:gd name="connsiteY712" fmla="*/ 346341 h 2457568"/>
                    <a:gd name="connsiteX713" fmla="*/ 626242 w 2368274"/>
                    <a:gd name="connsiteY713" fmla="*/ 343449 h 2457568"/>
                    <a:gd name="connsiteX714" fmla="*/ 622949 w 2368274"/>
                    <a:gd name="connsiteY714" fmla="*/ 347707 h 2457568"/>
                    <a:gd name="connsiteX715" fmla="*/ 507517 w 2368274"/>
                    <a:gd name="connsiteY715" fmla="*/ 310836 h 2457568"/>
                    <a:gd name="connsiteX716" fmla="*/ 497075 w 2368274"/>
                    <a:gd name="connsiteY716" fmla="*/ 313728 h 2457568"/>
                    <a:gd name="connsiteX717" fmla="*/ 505188 w 2368274"/>
                    <a:gd name="connsiteY717" fmla="*/ 305695 h 2457568"/>
                    <a:gd name="connsiteX718" fmla="*/ 511453 w 2368274"/>
                    <a:gd name="connsiteY718" fmla="*/ 299510 h 2457568"/>
                    <a:gd name="connsiteX719" fmla="*/ 515389 w 2368274"/>
                    <a:gd name="connsiteY719" fmla="*/ 302884 h 2457568"/>
                    <a:gd name="connsiteX720" fmla="*/ 507517 w 2368274"/>
                    <a:gd name="connsiteY720" fmla="*/ 310836 h 2457568"/>
                    <a:gd name="connsiteX721" fmla="*/ 515229 w 2368274"/>
                    <a:gd name="connsiteY721" fmla="*/ 328107 h 2457568"/>
                    <a:gd name="connsiteX722" fmla="*/ 496191 w 2368274"/>
                    <a:gd name="connsiteY722" fmla="*/ 343449 h 2457568"/>
                    <a:gd name="connsiteX723" fmla="*/ 496593 w 2368274"/>
                    <a:gd name="connsiteY723" fmla="*/ 341602 h 2457568"/>
                    <a:gd name="connsiteX724" fmla="*/ 485748 w 2368274"/>
                    <a:gd name="connsiteY724" fmla="*/ 340718 h 2457568"/>
                    <a:gd name="connsiteX725" fmla="*/ 508883 w 2368274"/>
                    <a:gd name="connsiteY725" fmla="*/ 324572 h 2457568"/>
                    <a:gd name="connsiteX726" fmla="*/ 495468 w 2368274"/>
                    <a:gd name="connsiteY726" fmla="*/ 319431 h 2457568"/>
                    <a:gd name="connsiteX727" fmla="*/ 506071 w 2368274"/>
                    <a:gd name="connsiteY727" fmla="*/ 317905 h 2457568"/>
                    <a:gd name="connsiteX728" fmla="*/ 524627 w 2368274"/>
                    <a:gd name="connsiteY728" fmla="*/ 301277 h 2457568"/>
                    <a:gd name="connsiteX729" fmla="*/ 523583 w 2368274"/>
                    <a:gd name="connsiteY729" fmla="*/ 310595 h 2457568"/>
                    <a:gd name="connsiteX730" fmla="*/ 537640 w 2368274"/>
                    <a:gd name="connsiteY730" fmla="*/ 302322 h 2457568"/>
                    <a:gd name="connsiteX731" fmla="*/ 542781 w 2368274"/>
                    <a:gd name="connsiteY731" fmla="*/ 297582 h 2457568"/>
                    <a:gd name="connsiteX732" fmla="*/ 515229 w 2368274"/>
                    <a:gd name="connsiteY732" fmla="*/ 328107 h 2457568"/>
                    <a:gd name="connsiteX733" fmla="*/ 518442 w 2368274"/>
                    <a:gd name="connsiteY733" fmla="*/ 295253 h 2457568"/>
                    <a:gd name="connsiteX734" fmla="*/ 518442 w 2368274"/>
                    <a:gd name="connsiteY734" fmla="*/ 295253 h 2457568"/>
                    <a:gd name="connsiteX735" fmla="*/ 525832 w 2368274"/>
                    <a:gd name="connsiteY735" fmla="*/ 288505 h 2457568"/>
                    <a:gd name="connsiteX736" fmla="*/ 528242 w 2368274"/>
                    <a:gd name="connsiteY736" fmla="*/ 286979 h 2457568"/>
                    <a:gd name="connsiteX737" fmla="*/ 522378 w 2368274"/>
                    <a:gd name="connsiteY737" fmla="*/ 291959 h 2457568"/>
                    <a:gd name="connsiteX738" fmla="*/ 519406 w 2368274"/>
                    <a:gd name="connsiteY738" fmla="*/ 294449 h 2457568"/>
                    <a:gd name="connsiteX739" fmla="*/ 518442 w 2368274"/>
                    <a:gd name="connsiteY739" fmla="*/ 295253 h 2457568"/>
                    <a:gd name="connsiteX740" fmla="*/ 542380 w 2368274"/>
                    <a:gd name="connsiteY740" fmla="*/ 291879 h 2457568"/>
                    <a:gd name="connsiteX741" fmla="*/ 534267 w 2368274"/>
                    <a:gd name="connsiteY741" fmla="*/ 293566 h 2457568"/>
                    <a:gd name="connsiteX742" fmla="*/ 533865 w 2368274"/>
                    <a:gd name="connsiteY742" fmla="*/ 292762 h 2457568"/>
                    <a:gd name="connsiteX743" fmla="*/ 543183 w 2368274"/>
                    <a:gd name="connsiteY743" fmla="*/ 291558 h 2457568"/>
                    <a:gd name="connsiteX744" fmla="*/ 542380 w 2368274"/>
                    <a:gd name="connsiteY744" fmla="*/ 291879 h 2457568"/>
                    <a:gd name="connsiteX745" fmla="*/ 483098 w 2368274"/>
                    <a:gd name="connsiteY745" fmla="*/ 313326 h 2457568"/>
                    <a:gd name="connsiteX746" fmla="*/ 454581 w 2368274"/>
                    <a:gd name="connsiteY746" fmla="*/ 322404 h 2457568"/>
                    <a:gd name="connsiteX747" fmla="*/ 456911 w 2368274"/>
                    <a:gd name="connsiteY747" fmla="*/ 320154 h 2457568"/>
                    <a:gd name="connsiteX748" fmla="*/ 431286 w 2368274"/>
                    <a:gd name="connsiteY748" fmla="*/ 325617 h 2457568"/>
                    <a:gd name="connsiteX749" fmla="*/ 432009 w 2368274"/>
                    <a:gd name="connsiteY749" fmla="*/ 315897 h 2457568"/>
                    <a:gd name="connsiteX750" fmla="*/ 457714 w 2368274"/>
                    <a:gd name="connsiteY750" fmla="*/ 310194 h 2457568"/>
                    <a:gd name="connsiteX751" fmla="*/ 451047 w 2368274"/>
                    <a:gd name="connsiteY751" fmla="*/ 305615 h 2457568"/>
                    <a:gd name="connsiteX752" fmla="*/ 459963 w 2368274"/>
                    <a:gd name="connsiteY752" fmla="*/ 298868 h 2457568"/>
                    <a:gd name="connsiteX753" fmla="*/ 458276 w 2368274"/>
                    <a:gd name="connsiteY753" fmla="*/ 299028 h 2457568"/>
                    <a:gd name="connsiteX754" fmla="*/ 459803 w 2368274"/>
                    <a:gd name="connsiteY754" fmla="*/ 296939 h 2457568"/>
                    <a:gd name="connsiteX755" fmla="*/ 452412 w 2368274"/>
                    <a:gd name="connsiteY755" fmla="*/ 301759 h 2457568"/>
                    <a:gd name="connsiteX756" fmla="*/ 443978 w 2368274"/>
                    <a:gd name="connsiteY756" fmla="*/ 299028 h 2457568"/>
                    <a:gd name="connsiteX757" fmla="*/ 468317 w 2368274"/>
                    <a:gd name="connsiteY757" fmla="*/ 286898 h 2457568"/>
                    <a:gd name="connsiteX758" fmla="*/ 464462 w 2368274"/>
                    <a:gd name="connsiteY758" fmla="*/ 283284 h 2457568"/>
                    <a:gd name="connsiteX759" fmla="*/ 475868 w 2368274"/>
                    <a:gd name="connsiteY759" fmla="*/ 282240 h 2457568"/>
                    <a:gd name="connsiteX760" fmla="*/ 486953 w 2368274"/>
                    <a:gd name="connsiteY760" fmla="*/ 275412 h 2457568"/>
                    <a:gd name="connsiteX761" fmla="*/ 496753 w 2368274"/>
                    <a:gd name="connsiteY761" fmla="*/ 267138 h 2457568"/>
                    <a:gd name="connsiteX762" fmla="*/ 491934 w 2368274"/>
                    <a:gd name="connsiteY762" fmla="*/ 274207 h 2457568"/>
                    <a:gd name="connsiteX763" fmla="*/ 490488 w 2368274"/>
                    <a:gd name="connsiteY763" fmla="*/ 275974 h 2457568"/>
                    <a:gd name="connsiteX764" fmla="*/ 489042 w 2368274"/>
                    <a:gd name="connsiteY764" fmla="*/ 279589 h 2457568"/>
                    <a:gd name="connsiteX765" fmla="*/ 472655 w 2368274"/>
                    <a:gd name="connsiteY765" fmla="*/ 307543 h 2457568"/>
                    <a:gd name="connsiteX766" fmla="*/ 523744 w 2368274"/>
                    <a:gd name="connsiteY766" fmla="*/ 271395 h 2457568"/>
                    <a:gd name="connsiteX767" fmla="*/ 485588 w 2368274"/>
                    <a:gd name="connsiteY767" fmla="*/ 301840 h 2457568"/>
                    <a:gd name="connsiteX768" fmla="*/ 490006 w 2368274"/>
                    <a:gd name="connsiteY768" fmla="*/ 300795 h 2457568"/>
                    <a:gd name="connsiteX769" fmla="*/ 490327 w 2368274"/>
                    <a:gd name="connsiteY769" fmla="*/ 301197 h 2457568"/>
                    <a:gd name="connsiteX770" fmla="*/ 483740 w 2368274"/>
                    <a:gd name="connsiteY770" fmla="*/ 307944 h 2457568"/>
                    <a:gd name="connsiteX771" fmla="*/ 487596 w 2368274"/>
                    <a:gd name="connsiteY771" fmla="*/ 310354 h 2457568"/>
                    <a:gd name="connsiteX772" fmla="*/ 483098 w 2368274"/>
                    <a:gd name="connsiteY772" fmla="*/ 313326 h 2457568"/>
                    <a:gd name="connsiteX773" fmla="*/ 515068 w 2368274"/>
                    <a:gd name="connsiteY773" fmla="*/ 259185 h 2457568"/>
                    <a:gd name="connsiteX774" fmla="*/ 510811 w 2368274"/>
                    <a:gd name="connsiteY774" fmla="*/ 261033 h 2457568"/>
                    <a:gd name="connsiteX775" fmla="*/ 515389 w 2368274"/>
                    <a:gd name="connsiteY775" fmla="*/ 259025 h 2457568"/>
                    <a:gd name="connsiteX776" fmla="*/ 515068 w 2368274"/>
                    <a:gd name="connsiteY776" fmla="*/ 259185 h 2457568"/>
                    <a:gd name="connsiteX777" fmla="*/ 590336 w 2368274"/>
                    <a:gd name="connsiteY777" fmla="*/ 376545 h 2457568"/>
                    <a:gd name="connsiteX778" fmla="*/ 563586 w 2368274"/>
                    <a:gd name="connsiteY778" fmla="*/ 386907 h 2457568"/>
                    <a:gd name="connsiteX779" fmla="*/ 563908 w 2368274"/>
                    <a:gd name="connsiteY779" fmla="*/ 377187 h 2457568"/>
                    <a:gd name="connsiteX780" fmla="*/ 546396 w 2368274"/>
                    <a:gd name="connsiteY780" fmla="*/ 383774 h 2457568"/>
                    <a:gd name="connsiteX781" fmla="*/ 543103 w 2368274"/>
                    <a:gd name="connsiteY781" fmla="*/ 386104 h 2457568"/>
                    <a:gd name="connsiteX782" fmla="*/ 543585 w 2368274"/>
                    <a:gd name="connsiteY782" fmla="*/ 383372 h 2457568"/>
                    <a:gd name="connsiteX783" fmla="*/ 534668 w 2368274"/>
                    <a:gd name="connsiteY783" fmla="*/ 382569 h 2457568"/>
                    <a:gd name="connsiteX784" fmla="*/ 533222 w 2368274"/>
                    <a:gd name="connsiteY784" fmla="*/ 384738 h 2457568"/>
                    <a:gd name="connsiteX785" fmla="*/ 525912 w 2368274"/>
                    <a:gd name="connsiteY785" fmla="*/ 374777 h 2457568"/>
                    <a:gd name="connsiteX786" fmla="*/ 527599 w 2368274"/>
                    <a:gd name="connsiteY786" fmla="*/ 372448 h 2457568"/>
                    <a:gd name="connsiteX787" fmla="*/ 527358 w 2368274"/>
                    <a:gd name="connsiteY787" fmla="*/ 371966 h 2457568"/>
                    <a:gd name="connsiteX788" fmla="*/ 517317 w 2368274"/>
                    <a:gd name="connsiteY788" fmla="*/ 377428 h 2457568"/>
                    <a:gd name="connsiteX789" fmla="*/ 515550 w 2368274"/>
                    <a:gd name="connsiteY789" fmla="*/ 370440 h 2457568"/>
                    <a:gd name="connsiteX790" fmla="*/ 554027 w 2368274"/>
                    <a:gd name="connsiteY790" fmla="*/ 304812 h 2457568"/>
                    <a:gd name="connsiteX791" fmla="*/ 554027 w 2368274"/>
                    <a:gd name="connsiteY791" fmla="*/ 304812 h 2457568"/>
                    <a:gd name="connsiteX792" fmla="*/ 554027 w 2368274"/>
                    <a:gd name="connsiteY792" fmla="*/ 304812 h 2457568"/>
                    <a:gd name="connsiteX793" fmla="*/ 554027 w 2368274"/>
                    <a:gd name="connsiteY793" fmla="*/ 304812 h 2457568"/>
                    <a:gd name="connsiteX794" fmla="*/ 554027 w 2368274"/>
                    <a:gd name="connsiteY794" fmla="*/ 304812 h 2457568"/>
                    <a:gd name="connsiteX795" fmla="*/ 554027 w 2368274"/>
                    <a:gd name="connsiteY795" fmla="*/ 304812 h 2457568"/>
                    <a:gd name="connsiteX796" fmla="*/ 554027 w 2368274"/>
                    <a:gd name="connsiteY796" fmla="*/ 304812 h 2457568"/>
                    <a:gd name="connsiteX797" fmla="*/ 554027 w 2368274"/>
                    <a:gd name="connsiteY797" fmla="*/ 304812 h 2457568"/>
                    <a:gd name="connsiteX798" fmla="*/ 554027 w 2368274"/>
                    <a:gd name="connsiteY798" fmla="*/ 304812 h 2457568"/>
                    <a:gd name="connsiteX799" fmla="*/ 566478 w 2368274"/>
                    <a:gd name="connsiteY799" fmla="*/ 293084 h 2457568"/>
                    <a:gd name="connsiteX800" fmla="*/ 565193 w 2368274"/>
                    <a:gd name="connsiteY800" fmla="*/ 304651 h 2457568"/>
                    <a:gd name="connsiteX801" fmla="*/ 557963 w 2368274"/>
                    <a:gd name="connsiteY801" fmla="*/ 312844 h 2457568"/>
                    <a:gd name="connsiteX802" fmla="*/ 573467 w 2368274"/>
                    <a:gd name="connsiteY802" fmla="*/ 316299 h 2457568"/>
                    <a:gd name="connsiteX803" fmla="*/ 559650 w 2368274"/>
                    <a:gd name="connsiteY803" fmla="*/ 323608 h 2457568"/>
                    <a:gd name="connsiteX804" fmla="*/ 547280 w 2368274"/>
                    <a:gd name="connsiteY804" fmla="*/ 346903 h 2457568"/>
                    <a:gd name="connsiteX805" fmla="*/ 553385 w 2368274"/>
                    <a:gd name="connsiteY805" fmla="*/ 351000 h 2457568"/>
                    <a:gd name="connsiteX806" fmla="*/ 557883 w 2368274"/>
                    <a:gd name="connsiteY806" fmla="*/ 349795 h 2457568"/>
                    <a:gd name="connsiteX807" fmla="*/ 556196 w 2368274"/>
                    <a:gd name="connsiteY807" fmla="*/ 352928 h 2457568"/>
                    <a:gd name="connsiteX808" fmla="*/ 561739 w 2368274"/>
                    <a:gd name="connsiteY808" fmla="*/ 349233 h 2457568"/>
                    <a:gd name="connsiteX809" fmla="*/ 562622 w 2368274"/>
                    <a:gd name="connsiteY809" fmla="*/ 358230 h 2457568"/>
                    <a:gd name="connsiteX810" fmla="*/ 594432 w 2368274"/>
                    <a:gd name="connsiteY810" fmla="*/ 372127 h 2457568"/>
                    <a:gd name="connsiteX811" fmla="*/ 590336 w 2368274"/>
                    <a:gd name="connsiteY811" fmla="*/ 376545 h 2457568"/>
                    <a:gd name="connsiteX812" fmla="*/ 552421 w 2368274"/>
                    <a:gd name="connsiteY812" fmla="*/ 267861 h 2457568"/>
                    <a:gd name="connsiteX813" fmla="*/ 552421 w 2368274"/>
                    <a:gd name="connsiteY813" fmla="*/ 267861 h 2457568"/>
                    <a:gd name="connsiteX814" fmla="*/ 552421 w 2368274"/>
                    <a:gd name="connsiteY814" fmla="*/ 267861 h 2457568"/>
                    <a:gd name="connsiteX815" fmla="*/ 552421 w 2368274"/>
                    <a:gd name="connsiteY815" fmla="*/ 267861 h 2457568"/>
                    <a:gd name="connsiteX816" fmla="*/ 552421 w 2368274"/>
                    <a:gd name="connsiteY816" fmla="*/ 267861 h 2457568"/>
                    <a:gd name="connsiteX817" fmla="*/ 552421 w 2368274"/>
                    <a:gd name="connsiteY817" fmla="*/ 267861 h 2457568"/>
                    <a:gd name="connsiteX818" fmla="*/ 552421 w 2368274"/>
                    <a:gd name="connsiteY818" fmla="*/ 267861 h 2457568"/>
                    <a:gd name="connsiteX819" fmla="*/ 552421 w 2368274"/>
                    <a:gd name="connsiteY819" fmla="*/ 267861 h 2457568"/>
                    <a:gd name="connsiteX820" fmla="*/ 552421 w 2368274"/>
                    <a:gd name="connsiteY820" fmla="*/ 267861 h 2457568"/>
                    <a:gd name="connsiteX821" fmla="*/ 552421 w 2368274"/>
                    <a:gd name="connsiteY821" fmla="*/ 267861 h 2457568"/>
                    <a:gd name="connsiteX822" fmla="*/ 552421 w 2368274"/>
                    <a:gd name="connsiteY822" fmla="*/ 267861 h 2457568"/>
                    <a:gd name="connsiteX823" fmla="*/ 552421 w 2368274"/>
                    <a:gd name="connsiteY823" fmla="*/ 267861 h 2457568"/>
                    <a:gd name="connsiteX824" fmla="*/ 552421 w 2368274"/>
                    <a:gd name="connsiteY824" fmla="*/ 267861 h 2457568"/>
                    <a:gd name="connsiteX825" fmla="*/ 552421 w 2368274"/>
                    <a:gd name="connsiteY825" fmla="*/ 267861 h 2457568"/>
                    <a:gd name="connsiteX826" fmla="*/ 552421 w 2368274"/>
                    <a:gd name="connsiteY826" fmla="*/ 267861 h 2457568"/>
                    <a:gd name="connsiteX827" fmla="*/ 552421 w 2368274"/>
                    <a:gd name="connsiteY827" fmla="*/ 267861 h 2457568"/>
                    <a:gd name="connsiteX828" fmla="*/ 552421 w 2368274"/>
                    <a:gd name="connsiteY828" fmla="*/ 267861 h 2457568"/>
                    <a:gd name="connsiteX829" fmla="*/ 552421 w 2368274"/>
                    <a:gd name="connsiteY829" fmla="*/ 267861 h 2457568"/>
                    <a:gd name="connsiteX830" fmla="*/ 552421 w 2368274"/>
                    <a:gd name="connsiteY830" fmla="*/ 267861 h 2457568"/>
                    <a:gd name="connsiteX831" fmla="*/ 552421 w 2368274"/>
                    <a:gd name="connsiteY831" fmla="*/ 267861 h 2457568"/>
                    <a:gd name="connsiteX832" fmla="*/ 552421 w 2368274"/>
                    <a:gd name="connsiteY832" fmla="*/ 267861 h 2457568"/>
                    <a:gd name="connsiteX833" fmla="*/ 552421 w 2368274"/>
                    <a:gd name="connsiteY833" fmla="*/ 267861 h 2457568"/>
                    <a:gd name="connsiteX834" fmla="*/ 552421 w 2368274"/>
                    <a:gd name="connsiteY834" fmla="*/ 267861 h 2457568"/>
                    <a:gd name="connsiteX835" fmla="*/ 552421 w 2368274"/>
                    <a:gd name="connsiteY835" fmla="*/ 267861 h 2457568"/>
                    <a:gd name="connsiteX836" fmla="*/ 552421 w 2368274"/>
                    <a:gd name="connsiteY836" fmla="*/ 267861 h 2457568"/>
                    <a:gd name="connsiteX837" fmla="*/ 552421 w 2368274"/>
                    <a:gd name="connsiteY837" fmla="*/ 267861 h 2457568"/>
                    <a:gd name="connsiteX838" fmla="*/ 552421 w 2368274"/>
                    <a:gd name="connsiteY838" fmla="*/ 267861 h 2457568"/>
                    <a:gd name="connsiteX839" fmla="*/ 552421 w 2368274"/>
                    <a:gd name="connsiteY839" fmla="*/ 267861 h 2457568"/>
                    <a:gd name="connsiteX840" fmla="*/ 552421 w 2368274"/>
                    <a:gd name="connsiteY840" fmla="*/ 267861 h 2457568"/>
                    <a:gd name="connsiteX841" fmla="*/ 552421 w 2368274"/>
                    <a:gd name="connsiteY841" fmla="*/ 267861 h 2457568"/>
                    <a:gd name="connsiteX842" fmla="*/ 552421 w 2368274"/>
                    <a:gd name="connsiteY842" fmla="*/ 267861 h 2457568"/>
                    <a:gd name="connsiteX843" fmla="*/ 552421 w 2368274"/>
                    <a:gd name="connsiteY843" fmla="*/ 267861 h 2457568"/>
                    <a:gd name="connsiteX844" fmla="*/ 552421 w 2368274"/>
                    <a:gd name="connsiteY844" fmla="*/ 267861 h 2457568"/>
                    <a:gd name="connsiteX845" fmla="*/ 552421 w 2368274"/>
                    <a:gd name="connsiteY845" fmla="*/ 267861 h 2457568"/>
                    <a:gd name="connsiteX846" fmla="*/ 552421 w 2368274"/>
                    <a:gd name="connsiteY846" fmla="*/ 267861 h 2457568"/>
                    <a:gd name="connsiteX847" fmla="*/ 552421 w 2368274"/>
                    <a:gd name="connsiteY847" fmla="*/ 267861 h 2457568"/>
                    <a:gd name="connsiteX848" fmla="*/ 552421 w 2368274"/>
                    <a:gd name="connsiteY848" fmla="*/ 267861 h 2457568"/>
                    <a:gd name="connsiteX849" fmla="*/ 552421 w 2368274"/>
                    <a:gd name="connsiteY849" fmla="*/ 267861 h 2457568"/>
                    <a:gd name="connsiteX850" fmla="*/ 552421 w 2368274"/>
                    <a:gd name="connsiteY850" fmla="*/ 267861 h 2457568"/>
                    <a:gd name="connsiteX851" fmla="*/ 552421 w 2368274"/>
                    <a:gd name="connsiteY851" fmla="*/ 267861 h 2457568"/>
                    <a:gd name="connsiteX852" fmla="*/ 552421 w 2368274"/>
                    <a:gd name="connsiteY852" fmla="*/ 267861 h 2457568"/>
                    <a:gd name="connsiteX853" fmla="*/ 552421 w 2368274"/>
                    <a:gd name="connsiteY853" fmla="*/ 267861 h 2457568"/>
                    <a:gd name="connsiteX854" fmla="*/ 552421 w 2368274"/>
                    <a:gd name="connsiteY854" fmla="*/ 267861 h 2457568"/>
                    <a:gd name="connsiteX855" fmla="*/ 552421 w 2368274"/>
                    <a:gd name="connsiteY855" fmla="*/ 267861 h 2457568"/>
                    <a:gd name="connsiteX856" fmla="*/ 552421 w 2368274"/>
                    <a:gd name="connsiteY856" fmla="*/ 267861 h 2457568"/>
                    <a:gd name="connsiteX857" fmla="*/ 552421 w 2368274"/>
                    <a:gd name="connsiteY857" fmla="*/ 267861 h 2457568"/>
                    <a:gd name="connsiteX858" fmla="*/ 552421 w 2368274"/>
                    <a:gd name="connsiteY858" fmla="*/ 267861 h 2457568"/>
                    <a:gd name="connsiteX859" fmla="*/ 552421 w 2368274"/>
                    <a:gd name="connsiteY859" fmla="*/ 267861 h 2457568"/>
                    <a:gd name="connsiteX860" fmla="*/ 552421 w 2368274"/>
                    <a:gd name="connsiteY860" fmla="*/ 267861 h 2457568"/>
                    <a:gd name="connsiteX861" fmla="*/ 552421 w 2368274"/>
                    <a:gd name="connsiteY861" fmla="*/ 267861 h 2457568"/>
                    <a:gd name="connsiteX862" fmla="*/ 552421 w 2368274"/>
                    <a:gd name="connsiteY862" fmla="*/ 267861 h 2457568"/>
                    <a:gd name="connsiteX863" fmla="*/ 552421 w 2368274"/>
                    <a:gd name="connsiteY863" fmla="*/ 267861 h 2457568"/>
                    <a:gd name="connsiteX864" fmla="*/ 552421 w 2368274"/>
                    <a:gd name="connsiteY864" fmla="*/ 267861 h 2457568"/>
                    <a:gd name="connsiteX865" fmla="*/ 552421 w 2368274"/>
                    <a:gd name="connsiteY865" fmla="*/ 267861 h 2457568"/>
                    <a:gd name="connsiteX866" fmla="*/ 552421 w 2368274"/>
                    <a:gd name="connsiteY866" fmla="*/ 267861 h 2457568"/>
                    <a:gd name="connsiteX867" fmla="*/ 552421 w 2368274"/>
                    <a:gd name="connsiteY867" fmla="*/ 267861 h 2457568"/>
                    <a:gd name="connsiteX868" fmla="*/ 552421 w 2368274"/>
                    <a:gd name="connsiteY868" fmla="*/ 267861 h 2457568"/>
                    <a:gd name="connsiteX869" fmla="*/ 552421 w 2368274"/>
                    <a:gd name="connsiteY869" fmla="*/ 267861 h 2457568"/>
                    <a:gd name="connsiteX870" fmla="*/ 552421 w 2368274"/>
                    <a:gd name="connsiteY870" fmla="*/ 267861 h 2457568"/>
                    <a:gd name="connsiteX871" fmla="*/ 552421 w 2368274"/>
                    <a:gd name="connsiteY871" fmla="*/ 267861 h 2457568"/>
                    <a:gd name="connsiteX872" fmla="*/ 552421 w 2368274"/>
                    <a:gd name="connsiteY872" fmla="*/ 267861 h 2457568"/>
                    <a:gd name="connsiteX873" fmla="*/ 552421 w 2368274"/>
                    <a:gd name="connsiteY873" fmla="*/ 267861 h 2457568"/>
                    <a:gd name="connsiteX874" fmla="*/ 552421 w 2368274"/>
                    <a:gd name="connsiteY874" fmla="*/ 267861 h 2457568"/>
                    <a:gd name="connsiteX875" fmla="*/ 552421 w 2368274"/>
                    <a:gd name="connsiteY875" fmla="*/ 267861 h 2457568"/>
                    <a:gd name="connsiteX876" fmla="*/ 552421 w 2368274"/>
                    <a:gd name="connsiteY876" fmla="*/ 267861 h 2457568"/>
                    <a:gd name="connsiteX877" fmla="*/ 552421 w 2368274"/>
                    <a:gd name="connsiteY877" fmla="*/ 267861 h 2457568"/>
                    <a:gd name="connsiteX878" fmla="*/ 552421 w 2368274"/>
                    <a:gd name="connsiteY878" fmla="*/ 267861 h 2457568"/>
                    <a:gd name="connsiteX879" fmla="*/ 552421 w 2368274"/>
                    <a:gd name="connsiteY879" fmla="*/ 267861 h 2457568"/>
                    <a:gd name="connsiteX880" fmla="*/ 552421 w 2368274"/>
                    <a:gd name="connsiteY880" fmla="*/ 267861 h 2457568"/>
                    <a:gd name="connsiteX881" fmla="*/ 552421 w 2368274"/>
                    <a:gd name="connsiteY881" fmla="*/ 267861 h 2457568"/>
                    <a:gd name="connsiteX882" fmla="*/ 552421 w 2368274"/>
                    <a:gd name="connsiteY882" fmla="*/ 267861 h 2457568"/>
                    <a:gd name="connsiteX883" fmla="*/ 552421 w 2368274"/>
                    <a:gd name="connsiteY883" fmla="*/ 267861 h 2457568"/>
                    <a:gd name="connsiteX884" fmla="*/ 552421 w 2368274"/>
                    <a:gd name="connsiteY884" fmla="*/ 267861 h 2457568"/>
                    <a:gd name="connsiteX885" fmla="*/ 552421 w 2368274"/>
                    <a:gd name="connsiteY885" fmla="*/ 267861 h 2457568"/>
                    <a:gd name="connsiteX886" fmla="*/ 552421 w 2368274"/>
                    <a:gd name="connsiteY886" fmla="*/ 267861 h 2457568"/>
                    <a:gd name="connsiteX887" fmla="*/ 552421 w 2368274"/>
                    <a:gd name="connsiteY887" fmla="*/ 267861 h 2457568"/>
                    <a:gd name="connsiteX888" fmla="*/ 552421 w 2368274"/>
                    <a:gd name="connsiteY888" fmla="*/ 267861 h 2457568"/>
                    <a:gd name="connsiteX889" fmla="*/ 552421 w 2368274"/>
                    <a:gd name="connsiteY889" fmla="*/ 267861 h 2457568"/>
                    <a:gd name="connsiteX890" fmla="*/ 552421 w 2368274"/>
                    <a:gd name="connsiteY890" fmla="*/ 267861 h 2457568"/>
                    <a:gd name="connsiteX891" fmla="*/ 552421 w 2368274"/>
                    <a:gd name="connsiteY891" fmla="*/ 267861 h 2457568"/>
                    <a:gd name="connsiteX892" fmla="*/ 552421 w 2368274"/>
                    <a:gd name="connsiteY892" fmla="*/ 267861 h 2457568"/>
                    <a:gd name="connsiteX893" fmla="*/ 552421 w 2368274"/>
                    <a:gd name="connsiteY893" fmla="*/ 267861 h 2457568"/>
                    <a:gd name="connsiteX894" fmla="*/ 552421 w 2368274"/>
                    <a:gd name="connsiteY894" fmla="*/ 267861 h 2457568"/>
                    <a:gd name="connsiteX895" fmla="*/ 552421 w 2368274"/>
                    <a:gd name="connsiteY895" fmla="*/ 267861 h 2457568"/>
                    <a:gd name="connsiteX896" fmla="*/ 552421 w 2368274"/>
                    <a:gd name="connsiteY896" fmla="*/ 267861 h 2457568"/>
                    <a:gd name="connsiteX897" fmla="*/ 552421 w 2368274"/>
                    <a:gd name="connsiteY897" fmla="*/ 267861 h 2457568"/>
                    <a:gd name="connsiteX898" fmla="*/ 552421 w 2368274"/>
                    <a:gd name="connsiteY898" fmla="*/ 267861 h 2457568"/>
                    <a:gd name="connsiteX899" fmla="*/ 552421 w 2368274"/>
                    <a:gd name="connsiteY899" fmla="*/ 267861 h 2457568"/>
                    <a:gd name="connsiteX900" fmla="*/ 552421 w 2368274"/>
                    <a:gd name="connsiteY900" fmla="*/ 267861 h 2457568"/>
                    <a:gd name="connsiteX901" fmla="*/ 552421 w 2368274"/>
                    <a:gd name="connsiteY901" fmla="*/ 267861 h 2457568"/>
                    <a:gd name="connsiteX902" fmla="*/ 552421 w 2368274"/>
                    <a:gd name="connsiteY902" fmla="*/ 267861 h 2457568"/>
                    <a:gd name="connsiteX903" fmla="*/ 552421 w 2368274"/>
                    <a:gd name="connsiteY903" fmla="*/ 267861 h 2457568"/>
                    <a:gd name="connsiteX904" fmla="*/ 552421 w 2368274"/>
                    <a:gd name="connsiteY904" fmla="*/ 267861 h 2457568"/>
                    <a:gd name="connsiteX905" fmla="*/ 552421 w 2368274"/>
                    <a:gd name="connsiteY905" fmla="*/ 267861 h 2457568"/>
                    <a:gd name="connsiteX906" fmla="*/ 514988 w 2368274"/>
                    <a:gd name="connsiteY906" fmla="*/ 252277 h 2457568"/>
                    <a:gd name="connsiteX907" fmla="*/ 487837 w 2368274"/>
                    <a:gd name="connsiteY907" fmla="*/ 266174 h 2457568"/>
                    <a:gd name="connsiteX908" fmla="*/ 504385 w 2368274"/>
                    <a:gd name="connsiteY908" fmla="*/ 253562 h 2457568"/>
                    <a:gd name="connsiteX909" fmla="*/ 488640 w 2368274"/>
                    <a:gd name="connsiteY909" fmla="*/ 258864 h 2457568"/>
                    <a:gd name="connsiteX910" fmla="*/ 474262 w 2368274"/>
                    <a:gd name="connsiteY910" fmla="*/ 268021 h 2457568"/>
                    <a:gd name="connsiteX911" fmla="*/ 480126 w 2368274"/>
                    <a:gd name="connsiteY911" fmla="*/ 255089 h 2457568"/>
                    <a:gd name="connsiteX912" fmla="*/ 478680 w 2368274"/>
                    <a:gd name="connsiteY912" fmla="*/ 255169 h 2457568"/>
                    <a:gd name="connsiteX913" fmla="*/ 534508 w 2368274"/>
                    <a:gd name="connsiteY913" fmla="*/ 237898 h 2457568"/>
                    <a:gd name="connsiteX914" fmla="*/ 514988 w 2368274"/>
                    <a:gd name="connsiteY914" fmla="*/ 252277 h 2457568"/>
                    <a:gd name="connsiteX915" fmla="*/ 608249 w 2368274"/>
                    <a:gd name="connsiteY915" fmla="*/ 288827 h 2457568"/>
                    <a:gd name="connsiteX916" fmla="*/ 608249 w 2368274"/>
                    <a:gd name="connsiteY916" fmla="*/ 282240 h 2457568"/>
                    <a:gd name="connsiteX917" fmla="*/ 608249 w 2368274"/>
                    <a:gd name="connsiteY917" fmla="*/ 289308 h 2457568"/>
                    <a:gd name="connsiteX918" fmla="*/ 608249 w 2368274"/>
                    <a:gd name="connsiteY918" fmla="*/ 288827 h 2457568"/>
                    <a:gd name="connsiteX919" fmla="*/ 556517 w 2368274"/>
                    <a:gd name="connsiteY919" fmla="*/ 262720 h 2457568"/>
                    <a:gd name="connsiteX920" fmla="*/ 563024 w 2368274"/>
                    <a:gd name="connsiteY920" fmla="*/ 254848 h 2457568"/>
                    <a:gd name="connsiteX921" fmla="*/ 556357 w 2368274"/>
                    <a:gd name="connsiteY921" fmla="*/ 262880 h 2457568"/>
                    <a:gd name="connsiteX922" fmla="*/ 556517 w 2368274"/>
                    <a:gd name="connsiteY922" fmla="*/ 262720 h 2457568"/>
                    <a:gd name="connsiteX923" fmla="*/ 605277 w 2368274"/>
                    <a:gd name="connsiteY923" fmla="*/ 272199 h 2457568"/>
                    <a:gd name="connsiteX924" fmla="*/ 587524 w 2368274"/>
                    <a:gd name="connsiteY924" fmla="*/ 276135 h 2457568"/>
                    <a:gd name="connsiteX925" fmla="*/ 605357 w 2368274"/>
                    <a:gd name="connsiteY925" fmla="*/ 272199 h 2457568"/>
                    <a:gd name="connsiteX926" fmla="*/ 605277 w 2368274"/>
                    <a:gd name="connsiteY926" fmla="*/ 272199 h 2457568"/>
                    <a:gd name="connsiteX927" fmla="*/ 605437 w 2368274"/>
                    <a:gd name="connsiteY927" fmla="*/ 272199 h 2457568"/>
                    <a:gd name="connsiteX928" fmla="*/ 605437 w 2368274"/>
                    <a:gd name="connsiteY928" fmla="*/ 272199 h 2457568"/>
                    <a:gd name="connsiteX929" fmla="*/ 605437 w 2368274"/>
                    <a:gd name="connsiteY929" fmla="*/ 272199 h 2457568"/>
                    <a:gd name="connsiteX930" fmla="*/ 605437 w 2368274"/>
                    <a:gd name="connsiteY930" fmla="*/ 272199 h 2457568"/>
                    <a:gd name="connsiteX931" fmla="*/ 605437 w 2368274"/>
                    <a:gd name="connsiteY931" fmla="*/ 272199 h 2457568"/>
                    <a:gd name="connsiteX932" fmla="*/ 605437 w 2368274"/>
                    <a:gd name="connsiteY932" fmla="*/ 272199 h 2457568"/>
                    <a:gd name="connsiteX933" fmla="*/ 605437 w 2368274"/>
                    <a:gd name="connsiteY933" fmla="*/ 272199 h 2457568"/>
                    <a:gd name="connsiteX934" fmla="*/ 605437 w 2368274"/>
                    <a:gd name="connsiteY934" fmla="*/ 272199 h 2457568"/>
                    <a:gd name="connsiteX935" fmla="*/ 605437 w 2368274"/>
                    <a:gd name="connsiteY935" fmla="*/ 272199 h 2457568"/>
                    <a:gd name="connsiteX936" fmla="*/ 605437 w 2368274"/>
                    <a:gd name="connsiteY936" fmla="*/ 272199 h 2457568"/>
                    <a:gd name="connsiteX937" fmla="*/ 605437 w 2368274"/>
                    <a:gd name="connsiteY937" fmla="*/ 272199 h 2457568"/>
                    <a:gd name="connsiteX938" fmla="*/ 605437 w 2368274"/>
                    <a:gd name="connsiteY938" fmla="*/ 272199 h 2457568"/>
                    <a:gd name="connsiteX939" fmla="*/ 605437 w 2368274"/>
                    <a:gd name="connsiteY939" fmla="*/ 272199 h 2457568"/>
                    <a:gd name="connsiteX940" fmla="*/ 605437 w 2368274"/>
                    <a:gd name="connsiteY940" fmla="*/ 272199 h 2457568"/>
                    <a:gd name="connsiteX941" fmla="*/ 605437 w 2368274"/>
                    <a:gd name="connsiteY941" fmla="*/ 272199 h 2457568"/>
                    <a:gd name="connsiteX942" fmla="*/ 605437 w 2368274"/>
                    <a:gd name="connsiteY942" fmla="*/ 272199 h 2457568"/>
                    <a:gd name="connsiteX943" fmla="*/ 605437 w 2368274"/>
                    <a:gd name="connsiteY943" fmla="*/ 272199 h 2457568"/>
                    <a:gd name="connsiteX944" fmla="*/ 605437 w 2368274"/>
                    <a:gd name="connsiteY944" fmla="*/ 272199 h 2457568"/>
                    <a:gd name="connsiteX945" fmla="*/ 605437 w 2368274"/>
                    <a:gd name="connsiteY945" fmla="*/ 272199 h 2457568"/>
                    <a:gd name="connsiteX946" fmla="*/ 605437 w 2368274"/>
                    <a:gd name="connsiteY946" fmla="*/ 272199 h 2457568"/>
                    <a:gd name="connsiteX947" fmla="*/ 605437 w 2368274"/>
                    <a:gd name="connsiteY947" fmla="*/ 272199 h 2457568"/>
                    <a:gd name="connsiteX948" fmla="*/ 605437 w 2368274"/>
                    <a:gd name="connsiteY948" fmla="*/ 272199 h 2457568"/>
                    <a:gd name="connsiteX949" fmla="*/ 605437 w 2368274"/>
                    <a:gd name="connsiteY949" fmla="*/ 272199 h 2457568"/>
                    <a:gd name="connsiteX950" fmla="*/ 605437 w 2368274"/>
                    <a:gd name="connsiteY950" fmla="*/ 272199 h 2457568"/>
                    <a:gd name="connsiteX951" fmla="*/ 605437 w 2368274"/>
                    <a:gd name="connsiteY951" fmla="*/ 272199 h 2457568"/>
                    <a:gd name="connsiteX952" fmla="*/ 605437 w 2368274"/>
                    <a:gd name="connsiteY952" fmla="*/ 272199 h 2457568"/>
                    <a:gd name="connsiteX953" fmla="*/ 605437 w 2368274"/>
                    <a:gd name="connsiteY953" fmla="*/ 272199 h 2457568"/>
                    <a:gd name="connsiteX954" fmla="*/ 605437 w 2368274"/>
                    <a:gd name="connsiteY954" fmla="*/ 272199 h 2457568"/>
                    <a:gd name="connsiteX955" fmla="*/ 605437 w 2368274"/>
                    <a:gd name="connsiteY955" fmla="*/ 272199 h 2457568"/>
                    <a:gd name="connsiteX956" fmla="*/ 605437 w 2368274"/>
                    <a:gd name="connsiteY956" fmla="*/ 272199 h 2457568"/>
                    <a:gd name="connsiteX957" fmla="*/ 605437 w 2368274"/>
                    <a:gd name="connsiteY957" fmla="*/ 272199 h 2457568"/>
                    <a:gd name="connsiteX958" fmla="*/ 605437 w 2368274"/>
                    <a:gd name="connsiteY958" fmla="*/ 272199 h 2457568"/>
                    <a:gd name="connsiteX959" fmla="*/ 605437 w 2368274"/>
                    <a:gd name="connsiteY959" fmla="*/ 272199 h 2457568"/>
                    <a:gd name="connsiteX960" fmla="*/ 605437 w 2368274"/>
                    <a:gd name="connsiteY960" fmla="*/ 272199 h 2457568"/>
                    <a:gd name="connsiteX961" fmla="*/ 605437 w 2368274"/>
                    <a:gd name="connsiteY961" fmla="*/ 272199 h 2457568"/>
                    <a:gd name="connsiteX962" fmla="*/ 605437 w 2368274"/>
                    <a:gd name="connsiteY962" fmla="*/ 272199 h 2457568"/>
                    <a:gd name="connsiteX963" fmla="*/ 605437 w 2368274"/>
                    <a:gd name="connsiteY963" fmla="*/ 272199 h 2457568"/>
                    <a:gd name="connsiteX964" fmla="*/ 605437 w 2368274"/>
                    <a:gd name="connsiteY964" fmla="*/ 272199 h 2457568"/>
                    <a:gd name="connsiteX965" fmla="*/ 605437 w 2368274"/>
                    <a:gd name="connsiteY965" fmla="*/ 272199 h 2457568"/>
                    <a:gd name="connsiteX966" fmla="*/ 605437 w 2368274"/>
                    <a:gd name="connsiteY966" fmla="*/ 272199 h 2457568"/>
                    <a:gd name="connsiteX967" fmla="*/ 605437 w 2368274"/>
                    <a:gd name="connsiteY967" fmla="*/ 272199 h 2457568"/>
                    <a:gd name="connsiteX968" fmla="*/ 605437 w 2368274"/>
                    <a:gd name="connsiteY968" fmla="*/ 272199 h 2457568"/>
                    <a:gd name="connsiteX969" fmla="*/ 605437 w 2368274"/>
                    <a:gd name="connsiteY969" fmla="*/ 272199 h 2457568"/>
                    <a:gd name="connsiteX970" fmla="*/ 605437 w 2368274"/>
                    <a:gd name="connsiteY970" fmla="*/ 272199 h 2457568"/>
                    <a:gd name="connsiteX971" fmla="*/ 605437 w 2368274"/>
                    <a:gd name="connsiteY971" fmla="*/ 272199 h 2457568"/>
                    <a:gd name="connsiteX972" fmla="*/ 605437 w 2368274"/>
                    <a:gd name="connsiteY972" fmla="*/ 272199 h 2457568"/>
                    <a:gd name="connsiteX973" fmla="*/ 605437 w 2368274"/>
                    <a:gd name="connsiteY973" fmla="*/ 272199 h 2457568"/>
                    <a:gd name="connsiteX974" fmla="*/ 605437 w 2368274"/>
                    <a:gd name="connsiteY974" fmla="*/ 272199 h 2457568"/>
                    <a:gd name="connsiteX975" fmla="*/ 605437 w 2368274"/>
                    <a:gd name="connsiteY975" fmla="*/ 272199 h 2457568"/>
                    <a:gd name="connsiteX976" fmla="*/ 605437 w 2368274"/>
                    <a:gd name="connsiteY976" fmla="*/ 272199 h 2457568"/>
                    <a:gd name="connsiteX977" fmla="*/ 605437 w 2368274"/>
                    <a:gd name="connsiteY977" fmla="*/ 272199 h 2457568"/>
                    <a:gd name="connsiteX978" fmla="*/ 605437 w 2368274"/>
                    <a:gd name="connsiteY978" fmla="*/ 272199 h 2457568"/>
                    <a:gd name="connsiteX979" fmla="*/ 605437 w 2368274"/>
                    <a:gd name="connsiteY979" fmla="*/ 272199 h 2457568"/>
                    <a:gd name="connsiteX980" fmla="*/ 605437 w 2368274"/>
                    <a:gd name="connsiteY980" fmla="*/ 272199 h 2457568"/>
                    <a:gd name="connsiteX981" fmla="*/ 605518 w 2368274"/>
                    <a:gd name="connsiteY981" fmla="*/ 272199 h 2457568"/>
                    <a:gd name="connsiteX982" fmla="*/ 605518 w 2368274"/>
                    <a:gd name="connsiteY982" fmla="*/ 272199 h 2457568"/>
                    <a:gd name="connsiteX983" fmla="*/ 605518 w 2368274"/>
                    <a:gd name="connsiteY983" fmla="*/ 272199 h 2457568"/>
                    <a:gd name="connsiteX984" fmla="*/ 605518 w 2368274"/>
                    <a:gd name="connsiteY984" fmla="*/ 272199 h 2457568"/>
                    <a:gd name="connsiteX985" fmla="*/ 605518 w 2368274"/>
                    <a:gd name="connsiteY985" fmla="*/ 272199 h 2457568"/>
                    <a:gd name="connsiteX986" fmla="*/ 605518 w 2368274"/>
                    <a:gd name="connsiteY986" fmla="*/ 272199 h 2457568"/>
                    <a:gd name="connsiteX987" fmla="*/ 605518 w 2368274"/>
                    <a:gd name="connsiteY987" fmla="*/ 272199 h 2457568"/>
                    <a:gd name="connsiteX988" fmla="*/ 605518 w 2368274"/>
                    <a:gd name="connsiteY988" fmla="*/ 272199 h 2457568"/>
                    <a:gd name="connsiteX989" fmla="*/ 605518 w 2368274"/>
                    <a:gd name="connsiteY989" fmla="*/ 272199 h 2457568"/>
                    <a:gd name="connsiteX990" fmla="*/ 605518 w 2368274"/>
                    <a:gd name="connsiteY990" fmla="*/ 272199 h 2457568"/>
                    <a:gd name="connsiteX991" fmla="*/ 605518 w 2368274"/>
                    <a:gd name="connsiteY991" fmla="*/ 272199 h 2457568"/>
                    <a:gd name="connsiteX992" fmla="*/ 605518 w 2368274"/>
                    <a:gd name="connsiteY992" fmla="*/ 272199 h 2457568"/>
                    <a:gd name="connsiteX993" fmla="*/ 605518 w 2368274"/>
                    <a:gd name="connsiteY993" fmla="*/ 272199 h 2457568"/>
                    <a:gd name="connsiteX994" fmla="*/ 605518 w 2368274"/>
                    <a:gd name="connsiteY994" fmla="*/ 272199 h 2457568"/>
                    <a:gd name="connsiteX995" fmla="*/ 605518 w 2368274"/>
                    <a:gd name="connsiteY995" fmla="*/ 272199 h 2457568"/>
                    <a:gd name="connsiteX996" fmla="*/ 605518 w 2368274"/>
                    <a:gd name="connsiteY996" fmla="*/ 272199 h 2457568"/>
                    <a:gd name="connsiteX997" fmla="*/ 605518 w 2368274"/>
                    <a:gd name="connsiteY997" fmla="*/ 272199 h 2457568"/>
                    <a:gd name="connsiteX998" fmla="*/ 605518 w 2368274"/>
                    <a:gd name="connsiteY998" fmla="*/ 272199 h 2457568"/>
                    <a:gd name="connsiteX999" fmla="*/ 605518 w 2368274"/>
                    <a:gd name="connsiteY999" fmla="*/ 272199 h 2457568"/>
                    <a:gd name="connsiteX1000" fmla="*/ 605518 w 2368274"/>
                    <a:gd name="connsiteY1000" fmla="*/ 272199 h 2457568"/>
                    <a:gd name="connsiteX1001" fmla="*/ 605518 w 2368274"/>
                    <a:gd name="connsiteY1001" fmla="*/ 272199 h 2457568"/>
                    <a:gd name="connsiteX1002" fmla="*/ 605518 w 2368274"/>
                    <a:gd name="connsiteY1002" fmla="*/ 272199 h 2457568"/>
                    <a:gd name="connsiteX1003" fmla="*/ 605518 w 2368274"/>
                    <a:gd name="connsiteY1003" fmla="*/ 272199 h 2457568"/>
                    <a:gd name="connsiteX1004" fmla="*/ 605518 w 2368274"/>
                    <a:gd name="connsiteY1004" fmla="*/ 272199 h 2457568"/>
                    <a:gd name="connsiteX1005" fmla="*/ 605518 w 2368274"/>
                    <a:gd name="connsiteY1005" fmla="*/ 272199 h 2457568"/>
                    <a:gd name="connsiteX1006" fmla="*/ 605518 w 2368274"/>
                    <a:gd name="connsiteY1006" fmla="*/ 272199 h 2457568"/>
                    <a:gd name="connsiteX1007" fmla="*/ 605518 w 2368274"/>
                    <a:gd name="connsiteY1007" fmla="*/ 272199 h 2457568"/>
                    <a:gd name="connsiteX1008" fmla="*/ 605518 w 2368274"/>
                    <a:gd name="connsiteY1008" fmla="*/ 272199 h 2457568"/>
                    <a:gd name="connsiteX1009" fmla="*/ 605518 w 2368274"/>
                    <a:gd name="connsiteY1009" fmla="*/ 272199 h 2457568"/>
                    <a:gd name="connsiteX1010" fmla="*/ 605518 w 2368274"/>
                    <a:gd name="connsiteY1010" fmla="*/ 272199 h 2457568"/>
                    <a:gd name="connsiteX1011" fmla="*/ 605518 w 2368274"/>
                    <a:gd name="connsiteY1011" fmla="*/ 272199 h 2457568"/>
                    <a:gd name="connsiteX1012" fmla="*/ 605518 w 2368274"/>
                    <a:gd name="connsiteY1012" fmla="*/ 272199 h 2457568"/>
                    <a:gd name="connsiteX1013" fmla="*/ 605518 w 2368274"/>
                    <a:gd name="connsiteY1013" fmla="*/ 272199 h 2457568"/>
                    <a:gd name="connsiteX1014" fmla="*/ 605518 w 2368274"/>
                    <a:gd name="connsiteY1014" fmla="*/ 272199 h 2457568"/>
                    <a:gd name="connsiteX1015" fmla="*/ 605518 w 2368274"/>
                    <a:gd name="connsiteY1015" fmla="*/ 272199 h 2457568"/>
                    <a:gd name="connsiteX1016" fmla="*/ 605518 w 2368274"/>
                    <a:gd name="connsiteY1016" fmla="*/ 272199 h 2457568"/>
                    <a:gd name="connsiteX1017" fmla="*/ 605518 w 2368274"/>
                    <a:gd name="connsiteY1017" fmla="*/ 272199 h 2457568"/>
                    <a:gd name="connsiteX1018" fmla="*/ 605518 w 2368274"/>
                    <a:gd name="connsiteY1018" fmla="*/ 272199 h 2457568"/>
                    <a:gd name="connsiteX1019" fmla="*/ 605518 w 2368274"/>
                    <a:gd name="connsiteY1019" fmla="*/ 272199 h 2457568"/>
                    <a:gd name="connsiteX1020" fmla="*/ 605518 w 2368274"/>
                    <a:gd name="connsiteY1020" fmla="*/ 272199 h 2457568"/>
                    <a:gd name="connsiteX1021" fmla="*/ 605518 w 2368274"/>
                    <a:gd name="connsiteY1021" fmla="*/ 272199 h 2457568"/>
                    <a:gd name="connsiteX1022" fmla="*/ 605518 w 2368274"/>
                    <a:gd name="connsiteY1022" fmla="*/ 272199 h 2457568"/>
                    <a:gd name="connsiteX1023" fmla="*/ 605598 w 2368274"/>
                    <a:gd name="connsiteY1023" fmla="*/ 272118 h 2457568"/>
                    <a:gd name="connsiteX1024" fmla="*/ 605598 w 2368274"/>
                    <a:gd name="connsiteY1024" fmla="*/ 272118 h 2457568"/>
                    <a:gd name="connsiteX1025" fmla="*/ 605598 w 2368274"/>
                    <a:gd name="connsiteY1025" fmla="*/ 272118 h 2457568"/>
                    <a:gd name="connsiteX1026" fmla="*/ 605598 w 2368274"/>
                    <a:gd name="connsiteY1026" fmla="*/ 272118 h 2457568"/>
                    <a:gd name="connsiteX1027" fmla="*/ 605598 w 2368274"/>
                    <a:gd name="connsiteY1027" fmla="*/ 272118 h 2457568"/>
                    <a:gd name="connsiteX1028" fmla="*/ 605598 w 2368274"/>
                    <a:gd name="connsiteY1028" fmla="*/ 272118 h 2457568"/>
                    <a:gd name="connsiteX1029" fmla="*/ 605598 w 2368274"/>
                    <a:gd name="connsiteY1029" fmla="*/ 272118 h 2457568"/>
                    <a:gd name="connsiteX1030" fmla="*/ 605598 w 2368274"/>
                    <a:gd name="connsiteY1030" fmla="*/ 272118 h 2457568"/>
                    <a:gd name="connsiteX1031" fmla="*/ 605598 w 2368274"/>
                    <a:gd name="connsiteY1031" fmla="*/ 272118 h 2457568"/>
                    <a:gd name="connsiteX1032" fmla="*/ 605598 w 2368274"/>
                    <a:gd name="connsiteY1032" fmla="*/ 272118 h 2457568"/>
                    <a:gd name="connsiteX1033" fmla="*/ 605598 w 2368274"/>
                    <a:gd name="connsiteY1033" fmla="*/ 272118 h 2457568"/>
                    <a:gd name="connsiteX1034" fmla="*/ 605598 w 2368274"/>
                    <a:gd name="connsiteY1034" fmla="*/ 272118 h 2457568"/>
                    <a:gd name="connsiteX1035" fmla="*/ 605598 w 2368274"/>
                    <a:gd name="connsiteY1035" fmla="*/ 272118 h 2457568"/>
                    <a:gd name="connsiteX1036" fmla="*/ 605598 w 2368274"/>
                    <a:gd name="connsiteY1036" fmla="*/ 272118 h 2457568"/>
                    <a:gd name="connsiteX1037" fmla="*/ 605598 w 2368274"/>
                    <a:gd name="connsiteY1037" fmla="*/ 272118 h 2457568"/>
                    <a:gd name="connsiteX1038" fmla="*/ 605598 w 2368274"/>
                    <a:gd name="connsiteY1038" fmla="*/ 272118 h 2457568"/>
                    <a:gd name="connsiteX1039" fmla="*/ 605598 w 2368274"/>
                    <a:gd name="connsiteY1039" fmla="*/ 272118 h 2457568"/>
                    <a:gd name="connsiteX1040" fmla="*/ 605598 w 2368274"/>
                    <a:gd name="connsiteY1040" fmla="*/ 272118 h 2457568"/>
                    <a:gd name="connsiteX1041" fmla="*/ 605598 w 2368274"/>
                    <a:gd name="connsiteY1041" fmla="*/ 272118 h 2457568"/>
                    <a:gd name="connsiteX1042" fmla="*/ 605598 w 2368274"/>
                    <a:gd name="connsiteY1042" fmla="*/ 272118 h 2457568"/>
                    <a:gd name="connsiteX1043" fmla="*/ 605598 w 2368274"/>
                    <a:gd name="connsiteY1043" fmla="*/ 272118 h 2457568"/>
                    <a:gd name="connsiteX1044" fmla="*/ 605598 w 2368274"/>
                    <a:gd name="connsiteY1044" fmla="*/ 272118 h 2457568"/>
                    <a:gd name="connsiteX1045" fmla="*/ 605598 w 2368274"/>
                    <a:gd name="connsiteY1045" fmla="*/ 272118 h 2457568"/>
                    <a:gd name="connsiteX1046" fmla="*/ 605598 w 2368274"/>
                    <a:gd name="connsiteY1046" fmla="*/ 272118 h 2457568"/>
                    <a:gd name="connsiteX1047" fmla="*/ 605598 w 2368274"/>
                    <a:gd name="connsiteY1047" fmla="*/ 272118 h 2457568"/>
                    <a:gd name="connsiteX1048" fmla="*/ 605598 w 2368274"/>
                    <a:gd name="connsiteY1048" fmla="*/ 272118 h 2457568"/>
                    <a:gd name="connsiteX1049" fmla="*/ 605598 w 2368274"/>
                    <a:gd name="connsiteY1049" fmla="*/ 272118 h 2457568"/>
                    <a:gd name="connsiteX1050" fmla="*/ 605598 w 2368274"/>
                    <a:gd name="connsiteY1050" fmla="*/ 272118 h 2457568"/>
                    <a:gd name="connsiteX1051" fmla="*/ 605598 w 2368274"/>
                    <a:gd name="connsiteY1051" fmla="*/ 272118 h 2457568"/>
                    <a:gd name="connsiteX1052" fmla="*/ 605598 w 2368274"/>
                    <a:gd name="connsiteY1052" fmla="*/ 272118 h 2457568"/>
                    <a:gd name="connsiteX1053" fmla="*/ 605598 w 2368274"/>
                    <a:gd name="connsiteY1053" fmla="*/ 272118 h 2457568"/>
                    <a:gd name="connsiteX1054" fmla="*/ 605598 w 2368274"/>
                    <a:gd name="connsiteY1054" fmla="*/ 272118 h 2457568"/>
                    <a:gd name="connsiteX1055" fmla="*/ 605598 w 2368274"/>
                    <a:gd name="connsiteY1055" fmla="*/ 272118 h 2457568"/>
                    <a:gd name="connsiteX1056" fmla="*/ 605598 w 2368274"/>
                    <a:gd name="connsiteY1056" fmla="*/ 272118 h 2457568"/>
                    <a:gd name="connsiteX1057" fmla="*/ 605598 w 2368274"/>
                    <a:gd name="connsiteY1057" fmla="*/ 272118 h 2457568"/>
                    <a:gd name="connsiteX1058" fmla="*/ 605598 w 2368274"/>
                    <a:gd name="connsiteY1058" fmla="*/ 272118 h 2457568"/>
                    <a:gd name="connsiteX1059" fmla="*/ 605598 w 2368274"/>
                    <a:gd name="connsiteY1059" fmla="*/ 272118 h 2457568"/>
                    <a:gd name="connsiteX1060" fmla="*/ 605598 w 2368274"/>
                    <a:gd name="connsiteY1060" fmla="*/ 272118 h 2457568"/>
                    <a:gd name="connsiteX1061" fmla="*/ 605598 w 2368274"/>
                    <a:gd name="connsiteY1061" fmla="*/ 272118 h 2457568"/>
                    <a:gd name="connsiteX1062" fmla="*/ 605598 w 2368274"/>
                    <a:gd name="connsiteY1062" fmla="*/ 272118 h 2457568"/>
                    <a:gd name="connsiteX1063" fmla="*/ 605598 w 2368274"/>
                    <a:gd name="connsiteY1063" fmla="*/ 272118 h 2457568"/>
                    <a:gd name="connsiteX1064" fmla="*/ 605598 w 2368274"/>
                    <a:gd name="connsiteY1064" fmla="*/ 272118 h 2457568"/>
                    <a:gd name="connsiteX1065" fmla="*/ 605598 w 2368274"/>
                    <a:gd name="connsiteY1065" fmla="*/ 272118 h 2457568"/>
                    <a:gd name="connsiteX1066" fmla="*/ 605598 w 2368274"/>
                    <a:gd name="connsiteY1066" fmla="*/ 272118 h 2457568"/>
                    <a:gd name="connsiteX1067" fmla="*/ 605598 w 2368274"/>
                    <a:gd name="connsiteY1067" fmla="*/ 272118 h 2457568"/>
                    <a:gd name="connsiteX1068" fmla="*/ 605598 w 2368274"/>
                    <a:gd name="connsiteY1068" fmla="*/ 272118 h 2457568"/>
                    <a:gd name="connsiteX1069" fmla="*/ 605598 w 2368274"/>
                    <a:gd name="connsiteY1069" fmla="*/ 272118 h 2457568"/>
                    <a:gd name="connsiteX1070" fmla="*/ 605598 w 2368274"/>
                    <a:gd name="connsiteY1070" fmla="*/ 272118 h 2457568"/>
                    <a:gd name="connsiteX1071" fmla="*/ 605598 w 2368274"/>
                    <a:gd name="connsiteY1071" fmla="*/ 272118 h 2457568"/>
                    <a:gd name="connsiteX1072" fmla="*/ 605598 w 2368274"/>
                    <a:gd name="connsiteY1072" fmla="*/ 272118 h 2457568"/>
                    <a:gd name="connsiteX1073" fmla="*/ 605598 w 2368274"/>
                    <a:gd name="connsiteY1073" fmla="*/ 272118 h 2457568"/>
                    <a:gd name="connsiteX1074" fmla="*/ 605598 w 2368274"/>
                    <a:gd name="connsiteY1074" fmla="*/ 272118 h 2457568"/>
                    <a:gd name="connsiteX1075" fmla="*/ 605598 w 2368274"/>
                    <a:gd name="connsiteY1075" fmla="*/ 272118 h 2457568"/>
                    <a:gd name="connsiteX1076" fmla="*/ 605598 w 2368274"/>
                    <a:gd name="connsiteY1076" fmla="*/ 272118 h 2457568"/>
                    <a:gd name="connsiteX1077" fmla="*/ 605598 w 2368274"/>
                    <a:gd name="connsiteY1077" fmla="*/ 272118 h 2457568"/>
                    <a:gd name="connsiteX1078" fmla="*/ 605598 w 2368274"/>
                    <a:gd name="connsiteY1078" fmla="*/ 272118 h 2457568"/>
                    <a:gd name="connsiteX1079" fmla="*/ 605598 w 2368274"/>
                    <a:gd name="connsiteY1079" fmla="*/ 272118 h 2457568"/>
                    <a:gd name="connsiteX1080" fmla="*/ 605598 w 2368274"/>
                    <a:gd name="connsiteY1080" fmla="*/ 272118 h 2457568"/>
                    <a:gd name="connsiteX1081" fmla="*/ 605598 w 2368274"/>
                    <a:gd name="connsiteY1081" fmla="*/ 272118 h 2457568"/>
                    <a:gd name="connsiteX1082" fmla="*/ 605598 w 2368274"/>
                    <a:gd name="connsiteY1082" fmla="*/ 272118 h 2457568"/>
                    <a:gd name="connsiteX1083" fmla="*/ 605598 w 2368274"/>
                    <a:gd name="connsiteY1083" fmla="*/ 272118 h 2457568"/>
                    <a:gd name="connsiteX1084" fmla="*/ 605598 w 2368274"/>
                    <a:gd name="connsiteY1084" fmla="*/ 272118 h 2457568"/>
                    <a:gd name="connsiteX1085" fmla="*/ 605598 w 2368274"/>
                    <a:gd name="connsiteY1085" fmla="*/ 272118 h 2457568"/>
                    <a:gd name="connsiteX1086" fmla="*/ 605598 w 2368274"/>
                    <a:gd name="connsiteY1086" fmla="*/ 272118 h 2457568"/>
                    <a:gd name="connsiteX1087" fmla="*/ 605598 w 2368274"/>
                    <a:gd name="connsiteY1087" fmla="*/ 272118 h 2457568"/>
                    <a:gd name="connsiteX1088" fmla="*/ 605598 w 2368274"/>
                    <a:gd name="connsiteY1088" fmla="*/ 272118 h 2457568"/>
                    <a:gd name="connsiteX1089" fmla="*/ 605598 w 2368274"/>
                    <a:gd name="connsiteY1089" fmla="*/ 272118 h 2457568"/>
                    <a:gd name="connsiteX1090" fmla="*/ 605598 w 2368274"/>
                    <a:gd name="connsiteY1090" fmla="*/ 272118 h 2457568"/>
                    <a:gd name="connsiteX1091" fmla="*/ 605598 w 2368274"/>
                    <a:gd name="connsiteY1091" fmla="*/ 272118 h 2457568"/>
                    <a:gd name="connsiteX1092" fmla="*/ 605598 w 2368274"/>
                    <a:gd name="connsiteY1092" fmla="*/ 272118 h 2457568"/>
                    <a:gd name="connsiteX1093" fmla="*/ 605598 w 2368274"/>
                    <a:gd name="connsiteY1093" fmla="*/ 272118 h 2457568"/>
                    <a:gd name="connsiteX1094" fmla="*/ 605598 w 2368274"/>
                    <a:gd name="connsiteY1094" fmla="*/ 272118 h 2457568"/>
                    <a:gd name="connsiteX1095" fmla="*/ 605598 w 2368274"/>
                    <a:gd name="connsiteY1095" fmla="*/ 272118 h 2457568"/>
                    <a:gd name="connsiteX1096" fmla="*/ 605598 w 2368274"/>
                    <a:gd name="connsiteY1096" fmla="*/ 272118 h 2457568"/>
                    <a:gd name="connsiteX1097" fmla="*/ 605598 w 2368274"/>
                    <a:gd name="connsiteY1097" fmla="*/ 272118 h 2457568"/>
                    <a:gd name="connsiteX1098" fmla="*/ 605598 w 2368274"/>
                    <a:gd name="connsiteY1098" fmla="*/ 272118 h 2457568"/>
                    <a:gd name="connsiteX1099" fmla="*/ 605598 w 2368274"/>
                    <a:gd name="connsiteY1099" fmla="*/ 272118 h 2457568"/>
                    <a:gd name="connsiteX1100" fmla="*/ 605598 w 2368274"/>
                    <a:gd name="connsiteY1100" fmla="*/ 272118 h 2457568"/>
                    <a:gd name="connsiteX1101" fmla="*/ 605598 w 2368274"/>
                    <a:gd name="connsiteY1101" fmla="*/ 272118 h 2457568"/>
                    <a:gd name="connsiteX1102" fmla="*/ 605598 w 2368274"/>
                    <a:gd name="connsiteY1102" fmla="*/ 272118 h 2457568"/>
                    <a:gd name="connsiteX1103" fmla="*/ 605598 w 2368274"/>
                    <a:gd name="connsiteY1103" fmla="*/ 272118 h 2457568"/>
                    <a:gd name="connsiteX1104" fmla="*/ 605598 w 2368274"/>
                    <a:gd name="connsiteY1104" fmla="*/ 272118 h 2457568"/>
                    <a:gd name="connsiteX1105" fmla="*/ 605598 w 2368274"/>
                    <a:gd name="connsiteY1105" fmla="*/ 272118 h 2457568"/>
                    <a:gd name="connsiteX1106" fmla="*/ 605598 w 2368274"/>
                    <a:gd name="connsiteY1106" fmla="*/ 272118 h 2457568"/>
                    <a:gd name="connsiteX1107" fmla="*/ 605598 w 2368274"/>
                    <a:gd name="connsiteY1107" fmla="*/ 272118 h 2457568"/>
                    <a:gd name="connsiteX1108" fmla="*/ 605598 w 2368274"/>
                    <a:gd name="connsiteY1108" fmla="*/ 272118 h 2457568"/>
                    <a:gd name="connsiteX1109" fmla="*/ 605598 w 2368274"/>
                    <a:gd name="connsiteY1109" fmla="*/ 272118 h 2457568"/>
                    <a:gd name="connsiteX1110" fmla="*/ 605598 w 2368274"/>
                    <a:gd name="connsiteY1110" fmla="*/ 272118 h 2457568"/>
                    <a:gd name="connsiteX1111" fmla="*/ 605598 w 2368274"/>
                    <a:gd name="connsiteY1111" fmla="*/ 272118 h 2457568"/>
                    <a:gd name="connsiteX1112" fmla="*/ 605598 w 2368274"/>
                    <a:gd name="connsiteY1112" fmla="*/ 272118 h 2457568"/>
                    <a:gd name="connsiteX1113" fmla="*/ 605598 w 2368274"/>
                    <a:gd name="connsiteY1113" fmla="*/ 272118 h 2457568"/>
                    <a:gd name="connsiteX1114" fmla="*/ 605598 w 2368274"/>
                    <a:gd name="connsiteY1114" fmla="*/ 272118 h 2457568"/>
                    <a:gd name="connsiteX1115" fmla="*/ 605598 w 2368274"/>
                    <a:gd name="connsiteY1115" fmla="*/ 272118 h 2457568"/>
                    <a:gd name="connsiteX1116" fmla="*/ 605598 w 2368274"/>
                    <a:gd name="connsiteY1116" fmla="*/ 272118 h 2457568"/>
                    <a:gd name="connsiteX1117" fmla="*/ 605598 w 2368274"/>
                    <a:gd name="connsiteY1117" fmla="*/ 272118 h 2457568"/>
                    <a:gd name="connsiteX1118" fmla="*/ 605598 w 2368274"/>
                    <a:gd name="connsiteY1118" fmla="*/ 272118 h 2457568"/>
                    <a:gd name="connsiteX1119" fmla="*/ 581981 w 2368274"/>
                    <a:gd name="connsiteY1119" fmla="*/ 259507 h 2457568"/>
                    <a:gd name="connsiteX1120" fmla="*/ 582062 w 2368274"/>
                    <a:gd name="connsiteY1120" fmla="*/ 255089 h 2457568"/>
                    <a:gd name="connsiteX1121" fmla="*/ 583749 w 2368274"/>
                    <a:gd name="connsiteY1121" fmla="*/ 258382 h 2457568"/>
                    <a:gd name="connsiteX1122" fmla="*/ 581981 w 2368274"/>
                    <a:gd name="connsiteY1122" fmla="*/ 259828 h 2457568"/>
                    <a:gd name="connsiteX1123" fmla="*/ 581981 w 2368274"/>
                    <a:gd name="connsiteY1123" fmla="*/ 259507 h 2457568"/>
                    <a:gd name="connsiteX1124" fmla="*/ 568245 w 2368274"/>
                    <a:gd name="connsiteY1124" fmla="*/ 237738 h 2457568"/>
                    <a:gd name="connsiteX1125" fmla="*/ 560775 w 2368274"/>
                    <a:gd name="connsiteY1125" fmla="*/ 241513 h 2457568"/>
                    <a:gd name="connsiteX1126" fmla="*/ 540131 w 2368274"/>
                    <a:gd name="connsiteY1126" fmla="*/ 249305 h 2457568"/>
                    <a:gd name="connsiteX1127" fmla="*/ 562944 w 2368274"/>
                    <a:gd name="connsiteY1127" fmla="*/ 234284 h 2457568"/>
                    <a:gd name="connsiteX1128" fmla="*/ 568245 w 2368274"/>
                    <a:gd name="connsiteY1128" fmla="*/ 236051 h 2457568"/>
                    <a:gd name="connsiteX1129" fmla="*/ 568888 w 2368274"/>
                    <a:gd name="connsiteY1129" fmla="*/ 237577 h 2457568"/>
                    <a:gd name="connsiteX1130" fmla="*/ 568245 w 2368274"/>
                    <a:gd name="connsiteY1130" fmla="*/ 237738 h 2457568"/>
                    <a:gd name="connsiteX1131" fmla="*/ 560614 w 2368274"/>
                    <a:gd name="connsiteY1131" fmla="*/ 232276 h 2457568"/>
                    <a:gd name="connsiteX1132" fmla="*/ 556276 w 2368274"/>
                    <a:gd name="connsiteY1132" fmla="*/ 232838 h 2457568"/>
                    <a:gd name="connsiteX1133" fmla="*/ 556116 w 2368274"/>
                    <a:gd name="connsiteY1133" fmla="*/ 232356 h 2457568"/>
                    <a:gd name="connsiteX1134" fmla="*/ 565032 w 2368274"/>
                    <a:gd name="connsiteY1134" fmla="*/ 226010 h 2457568"/>
                    <a:gd name="connsiteX1135" fmla="*/ 565755 w 2368274"/>
                    <a:gd name="connsiteY1135" fmla="*/ 225849 h 2457568"/>
                    <a:gd name="connsiteX1136" fmla="*/ 571137 w 2368274"/>
                    <a:gd name="connsiteY1136" fmla="*/ 224403 h 2457568"/>
                    <a:gd name="connsiteX1137" fmla="*/ 560614 w 2368274"/>
                    <a:gd name="connsiteY1137" fmla="*/ 232276 h 2457568"/>
                    <a:gd name="connsiteX1138" fmla="*/ 609695 w 2368274"/>
                    <a:gd name="connsiteY1138" fmla="*/ 254607 h 2457568"/>
                    <a:gd name="connsiteX1139" fmla="*/ 607847 w 2368274"/>
                    <a:gd name="connsiteY1139" fmla="*/ 254607 h 2457568"/>
                    <a:gd name="connsiteX1140" fmla="*/ 607526 w 2368274"/>
                    <a:gd name="connsiteY1140" fmla="*/ 254366 h 2457568"/>
                    <a:gd name="connsiteX1141" fmla="*/ 610096 w 2368274"/>
                    <a:gd name="connsiteY1141" fmla="*/ 254526 h 2457568"/>
                    <a:gd name="connsiteX1142" fmla="*/ 609695 w 2368274"/>
                    <a:gd name="connsiteY1142" fmla="*/ 254607 h 2457568"/>
                    <a:gd name="connsiteX1143" fmla="*/ 622467 w 2368274"/>
                    <a:gd name="connsiteY1143" fmla="*/ 251795 h 2457568"/>
                    <a:gd name="connsiteX1144" fmla="*/ 610016 w 2368274"/>
                    <a:gd name="connsiteY1144" fmla="*/ 254526 h 2457568"/>
                    <a:gd name="connsiteX1145" fmla="*/ 612426 w 2368274"/>
                    <a:gd name="connsiteY1145" fmla="*/ 253482 h 2457568"/>
                    <a:gd name="connsiteX1146" fmla="*/ 628572 w 2368274"/>
                    <a:gd name="connsiteY1146" fmla="*/ 237898 h 2457568"/>
                    <a:gd name="connsiteX1147" fmla="*/ 622467 w 2368274"/>
                    <a:gd name="connsiteY1147" fmla="*/ 251795 h 2457568"/>
                    <a:gd name="connsiteX1148" fmla="*/ 590737 w 2368274"/>
                    <a:gd name="connsiteY1148" fmla="*/ 226411 h 2457568"/>
                    <a:gd name="connsiteX1149" fmla="*/ 587444 w 2368274"/>
                    <a:gd name="connsiteY1149" fmla="*/ 221833 h 2457568"/>
                    <a:gd name="connsiteX1150" fmla="*/ 582785 w 2368274"/>
                    <a:gd name="connsiteY1150" fmla="*/ 220949 h 2457568"/>
                    <a:gd name="connsiteX1151" fmla="*/ 596119 w 2368274"/>
                    <a:gd name="connsiteY1151" fmla="*/ 216852 h 2457568"/>
                    <a:gd name="connsiteX1152" fmla="*/ 603991 w 2368274"/>
                    <a:gd name="connsiteY1152" fmla="*/ 218218 h 2457568"/>
                    <a:gd name="connsiteX1153" fmla="*/ 603108 w 2368274"/>
                    <a:gd name="connsiteY1153" fmla="*/ 219262 h 2457568"/>
                    <a:gd name="connsiteX1154" fmla="*/ 591058 w 2368274"/>
                    <a:gd name="connsiteY1154" fmla="*/ 226652 h 2457568"/>
                    <a:gd name="connsiteX1155" fmla="*/ 590737 w 2368274"/>
                    <a:gd name="connsiteY1155" fmla="*/ 226411 h 2457568"/>
                    <a:gd name="connsiteX1156" fmla="*/ 587604 w 2368274"/>
                    <a:gd name="connsiteY1156" fmla="*/ 259828 h 2457568"/>
                    <a:gd name="connsiteX1157" fmla="*/ 606240 w 2368274"/>
                    <a:gd name="connsiteY1157" fmla="*/ 237336 h 2457568"/>
                    <a:gd name="connsiteX1158" fmla="*/ 606160 w 2368274"/>
                    <a:gd name="connsiteY1158" fmla="*/ 237256 h 2457568"/>
                    <a:gd name="connsiteX1159" fmla="*/ 606080 w 2368274"/>
                    <a:gd name="connsiteY1159" fmla="*/ 237175 h 2457568"/>
                    <a:gd name="connsiteX1160" fmla="*/ 605999 w 2368274"/>
                    <a:gd name="connsiteY1160" fmla="*/ 237095 h 2457568"/>
                    <a:gd name="connsiteX1161" fmla="*/ 605919 w 2368274"/>
                    <a:gd name="connsiteY1161" fmla="*/ 237015 h 2457568"/>
                    <a:gd name="connsiteX1162" fmla="*/ 605839 w 2368274"/>
                    <a:gd name="connsiteY1162" fmla="*/ 236934 h 2457568"/>
                    <a:gd name="connsiteX1163" fmla="*/ 605758 w 2368274"/>
                    <a:gd name="connsiteY1163" fmla="*/ 236854 h 2457568"/>
                    <a:gd name="connsiteX1164" fmla="*/ 605678 w 2368274"/>
                    <a:gd name="connsiteY1164" fmla="*/ 236774 h 2457568"/>
                    <a:gd name="connsiteX1165" fmla="*/ 605598 w 2368274"/>
                    <a:gd name="connsiteY1165" fmla="*/ 236693 h 2457568"/>
                    <a:gd name="connsiteX1166" fmla="*/ 615157 w 2368274"/>
                    <a:gd name="connsiteY1166" fmla="*/ 227134 h 2457568"/>
                    <a:gd name="connsiteX1167" fmla="*/ 632990 w 2368274"/>
                    <a:gd name="connsiteY1167" fmla="*/ 212354 h 2457568"/>
                    <a:gd name="connsiteX1168" fmla="*/ 650822 w 2368274"/>
                    <a:gd name="connsiteY1168" fmla="*/ 205848 h 2457568"/>
                    <a:gd name="connsiteX1169" fmla="*/ 635962 w 2368274"/>
                    <a:gd name="connsiteY1169" fmla="*/ 218379 h 2457568"/>
                    <a:gd name="connsiteX1170" fmla="*/ 630500 w 2368274"/>
                    <a:gd name="connsiteY1170" fmla="*/ 222716 h 2457568"/>
                    <a:gd name="connsiteX1171" fmla="*/ 620780 w 2368274"/>
                    <a:gd name="connsiteY1171" fmla="*/ 235971 h 2457568"/>
                    <a:gd name="connsiteX1172" fmla="*/ 617968 w 2368274"/>
                    <a:gd name="connsiteY1172" fmla="*/ 238622 h 2457568"/>
                    <a:gd name="connsiteX1173" fmla="*/ 592585 w 2368274"/>
                    <a:gd name="connsiteY1173" fmla="*/ 258944 h 2457568"/>
                    <a:gd name="connsiteX1174" fmla="*/ 587604 w 2368274"/>
                    <a:gd name="connsiteY1174" fmla="*/ 259828 h 2457568"/>
                    <a:gd name="connsiteX1175" fmla="*/ 705204 w 2368274"/>
                    <a:gd name="connsiteY1175" fmla="*/ 227536 h 2457568"/>
                    <a:gd name="connsiteX1176" fmla="*/ 668173 w 2368274"/>
                    <a:gd name="connsiteY1176" fmla="*/ 248903 h 2457568"/>
                    <a:gd name="connsiteX1177" fmla="*/ 672109 w 2368274"/>
                    <a:gd name="connsiteY1177" fmla="*/ 244485 h 2457568"/>
                    <a:gd name="connsiteX1178" fmla="*/ 650341 w 2368274"/>
                    <a:gd name="connsiteY1178" fmla="*/ 258543 h 2457568"/>
                    <a:gd name="connsiteX1179" fmla="*/ 656044 w 2368274"/>
                    <a:gd name="connsiteY1179" fmla="*/ 248261 h 2457568"/>
                    <a:gd name="connsiteX1180" fmla="*/ 639416 w 2368274"/>
                    <a:gd name="connsiteY1180" fmla="*/ 263844 h 2457568"/>
                    <a:gd name="connsiteX1181" fmla="*/ 646726 w 2368274"/>
                    <a:gd name="connsiteY1181" fmla="*/ 248020 h 2457568"/>
                    <a:gd name="connsiteX1182" fmla="*/ 686488 w 2368274"/>
                    <a:gd name="connsiteY1182" fmla="*/ 220869 h 2457568"/>
                    <a:gd name="connsiteX1183" fmla="*/ 675001 w 2368274"/>
                    <a:gd name="connsiteY1183" fmla="*/ 217415 h 2457568"/>
                    <a:gd name="connsiteX1184" fmla="*/ 695646 w 2368274"/>
                    <a:gd name="connsiteY1184" fmla="*/ 205125 h 2457568"/>
                    <a:gd name="connsiteX1185" fmla="*/ 690424 w 2368274"/>
                    <a:gd name="connsiteY1185" fmla="*/ 204723 h 2457568"/>
                    <a:gd name="connsiteX1186" fmla="*/ 711309 w 2368274"/>
                    <a:gd name="connsiteY1186" fmla="*/ 189220 h 2457568"/>
                    <a:gd name="connsiteX1187" fmla="*/ 711068 w 2368274"/>
                    <a:gd name="connsiteY1187" fmla="*/ 194280 h 2457568"/>
                    <a:gd name="connsiteX1188" fmla="*/ 720386 w 2368274"/>
                    <a:gd name="connsiteY1188" fmla="*/ 189862 h 2457568"/>
                    <a:gd name="connsiteX1189" fmla="*/ 715487 w 2368274"/>
                    <a:gd name="connsiteY1189" fmla="*/ 191067 h 2457568"/>
                    <a:gd name="connsiteX1190" fmla="*/ 744967 w 2368274"/>
                    <a:gd name="connsiteY1190" fmla="*/ 172030 h 2457568"/>
                    <a:gd name="connsiteX1191" fmla="*/ 745610 w 2368274"/>
                    <a:gd name="connsiteY1191" fmla="*/ 172672 h 2457568"/>
                    <a:gd name="connsiteX1192" fmla="*/ 741673 w 2368274"/>
                    <a:gd name="connsiteY1192" fmla="*/ 177894 h 2457568"/>
                    <a:gd name="connsiteX1193" fmla="*/ 788585 w 2368274"/>
                    <a:gd name="connsiteY1193" fmla="*/ 151225 h 2457568"/>
                    <a:gd name="connsiteX1194" fmla="*/ 791718 w 2368274"/>
                    <a:gd name="connsiteY1194" fmla="*/ 150984 h 2457568"/>
                    <a:gd name="connsiteX1195" fmla="*/ 732275 w 2368274"/>
                    <a:gd name="connsiteY1195" fmla="*/ 198538 h 2457568"/>
                    <a:gd name="connsiteX1196" fmla="*/ 744083 w 2368274"/>
                    <a:gd name="connsiteY1196" fmla="*/ 191148 h 2457568"/>
                    <a:gd name="connsiteX1197" fmla="*/ 709301 w 2368274"/>
                    <a:gd name="connsiteY1197" fmla="*/ 222716 h 2457568"/>
                    <a:gd name="connsiteX1198" fmla="*/ 716611 w 2368274"/>
                    <a:gd name="connsiteY1198" fmla="*/ 218218 h 2457568"/>
                    <a:gd name="connsiteX1199" fmla="*/ 705204 w 2368274"/>
                    <a:gd name="connsiteY1199" fmla="*/ 227536 h 2457568"/>
                    <a:gd name="connsiteX1200" fmla="*/ 903615 w 2368274"/>
                    <a:gd name="connsiteY1200" fmla="*/ 123190 h 2457568"/>
                    <a:gd name="connsiteX1201" fmla="*/ 844895 w 2368274"/>
                    <a:gd name="connsiteY1201" fmla="*/ 166647 h 2457568"/>
                    <a:gd name="connsiteX1202" fmla="*/ 865057 w 2368274"/>
                    <a:gd name="connsiteY1202" fmla="*/ 158294 h 2457568"/>
                    <a:gd name="connsiteX1203" fmla="*/ 803606 w 2368274"/>
                    <a:gd name="connsiteY1203" fmla="*/ 198939 h 2457568"/>
                    <a:gd name="connsiteX1204" fmla="*/ 780472 w 2368274"/>
                    <a:gd name="connsiteY1204" fmla="*/ 220307 h 2457568"/>
                    <a:gd name="connsiteX1205" fmla="*/ 778785 w 2368274"/>
                    <a:gd name="connsiteY1205" fmla="*/ 221431 h 2457568"/>
                    <a:gd name="connsiteX1206" fmla="*/ 768342 w 2368274"/>
                    <a:gd name="connsiteY1206" fmla="*/ 219343 h 2457568"/>
                    <a:gd name="connsiteX1207" fmla="*/ 746493 w 2368274"/>
                    <a:gd name="connsiteY1207" fmla="*/ 228902 h 2457568"/>
                    <a:gd name="connsiteX1208" fmla="*/ 746172 w 2368274"/>
                    <a:gd name="connsiteY1208" fmla="*/ 240630 h 2457568"/>
                    <a:gd name="connsiteX1209" fmla="*/ 723841 w 2368274"/>
                    <a:gd name="connsiteY1209" fmla="*/ 244084 h 2457568"/>
                    <a:gd name="connsiteX1210" fmla="*/ 727214 w 2368274"/>
                    <a:gd name="connsiteY1210" fmla="*/ 257739 h 2457568"/>
                    <a:gd name="connsiteX1211" fmla="*/ 721591 w 2368274"/>
                    <a:gd name="connsiteY1211" fmla="*/ 261274 h 2457568"/>
                    <a:gd name="connsiteX1212" fmla="*/ 664318 w 2368274"/>
                    <a:gd name="connsiteY1212" fmla="*/ 296618 h 2457568"/>
                    <a:gd name="connsiteX1213" fmla="*/ 653875 w 2368274"/>
                    <a:gd name="connsiteY1213" fmla="*/ 295092 h 2457568"/>
                    <a:gd name="connsiteX1214" fmla="*/ 643031 w 2368274"/>
                    <a:gd name="connsiteY1214" fmla="*/ 301759 h 2457568"/>
                    <a:gd name="connsiteX1215" fmla="*/ 624073 w 2368274"/>
                    <a:gd name="connsiteY1215" fmla="*/ 322082 h 2457568"/>
                    <a:gd name="connsiteX1216" fmla="*/ 622226 w 2368274"/>
                    <a:gd name="connsiteY1216" fmla="*/ 320235 h 2457568"/>
                    <a:gd name="connsiteX1217" fmla="*/ 610337 w 2368274"/>
                    <a:gd name="connsiteY1217" fmla="*/ 328589 h 2457568"/>
                    <a:gd name="connsiteX1218" fmla="*/ 611221 w 2368274"/>
                    <a:gd name="connsiteY1218" fmla="*/ 319672 h 2457568"/>
                    <a:gd name="connsiteX1219" fmla="*/ 595798 w 2368274"/>
                    <a:gd name="connsiteY1219" fmla="*/ 329954 h 2457568"/>
                    <a:gd name="connsiteX1220" fmla="*/ 593790 w 2368274"/>
                    <a:gd name="connsiteY1220" fmla="*/ 328910 h 2457568"/>
                    <a:gd name="connsiteX1221" fmla="*/ 596360 w 2368274"/>
                    <a:gd name="connsiteY1221" fmla="*/ 319512 h 2457568"/>
                    <a:gd name="connsiteX1222" fmla="*/ 588488 w 2368274"/>
                    <a:gd name="connsiteY1222" fmla="*/ 325777 h 2457568"/>
                    <a:gd name="connsiteX1223" fmla="*/ 591058 w 2368274"/>
                    <a:gd name="connsiteY1223" fmla="*/ 317905 h 2457568"/>
                    <a:gd name="connsiteX1224" fmla="*/ 584472 w 2368274"/>
                    <a:gd name="connsiteY1224" fmla="*/ 324331 h 2457568"/>
                    <a:gd name="connsiteX1225" fmla="*/ 581258 w 2368274"/>
                    <a:gd name="connsiteY1225" fmla="*/ 322404 h 2457568"/>
                    <a:gd name="connsiteX1226" fmla="*/ 592424 w 2368274"/>
                    <a:gd name="connsiteY1226" fmla="*/ 310435 h 2457568"/>
                    <a:gd name="connsiteX1227" fmla="*/ 580295 w 2368274"/>
                    <a:gd name="connsiteY1227" fmla="*/ 321600 h 2457568"/>
                    <a:gd name="connsiteX1228" fmla="*/ 614755 w 2368274"/>
                    <a:gd name="connsiteY1228" fmla="*/ 299510 h 2457568"/>
                    <a:gd name="connsiteX1229" fmla="*/ 639496 w 2368274"/>
                    <a:gd name="connsiteY1229" fmla="*/ 275894 h 2457568"/>
                    <a:gd name="connsiteX1230" fmla="*/ 631222 w 2368274"/>
                    <a:gd name="connsiteY1230" fmla="*/ 294289 h 2457568"/>
                    <a:gd name="connsiteX1231" fmla="*/ 647770 w 2368274"/>
                    <a:gd name="connsiteY1231" fmla="*/ 285854 h 2457568"/>
                    <a:gd name="connsiteX1232" fmla="*/ 639175 w 2368274"/>
                    <a:gd name="connsiteY1232" fmla="*/ 288184 h 2457568"/>
                    <a:gd name="connsiteX1233" fmla="*/ 663755 w 2368274"/>
                    <a:gd name="connsiteY1233" fmla="*/ 267941 h 2457568"/>
                    <a:gd name="connsiteX1234" fmla="*/ 662711 w 2368274"/>
                    <a:gd name="connsiteY1234" fmla="*/ 266575 h 2457568"/>
                    <a:gd name="connsiteX1235" fmla="*/ 662229 w 2368274"/>
                    <a:gd name="connsiteY1235" fmla="*/ 266656 h 2457568"/>
                    <a:gd name="connsiteX1236" fmla="*/ 668173 w 2368274"/>
                    <a:gd name="connsiteY1236" fmla="*/ 261756 h 2457568"/>
                    <a:gd name="connsiteX1237" fmla="*/ 650341 w 2368274"/>
                    <a:gd name="connsiteY1237" fmla="*/ 270512 h 2457568"/>
                    <a:gd name="connsiteX1238" fmla="*/ 661827 w 2368274"/>
                    <a:gd name="connsiteY1238" fmla="*/ 261997 h 2457568"/>
                    <a:gd name="connsiteX1239" fmla="*/ 704803 w 2368274"/>
                    <a:gd name="connsiteY1239" fmla="*/ 244405 h 2457568"/>
                    <a:gd name="connsiteX1240" fmla="*/ 695083 w 2368274"/>
                    <a:gd name="connsiteY1240" fmla="*/ 241995 h 2457568"/>
                    <a:gd name="connsiteX1241" fmla="*/ 748341 w 2368274"/>
                    <a:gd name="connsiteY1241" fmla="*/ 192834 h 2457568"/>
                    <a:gd name="connsiteX1242" fmla="*/ 739665 w 2368274"/>
                    <a:gd name="connsiteY1242" fmla="*/ 220949 h 2457568"/>
                    <a:gd name="connsiteX1243" fmla="*/ 804169 w 2368274"/>
                    <a:gd name="connsiteY1243" fmla="*/ 178376 h 2457568"/>
                    <a:gd name="connsiteX1244" fmla="*/ 803044 w 2368274"/>
                    <a:gd name="connsiteY1244" fmla="*/ 176206 h 2457568"/>
                    <a:gd name="connsiteX1245" fmla="*/ 813567 w 2368274"/>
                    <a:gd name="connsiteY1245" fmla="*/ 167210 h 2457568"/>
                    <a:gd name="connsiteX1246" fmla="*/ 771475 w 2368274"/>
                    <a:gd name="connsiteY1246" fmla="*/ 186087 h 2457568"/>
                    <a:gd name="connsiteX1247" fmla="*/ 783123 w 2368274"/>
                    <a:gd name="connsiteY1247" fmla="*/ 179420 h 2457568"/>
                    <a:gd name="connsiteX1248" fmla="*/ 762639 w 2368274"/>
                    <a:gd name="connsiteY1248" fmla="*/ 185203 h 2457568"/>
                    <a:gd name="connsiteX1249" fmla="*/ 799831 w 2368274"/>
                    <a:gd name="connsiteY1249" fmla="*/ 165041 h 2457568"/>
                    <a:gd name="connsiteX1250" fmla="*/ 767057 w 2368274"/>
                    <a:gd name="connsiteY1250" fmla="*/ 176447 h 2457568"/>
                    <a:gd name="connsiteX1251" fmla="*/ 803606 w 2368274"/>
                    <a:gd name="connsiteY1251" fmla="*/ 159016 h 2457568"/>
                    <a:gd name="connsiteX1252" fmla="*/ 781677 w 2368274"/>
                    <a:gd name="connsiteY1252" fmla="*/ 165844 h 2457568"/>
                    <a:gd name="connsiteX1253" fmla="*/ 782078 w 2368274"/>
                    <a:gd name="connsiteY1253" fmla="*/ 163675 h 2457568"/>
                    <a:gd name="connsiteX1254" fmla="*/ 803205 w 2368274"/>
                    <a:gd name="connsiteY1254" fmla="*/ 151385 h 2457568"/>
                    <a:gd name="connsiteX1255" fmla="*/ 801357 w 2368274"/>
                    <a:gd name="connsiteY1255" fmla="*/ 151626 h 2457568"/>
                    <a:gd name="connsiteX1256" fmla="*/ 814933 w 2368274"/>
                    <a:gd name="connsiteY1256" fmla="*/ 143834 h 2457568"/>
                    <a:gd name="connsiteX1257" fmla="*/ 808346 w 2368274"/>
                    <a:gd name="connsiteY1257" fmla="*/ 145200 h 2457568"/>
                    <a:gd name="connsiteX1258" fmla="*/ 870038 w 2368274"/>
                    <a:gd name="connsiteY1258" fmla="*/ 119977 h 2457568"/>
                    <a:gd name="connsiteX1259" fmla="*/ 849474 w 2368274"/>
                    <a:gd name="connsiteY1259" fmla="*/ 139095 h 2457568"/>
                    <a:gd name="connsiteX1260" fmla="*/ 901205 w 2368274"/>
                    <a:gd name="connsiteY1260" fmla="*/ 106883 h 2457568"/>
                    <a:gd name="connsiteX1261" fmla="*/ 898152 w 2368274"/>
                    <a:gd name="connsiteY1261" fmla="*/ 110177 h 2457568"/>
                    <a:gd name="connsiteX1262" fmla="*/ 914539 w 2368274"/>
                    <a:gd name="connsiteY1262" fmla="*/ 100698 h 2457568"/>
                    <a:gd name="connsiteX1263" fmla="*/ 892449 w 2368274"/>
                    <a:gd name="connsiteY1263" fmla="*/ 116041 h 2457568"/>
                    <a:gd name="connsiteX1264" fmla="*/ 922572 w 2368274"/>
                    <a:gd name="connsiteY1264" fmla="*/ 97646 h 2457568"/>
                    <a:gd name="connsiteX1265" fmla="*/ 907149 w 2368274"/>
                    <a:gd name="connsiteY1265" fmla="*/ 109454 h 2457568"/>
                    <a:gd name="connsiteX1266" fmla="*/ 924500 w 2368274"/>
                    <a:gd name="connsiteY1266" fmla="*/ 97967 h 2457568"/>
                    <a:gd name="connsiteX1267" fmla="*/ 919038 w 2368274"/>
                    <a:gd name="connsiteY1267" fmla="*/ 102787 h 2457568"/>
                    <a:gd name="connsiteX1268" fmla="*/ 926910 w 2368274"/>
                    <a:gd name="connsiteY1268" fmla="*/ 98449 h 2457568"/>
                    <a:gd name="connsiteX1269" fmla="*/ 908354 w 2368274"/>
                    <a:gd name="connsiteY1269" fmla="*/ 112587 h 2457568"/>
                    <a:gd name="connsiteX1270" fmla="*/ 920082 w 2368274"/>
                    <a:gd name="connsiteY1270" fmla="*/ 106562 h 2457568"/>
                    <a:gd name="connsiteX1271" fmla="*/ 903615 w 2368274"/>
                    <a:gd name="connsiteY1271" fmla="*/ 123190 h 2457568"/>
                    <a:gd name="connsiteX1272" fmla="*/ 5066 w 2368274"/>
                    <a:gd name="connsiteY1272" fmla="*/ 803006 h 2457568"/>
                    <a:gd name="connsiteX1273" fmla="*/ 15027 w 2368274"/>
                    <a:gd name="connsiteY1273" fmla="*/ 774489 h 2457568"/>
                    <a:gd name="connsiteX1274" fmla="*/ 16392 w 2368274"/>
                    <a:gd name="connsiteY1274" fmla="*/ 773606 h 2457568"/>
                    <a:gd name="connsiteX1275" fmla="*/ 18481 w 2368274"/>
                    <a:gd name="connsiteY1275" fmla="*/ 767180 h 2457568"/>
                    <a:gd name="connsiteX1276" fmla="*/ 17276 w 2368274"/>
                    <a:gd name="connsiteY1276" fmla="*/ 766055 h 2457568"/>
                    <a:gd name="connsiteX1277" fmla="*/ 21854 w 2368274"/>
                    <a:gd name="connsiteY1277" fmla="*/ 755291 h 2457568"/>
                    <a:gd name="connsiteX1278" fmla="*/ 20649 w 2368274"/>
                    <a:gd name="connsiteY1278" fmla="*/ 756335 h 2457568"/>
                    <a:gd name="connsiteX1279" fmla="*/ 26915 w 2368274"/>
                    <a:gd name="connsiteY1279" fmla="*/ 739547 h 2457568"/>
                    <a:gd name="connsiteX1280" fmla="*/ 24987 w 2368274"/>
                    <a:gd name="connsiteY1280" fmla="*/ 742680 h 2457568"/>
                    <a:gd name="connsiteX1281" fmla="*/ 25309 w 2368274"/>
                    <a:gd name="connsiteY1281" fmla="*/ 739145 h 2457568"/>
                    <a:gd name="connsiteX1282" fmla="*/ 24104 w 2368274"/>
                    <a:gd name="connsiteY1282" fmla="*/ 738101 h 2457568"/>
                    <a:gd name="connsiteX1283" fmla="*/ 32859 w 2368274"/>
                    <a:gd name="connsiteY1283" fmla="*/ 716734 h 2457568"/>
                    <a:gd name="connsiteX1284" fmla="*/ 36876 w 2368274"/>
                    <a:gd name="connsiteY1284" fmla="*/ 706050 h 2457568"/>
                    <a:gd name="connsiteX1285" fmla="*/ 36956 w 2368274"/>
                    <a:gd name="connsiteY1285" fmla="*/ 705327 h 2457568"/>
                    <a:gd name="connsiteX1286" fmla="*/ 37840 w 2368274"/>
                    <a:gd name="connsiteY1286" fmla="*/ 703801 h 2457568"/>
                    <a:gd name="connsiteX1287" fmla="*/ 35912 w 2368274"/>
                    <a:gd name="connsiteY1287" fmla="*/ 706612 h 2457568"/>
                    <a:gd name="connsiteX1288" fmla="*/ 50451 w 2368274"/>
                    <a:gd name="connsiteY1288" fmla="*/ 675927 h 2457568"/>
                    <a:gd name="connsiteX1289" fmla="*/ 50291 w 2368274"/>
                    <a:gd name="connsiteY1289" fmla="*/ 677614 h 2457568"/>
                    <a:gd name="connsiteX1290" fmla="*/ 53263 w 2368274"/>
                    <a:gd name="connsiteY1290" fmla="*/ 671268 h 2457568"/>
                    <a:gd name="connsiteX1291" fmla="*/ 49327 w 2368274"/>
                    <a:gd name="connsiteY1291" fmla="*/ 676088 h 2457568"/>
                    <a:gd name="connsiteX1292" fmla="*/ 74148 w 2368274"/>
                    <a:gd name="connsiteY1292" fmla="*/ 631425 h 2457568"/>
                    <a:gd name="connsiteX1293" fmla="*/ 66517 w 2368274"/>
                    <a:gd name="connsiteY1293" fmla="*/ 642832 h 2457568"/>
                    <a:gd name="connsiteX1294" fmla="*/ 77763 w 2368274"/>
                    <a:gd name="connsiteY1294" fmla="*/ 622589 h 2457568"/>
                    <a:gd name="connsiteX1295" fmla="*/ 76397 w 2368274"/>
                    <a:gd name="connsiteY1295" fmla="*/ 623553 h 2457568"/>
                    <a:gd name="connsiteX1296" fmla="*/ 123469 w 2368274"/>
                    <a:gd name="connsiteY1296" fmla="*/ 544189 h 2457568"/>
                    <a:gd name="connsiteX1297" fmla="*/ 121140 w 2368274"/>
                    <a:gd name="connsiteY1297" fmla="*/ 547482 h 2457568"/>
                    <a:gd name="connsiteX1298" fmla="*/ 121300 w 2368274"/>
                    <a:gd name="connsiteY1298" fmla="*/ 547081 h 2457568"/>
                    <a:gd name="connsiteX1299" fmla="*/ 111259 w 2368274"/>
                    <a:gd name="connsiteY1299" fmla="*/ 562022 h 2457568"/>
                    <a:gd name="connsiteX1300" fmla="*/ 119051 w 2368274"/>
                    <a:gd name="connsiteY1300" fmla="*/ 549732 h 2457568"/>
                    <a:gd name="connsiteX1301" fmla="*/ 120818 w 2368274"/>
                    <a:gd name="connsiteY1301" fmla="*/ 547001 h 2457568"/>
                    <a:gd name="connsiteX1302" fmla="*/ 119694 w 2368274"/>
                    <a:gd name="connsiteY1302" fmla="*/ 548607 h 2457568"/>
                    <a:gd name="connsiteX1303" fmla="*/ 123871 w 2368274"/>
                    <a:gd name="connsiteY1303" fmla="*/ 541779 h 2457568"/>
                    <a:gd name="connsiteX1304" fmla="*/ 115677 w 2368274"/>
                    <a:gd name="connsiteY1304" fmla="*/ 554150 h 2457568"/>
                    <a:gd name="connsiteX1305" fmla="*/ 130538 w 2368274"/>
                    <a:gd name="connsiteY1305" fmla="*/ 531256 h 2457568"/>
                    <a:gd name="connsiteX1306" fmla="*/ 141945 w 2368274"/>
                    <a:gd name="connsiteY1306" fmla="*/ 514869 h 2457568"/>
                    <a:gd name="connsiteX1307" fmla="*/ 138491 w 2368274"/>
                    <a:gd name="connsiteY1307" fmla="*/ 519769 h 2457568"/>
                    <a:gd name="connsiteX1308" fmla="*/ 144274 w 2368274"/>
                    <a:gd name="connsiteY1308" fmla="*/ 511576 h 2457568"/>
                    <a:gd name="connsiteX1309" fmla="*/ 70694 w 2368274"/>
                    <a:gd name="connsiteY1309" fmla="*/ 626927 h 2457568"/>
                    <a:gd name="connsiteX1310" fmla="*/ 11813 w 2368274"/>
                    <a:gd name="connsiteY1310" fmla="*/ 746294 h 2457568"/>
                    <a:gd name="connsiteX1311" fmla="*/ 86 w 2368274"/>
                    <a:gd name="connsiteY1311" fmla="*/ 804211 h 2457568"/>
                    <a:gd name="connsiteX1312" fmla="*/ 567 w 2368274"/>
                    <a:gd name="connsiteY1312" fmla="*/ 802604 h 2457568"/>
                    <a:gd name="connsiteX1313" fmla="*/ 327 w 2368274"/>
                    <a:gd name="connsiteY1313" fmla="*/ 802283 h 2457568"/>
                    <a:gd name="connsiteX1314" fmla="*/ 9404 w 2368274"/>
                    <a:gd name="connsiteY1314" fmla="*/ 777944 h 2457568"/>
                    <a:gd name="connsiteX1315" fmla="*/ 5708 w 2368274"/>
                    <a:gd name="connsiteY1315" fmla="*/ 798427 h 2457568"/>
                    <a:gd name="connsiteX1316" fmla="*/ 6030 w 2368274"/>
                    <a:gd name="connsiteY1316" fmla="*/ 797544 h 2457568"/>
                    <a:gd name="connsiteX1317" fmla="*/ 3620 w 2368274"/>
                    <a:gd name="connsiteY1317" fmla="*/ 802524 h 2457568"/>
                    <a:gd name="connsiteX1318" fmla="*/ 3459 w 2368274"/>
                    <a:gd name="connsiteY1318" fmla="*/ 801962 h 2457568"/>
                    <a:gd name="connsiteX1319" fmla="*/ 6592 w 2368274"/>
                    <a:gd name="connsiteY1319" fmla="*/ 797785 h 2457568"/>
                    <a:gd name="connsiteX1320" fmla="*/ 2495 w 2368274"/>
                    <a:gd name="connsiteY1320" fmla="*/ 806299 h 2457568"/>
                    <a:gd name="connsiteX1321" fmla="*/ 5066 w 2368274"/>
                    <a:gd name="connsiteY1321" fmla="*/ 803006 h 2457568"/>
                    <a:gd name="connsiteX1322" fmla="*/ 919118 w 2368274"/>
                    <a:gd name="connsiteY1322" fmla="*/ 126242 h 2457568"/>
                    <a:gd name="connsiteX1323" fmla="*/ 954623 w 2368274"/>
                    <a:gd name="connsiteY1323" fmla="*/ 80295 h 2457568"/>
                    <a:gd name="connsiteX1324" fmla="*/ 651626 w 2368274"/>
                    <a:gd name="connsiteY1324" fmla="*/ 102144 h 2457568"/>
                    <a:gd name="connsiteX1325" fmla="*/ 395460 w 2368274"/>
                    <a:gd name="connsiteY1325" fmla="*/ 253000 h 2457568"/>
                    <a:gd name="connsiteX1326" fmla="*/ 394898 w 2368274"/>
                    <a:gd name="connsiteY1326" fmla="*/ 253321 h 2457568"/>
                    <a:gd name="connsiteX1327" fmla="*/ 278502 w 2368274"/>
                    <a:gd name="connsiteY1327" fmla="*/ 368271 h 2457568"/>
                    <a:gd name="connsiteX1328" fmla="*/ 284366 w 2368274"/>
                    <a:gd name="connsiteY1328" fmla="*/ 362889 h 2457568"/>
                    <a:gd name="connsiteX1329" fmla="*/ 288945 w 2368274"/>
                    <a:gd name="connsiteY1329" fmla="*/ 361041 h 2457568"/>
                    <a:gd name="connsiteX1330" fmla="*/ 280591 w 2368274"/>
                    <a:gd name="connsiteY1330" fmla="*/ 369797 h 2457568"/>
                    <a:gd name="connsiteX1331" fmla="*/ 293042 w 2368274"/>
                    <a:gd name="connsiteY1331" fmla="*/ 367467 h 2457568"/>
                    <a:gd name="connsiteX1332" fmla="*/ 275611 w 2368274"/>
                    <a:gd name="connsiteY1332" fmla="*/ 379517 h 2457568"/>
                    <a:gd name="connsiteX1333" fmla="*/ 295451 w 2368274"/>
                    <a:gd name="connsiteY1333" fmla="*/ 375420 h 2457568"/>
                    <a:gd name="connsiteX1334" fmla="*/ 283804 w 2368274"/>
                    <a:gd name="connsiteY1334" fmla="*/ 390281 h 2457568"/>
                    <a:gd name="connsiteX1335" fmla="*/ 287901 w 2368274"/>
                    <a:gd name="connsiteY1335" fmla="*/ 393012 h 2457568"/>
                    <a:gd name="connsiteX1336" fmla="*/ 251753 w 2368274"/>
                    <a:gd name="connsiteY1336" fmla="*/ 474384 h 2457568"/>
                    <a:gd name="connsiteX1337" fmla="*/ 261553 w 2368274"/>
                    <a:gd name="connsiteY1337" fmla="*/ 511817 h 2457568"/>
                    <a:gd name="connsiteX1338" fmla="*/ 248219 w 2368274"/>
                    <a:gd name="connsiteY1338" fmla="*/ 535835 h 2457568"/>
                    <a:gd name="connsiteX1339" fmla="*/ 254565 w 2368274"/>
                    <a:gd name="connsiteY1339" fmla="*/ 525714 h 2457568"/>
                    <a:gd name="connsiteX1340" fmla="*/ 256412 w 2368274"/>
                    <a:gd name="connsiteY1340" fmla="*/ 527963 h 2457568"/>
                    <a:gd name="connsiteX1341" fmla="*/ 291033 w 2368274"/>
                    <a:gd name="connsiteY1341" fmla="*/ 496555 h 2457568"/>
                    <a:gd name="connsiteX1342" fmla="*/ 285170 w 2368274"/>
                    <a:gd name="connsiteY1342" fmla="*/ 498241 h 2457568"/>
                    <a:gd name="connsiteX1343" fmla="*/ 320996 w 2368274"/>
                    <a:gd name="connsiteY1343" fmla="*/ 528284 h 2457568"/>
                    <a:gd name="connsiteX1344" fmla="*/ 323406 w 2368274"/>
                    <a:gd name="connsiteY1344" fmla="*/ 523224 h 2457568"/>
                    <a:gd name="connsiteX1345" fmla="*/ 333607 w 2368274"/>
                    <a:gd name="connsiteY1345" fmla="*/ 523625 h 2457568"/>
                    <a:gd name="connsiteX1346" fmla="*/ 335615 w 2368274"/>
                    <a:gd name="connsiteY1346" fmla="*/ 528204 h 2457568"/>
                    <a:gd name="connsiteX1347" fmla="*/ 332643 w 2368274"/>
                    <a:gd name="connsiteY1347" fmla="*/ 532381 h 2457568"/>
                    <a:gd name="connsiteX1348" fmla="*/ 337704 w 2368274"/>
                    <a:gd name="connsiteY1348" fmla="*/ 532220 h 2457568"/>
                    <a:gd name="connsiteX1349" fmla="*/ 322120 w 2368274"/>
                    <a:gd name="connsiteY1349" fmla="*/ 553347 h 2457568"/>
                    <a:gd name="connsiteX1350" fmla="*/ 322843 w 2368274"/>
                    <a:gd name="connsiteY1350" fmla="*/ 555435 h 2457568"/>
                    <a:gd name="connsiteX1351" fmla="*/ 322763 w 2368274"/>
                    <a:gd name="connsiteY1351" fmla="*/ 555515 h 2457568"/>
                    <a:gd name="connsiteX1352" fmla="*/ 322683 w 2368274"/>
                    <a:gd name="connsiteY1352" fmla="*/ 555596 h 2457568"/>
                    <a:gd name="connsiteX1353" fmla="*/ 322602 w 2368274"/>
                    <a:gd name="connsiteY1353" fmla="*/ 555676 h 2457568"/>
                    <a:gd name="connsiteX1354" fmla="*/ 322522 w 2368274"/>
                    <a:gd name="connsiteY1354" fmla="*/ 555756 h 2457568"/>
                    <a:gd name="connsiteX1355" fmla="*/ 322442 w 2368274"/>
                    <a:gd name="connsiteY1355" fmla="*/ 555837 h 2457568"/>
                    <a:gd name="connsiteX1356" fmla="*/ 322361 w 2368274"/>
                    <a:gd name="connsiteY1356" fmla="*/ 555917 h 2457568"/>
                    <a:gd name="connsiteX1357" fmla="*/ 322281 w 2368274"/>
                    <a:gd name="connsiteY1357" fmla="*/ 555997 h 2457568"/>
                    <a:gd name="connsiteX1358" fmla="*/ 360357 w 2368274"/>
                    <a:gd name="connsiteY1358" fmla="*/ 530212 h 2457568"/>
                    <a:gd name="connsiteX1359" fmla="*/ 423253 w 2368274"/>
                    <a:gd name="connsiteY1359" fmla="*/ 440084 h 2457568"/>
                    <a:gd name="connsiteX1360" fmla="*/ 383652 w 2368274"/>
                    <a:gd name="connsiteY1360" fmla="*/ 505310 h 2457568"/>
                    <a:gd name="connsiteX1361" fmla="*/ 395460 w 2368274"/>
                    <a:gd name="connsiteY1361" fmla="*/ 515030 h 2457568"/>
                    <a:gd name="connsiteX1362" fmla="*/ 377225 w 2368274"/>
                    <a:gd name="connsiteY1362" fmla="*/ 546278 h 2457568"/>
                    <a:gd name="connsiteX1363" fmla="*/ 392407 w 2368274"/>
                    <a:gd name="connsiteY1363" fmla="*/ 545314 h 2457568"/>
                    <a:gd name="connsiteX1364" fmla="*/ 382045 w 2368274"/>
                    <a:gd name="connsiteY1364" fmla="*/ 581220 h 2457568"/>
                    <a:gd name="connsiteX1365" fmla="*/ 457152 w 2368274"/>
                    <a:gd name="connsiteY1365" fmla="*/ 532622 h 2457568"/>
                    <a:gd name="connsiteX1366" fmla="*/ 461811 w 2368274"/>
                    <a:gd name="connsiteY1366" fmla="*/ 543145 h 2457568"/>
                    <a:gd name="connsiteX1367" fmla="*/ 436106 w 2368274"/>
                    <a:gd name="connsiteY1367" fmla="*/ 581622 h 2457568"/>
                    <a:gd name="connsiteX1368" fmla="*/ 393853 w 2368274"/>
                    <a:gd name="connsiteY1368" fmla="*/ 610058 h 2457568"/>
                    <a:gd name="connsiteX1369" fmla="*/ 378350 w 2368274"/>
                    <a:gd name="connsiteY1369" fmla="*/ 599374 h 2457568"/>
                    <a:gd name="connsiteX1370" fmla="*/ 363007 w 2368274"/>
                    <a:gd name="connsiteY1370" fmla="*/ 621143 h 2457568"/>
                    <a:gd name="connsiteX1371" fmla="*/ 342443 w 2368274"/>
                    <a:gd name="connsiteY1371" fmla="*/ 605720 h 2457568"/>
                    <a:gd name="connsiteX1372" fmla="*/ 334571 w 2368274"/>
                    <a:gd name="connsiteY1372" fmla="*/ 599455 h 2457568"/>
                    <a:gd name="connsiteX1373" fmla="*/ 299147 w 2368274"/>
                    <a:gd name="connsiteY1373" fmla="*/ 649981 h 2457568"/>
                    <a:gd name="connsiteX1374" fmla="*/ 288945 w 2368274"/>
                    <a:gd name="connsiteY1374" fmla="*/ 633755 h 2457568"/>
                    <a:gd name="connsiteX1375" fmla="*/ 273201 w 2368274"/>
                    <a:gd name="connsiteY1375" fmla="*/ 680024 h 2457568"/>
                    <a:gd name="connsiteX1376" fmla="*/ 271273 w 2368274"/>
                    <a:gd name="connsiteY1376" fmla="*/ 675043 h 2457568"/>
                    <a:gd name="connsiteX1377" fmla="*/ 220425 w 2368274"/>
                    <a:gd name="connsiteY1377" fmla="*/ 735048 h 2457568"/>
                    <a:gd name="connsiteX1378" fmla="*/ 217935 w 2368274"/>
                    <a:gd name="connsiteY1378" fmla="*/ 752158 h 2457568"/>
                    <a:gd name="connsiteX1379" fmla="*/ 228297 w 2368274"/>
                    <a:gd name="connsiteY1379" fmla="*/ 750632 h 2457568"/>
                    <a:gd name="connsiteX1380" fmla="*/ 218337 w 2368274"/>
                    <a:gd name="connsiteY1380" fmla="*/ 783647 h 2457568"/>
                    <a:gd name="connsiteX1381" fmla="*/ 223799 w 2368274"/>
                    <a:gd name="connsiteY1381" fmla="*/ 782924 h 2457568"/>
                    <a:gd name="connsiteX1382" fmla="*/ 222514 w 2368274"/>
                    <a:gd name="connsiteY1382" fmla="*/ 784049 h 2457568"/>
                    <a:gd name="connsiteX1383" fmla="*/ 277056 w 2368274"/>
                    <a:gd name="connsiteY1383" fmla="*/ 841162 h 2457568"/>
                    <a:gd name="connsiteX1384" fmla="*/ 300833 w 2368274"/>
                    <a:gd name="connsiteY1384" fmla="*/ 902371 h 2457568"/>
                    <a:gd name="connsiteX1385" fmla="*/ 307340 w 2368274"/>
                    <a:gd name="connsiteY1385" fmla="*/ 923980 h 2457568"/>
                    <a:gd name="connsiteX1386" fmla="*/ 324691 w 2368274"/>
                    <a:gd name="connsiteY1386" fmla="*/ 933941 h 2457568"/>
                    <a:gd name="connsiteX1387" fmla="*/ 324691 w 2368274"/>
                    <a:gd name="connsiteY1387" fmla="*/ 922855 h 2457568"/>
                    <a:gd name="connsiteX1388" fmla="*/ 329752 w 2368274"/>
                    <a:gd name="connsiteY1388" fmla="*/ 923578 h 2457568"/>
                    <a:gd name="connsiteX1389" fmla="*/ 408393 w 2368274"/>
                    <a:gd name="connsiteY1389" fmla="*/ 746053 h 2457568"/>
                    <a:gd name="connsiteX1390" fmla="*/ 403412 w 2368274"/>
                    <a:gd name="connsiteY1390" fmla="*/ 745893 h 2457568"/>
                    <a:gd name="connsiteX1391" fmla="*/ 415462 w 2368274"/>
                    <a:gd name="connsiteY1391" fmla="*/ 730711 h 2457568"/>
                    <a:gd name="connsiteX1392" fmla="*/ 439962 w 2368274"/>
                    <a:gd name="connsiteY1392" fmla="*/ 717376 h 2457568"/>
                    <a:gd name="connsiteX1393" fmla="*/ 440443 w 2368274"/>
                    <a:gd name="connsiteY1393" fmla="*/ 719947 h 2457568"/>
                    <a:gd name="connsiteX1394" fmla="*/ 440524 w 2368274"/>
                    <a:gd name="connsiteY1394" fmla="*/ 720268 h 2457568"/>
                    <a:gd name="connsiteX1395" fmla="*/ 453537 w 2368274"/>
                    <a:gd name="connsiteY1395" fmla="*/ 723481 h 2457568"/>
                    <a:gd name="connsiteX1396" fmla="*/ 470647 w 2368274"/>
                    <a:gd name="connsiteY1396" fmla="*/ 720830 h 2457568"/>
                    <a:gd name="connsiteX1397" fmla="*/ 473458 w 2368274"/>
                    <a:gd name="connsiteY1397" fmla="*/ 732237 h 2457568"/>
                    <a:gd name="connsiteX1398" fmla="*/ 479162 w 2368274"/>
                    <a:gd name="connsiteY1398" fmla="*/ 732880 h 2457568"/>
                    <a:gd name="connsiteX1399" fmla="*/ 477957 w 2368274"/>
                    <a:gd name="connsiteY1399" fmla="*/ 738181 h 2457568"/>
                    <a:gd name="connsiteX1400" fmla="*/ 483178 w 2368274"/>
                    <a:gd name="connsiteY1400" fmla="*/ 738181 h 2457568"/>
                    <a:gd name="connsiteX1401" fmla="*/ 484062 w 2368274"/>
                    <a:gd name="connsiteY1401" fmla="*/ 743001 h 2457568"/>
                    <a:gd name="connsiteX1402" fmla="*/ 504626 w 2368274"/>
                    <a:gd name="connsiteY1402" fmla="*/ 760914 h 2457568"/>
                    <a:gd name="connsiteX1403" fmla="*/ 487194 w 2368274"/>
                    <a:gd name="connsiteY1403" fmla="*/ 773686 h 2457568"/>
                    <a:gd name="connsiteX1404" fmla="*/ 498360 w 2368274"/>
                    <a:gd name="connsiteY1404" fmla="*/ 788386 h 2457568"/>
                    <a:gd name="connsiteX1405" fmla="*/ 486070 w 2368274"/>
                    <a:gd name="connsiteY1405" fmla="*/ 799712 h 2457568"/>
                    <a:gd name="connsiteX1406" fmla="*/ 505188 w 2368274"/>
                    <a:gd name="connsiteY1406" fmla="*/ 801399 h 2457568"/>
                    <a:gd name="connsiteX1407" fmla="*/ 507196 w 2368274"/>
                    <a:gd name="connsiteY1407" fmla="*/ 807665 h 2457568"/>
                    <a:gd name="connsiteX1408" fmla="*/ 496111 w 2368274"/>
                    <a:gd name="connsiteY1408" fmla="*/ 818911 h 2457568"/>
                    <a:gd name="connsiteX1409" fmla="*/ 512257 w 2368274"/>
                    <a:gd name="connsiteY1409" fmla="*/ 809753 h 2457568"/>
                    <a:gd name="connsiteX1410" fmla="*/ 510329 w 2368274"/>
                    <a:gd name="connsiteY1410" fmla="*/ 815135 h 2457568"/>
                    <a:gd name="connsiteX1411" fmla="*/ 514827 w 2368274"/>
                    <a:gd name="connsiteY1411" fmla="*/ 811521 h 2457568"/>
                    <a:gd name="connsiteX1412" fmla="*/ 515309 w 2368274"/>
                    <a:gd name="connsiteY1412" fmla="*/ 816421 h 2457568"/>
                    <a:gd name="connsiteX1413" fmla="*/ 534427 w 2368274"/>
                    <a:gd name="connsiteY1413" fmla="*/ 806139 h 2457568"/>
                    <a:gd name="connsiteX1414" fmla="*/ 538926 w 2368274"/>
                    <a:gd name="connsiteY1414" fmla="*/ 809834 h 2457568"/>
                    <a:gd name="connsiteX1415" fmla="*/ 548886 w 2368274"/>
                    <a:gd name="connsiteY1415" fmla="*/ 795214 h 2457568"/>
                    <a:gd name="connsiteX1416" fmla="*/ 551939 w 2368274"/>
                    <a:gd name="connsiteY1416" fmla="*/ 793286 h 2457568"/>
                    <a:gd name="connsiteX1417" fmla="*/ 556758 w 2368274"/>
                    <a:gd name="connsiteY1417" fmla="*/ 791599 h 2457568"/>
                    <a:gd name="connsiteX1418" fmla="*/ 553465 w 2368274"/>
                    <a:gd name="connsiteY1418" fmla="*/ 787583 h 2457568"/>
                    <a:gd name="connsiteX1419" fmla="*/ 559329 w 2368274"/>
                    <a:gd name="connsiteY1419" fmla="*/ 784049 h 2457568"/>
                    <a:gd name="connsiteX1420" fmla="*/ 564550 w 2368274"/>
                    <a:gd name="connsiteY1420" fmla="*/ 774329 h 2457568"/>
                    <a:gd name="connsiteX1421" fmla="*/ 564149 w 2368274"/>
                    <a:gd name="connsiteY1421" fmla="*/ 779148 h 2457568"/>
                    <a:gd name="connsiteX1422" fmla="*/ 569772 w 2368274"/>
                    <a:gd name="connsiteY1422" fmla="*/ 778586 h 2457568"/>
                    <a:gd name="connsiteX1423" fmla="*/ 570816 w 2368274"/>
                    <a:gd name="connsiteY1423" fmla="*/ 783647 h 2457568"/>
                    <a:gd name="connsiteX1424" fmla="*/ 572904 w 2368274"/>
                    <a:gd name="connsiteY1424" fmla="*/ 783486 h 2457568"/>
                    <a:gd name="connsiteX1425" fmla="*/ 573949 w 2368274"/>
                    <a:gd name="connsiteY1425" fmla="*/ 793206 h 2457568"/>
                    <a:gd name="connsiteX1426" fmla="*/ 577885 w 2368274"/>
                    <a:gd name="connsiteY1426" fmla="*/ 796419 h 2457568"/>
                    <a:gd name="connsiteX1427" fmla="*/ 572985 w 2368274"/>
                    <a:gd name="connsiteY1427" fmla="*/ 798829 h 2457568"/>
                    <a:gd name="connsiteX1428" fmla="*/ 578206 w 2368274"/>
                    <a:gd name="connsiteY1428" fmla="*/ 799712 h 2457568"/>
                    <a:gd name="connsiteX1429" fmla="*/ 580937 w 2368274"/>
                    <a:gd name="connsiteY1429" fmla="*/ 809914 h 2457568"/>
                    <a:gd name="connsiteX1430" fmla="*/ 585837 w 2368274"/>
                    <a:gd name="connsiteY1430" fmla="*/ 812967 h 2457568"/>
                    <a:gd name="connsiteX1431" fmla="*/ 578286 w 2368274"/>
                    <a:gd name="connsiteY1431" fmla="*/ 819714 h 2457568"/>
                    <a:gd name="connsiteX1432" fmla="*/ 591219 w 2368274"/>
                    <a:gd name="connsiteY1432" fmla="*/ 822686 h 2457568"/>
                    <a:gd name="connsiteX1433" fmla="*/ 588488 w 2368274"/>
                    <a:gd name="connsiteY1433" fmla="*/ 829353 h 2457568"/>
                    <a:gd name="connsiteX1434" fmla="*/ 597003 w 2368274"/>
                    <a:gd name="connsiteY1434" fmla="*/ 842929 h 2457568"/>
                    <a:gd name="connsiteX1435" fmla="*/ 593468 w 2368274"/>
                    <a:gd name="connsiteY1435" fmla="*/ 846544 h 2457568"/>
                    <a:gd name="connsiteX1436" fmla="*/ 582062 w 2368274"/>
                    <a:gd name="connsiteY1436" fmla="*/ 845499 h 2457568"/>
                    <a:gd name="connsiteX1437" fmla="*/ 588167 w 2368274"/>
                    <a:gd name="connsiteY1437" fmla="*/ 847990 h 2457568"/>
                    <a:gd name="connsiteX1438" fmla="*/ 588809 w 2368274"/>
                    <a:gd name="connsiteY1438" fmla="*/ 852809 h 2457568"/>
                    <a:gd name="connsiteX1439" fmla="*/ 594031 w 2368274"/>
                    <a:gd name="connsiteY1439" fmla="*/ 854014 h 2457568"/>
                    <a:gd name="connsiteX1440" fmla="*/ 594513 w 2368274"/>
                    <a:gd name="connsiteY1440" fmla="*/ 858914 h 2457568"/>
                    <a:gd name="connsiteX1441" fmla="*/ 608249 w 2368274"/>
                    <a:gd name="connsiteY1441" fmla="*/ 865501 h 2457568"/>
                    <a:gd name="connsiteX1442" fmla="*/ 610177 w 2368274"/>
                    <a:gd name="connsiteY1442" fmla="*/ 865903 h 2457568"/>
                    <a:gd name="connsiteX1443" fmla="*/ 603991 w 2368274"/>
                    <a:gd name="connsiteY1443" fmla="*/ 879639 h 2457568"/>
                    <a:gd name="connsiteX1444" fmla="*/ 619655 w 2368274"/>
                    <a:gd name="connsiteY1444" fmla="*/ 876586 h 2457568"/>
                    <a:gd name="connsiteX1445" fmla="*/ 617165 w 2368274"/>
                    <a:gd name="connsiteY1445" fmla="*/ 881727 h 2457568"/>
                    <a:gd name="connsiteX1446" fmla="*/ 639175 w 2368274"/>
                    <a:gd name="connsiteY1446" fmla="*/ 886145 h 2457568"/>
                    <a:gd name="connsiteX1447" fmla="*/ 641665 w 2368274"/>
                    <a:gd name="connsiteY1447" fmla="*/ 890644 h 2457568"/>
                    <a:gd name="connsiteX1448" fmla="*/ 603590 w 2368274"/>
                    <a:gd name="connsiteY1448" fmla="*/ 906067 h 2457568"/>
                    <a:gd name="connsiteX1449" fmla="*/ 607686 w 2368274"/>
                    <a:gd name="connsiteY1449" fmla="*/ 909119 h 2457568"/>
                    <a:gd name="connsiteX1450" fmla="*/ 604232 w 2368274"/>
                    <a:gd name="connsiteY1450" fmla="*/ 911449 h 2457568"/>
                    <a:gd name="connsiteX1451" fmla="*/ 605036 w 2368274"/>
                    <a:gd name="connsiteY1451" fmla="*/ 911770 h 2457568"/>
                    <a:gd name="connsiteX1452" fmla="*/ 603590 w 2368274"/>
                    <a:gd name="connsiteY1452" fmla="*/ 913216 h 2457568"/>
                    <a:gd name="connsiteX1453" fmla="*/ 642147 w 2368274"/>
                    <a:gd name="connsiteY1453" fmla="*/ 897873 h 2457568"/>
                    <a:gd name="connsiteX1454" fmla="*/ 647288 w 2368274"/>
                    <a:gd name="connsiteY1454" fmla="*/ 907191 h 2457568"/>
                    <a:gd name="connsiteX1455" fmla="*/ 671065 w 2368274"/>
                    <a:gd name="connsiteY1455" fmla="*/ 911127 h 2457568"/>
                    <a:gd name="connsiteX1456" fmla="*/ 664237 w 2368274"/>
                    <a:gd name="connsiteY1456" fmla="*/ 926229 h 2457568"/>
                    <a:gd name="connsiteX1457" fmla="*/ 670744 w 2368274"/>
                    <a:gd name="connsiteY1457" fmla="*/ 927032 h 2457568"/>
                    <a:gd name="connsiteX1458" fmla="*/ 472896 w 2368274"/>
                    <a:gd name="connsiteY1458" fmla="*/ 979968 h 2457568"/>
                    <a:gd name="connsiteX1459" fmla="*/ 473699 w 2368274"/>
                    <a:gd name="connsiteY1459" fmla="*/ 980852 h 2457568"/>
                    <a:gd name="connsiteX1460" fmla="*/ 433937 w 2368274"/>
                    <a:gd name="connsiteY1460" fmla="*/ 990572 h 2457568"/>
                    <a:gd name="connsiteX1461" fmla="*/ 429840 w 2368274"/>
                    <a:gd name="connsiteY1461" fmla="*/ 1007280 h 2457568"/>
                    <a:gd name="connsiteX1462" fmla="*/ 528724 w 2368274"/>
                    <a:gd name="connsiteY1462" fmla="*/ 990170 h 2457568"/>
                    <a:gd name="connsiteX1463" fmla="*/ 496673 w 2368274"/>
                    <a:gd name="connsiteY1463" fmla="*/ 1001657 h 2457568"/>
                    <a:gd name="connsiteX1464" fmla="*/ 519326 w 2368274"/>
                    <a:gd name="connsiteY1464" fmla="*/ 1005673 h 2457568"/>
                    <a:gd name="connsiteX1465" fmla="*/ 518362 w 2368274"/>
                    <a:gd name="connsiteY1465" fmla="*/ 1006557 h 2457568"/>
                    <a:gd name="connsiteX1466" fmla="*/ 523262 w 2368274"/>
                    <a:gd name="connsiteY1466" fmla="*/ 1007601 h 2457568"/>
                    <a:gd name="connsiteX1467" fmla="*/ 516193 w 2368274"/>
                    <a:gd name="connsiteY1467" fmla="*/ 1015634 h 2457568"/>
                    <a:gd name="connsiteX1468" fmla="*/ 519968 w 2368274"/>
                    <a:gd name="connsiteY1468" fmla="*/ 1018767 h 2457568"/>
                    <a:gd name="connsiteX1469" fmla="*/ 714924 w 2368274"/>
                    <a:gd name="connsiteY1469" fmla="*/ 1021578 h 2457568"/>
                    <a:gd name="connsiteX1470" fmla="*/ 715085 w 2368274"/>
                    <a:gd name="connsiteY1470" fmla="*/ 1014991 h 2457568"/>
                    <a:gd name="connsiteX1471" fmla="*/ 688416 w 2368274"/>
                    <a:gd name="connsiteY1471" fmla="*/ 1016839 h 2457568"/>
                    <a:gd name="connsiteX1472" fmla="*/ 688496 w 2368274"/>
                    <a:gd name="connsiteY1472" fmla="*/ 1011939 h 2457568"/>
                    <a:gd name="connsiteX1473" fmla="*/ 668896 w 2368274"/>
                    <a:gd name="connsiteY1473" fmla="*/ 1022060 h 2457568"/>
                    <a:gd name="connsiteX1474" fmla="*/ 683436 w 2368274"/>
                    <a:gd name="connsiteY1474" fmla="*/ 1010172 h 2457568"/>
                    <a:gd name="connsiteX1475" fmla="*/ 660944 w 2368274"/>
                    <a:gd name="connsiteY1475" fmla="*/ 1013305 h 2457568"/>
                    <a:gd name="connsiteX1476" fmla="*/ 665844 w 2368274"/>
                    <a:gd name="connsiteY1476" fmla="*/ 1010734 h 2457568"/>
                    <a:gd name="connsiteX1477" fmla="*/ 629134 w 2368274"/>
                    <a:gd name="connsiteY1477" fmla="*/ 1011296 h 2457568"/>
                    <a:gd name="connsiteX1478" fmla="*/ 625037 w 2368274"/>
                    <a:gd name="connsiteY1478" fmla="*/ 1009770 h 2457568"/>
                    <a:gd name="connsiteX1479" fmla="*/ 612506 w 2368274"/>
                    <a:gd name="connsiteY1479" fmla="*/ 1010011 h 2457568"/>
                    <a:gd name="connsiteX1480" fmla="*/ 613229 w 2368274"/>
                    <a:gd name="connsiteY1480" fmla="*/ 1004147 h 2457568"/>
                    <a:gd name="connsiteX1481" fmla="*/ 626081 w 2368274"/>
                    <a:gd name="connsiteY1481" fmla="*/ 996516 h 2457568"/>
                    <a:gd name="connsiteX1482" fmla="*/ 615960 w 2368274"/>
                    <a:gd name="connsiteY1482" fmla="*/ 996355 h 2457568"/>
                    <a:gd name="connsiteX1483" fmla="*/ 672591 w 2368274"/>
                    <a:gd name="connsiteY1483" fmla="*/ 945106 h 2457568"/>
                    <a:gd name="connsiteX1484" fmla="*/ 652027 w 2368274"/>
                    <a:gd name="connsiteY1484" fmla="*/ 977719 h 2457568"/>
                    <a:gd name="connsiteX1485" fmla="*/ 660382 w 2368274"/>
                    <a:gd name="connsiteY1485" fmla="*/ 970409 h 2457568"/>
                    <a:gd name="connsiteX1486" fmla="*/ 671226 w 2368274"/>
                    <a:gd name="connsiteY1486" fmla="*/ 971213 h 2457568"/>
                    <a:gd name="connsiteX1487" fmla="*/ 664559 w 2368274"/>
                    <a:gd name="connsiteY1487" fmla="*/ 979968 h 2457568"/>
                    <a:gd name="connsiteX1488" fmla="*/ 675323 w 2368274"/>
                    <a:gd name="connsiteY1488" fmla="*/ 979486 h 2457568"/>
                    <a:gd name="connsiteX1489" fmla="*/ 676527 w 2368274"/>
                    <a:gd name="connsiteY1489" fmla="*/ 984547 h 2457568"/>
                    <a:gd name="connsiteX1490" fmla="*/ 699501 w 2368274"/>
                    <a:gd name="connsiteY1490" fmla="*/ 981334 h 2457568"/>
                    <a:gd name="connsiteX1491" fmla="*/ 700465 w 2368274"/>
                    <a:gd name="connsiteY1491" fmla="*/ 986636 h 2457568"/>
                    <a:gd name="connsiteX1492" fmla="*/ 694601 w 2368274"/>
                    <a:gd name="connsiteY1492" fmla="*/ 990893 h 2457568"/>
                    <a:gd name="connsiteX1493" fmla="*/ 699742 w 2368274"/>
                    <a:gd name="connsiteY1493" fmla="*/ 991214 h 2457568"/>
                    <a:gd name="connsiteX1494" fmla="*/ 698537 w 2368274"/>
                    <a:gd name="connsiteY1494" fmla="*/ 996114 h 2457568"/>
                    <a:gd name="connsiteX1495" fmla="*/ 708980 w 2368274"/>
                    <a:gd name="connsiteY1495" fmla="*/ 993946 h 2457568"/>
                    <a:gd name="connsiteX1496" fmla="*/ 703036 w 2368274"/>
                    <a:gd name="connsiteY1496" fmla="*/ 1002460 h 2457568"/>
                    <a:gd name="connsiteX1497" fmla="*/ 708337 w 2368274"/>
                    <a:gd name="connsiteY1497" fmla="*/ 1003665 h 2457568"/>
                    <a:gd name="connsiteX1498" fmla="*/ 711229 w 2368274"/>
                    <a:gd name="connsiteY1498" fmla="*/ 1009690 h 2457568"/>
                    <a:gd name="connsiteX1499" fmla="*/ 746895 w 2368274"/>
                    <a:gd name="connsiteY1499" fmla="*/ 653355 h 2457568"/>
                    <a:gd name="connsiteX1500" fmla="*/ 742075 w 2368274"/>
                    <a:gd name="connsiteY1500" fmla="*/ 643475 h 2457568"/>
                    <a:gd name="connsiteX1501" fmla="*/ 746493 w 2368274"/>
                    <a:gd name="connsiteY1501" fmla="*/ 640261 h 2457568"/>
                    <a:gd name="connsiteX1502" fmla="*/ 749867 w 2368274"/>
                    <a:gd name="connsiteY1502" fmla="*/ 634237 h 2457568"/>
                    <a:gd name="connsiteX1503" fmla="*/ 745047 w 2368274"/>
                    <a:gd name="connsiteY1503" fmla="*/ 636325 h 2457568"/>
                    <a:gd name="connsiteX1504" fmla="*/ 748421 w 2368274"/>
                    <a:gd name="connsiteY1504" fmla="*/ 630060 h 2457568"/>
                    <a:gd name="connsiteX1505" fmla="*/ 753000 w 2368274"/>
                    <a:gd name="connsiteY1505" fmla="*/ 614878 h 2457568"/>
                    <a:gd name="connsiteX1506" fmla="*/ 754687 w 2368274"/>
                    <a:gd name="connsiteY1506" fmla="*/ 604837 h 2457568"/>
                    <a:gd name="connsiteX1507" fmla="*/ 755409 w 2368274"/>
                    <a:gd name="connsiteY1507" fmla="*/ 600579 h 2457568"/>
                    <a:gd name="connsiteX1508" fmla="*/ 745368 w 2368274"/>
                    <a:gd name="connsiteY1508" fmla="*/ 604997 h 2457568"/>
                    <a:gd name="connsiteX1509" fmla="*/ 754847 w 2368274"/>
                    <a:gd name="connsiteY1509" fmla="*/ 600097 h 2457568"/>
                    <a:gd name="connsiteX1510" fmla="*/ 758141 w 2368274"/>
                    <a:gd name="connsiteY1510" fmla="*/ 585317 h 2457568"/>
                    <a:gd name="connsiteX1511" fmla="*/ 752759 w 2368274"/>
                    <a:gd name="connsiteY1511" fmla="*/ 586120 h 2457568"/>
                    <a:gd name="connsiteX1512" fmla="*/ 757096 w 2368274"/>
                    <a:gd name="connsiteY1512" fmla="*/ 583068 h 2457568"/>
                    <a:gd name="connsiteX1513" fmla="*/ 764808 w 2368274"/>
                    <a:gd name="connsiteY1513" fmla="*/ 550053 h 2457568"/>
                    <a:gd name="connsiteX1514" fmla="*/ 743601 w 2368274"/>
                    <a:gd name="connsiteY1514" fmla="*/ 549892 h 2457568"/>
                    <a:gd name="connsiteX1515" fmla="*/ 746332 w 2368274"/>
                    <a:gd name="connsiteY1515" fmla="*/ 542101 h 2457568"/>
                    <a:gd name="connsiteX1516" fmla="*/ 764728 w 2368274"/>
                    <a:gd name="connsiteY1516" fmla="*/ 544269 h 2457568"/>
                    <a:gd name="connsiteX1517" fmla="*/ 769547 w 2368274"/>
                    <a:gd name="connsiteY1517" fmla="*/ 526758 h 2457568"/>
                    <a:gd name="connsiteX1518" fmla="*/ 753321 w 2368274"/>
                    <a:gd name="connsiteY1518" fmla="*/ 522019 h 2457568"/>
                    <a:gd name="connsiteX1519" fmla="*/ 770110 w 2368274"/>
                    <a:gd name="connsiteY1519" fmla="*/ 524268 h 2457568"/>
                    <a:gd name="connsiteX1520" fmla="*/ 776134 w 2368274"/>
                    <a:gd name="connsiteY1520" fmla="*/ 496796 h 2457568"/>
                    <a:gd name="connsiteX1521" fmla="*/ 772841 w 2368274"/>
                    <a:gd name="connsiteY1521" fmla="*/ 490209 h 2457568"/>
                    <a:gd name="connsiteX1522" fmla="*/ 772760 w 2368274"/>
                    <a:gd name="connsiteY1522" fmla="*/ 478481 h 2457568"/>
                    <a:gd name="connsiteX1523" fmla="*/ 752839 w 2368274"/>
                    <a:gd name="connsiteY1523" fmla="*/ 499527 h 2457568"/>
                    <a:gd name="connsiteX1524" fmla="*/ 750188 w 2368274"/>
                    <a:gd name="connsiteY1524" fmla="*/ 495109 h 2457568"/>
                    <a:gd name="connsiteX1525" fmla="*/ 761354 w 2368274"/>
                    <a:gd name="connsiteY1525" fmla="*/ 473019 h 2457568"/>
                    <a:gd name="connsiteX1526" fmla="*/ 757177 w 2368274"/>
                    <a:gd name="connsiteY1526" fmla="*/ 476151 h 2457568"/>
                    <a:gd name="connsiteX1527" fmla="*/ 764888 w 2368274"/>
                    <a:gd name="connsiteY1527" fmla="*/ 454463 h 2457568"/>
                    <a:gd name="connsiteX1528" fmla="*/ 760229 w 2368274"/>
                    <a:gd name="connsiteY1528" fmla="*/ 452294 h 2457568"/>
                    <a:gd name="connsiteX1529" fmla="*/ 765290 w 2368274"/>
                    <a:gd name="connsiteY1529" fmla="*/ 440968 h 2457568"/>
                    <a:gd name="connsiteX1530" fmla="*/ 760711 w 2368274"/>
                    <a:gd name="connsiteY1530" fmla="*/ 439281 h 2457568"/>
                    <a:gd name="connsiteX1531" fmla="*/ 764326 w 2368274"/>
                    <a:gd name="connsiteY1531" fmla="*/ 422091 h 2457568"/>
                    <a:gd name="connsiteX1532" fmla="*/ 758944 w 2368274"/>
                    <a:gd name="connsiteY1532" fmla="*/ 420243 h 2457568"/>
                    <a:gd name="connsiteX1533" fmla="*/ 706329 w 2368274"/>
                    <a:gd name="connsiteY1533" fmla="*/ 358873 h 2457568"/>
                    <a:gd name="connsiteX1534" fmla="*/ 707454 w 2368274"/>
                    <a:gd name="connsiteY1534" fmla="*/ 323126 h 2457568"/>
                    <a:gd name="connsiteX1535" fmla="*/ 698457 w 2368274"/>
                    <a:gd name="connsiteY1535" fmla="*/ 328348 h 2457568"/>
                    <a:gd name="connsiteX1536" fmla="*/ 733239 w 2368274"/>
                    <a:gd name="connsiteY1536" fmla="*/ 313728 h 2457568"/>
                    <a:gd name="connsiteX1537" fmla="*/ 820314 w 2368274"/>
                    <a:gd name="connsiteY1537" fmla="*/ 212515 h 2457568"/>
                    <a:gd name="connsiteX1538" fmla="*/ 817985 w 2368274"/>
                    <a:gd name="connsiteY1538" fmla="*/ 208017 h 2457568"/>
                    <a:gd name="connsiteX1539" fmla="*/ 888915 w 2368274"/>
                    <a:gd name="connsiteY1539" fmla="*/ 145441 h 2457568"/>
                    <a:gd name="connsiteX1540" fmla="*/ 884256 w 2368274"/>
                    <a:gd name="connsiteY1540" fmla="*/ 164077 h 2457568"/>
                    <a:gd name="connsiteX1541" fmla="*/ 909238 w 2368274"/>
                    <a:gd name="connsiteY1541" fmla="*/ 130339 h 2457568"/>
                    <a:gd name="connsiteX1542" fmla="*/ 900562 w 2368274"/>
                    <a:gd name="connsiteY1542" fmla="*/ 152510 h 2457568"/>
                    <a:gd name="connsiteX1543" fmla="*/ 919118 w 2368274"/>
                    <a:gd name="connsiteY1543" fmla="*/ 126242 h 2457568"/>
                    <a:gd name="connsiteX1544" fmla="*/ 1559252 w 2368274"/>
                    <a:gd name="connsiteY1544" fmla="*/ 97887 h 2457568"/>
                    <a:gd name="connsiteX1545" fmla="*/ 1573871 w 2368274"/>
                    <a:gd name="connsiteY1545" fmla="*/ 104715 h 2457568"/>
                    <a:gd name="connsiteX1546" fmla="*/ 1574674 w 2368274"/>
                    <a:gd name="connsiteY1546" fmla="*/ 105197 h 2457568"/>
                    <a:gd name="connsiteX1547" fmla="*/ 1559252 w 2368274"/>
                    <a:gd name="connsiteY1547" fmla="*/ 97887 h 2457568"/>
                    <a:gd name="connsiteX1548" fmla="*/ 1226854 w 2368274"/>
                    <a:gd name="connsiteY1548" fmla="*/ 9526 h 2457568"/>
                    <a:gd name="connsiteX1549" fmla="*/ 1234807 w 2368274"/>
                    <a:gd name="connsiteY1549" fmla="*/ 12578 h 2457568"/>
                    <a:gd name="connsiteX1550" fmla="*/ 1224927 w 2368274"/>
                    <a:gd name="connsiteY1550" fmla="*/ 12257 h 2457568"/>
                    <a:gd name="connsiteX1551" fmla="*/ 1220508 w 2368274"/>
                    <a:gd name="connsiteY1551" fmla="*/ 12498 h 2457568"/>
                    <a:gd name="connsiteX1552" fmla="*/ 1205808 w 2368274"/>
                    <a:gd name="connsiteY1552" fmla="*/ 13221 h 2457568"/>
                    <a:gd name="connsiteX1553" fmla="*/ 1204443 w 2368274"/>
                    <a:gd name="connsiteY1553" fmla="*/ 13221 h 2457568"/>
                    <a:gd name="connsiteX1554" fmla="*/ 1203158 w 2368274"/>
                    <a:gd name="connsiteY1554" fmla="*/ 13221 h 2457568"/>
                    <a:gd name="connsiteX1555" fmla="*/ 1198659 w 2368274"/>
                    <a:gd name="connsiteY1555" fmla="*/ 12498 h 2457568"/>
                    <a:gd name="connsiteX1556" fmla="*/ 1191349 w 2368274"/>
                    <a:gd name="connsiteY1556" fmla="*/ 12498 h 2457568"/>
                    <a:gd name="connsiteX1557" fmla="*/ 1194322 w 2368274"/>
                    <a:gd name="connsiteY1557" fmla="*/ 12096 h 2457568"/>
                    <a:gd name="connsiteX1558" fmla="*/ 1216331 w 2368274"/>
                    <a:gd name="connsiteY1558" fmla="*/ 11052 h 2457568"/>
                    <a:gd name="connsiteX1559" fmla="*/ 1226854 w 2368274"/>
                    <a:gd name="connsiteY1559" fmla="*/ 9526 h 2457568"/>
                    <a:gd name="connsiteX1560" fmla="*/ 1187574 w 2368274"/>
                    <a:gd name="connsiteY1560" fmla="*/ 15872 h 2457568"/>
                    <a:gd name="connsiteX1561" fmla="*/ 1192153 w 2368274"/>
                    <a:gd name="connsiteY1561" fmla="*/ 15872 h 2457568"/>
                    <a:gd name="connsiteX1562" fmla="*/ 1186771 w 2368274"/>
                    <a:gd name="connsiteY1562" fmla="*/ 16273 h 2457568"/>
                    <a:gd name="connsiteX1563" fmla="*/ 1187413 w 2368274"/>
                    <a:gd name="connsiteY1563" fmla="*/ 16032 h 2457568"/>
                    <a:gd name="connsiteX1564" fmla="*/ 1187333 w 2368274"/>
                    <a:gd name="connsiteY1564" fmla="*/ 15952 h 2457568"/>
                    <a:gd name="connsiteX1565" fmla="*/ 1187574 w 2368274"/>
                    <a:gd name="connsiteY1565" fmla="*/ 15872 h 2457568"/>
                    <a:gd name="connsiteX1566" fmla="*/ 1203399 w 2368274"/>
                    <a:gd name="connsiteY1566" fmla="*/ 22700 h 2457568"/>
                    <a:gd name="connsiteX1567" fmla="*/ 1203881 w 2368274"/>
                    <a:gd name="connsiteY1567" fmla="*/ 25029 h 2457568"/>
                    <a:gd name="connsiteX1568" fmla="*/ 1203318 w 2368274"/>
                    <a:gd name="connsiteY1568" fmla="*/ 22539 h 2457568"/>
                    <a:gd name="connsiteX1569" fmla="*/ 1203399 w 2368274"/>
                    <a:gd name="connsiteY1569" fmla="*/ 22700 h 2457568"/>
                    <a:gd name="connsiteX1570" fmla="*/ 1188297 w 2368274"/>
                    <a:gd name="connsiteY1570" fmla="*/ 16434 h 2457568"/>
                    <a:gd name="connsiteX1571" fmla="*/ 1235369 w 2368274"/>
                    <a:gd name="connsiteY1571" fmla="*/ 17238 h 2457568"/>
                    <a:gd name="connsiteX1572" fmla="*/ 1235209 w 2368274"/>
                    <a:gd name="connsiteY1572" fmla="*/ 17720 h 2457568"/>
                    <a:gd name="connsiteX1573" fmla="*/ 1225649 w 2368274"/>
                    <a:gd name="connsiteY1573" fmla="*/ 19085 h 2457568"/>
                    <a:gd name="connsiteX1574" fmla="*/ 1184040 w 2368274"/>
                    <a:gd name="connsiteY1574" fmla="*/ 22700 h 2457568"/>
                    <a:gd name="connsiteX1575" fmla="*/ 1186690 w 2368274"/>
                    <a:gd name="connsiteY1575" fmla="*/ 22057 h 2457568"/>
                    <a:gd name="connsiteX1576" fmla="*/ 1171990 w 2368274"/>
                    <a:gd name="connsiteY1576" fmla="*/ 21013 h 2457568"/>
                    <a:gd name="connsiteX1577" fmla="*/ 1192795 w 2368274"/>
                    <a:gd name="connsiteY1577" fmla="*/ 18603 h 2457568"/>
                    <a:gd name="connsiteX1578" fmla="*/ 1180104 w 2368274"/>
                    <a:gd name="connsiteY1578" fmla="*/ 18041 h 2457568"/>
                    <a:gd name="connsiteX1579" fmla="*/ 1188297 w 2368274"/>
                    <a:gd name="connsiteY1579" fmla="*/ 16434 h 2457568"/>
                    <a:gd name="connsiteX1580" fmla="*/ 1146205 w 2368274"/>
                    <a:gd name="connsiteY1580" fmla="*/ 24467 h 2457568"/>
                    <a:gd name="connsiteX1581" fmla="*/ 1184040 w 2368274"/>
                    <a:gd name="connsiteY1581" fmla="*/ 23342 h 2457568"/>
                    <a:gd name="connsiteX1582" fmla="*/ 1183959 w 2368274"/>
                    <a:gd name="connsiteY1582" fmla="*/ 26716 h 2457568"/>
                    <a:gd name="connsiteX1583" fmla="*/ 1179702 w 2368274"/>
                    <a:gd name="connsiteY1583" fmla="*/ 27037 h 2457568"/>
                    <a:gd name="connsiteX1584" fmla="*/ 1149017 w 2368274"/>
                    <a:gd name="connsiteY1584" fmla="*/ 29206 h 2457568"/>
                    <a:gd name="connsiteX1585" fmla="*/ 1142671 w 2368274"/>
                    <a:gd name="connsiteY1585" fmla="*/ 29929 h 2457568"/>
                    <a:gd name="connsiteX1586" fmla="*/ 1113351 w 2368274"/>
                    <a:gd name="connsiteY1586" fmla="*/ 32580 h 2457568"/>
                    <a:gd name="connsiteX1587" fmla="*/ 1146205 w 2368274"/>
                    <a:gd name="connsiteY1587" fmla="*/ 24467 h 2457568"/>
                    <a:gd name="connsiteX1588" fmla="*/ 651545 w 2368274"/>
                    <a:gd name="connsiteY1588" fmla="*/ 102144 h 2457568"/>
                    <a:gd name="connsiteX1589" fmla="*/ 954543 w 2368274"/>
                    <a:gd name="connsiteY1589" fmla="*/ 80295 h 2457568"/>
                    <a:gd name="connsiteX1590" fmla="*/ 1601183 w 2368274"/>
                    <a:gd name="connsiteY1590" fmla="*/ 116683 h 2457568"/>
                    <a:gd name="connsiteX1591" fmla="*/ 1577566 w 2368274"/>
                    <a:gd name="connsiteY1591" fmla="*/ 107044 h 2457568"/>
                    <a:gd name="connsiteX1592" fmla="*/ 1746978 w 2368274"/>
                    <a:gd name="connsiteY1592" fmla="*/ 172431 h 2457568"/>
                    <a:gd name="connsiteX1593" fmla="*/ 1567927 w 2368274"/>
                    <a:gd name="connsiteY1593" fmla="*/ 92826 h 2457568"/>
                    <a:gd name="connsiteX1594" fmla="*/ 1616606 w 2368274"/>
                    <a:gd name="connsiteY1594" fmla="*/ 105598 h 2457568"/>
                    <a:gd name="connsiteX1595" fmla="*/ 1458520 w 2368274"/>
                    <a:gd name="connsiteY1595" fmla="*/ 48646 h 2457568"/>
                    <a:gd name="connsiteX1596" fmla="*/ 1456994 w 2368274"/>
                    <a:gd name="connsiteY1596" fmla="*/ 47441 h 2457568"/>
                    <a:gd name="connsiteX1597" fmla="*/ 1376345 w 2368274"/>
                    <a:gd name="connsiteY1597" fmla="*/ 26716 h 2457568"/>
                    <a:gd name="connsiteX1598" fmla="*/ 1377630 w 2368274"/>
                    <a:gd name="connsiteY1598" fmla="*/ 27359 h 2457568"/>
                    <a:gd name="connsiteX1599" fmla="*/ 1375461 w 2368274"/>
                    <a:gd name="connsiteY1599" fmla="*/ 27118 h 2457568"/>
                    <a:gd name="connsiteX1600" fmla="*/ 1357709 w 2368274"/>
                    <a:gd name="connsiteY1600" fmla="*/ 22539 h 2457568"/>
                    <a:gd name="connsiteX1601" fmla="*/ 1366946 w 2368274"/>
                    <a:gd name="connsiteY1601" fmla="*/ 23664 h 2457568"/>
                    <a:gd name="connsiteX1602" fmla="*/ 1310476 w 2368274"/>
                    <a:gd name="connsiteY1602" fmla="*/ 13301 h 2457568"/>
                    <a:gd name="connsiteX1603" fmla="*/ 1258584 w 2368274"/>
                    <a:gd name="connsiteY1603" fmla="*/ 8964 h 2457568"/>
                    <a:gd name="connsiteX1604" fmla="*/ 1274087 w 2368274"/>
                    <a:gd name="connsiteY1604" fmla="*/ 9124 h 2457568"/>
                    <a:gd name="connsiteX1605" fmla="*/ 1261877 w 2368274"/>
                    <a:gd name="connsiteY1605" fmla="*/ 7197 h 2457568"/>
                    <a:gd name="connsiteX1606" fmla="*/ 1280433 w 2368274"/>
                    <a:gd name="connsiteY1606" fmla="*/ 8401 h 2457568"/>
                    <a:gd name="connsiteX1607" fmla="*/ 1196169 w 2368274"/>
                    <a:gd name="connsiteY1607" fmla="*/ 1252 h 2457568"/>
                    <a:gd name="connsiteX1608" fmla="*/ 1118733 w 2368274"/>
                    <a:gd name="connsiteY1608" fmla="*/ 288 h 2457568"/>
                    <a:gd name="connsiteX1609" fmla="*/ 1051016 w 2368274"/>
                    <a:gd name="connsiteY1609" fmla="*/ 3421 h 2457568"/>
                    <a:gd name="connsiteX1610" fmla="*/ 988762 w 2368274"/>
                    <a:gd name="connsiteY1610" fmla="*/ 9606 h 2457568"/>
                    <a:gd name="connsiteX1611" fmla="*/ 928757 w 2368274"/>
                    <a:gd name="connsiteY1611" fmla="*/ 18603 h 2457568"/>
                    <a:gd name="connsiteX1612" fmla="*/ 868351 w 2368274"/>
                    <a:gd name="connsiteY1612" fmla="*/ 30813 h 2457568"/>
                    <a:gd name="connsiteX1613" fmla="*/ 804651 w 2368274"/>
                    <a:gd name="connsiteY1613" fmla="*/ 47119 h 2457568"/>
                    <a:gd name="connsiteX1614" fmla="*/ 734042 w 2368274"/>
                    <a:gd name="connsiteY1614" fmla="*/ 69611 h 2457568"/>
                    <a:gd name="connsiteX1615" fmla="*/ 651545 w 2368274"/>
                    <a:gd name="connsiteY1615" fmla="*/ 102144 h 2457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  <a:cxn ang="0">
                      <a:pos x="connsiteX1605" y="connsiteY1605"/>
                    </a:cxn>
                    <a:cxn ang="0">
                      <a:pos x="connsiteX1606" y="connsiteY1606"/>
                    </a:cxn>
                    <a:cxn ang="0">
                      <a:pos x="connsiteX1607" y="connsiteY1607"/>
                    </a:cxn>
                    <a:cxn ang="0">
                      <a:pos x="connsiteX1608" y="connsiteY1608"/>
                    </a:cxn>
                    <a:cxn ang="0">
                      <a:pos x="connsiteX1609" y="connsiteY1609"/>
                    </a:cxn>
                    <a:cxn ang="0">
                      <a:pos x="connsiteX1610" y="connsiteY1610"/>
                    </a:cxn>
                    <a:cxn ang="0">
                      <a:pos x="connsiteX1611" y="connsiteY1611"/>
                    </a:cxn>
                    <a:cxn ang="0">
                      <a:pos x="connsiteX1612" y="connsiteY1612"/>
                    </a:cxn>
                    <a:cxn ang="0">
                      <a:pos x="connsiteX1613" y="connsiteY1613"/>
                    </a:cxn>
                    <a:cxn ang="0">
                      <a:pos x="connsiteX1614" y="connsiteY1614"/>
                    </a:cxn>
                    <a:cxn ang="0">
                      <a:pos x="connsiteX1615" y="connsiteY1615"/>
                    </a:cxn>
                  </a:cxnLst>
                  <a:rect l="l" t="t" r="r" b="b"/>
                  <a:pathLst>
                    <a:path w="2368274" h="2457568">
                      <a:moveTo>
                        <a:pt x="881444" y="2409566"/>
                      </a:moveTo>
                      <a:cubicBezTo>
                        <a:pt x="902490" y="2419928"/>
                        <a:pt x="902490" y="2419928"/>
                        <a:pt x="902651" y="2420651"/>
                      </a:cubicBezTo>
                      <a:cubicBezTo>
                        <a:pt x="902329" y="2420651"/>
                        <a:pt x="901365" y="2420651"/>
                        <a:pt x="896867" y="2419205"/>
                      </a:cubicBezTo>
                      <a:cubicBezTo>
                        <a:pt x="893895" y="2418241"/>
                        <a:pt x="874134" y="2413422"/>
                        <a:pt x="874054" y="2413422"/>
                      </a:cubicBezTo>
                      <a:cubicBezTo>
                        <a:pt x="871403" y="2413020"/>
                        <a:pt x="869957" y="2412779"/>
                        <a:pt x="866905" y="2412779"/>
                      </a:cubicBezTo>
                      <a:cubicBezTo>
                        <a:pt x="864254" y="2412779"/>
                        <a:pt x="861683" y="2414145"/>
                        <a:pt x="859033" y="2413502"/>
                      </a:cubicBezTo>
                      <a:cubicBezTo>
                        <a:pt x="856703" y="2412940"/>
                        <a:pt x="852526" y="2411976"/>
                        <a:pt x="850598" y="2411815"/>
                      </a:cubicBezTo>
                      <a:cubicBezTo>
                        <a:pt x="850518" y="2411815"/>
                        <a:pt x="850357" y="2411815"/>
                        <a:pt x="850197" y="2411815"/>
                      </a:cubicBezTo>
                      <a:lnTo>
                        <a:pt x="840718" y="2409405"/>
                      </a:lnTo>
                      <a:cubicBezTo>
                        <a:pt x="839192" y="2408762"/>
                        <a:pt x="837264" y="2407879"/>
                        <a:pt x="835737" y="2407236"/>
                      </a:cubicBezTo>
                      <a:cubicBezTo>
                        <a:pt x="843610" y="2407076"/>
                        <a:pt x="851401" y="2408120"/>
                        <a:pt x="859274" y="2407959"/>
                      </a:cubicBezTo>
                      <a:cubicBezTo>
                        <a:pt x="854133" y="2407076"/>
                        <a:pt x="850919" y="2406272"/>
                        <a:pt x="846582" y="2404987"/>
                      </a:cubicBezTo>
                      <a:cubicBezTo>
                        <a:pt x="851883" y="2404907"/>
                        <a:pt x="873893" y="2406031"/>
                        <a:pt x="881444" y="2409566"/>
                      </a:cubicBezTo>
                      <a:moveTo>
                        <a:pt x="877347" y="2407317"/>
                      </a:moveTo>
                      <a:cubicBezTo>
                        <a:pt x="877910" y="2407638"/>
                        <a:pt x="878151" y="2407879"/>
                        <a:pt x="878311" y="2408120"/>
                      </a:cubicBezTo>
                      <a:cubicBezTo>
                        <a:pt x="878151" y="2408040"/>
                        <a:pt x="877910" y="2407959"/>
                        <a:pt x="877749" y="2407879"/>
                      </a:cubicBezTo>
                      <a:cubicBezTo>
                        <a:pt x="877588" y="2407798"/>
                        <a:pt x="877347" y="2407718"/>
                        <a:pt x="877187" y="2407558"/>
                      </a:cubicBezTo>
                      <a:cubicBezTo>
                        <a:pt x="877026" y="2407477"/>
                        <a:pt x="876785" y="2407397"/>
                        <a:pt x="876624" y="2407236"/>
                      </a:cubicBezTo>
                      <a:cubicBezTo>
                        <a:pt x="876464" y="2407156"/>
                        <a:pt x="876223" y="2407076"/>
                        <a:pt x="876062" y="2406915"/>
                      </a:cubicBezTo>
                      <a:cubicBezTo>
                        <a:pt x="875901" y="2406835"/>
                        <a:pt x="875660" y="2406754"/>
                        <a:pt x="875500" y="2406594"/>
                      </a:cubicBezTo>
                      <a:cubicBezTo>
                        <a:pt x="875339" y="2406513"/>
                        <a:pt x="875098" y="2406433"/>
                        <a:pt x="874938" y="2406272"/>
                      </a:cubicBezTo>
                      <a:cubicBezTo>
                        <a:pt x="874777" y="2406192"/>
                        <a:pt x="874536" y="2406112"/>
                        <a:pt x="874375" y="2405951"/>
                      </a:cubicBezTo>
                      <a:cubicBezTo>
                        <a:pt x="874215" y="2405871"/>
                        <a:pt x="873974" y="2405790"/>
                        <a:pt x="873813" y="2405629"/>
                      </a:cubicBezTo>
                      <a:cubicBezTo>
                        <a:pt x="873813" y="2405629"/>
                        <a:pt x="873893" y="2405629"/>
                        <a:pt x="873893" y="2405629"/>
                      </a:cubicBezTo>
                      <a:cubicBezTo>
                        <a:pt x="874697" y="2406112"/>
                        <a:pt x="876223" y="2406594"/>
                        <a:pt x="877347" y="2407317"/>
                      </a:cubicBezTo>
                      <a:moveTo>
                        <a:pt x="867306" y="2401372"/>
                      </a:moveTo>
                      <a:cubicBezTo>
                        <a:pt x="866503" y="2401372"/>
                        <a:pt x="865700" y="2401372"/>
                        <a:pt x="864897" y="2401372"/>
                      </a:cubicBezTo>
                      <a:cubicBezTo>
                        <a:pt x="867869" y="2402899"/>
                        <a:pt x="870841" y="2404344"/>
                        <a:pt x="873813" y="2405871"/>
                      </a:cubicBezTo>
                      <a:cubicBezTo>
                        <a:pt x="859434" y="2403461"/>
                        <a:pt x="857024" y="2402336"/>
                        <a:pt x="857587" y="2401854"/>
                      </a:cubicBezTo>
                      <a:cubicBezTo>
                        <a:pt x="858149" y="2401372"/>
                        <a:pt x="862728" y="2401372"/>
                        <a:pt x="864897" y="2401372"/>
                      </a:cubicBezTo>
                      <a:cubicBezTo>
                        <a:pt x="864093" y="2400971"/>
                        <a:pt x="863290" y="2400489"/>
                        <a:pt x="862487" y="2400087"/>
                      </a:cubicBezTo>
                      <a:cubicBezTo>
                        <a:pt x="864174" y="2400489"/>
                        <a:pt x="865941" y="2400971"/>
                        <a:pt x="867628" y="2401372"/>
                      </a:cubicBezTo>
                      <a:cubicBezTo>
                        <a:pt x="867547" y="2401372"/>
                        <a:pt x="867467" y="2401372"/>
                        <a:pt x="867306" y="2401372"/>
                      </a:cubicBezTo>
                      <a:moveTo>
                        <a:pt x="859756" y="2399364"/>
                      </a:moveTo>
                      <a:cubicBezTo>
                        <a:pt x="853972" y="2397918"/>
                        <a:pt x="825134" y="2390448"/>
                        <a:pt x="822965" y="2388038"/>
                      </a:cubicBezTo>
                      <a:cubicBezTo>
                        <a:pt x="823046" y="2387958"/>
                        <a:pt x="823046" y="2387877"/>
                        <a:pt x="823126" y="2387716"/>
                      </a:cubicBezTo>
                      <a:cubicBezTo>
                        <a:pt x="825777" y="2386994"/>
                        <a:pt x="843208" y="2389885"/>
                        <a:pt x="843369" y="2389885"/>
                      </a:cubicBezTo>
                      <a:cubicBezTo>
                        <a:pt x="843770" y="2390046"/>
                        <a:pt x="844252" y="2390367"/>
                        <a:pt x="844654" y="2390528"/>
                      </a:cubicBezTo>
                      <a:cubicBezTo>
                        <a:pt x="854695" y="2395910"/>
                        <a:pt x="859033" y="2398159"/>
                        <a:pt x="862567" y="2399926"/>
                      </a:cubicBezTo>
                      <a:cubicBezTo>
                        <a:pt x="861683" y="2399846"/>
                        <a:pt x="860559" y="2399605"/>
                        <a:pt x="859756" y="2399364"/>
                      </a:cubicBezTo>
                      <a:moveTo>
                        <a:pt x="908434" y="2361690"/>
                      </a:moveTo>
                      <a:cubicBezTo>
                        <a:pt x="908354" y="2361690"/>
                        <a:pt x="908354" y="2361690"/>
                        <a:pt x="908434" y="2361690"/>
                      </a:cubicBezTo>
                      <a:cubicBezTo>
                        <a:pt x="908354" y="2361690"/>
                        <a:pt x="908274" y="2361690"/>
                        <a:pt x="908274" y="2361690"/>
                      </a:cubicBezTo>
                      <a:cubicBezTo>
                        <a:pt x="908274" y="2361690"/>
                        <a:pt x="908193" y="2361690"/>
                        <a:pt x="908193" y="2361690"/>
                      </a:cubicBezTo>
                      <a:cubicBezTo>
                        <a:pt x="908193" y="2361690"/>
                        <a:pt x="908113" y="2361690"/>
                        <a:pt x="908113" y="2361690"/>
                      </a:cubicBezTo>
                      <a:cubicBezTo>
                        <a:pt x="908113" y="2361690"/>
                        <a:pt x="908033" y="2361690"/>
                        <a:pt x="908033" y="2361690"/>
                      </a:cubicBezTo>
                      <a:cubicBezTo>
                        <a:pt x="908033" y="2361690"/>
                        <a:pt x="907952" y="2361690"/>
                        <a:pt x="907952" y="2361690"/>
                      </a:cubicBezTo>
                      <a:cubicBezTo>
                        <a:pt x="907952" y="2361690"/>
                        <a:pt x="907872" y="2361690"/>
                        <a:pt x="907872" y="2361690"/>
                      </a:cubicBezTo>
                      <a:cubicBezTo>
                        <a:pt x="907872" y="2361690"/>
                        <a:pt x="907792" y="2361690"/>
                        <a:pt x="907792" y="2361690"/>
                      </a:cubicBezTo>
                      <a:cubicBezTo>
                        <a:pt x="907792" y="2361690"/>
                        <a:pt x="907711" y="2361690"/>
                        <a:pt x="907711" y="2361690"/>
                      </a:cubicBezTo>
                      <a:cubicBezTo>
                        <a:pt x="907711" y="2361690"/>
                        <a:pt x="907631" y="2361690"/>
                        <a:pt x="907631" y="2361690"/>
                      </a:cubicBezTo>
                      <a:cubicBezTo>
                        <a:pt x="907631" y="2361690"/>
                        <a:pt x="907551" y="2361690"/>
                        <a:pt x="907551" y="2361690"/>
                      </a:cubicBezTo>
                      <a:cubicBezTo>
                        <a:pt x="907551" y="2361690"/>
                        <a:pt x="907470" y="2361690"/>
                        <a:pt x="907470" y="2361690"/>
                      </a:cubicBezTo>
                      <a:cubicBezTo>
                        <a:pt x="907470" y="2361690"/>
                        <a:pt x="907390" y="2361690"/>
                        <a:pt x="907390" y="2361690"/>
                      </a:cubicBezTo>
                      <a:cubicBezTo>
                        <a:pt x="907390" y="2361690"/>
                        <a:pt x="907310" y="2361690"/>
                        <a:pt x="907310" y="2361690"/>
                      </a:cubicBezTo>
                      <a:cubicBezTo>
                        <a:pt x="907310" y="2361690"/>
                        <a:pt x="907229" y="2361690"/>
                        <a:pt x="907229" y="2361690"/>
                      </a:cubicBezTo>
                      <a:cubicBezTo>
                        <a:pt x="907229" y="2361690"/>
                        <a:pt x="907149" y="2361690"/>
                        <a:pt x="907149" y="2361690"/>
                      </a:cubicBezTo>
                      <a:cubicBezTo>
                        <a:pt x="907149" y="2361690"/>
                        <a:pt x="907069" y="2361690"/>
                        <a:pt x="907069" y="2361690"/>
                      </a:cubicBezTo>
                      <a:cubicBezTo>
                        <a:pt x="907069" y="2361690"/>
                        <a:pt x="906988" y="2361690"/>
                        <a:pt x="906988" y="2361690"/>
                      </a:cubicBezTo>
                      <a:cubicBezTo>
                        <a:pt x="906988" y="2361690"/>
                        <a:pt x="906908" y="2361690"/>
                        <a:pt x="906908" y="2361690"/>
                      </a:cubicBezTo>
                      <a:cubicBezTo>
                        <a:pt x="906908" y="2361690"/>
                        <a:pt x="906828" y="2361690"/>
                        <a:pt x="906828" y="2361690"/>
                      </a:cubicBezTo>
                      <a:cubicBezTo>
                        <a:pt x="906828" y="2361690"/>
                        <a:pt x="906747" y="2361690"/>
                        <a:pt x="906747" y="2361690"/>
                      </a:cubicBezTo>
                      <a:cubicBezTo>
                        <a:pt x="906747" y="2361690"/>
                        <a:pt x="906667" y="2361690"/>
                        <a:pt x="906667" y="2361690"/>
                      </a:cubicBezTo>
                      <a:cubicBezTo>
                        <a:pt x="906667" y="2361690"/>
                        <a:pt x="906587" y="2361690"/>
                        <a:pt x="906587" y="2361690"/>
                      </a:cubicBezTo>
                      <a:cubicBezTo>
                        <a:pt x="906587" y="2361690"/>
                        <a:pt x="906506" y="2361690"/>
                        <a:pt x="906506" y="2361690"/>
                      </a:cubicBezTo>
                      <a:cubicBezTo>
                        <a:pt x="906506" y="2361690"/>
                        <a:pt x="906426" y="2361690"/>
                        <a:pt x="906426" y="2361690"/>
                      </a:cubicBezTo>
                      <a:cubicBezTo>
                        <a:pt x="906426" y="2361690"/>
                        <a:pt x="906346" y="2361690"/>
                        <a:pt x="906346" y="2361690"/>
                      </a:cubicBezTo>
                      <a:cubicBezTo>
                        <a:pt x="906346" y="2361690"/>
                        <a:pt x="906265" y="2361690"/>
                        <a:pt x="906265" y="2361690"/>
                      </a:cubicBezTo>
                      <a:cubicBezTo>
                        <a:pt x="906265" y="2361690"/>
                        <a:pt x="906185" y="2361690"/>
                        <a:pt x="906185" y="2361690"/>
                      </a:cubicBezTo>
                      <a:cubicBezTo>
                        <a:pt x="906185" y="2361690"/>
                        <a:pt x="906105" y="2361690"/>
                        <a:pt x="906105" y="2361690"/>
                      </a:cubicBezTo>
                      <a:cubicBezTo>
                        <a:pt x="906105" y="2361690"/>
                        <a:pt x="906024" y="2361690"/>
                        <a:pt x="906024" y="2361690"/>
                      </a:cubicBezTo>
                      <a:cubicBezTo>
                        <a:pt x="906024" y="2361690"/>
                        <a:pt x="905944" y="2361690"/>
                        <a:pt x="905944" y="2361690"/>
                      </a:cubicBezTo>
                      <a:cubicBezTo>
                        <a:pt x="906587" y="2361529"/>
                        <a:pt x="907149" y="2361529"/>
                        <a:pt x="908434" y="2361690"/>
                      </a:cubicBezTo>
                      <a:cubicBezTo>
                        <a:pt x="908434" y="2361690"/>
                        <a:pt x="908434" y="2361690"/>
                        <a:pt x="908434" y="2361690"/>
                      </a:cubicBezTo>
                      <a:moveTo>
                        <a:pt x="731311" y="2234371"/>
                      </a:moveTo>
                      <a:cubicBezTo>
                        <a:pt x="716450" y="2234129"/>
                        <a:pt x="691629" y="2231800"/>
                        <a:pt x="657731" y="2227302"/>
                      </a:cubicBezTo>
                      <a:cubicBezTo>
                        <a:pt x="649698" y="2226257"/>
                        <a:pt x="642870" y="2224490"/>
                        <a:pt x="637408" y="2222000"/>
                      </a:cubicBezTo>
                      <a:cubicBezTo>
                        <a:pt x="643834" y="2222000"/>
                        <a:pt x="643834" y="2222000"/>
                        <a:pt x="659337" y="2225133"/>
                      </a:cubicBezTo>
                      <a:cubicBezTo>
                        <a:pt x="650099" y="2221437"/>
                        <a:pt x="647368" y="2219269"/>
                        <a:pt x="648493" y="2216698"/>
                      </a:cubicBezTo>
                      <a:cubicBezTo>
                        <a:pt x="647529" y="2216056"/>
                        <a:pt x="647529" y="2216056"/>
                        <a:pt x="647047" y="2215333"/>
                      </a:cubicBezTo>
                      <a:cubicBezTo>
                        <a:pt x="647288" y="2215011"/>
                        <a:pt x="647931" y="2214771"/>
                        <a:pt x="648332" y="2214610"/>
                      </a:cubicBezTo>
                      <a:cubicBezTo>
                        <a:pt x="649859" y="2216216"/>
                        <a:pt x="651144" y="2217261"/>
                        <a:pt x="653714" y="2218867"/>
                      </a:cubicBezTo>
                      <a:cubicBezTo>
                        <a:pt x="652670" y="2218867"/>
                        <a:pt x="651304" y="2218787"/>
                        <a:pt x="650341" y="2218787"/>
                      </a:cubicBezTo>
                      <a:cubicBezTo>
                        <a:pt x="660382" y="2222723"/>
                        <a:pt x="664157" y="2224008"/>
                        <a:pt x="674037" y="2226820"/>
                      </a:cubicBezTo>
                      <a:cubicBezTo>
                        <a:pt x="659016" y="2214931"/>
                        <a:pt x="659016" y="2214931"/>
                        <a:pt x="643352" y="2204970"/>
                      </a:cubicBezTo>
                      <a:cubicBezTo>
                        <a:pt x="654277" y="2202480"/>
                        <a:pt x="664478" y="2204328"/>
                        <a:pt x="677250" y="2211236"/>
                      </a:cubicBezTo>
                      <a:cubicBezTo>
                        <a:pt x="686408" y="2216136"/>
                        <a:pt x="721431" y="2230675"/>
                        <a:pt x="733239" y="2234451"/>
                      </a:cubicBezTo>
                      <a:cubicBezTo>
                        <a:pt x="732677" y="2234371"/>
                        <a:pt x="731954" y="2234371"/>
                        <a:pt x="731311" y="2234371"/>
                      </a:cubicBezTo>
                      <a:moveTo>
                        <a:pt x="1185726" y="2456959"/>
                      </a:moveTo>
                      <a:cubicBezTo>
                        <a:pt x="1086200" y="2460333"/>
                        <a:pt x="986593" y="2362092"/>
                        <a:pt x="904338" y="2184406"/>
                      </a:cubicBezTo>
                      <a:cubicBezTo>
                        <a:pt x="815414" y="2187620"/>
                        <a:pt x="729865" y="2186415"/>
                        <a:pt x="650341" y="2180390"/>
                      </a:cubicBezTo>
                      <a:cubicBezTo>
                        <a:pt x="649136" y="2182157"/>
                        <a:pt x="647047" y="2184406"/>
                        <a:pt x="646886" y="2186575"/>
                      </a:cubicBezTo>
                      <a:cubicBezTo>
                        <a:pt x="648091" y="2187378"/>
                        <a:pt x="649778" y="2188503"/>
                        <a:pt x="650983" y="2189306"/>
                      </a:cubicBezTo>
                      <a:cubicBezTo>
                        <a:pt x="628732" y="2211317"/>
                        <a:pt x="628732" y="2211317"/>
                        <a:pt x="628090" y="2211477"/>
                      </a:cubicBezTo>
                      <a:cubicBezTo>
                        <a:pt x="628732" y="2209951"/>
                        <a:pt x="629696" y="2207942"/>
                        <a:pt x="630339" y="2206416"/>
                      </a:cubicBezTo>
                      <a:cubicBezTo>
                        <a:pt x="623672" y="2206015"/>
                        <a:pt x="616924" y="2209469"/>
                        <a:pt x="610337" y="2205854"/>
                      </a:cubicBezTo>
                      <a:cubicBezTo>
                        <a:pt x="615318" y="2201757"/>
                        <a:pt x="615318" y="2201757"/>
                        <a:pt x="625760" y="2201597"/>
                      </a:cubicBezTo>
                      <a:cubicBezTo>
                        <a:pt x="612345" y="2198143"/>
                        <a:pt x="597485" y="2202159"/>
                        <a:pt x="585034" y="2193725"/>
                      </a:cubicBezTo>
                      <a:cubicBezTo>
                        <a:pt x="587444" y="2192841"/>
                        <a:pt x="587444" y="2192841"/>
                        <a:pt x="606240" y="2195251"/>
                      </a:cubicBezTo>
                      <a:cubicBezTo>
                        <a:pt x="602626" y="2191796"/>
                        <a:pt x="596762" y="2188342"/>
                        <a:pt x="592263" y="2186174"/>
                      </a:cubicBezTo>
                      <a:cubicBezTo>
                        <a:pt x="593870" y="2186977"/>
                        <a:pt x="595958" y="2188102"/>
                        <a:pt x="597565" y="2188985"/>
                      </a:cubicBezTo>
                      <a:cubicBezTo>
                        <a:pt x="593629" y="2190110"/>
                        <a:pt x="593629" y="2190110"/>
                        <a:pt x="558847" y="2173803"/>
                      </a:cubicBezTo>
                      <a:cubicBezTo>
                        <a:pt x="559409" y="2173643"/>
                        <a:pt x="559409" y="2173643"/>
                        <a:pt x="573627" y="2173964"/>
                      </a:cubicBezTo>
                      <a:cubicBezTo>
                        <a:pt x="572262" y="2173562"/>
                        <a:pt x="570414" y="2172919"/>
                        <a:pt x="568968" y="2172518"/>
                      </a:cubicBezTo>
                      <a:cubicBezTo>
                        <a:pt x="526555" y="2166734"/>
                        <a:pt x="487676" y="2160147"/>
                        <a:pt x="451368" y="2151954"/>
                      </a:cubicBezTo>
                      <a:cubicBezTo>
                        <a:pt x="338588" y="2126570"/>
                        <a:pt x="262597" y="2089298"/>
                        <a:pt x="222594" y="2044555"/>
                      </a:cubicBezTo>
                      <a:cubicBezTo>
                        <a:pt x="245006" y="2067931"/>
                        <a:pt x="274325" y="2099580"/>
                        <a:pt x="297701" y="2121911"/>
                      </a:cubicBezTo>
                      <a:cubicBezTo>
                        <a:pt x="385017" y="2198383"/>
                        <a:pt x="392166" y="2204649"/>
                        <a:pt x="459722" y="2250838"/>
                      </a:cubicBezTo>
                      <a:cubicBezTo>
                        <a:pt x="549208" y="2306103"/>
                        <a:pt x="562944" y="2314618"/>
                        <a:pt x="648091" y="2353979"/>
                      </a:cubicBezTo>
                      <a:cubicBezTo>
                        <a:pt x="679178" y="2366510"/>
                        <a:pt x="720708" y="2382977"/>
                        <a:pt x="752277" y="2394143"/>
                      </a:cubicBezTo>
                      <a:lnTo>
                        <a:pt x="752437" y="2394223"/>
                      </a:lnTo>
                      <a:cubicBezTo>
                        <a:pt x="856623" y="2428282"/>
                        <a:pt x="917913" y="2425150"/>
                        <a:pt x="918315" y="2425069"/>
                      </a:cubicBezTo>
                      <a:cubicBezTo>
                        <a:pt x="917913" y="2422820"/>
                        <a:pt x="917351" y="2419767"/>
                        <a:pt x="916949" y="2417518"/>
                      </a:cubicBezTo>
                      <a:cubicBezTo>
                        <a:pt x="901124" y="2407718"/>
                        <a:pt x="894056" y="2405068"/>
                        <a:pt x="860478" y="2392376"/>
                      </a:cubicBezTo>
                      <a:cubicBezTo>
                        <a:pt x="863772" y="2392134"/>
                        <a:pt x="868270" y="2392295"/>
                        <a:pt x="871564" y="2392616"/>
                      </a:cubicBezTo>
                      <a:cubicBezTo>
                        <a:pt x="864495" y="2386030"/>
                        <a:pt x="857024" y="2379925"/>
                        <a:pt x="850036" y="2373258"/>
                      </a:cubicBezTo>
                      <a:cubicBezTo>
                        <a:pt x="850759" y="2372776"/>
                        <a:pt x="851803" y="2372213"/>
                        <a:pt x="852526" y="2371731"/>
                      </a:cubicBezTo>
                      <a:cubicBezTo>
                        <a:pt x="851160" y="2370526"/>
                        <a:pt x="849393" y="2368920"/>
                        <a:pt x="848108" y="2367715"/>
                      </a:cubicBezTo>
                      <a:cubicBezTo>
                        <a:pt x="848108" y="2366028"/>
                        <a:pt x="848108" y="2363698"/>
                        <a:pt x="848108" y="2362011"/>
                      </a:cubicBezTo>
                      <a:cubicBezTo>
                        <a:pt x="850759" y="2360807"/>
                        <a:pt x="854534" y="2359682"/>
                        <a:pt x="857426" y="2359120"/>
                      </a:cubicBezTo>
                      <a:cubicBezTo>
                        <a:pt x="858069" y="2357835"/>
                        <a:pt x="858952" y="2356067"/>
                        <a:pt x="859675" y="2354782"/>
                      </a:cubicBezTo>
                      <a:cubicBezTo>
                        <a:pt x="858631" y="2353497"/>
                        <a:pt x="857265" y="2351810"/>
                        <a:pt x="856221" y="2350605"/>
                      </a:cubicBezTo>
                      <a:cubicBezTo>
                        <a:pt x="880320" y="2346749"/>
                        <a:pt x="902892" y="2335744"/>
                        <a:pt x="927552" y="2334620"/>
                      </a:cubicBezTo>
                      <a:cubicBezTo>
                        <a:pt x="911808" y="2336949"/>
                        <a:pt x="898393" y="2345705"/>
                        <a:pt x="883613" y="2350766"/>
                      </a:cubicBezTo>
                      <a:cubicBezTo>
                        <a:pt x="889798" y="2358317"/>
                        <a:pt x="891485" y="2360325"/>
                        <a:pt x="903695" y="2361529"/>
                      </a:cubicBezTo>
                      <a:cubicBezTo>
                        <a:pt x="898072" y="2363618"/>
                        <a:pt x="896706" y="2364100"/>
                        <a:pt x="889156" y="2362735"/>
                      </a:cubicBezTo>
                      <a:cubicBezTo>
                        <a:pt x="890360" y="2364180"/>
                        <a:pt x="891967" y="2366189"/>
                        <a:pt x="893252" y="2367634"/>
                      </a:cubicBezTo>
                      <a:cubicBezTo>
                        <a:pt x="883452" y="2363779"/>
                        <a:pt x="880721" y="2363297"/>
                        <a:pt x="872608" y="2362493"/>
                      </a:cubicBezTo>
                      <a:cubicBezTo>
                        <a:pt x="873572" y="2363859"/>
                        <a:pt x="874857" y="2365787"/>
                        <a:pt x="875741" y="2367153"/>
                      </a:cubicBezTo>
                      <a:cubicBezTo>
                        <a:pt x="873170" y="2369241"/>
                        <a:pt x="870680" y="2373418"/>
                        <a:pt x="870359" y="2376631"/>
                      </a:cubicBezTo>
                      <a:cubicBezTo>
                        <a:pt x="872608" y="2378800"/>
                        <a:pt x="872608" y="2378800"/>
                        <a:pt x="911647" y="2386190"/>
                      </a:cubicBezTo>
                      <a:cubicBezTo>
                        <a:pt x="919118" y="2393259"/>
                        <a:pt x="921608" y="2395669"/>
                        <a:pt x="949161" y="2404505"/>
                      </a:cubicBezTo>
                      <a:cubicBezTo>
                        <a:pt x="948277" y="2404344"/>
                        <a:pt x="946992" y="2404104"/>
                        <a:pt x="946108" y="2403943"/>
                      </a:cubicBezTo>
                      <a:cubicBezTo>
                        <a:pt x="955989" y="2408843"/>
                        <a:pt x="971893" y="2412698"/>
                        <a:pt x="972054" y="2412698"/>
                      </a:cubicBezTo>
                      <a:cubicBezTo>
                        <a:pt x="972295" y="2414145"/>
                        <a:pt x="972697" y="2415992"/>
                        <a:pt x="973018" y="2417438"/>
                      </a:cubicBezTo>
                      <a:cubicBezTo>
                        <a:pt x="975026" y="2417518"/>
                        <a:pt x="977677" y="2417518"/>
                        <a:pt x="979685" y="2417599"/>
                      </a:cubicBezTo>
                      <a:cubicBezTo>
                        <a:pt x="978079" y="2418482"/>
                        <a:pt x="975990" y="2419687"/>
                        <a:pt x="974384" y="2420571"/>
                      </a:cubicBezTo>
                      <a:cubicBezTo>
                        <a:pt x="983139" y="2420892"/>
                        <a:pt x="999446" y="2421535"/>
                        <a:pt x="1017921" y="2431334"/>
                      </a:cubicBezTo>
                      <a:cubicBezTo>
                        <a:pt x="1010933" y="2431013"/>
                        <a:pt x="1003864" y="2431334"/>
                        <a:pt x="996875" y="2430290"/>
                      </a:cubicBezTo>
                      <a:cubicBezTo>
                        <a:pt x="1011013" y="2433905"/>
                        <a:pt x="1011013" y="2433905"/>
                        <a:pt x="1026436" y="2439448"/>
                      </a:cubicBezTo>
                      <a:cubicBezTo>
                        <a:pt x="1024749" y="2439689"/>
                        <a:pt x="1022420" y="2440010"/>
                        <a:pt x="1020652" y="2440251"/>
                      </a:cubicBezTo>
                      <a:cubicBezTo>
                        <a:pt x="1022179" y="2440894"/>
                        <a:pt x="1024187" y="2441777"/>
                        <a:pt x="1025713" y="2442420"/>
                      </a:cubicBezTo>
                      <a:cubicBezTo>
                        <a:pt x="1022821" y="2442821"/>
                        <a:pt x="1018885" y="2443143"/>
                        <a:pt x="1015913" y="2443143"/>
                      </a:cubicBezTo>
                      <a:cubicBezTo>
                        <a:pt x="1017841" y="2443464"/>
                        <a:pt x="1020411" y="2443866"/>
                        <a:pt x="1022339" y="2444107"/>
                      </a:cubicBezTo>
                      <a:cubicBezTo>
                        <a:pt x="1018484" y="2448605"/>
                        <a:pt x="1015752" y="2451818"/>
                        <a:pt x="964262" y="2444589"/>
                      </a:cubicBezTo>
                      <a:cubicBezTo>
                        <a:pt x="973018" y="2445793"/>
                        <a:pt x="984746" y="2447320"/>
                        <a:pt x="993502" y="2448525"/>
                      </a:cubicBezTo>
                      <a:cubicBezTo>
                        <a:pt x="1054872" y="2454871"/>
                        <a:pt x="1054872" y="2454871"/>
                        <a:pt x="1087405" y="2456317"/>
                      </a:cubicBezTo>
                      <a:cubicBezTo>
                        <a:pt x="1138815" y="2457763"/>
                        <a:pt x="1138815" y="2457763"/>
                        <a:pt x="1164841" y="2457281"/>
                      </a:cubicBezTo>
                      <a:lnTo>
                        <a:pt x="1185726" y="2456959"/>
                      </a:lnTo>
                      <a:moveTo>
                        <a:pt x="2359961" y="1239508"/>
                      </a:moveTo>
                      <a:cubicBezTo>
                        <a:pt x="2361969" y="1299272"/>
                        <a:pt x="2353454" y="1381046"/>
                        <a:pt x="2344859" y="1385304"/>
                      </a:cubicBezTo>
                      <a:cubicBezTo>
                        <a:pt x="2344779" y="1385223"/>
                        <a:pt x="2336666" y="1380403"/>
                        <a:pt x="2338915" y="1345140"/>
                      </a:cubicBezTo>
                      <a:cubicBezTo>
                        <a:pt x="2340762" y="1315981"/>
                        <a:pt x="2349518" y="1288026"/>
                        <a:pt x="2352892" y="1259189"/>
                      </a:cubicBezTo>
                      <a:cubicBezTo>
                        <a:pt x="2353053" y="1259590"/>
                        <a:pt x="2353294" y="1260072"/>
                        <a:pt x="2353454" y="1260393"/>
                      </a:cubicBezTo>
                      <a:cubicBezTo>
                        <a:pt x="2355141" y="1245613"/>
                        <a:pt x="2355061" y="1230672"/>
                        <a:pt x="2358274" y="1216052"/>
                      </a:cubicBezTo>
                      <a:cubicBezTo>
                        <a:pt x="2358756" y="1219025"/>
                        <a:pt x="2359479" y="1225290"/>
                        <a:pt x="2359961" y="1239508"/>
                      </a:cubicBezTo>
                      <a:moveTo>
                        <a:pt x="1731876" y="1396871"/>
                      </a:moveTo>
                      <a:cubicBezTo>
                        <a:pt x="1732680" y="1396549"/>
                        <a:pt x="1733563" y="1396228"/>
                        <a:pt x="1734367" y="1395907"/>
                      </a:cubicBezTo>
                      <a:lnTo>
                        <a:pt x="1731876" y="1396871"/>
                      </a:lnTo>
                      <a:moveTo>
                        <a:pt x="2121548" y="844696"/>
                      </a:moveTo>
                      <a:cubicBezTo>
                        <a:pt x="2120503" y="845580"/>
                        <a:pt x="2119620" y="845098"/>
                        <a:pt x="2119379" y="844937"/>
                      </a:cubicBezTo>
                      <a:cubicBezTo>
                        <a:pt x="2120101" y="844776"/>
                        <a:pt x="2120824" y="844696"/>
                        <a:pt x="2121548" y="844696"/>
                      </a:cubicBezTo>
                      <a:cubicBezTo>
                        <a:pt x="2121628" y="844616"/>
                        <a:pt x="2121628" y="844696"/>
                        <a:pt x="2121548" y="844696"/>
                      </a:cubicBezTo>
                      <a:moveTo>
                        <a:pt x="2119379" y="844857"/>
                      </a:moveTo>
                      <a:cubicBezTo>
                        <a:pt x="2119218" y="844937"/>
                        <a:pt x="2119057" y="844937"/>
                        <a:pt x="2118977" y="844937"/>
                      </a:cubicBezTo>
                      <a:cubicBezTo>
                        <a:pt x="2118977" y="844776"/>
                        <a:pt x="2118977" y="844696"/>
                        <a:pt x="2118897" y="844535"/>
                      </a:cubicBezTo>
                      <a:cubicBezTo>
                        <a:pt x="2118977" y="844696"/>
                        <a:pt x="2119218" y="844857"/>
                        <a:pt x="2119379" y="844857"/>
                      </a:cubicBezTo>
                      <a:cubicBezTo>
                        <a:pt x="2119379" y="844857"/>
                        <a:pt x="2119379" y="844857"/>
                        <a:pt x="2119379" y="844857"/>
                      </a:cubicBezTo>
                      <a:moveTo>
                        <a:pt x="1904260" y="875140"/>
                      </a:moveTo>
                      <a:cubicBezTo>
                        <a:pt x="1901288" y="883655"/>
                        <a:pt x="1904903" y="887109"/>
                        <a:pt x="1906590" y="888716"/>
                      </a:cubicBezTo>
                      <a:cubicBezTo>
                        <a:pt x="1906429" y="888957"/>
                        <a:pt x="1906188" y="889358"/>
                        <a:pt x="1906027" y="889599"/>
                      </a:cubicBezTo>
                      <a:cubicBezTo>
                        <a:pt x="1908437" y="891367"/>
                        <a:pt x="1909000" y="892893"/>
                        <a:pt x="1908598" y="896668"/>
                      </a:cubicBezTo>
                      <a:cubicBezTo>
                        <a:pt x="1893978" y="901006"/>
                        <a:pt x="1874941" y="903978"/>
                        <a:pt x="1867390" y="893295"/>
                      </a:cubicBezTo>
                      <a:cubicBezTo>
                        <a:pt x="1872370" y="891045"/>
                        <a:pt x="1874619" y="890483"/>
                        <a:pt x="1882170" y="889198"/>
                      </a:cubicBezTo>
                      <a:cubicBezTo>
                        <a:pt x="1890604" y="883655"/>
                        <a:pt x="1897513" y="878755"/>
                        <a:pt x="1905304" y="872731"/>
                      </a:cubicBezTo>
                      <a:cubicBezTo>
                        <a:pt x="1904903" y="873454"/>
                        <a:pt x="1904501" y="874418"/>
                        <a:pt x="1904260" y="875140"/>
                      </a:cubicBezTo>
                      <a:moveTo>
                        <a:pt x="1928278" y="833852"/>
                      </a:moveTo>
                      <a:cubicBezTo>
                        <a:pt x="1928278" y="833932"/>
                        <a:pt x="1928278" y="834013"/>
                        <a:pt x="1928278" y="834093"/>
                      </a:cubicBezTo>
                      <a:cubicBezTo>
                        <a:pt x="1927877" y="834093"/>
                        <a:pt x="1927555" y="834013"/>
                        <a:pt x="1927154" y="834013"/>
                      </a:cubicBezTo>
                      <a:cubicBezTo>
                        <a:pt x="1927395" y="833932"/>
                        <a:pt x="1928118" y="833531"/>
                        <a:pt x="1928278" y="833852"/>
                      </a:cubicBezTo>
                      <a:moveTo>
                        <a:pt x="1811963" y="885422"/>
                      </a:moveTo>
                      <a:cubicBezTo>
                        <a:pt x="1813088" y="888234"/>
                        <a:pt x="1814132" y="892491"/>
                        <a:pt x="1812606" y="897150"/>
                      </a:cubicBezTo>
                      <a:cubicBezTo>
                        <a:pt x="1811963" y="899158"/>
                        <a:pt x="1810919" y="900685"/>
                        <a:pt x="1810437" y="901327"/>
                      </a:cubicBezTo>
                      <a:cubicBezTo>
                        <a:pt x="1810276" y="901568"/>
                        <a:pt x="1810035" y="901890"/>
                        <a:pt x="1809795" y="902131"/>
                      </a:cubicBezTo>
                      <a:cubicBezTo>
                        <a:pt x="1807867" y="904621"/>
                        <a:pt x="1807063" y="907995"/>
                        <a:pt x="1804011" y="909601"/>
                      </a:cubicBezTo>
                      <a:cubicBezTo>
                        <a:pt x="1801199" y="910163"/>
                        <a:pt x="1799432" y="908075"/>
                        <a:pt x="1796540" y="900604"/>
                      </a:cubicBezTo>
                      <a:cubicBezTo>
                        <a:pt x="1795898" y="898917"/>
                        <a:pt x="1793488" y="894259"/>
                        <a:pt x="1785857" y="888635"/>
                      </a:cubicBezTo>
                      <a:cubicBezTo>
                        <a:pt x="1785776" y="887993"/>
                        <a:pt x="1785616" y="887109"/>
                        <a:pt x="1785455" y="886467"/>
                      </a:cubicBezTo>
                      <a:cubicBezTo>
                        <a:pt x="1792444" y="879398"/>
                        <a:pt x="1797986" y="876426"/>
                        <a:pt x="1805296" y="876104"/>
                      </a:cubicBezTo>
                      <a:cubicBezTo>
                        <a:pt x="1806662" y="877390"/>
                        <a:pt x="1810035" y="880683"/>
                        <a:pt x="1811963" y="885422"/>
                      </a:cubicBezTo>
                      <a:moveTo>
                        <a:pt x="1794452" y="854416"/>
                      </a:moveTo>
                      <a:cubicBezTo>
                        <a:pt x="1795416" y="856665"/>
                        <a:pt x="1795416" y="856665"/>
                        <a:pt x="1796621" y="873855"/>
                      </a:cubicBezTo>
                      <a:cubicBezTo>
                        <a:pt x="1790757" y="874016"/>
                        <a:pt x="1788026" y="872731"/>
                        <a:pt x="1786580" y="869357"/>
                      </a:cubicBezTo>
                      <a:cubicBezTo>
                        <a:pt x="1784813" y="869035"/>
                        <a:pt x="1784170" y="868553"/>
                        <a:pt x="1782081" y="866304"/>
                      </a:cubicBezTo>
                      <a:lnTo>
                        <a:pt x="1783206" y="864698"/>
                      </a:lnTo>
                      <a:cubicBezTo>
                        <a:pt x="1782563" y="864617"/>
                        <a:pt x="1781760" y="864457"/>
                        <a:pt x="1781117" y="864377"/>
                      </a:cubicBezTo>
                      <a:cubicBezTo>
                        <a:pt x="1782403" y="858272"/>
                        <a:pt x="1787222" y="855862"/>
                        <a:pt x="1789311" y="855058"/>
                      </a:cubicBezTo>
                      <a:cubicBezTo>
                        <a:pt x="1790917" y="852970"/>
                        <a:pt x="1793006" y="850962"/>
                        <a:pt x="1794452" y="854416"/>
                      </a:cubicBezTo>
                      <a:moveTo>
                        <a:pt x="2302607" y="826622"/>
                      </a:moveTo>
                      <a:cubicBezTo>
                        <a:pt x="2286059" y="784129"/>
                        <a:pt x="2263407" y="727739"/>
                        <a:pt x="2244208" y="686370"/>
                      </a:cubicBezTo>
                      <a:lnTo>
                        <a:pt x="2244771" y="687494"/>
                      </a:lnTo>
                      <a:cubicBezTo>
                        <a:pt x="2256579" y="714083"/>
                        <a:pt x="2258025" y="722357"/>
                        <a:pt x="2253446" y="737057"/>
                      </a:cubicBezTo>
                      <a:cubicBezTo>
                        <a:pt x="2254249" y="737860"/>
                        <a:pt x="2328392" y="834575"/>
                        <a:pt x="2282284" y="975631"/>
                      </a:cubicBezTo>
                      <a:cubicBezTo>
                        <a:pt x="2276982" y="964546"/>
                        <a:pt x="2276982" y="964546"/>
                        <a:pt x="2268789" y="952175"/>
                      </a:cubicBezTo>
                      <a:lnTo>
                        <a:pt x="2269431" y="952175"/>
                      </a:lnTo>
                      <a:cubicBezTo>
                        <a:pt x="2251197" y="927916"/>
                        <a:pt x="2237541" y="913457"/>
                        <a:pt x="2215130" y="894740"/>
                      </a:cubicBezTo>
                      <a:cubicBezTo>
                        <a:pt x="2215210" y="894580"/>
                        <a:pt x="2215371" y="894500"/>
                        <a:pt x="2215451" y="894339"/>
                      </a:cubicBezTo>
                      <a:cubicBezTo>
                        <a:pt x="2192075" y="878996"/>
                        <a:pt x="2185328" y="875542"/>
                        <a:pt x="2159703" y="865581"/>
                      </a:cubicBezTo>
                      <a:cubicBezTo>
                        <a:pt x="2158177" y="859557"/>
                        <a:pt x="2155767" y="851604"/>
                        <a:pt x="2153759" y="845740"/>
                      </a:cubicBezTo>
                      <a:cubicBezTo>
                        <a:pt x="2154803" y="851444"/>
                        <a:pt x="2155687" y="859235"/>
                        <a:pt x="2155928" y="865019"/>
                      </a:cubicBezTo>
                      <a:cubicBezTo>
                        <a:pt x="2153679" y="866545"/>
                        <a:pt x="2150626" y="868634"/>
                        <a:pt x="2148377" y="870160"/>
                      </a:cubicBezTo>
                      <a:cubicBezTo>
                        <a:pt x="2143557" y="866786"/>
                        <a:pt x="2137372" y="861886"/>
                        <a:pt x="2133115" y="857790"/>
                      </a:cubicBezTo>
                      <a:cubicBezTo>
                        <a:pt x="2157454" y="885583"/>
                        <a:pt x="2211917" y="926952"/>
                        <a:pt x="2212398" y="927354"/>
                      </a:cubicBezTo>
                      <a:cubicBezTo>
                        <a:pt x="2219708" y="947195"/>
                        <a:pt x="2239067" y="956593"/>
                        <a:pt x="2251438" y="972016"/>
                      </a:cubicBezTo>
                      <a:cubicBezTo>
                        <a:pt x="2262603" y="972337"/>
                        <a:pt x="2262844" y="972337"/>
                        <a:pt x="2279392" y="978201"/>
                      </a:cubicBezTo>
                      <a:cubicBezTo>
                        <a:pt x="2279312" y="977800"/>
                        <a:pt x="2279231" y="977318"/>
                        <a:pt x="2279151" y="976916"/>
                      </a:cubicBezTo>
                      <a:cubicBezTo>
                        <a:pt x="2281963" y="981575"/>
                        <a:pt x="2282444" y="989688"/>
                        <a:pt x="2281480" y="995070"/>
                      </a:cubicBezTo>
                      <a:cubicBezTo>
                        <a:pt x="2294895" y="985993"/>
                        <a:pt x="2304856" y="976434"/>
                        <a:pt x="2310479" y="937073"/>
                      </a:cubicBezTo>
                      <a:cubicBezTo>
                        <a:pt x="2317708" y="951050"/>
                        <a:pt x="2317708" y="951050"/>
                        <a:pt x="2309515" y="1159100"/>
                      </a:cubicBezTo>
                      <a:lnTo>
                        <a:pt x="2309113" y="1159261"/>
                      </a:lnTo>
                      <a:cubicBezTo>
                        <a:pt x="2297707" y="1235331"/>
                        <a:pt x="2315620" y="1258064"/>
                        <a:pt x="2319395" y="1261839"/>
                      </a:cubicBezTo>
                      <a:lnTo>
                        <a:pt x="2320118" y="1261679"/>
                      </a:lnTo>
                      <a:cubicBezTo>
                        <a:pt x="2320279" y="1267623"/>
                        <a:pt x="2320520" y="1275576"/>
                        <a:pt x="2320680" y="1281439"/>
                      </a:cubicBezTo>
                      <a:cubicBezTo>
                        <a:pt x="2321162" y="1287143"/>
                        <a:pt x="2321403" y="1286821"/>
                        <a:pt x="2321644" y="1286580"/>
                      </a:cubicBezTo>
                      <a:cubicBezTo>
                        <a:pt x="2327749" y="1365222"/>
                        <a:pt x="2222600" y="1691112"/>
                        <a:pt x="2114398" y="1692478"/>
                      </a:cubicBezTo>
                      <a:cubicBezTo>
                        <a:pt x="2100019" y="1677778"/>
                        <a:pt x="2075841" y="1623556"/>
                        <a:pt x="2064675" y="1591586"/>
                      </a:cubicBezTo>
                      <a:cubicBezTo>
                        <a:pt x="2064916" y="1591586"/>
                        <a:pt x="2065318" y="1591586"/>
                        <a:pt x="2065559" y="1591586"/>
                      </a:cubicBezTo>
                      <a:cubicBezTo>
                        <a:pt x="2027162" y="1549172"/>
                        <a:pt x="2020414" y="1515997"/>
                        <a:pt x="2035436" y="1443541"/>
                      </a:cubicBezTo>
                      <a:cubicBezTo>
                        <a:pt x="2035355" y="1444023"/>
                        <a:pt x="2035195" y="1444666"/>
                        <a:pt x="2035034" y="1445068"/>
                      </a:cubicBezTo>
                      <a:cubicBezTo>
                        <a:pt x="2024110" y="1426833"/>
                        <a:pt x="2025877" y="1422094"/>
                        <a:pt x="2030616" y="1409402"/>
                      </a:cubicBezTo>
                      <a:cubicBezTo>
                        <a:pt x="2004510" y="1407153"/>
                        <a:pt x="1988765" y="1402012"/>
                        <a:pt x="1965229" y="1391890"/>
                      </a:cubicBezTo>
                      <a:cubicBezTo>
                        <a:pt x="1966193" y="1391730"/>
                        <a:pt x="1967398" y="1391408"/>
                        <a:pt x="1968362" y="1391248"/>
                      </a:cubicBezTo>
                      <a:cubicBezTo>
                        <a:pt x="1963703" y="1389320"/>
                        <a:pt x="1957839" y="1385786"/>
                        <a:pt x="1953903" y="1382572"/>
                      </a:cubicBezTo>
                      <a:cubicBezTo>
                        <a:pt x="1957919" y="1378797"/>
                        <a:pt x="1961132" y="1371407"/>
                        <a:pt x="1961534" y="1365864"/>
                      </a:cubicBezTo>
                      <a:cubicBezTo>
                        <a:pt x="1964024" y="1365463"/>
                        <a:pt x="1967318" y="1364900"/>
                        <a:pt x="1969727" y="1364418"/>
                      </a:cubicBezTo>
                      <a:cubicBezTo>
                        <a:pt x="1967398" y="1363535"/>
                        <a:pt x="1964185" y="1362410"/>
                        <a:pt x="1961855" y="1361526"/>
                      </a:cubicBezTo>
                      <a:cubicBezTo>
                        <a:pt x="1963703" y="1333251"/>
                        <a:pt x="1963703" y="1333251"/>
                        <a:pt x="1960891" y="1325620"/>
                      </a:cubicBezTo>
                      <a:lnTo>
                        <a:pt x="1959928" y="1323290"/>
                      </a:lnTo>
                      <a:lnTo>
                        <a:pt x="1958723" y="1321282"/>
                      </a:lnTo>
                      <a:lnTo>
                        <a:pt x="1958401" y="1321121"/>
                      </a:lnTo>
                      <a:lnTo>
                        <a:pt x="1955429" y="1322567"/>
                      </a:lnTo>
                      <a:cubicBezTo>
                        <a:pt x="1950529" y="1323531"/>
                        <a:pt x="1943621" y="1323049"/>
                        <a:pt x="1938882" y="1321443"/>
                      </a:cubicBezTo>
                      <a:cubicBezTo>
                        <a:pt x="1938641" y="1321603"/>
                        <a:pt x="1908437" y="1340962"/>
                        <a:pt x="1892372" y="1344015"/>
                      </a:cubicBezTo>
                      <a:cubicBezTo>
                        <a:pt x="1888918" y="1341525"/>
                        <a:pt x="1884500" y="1337428"/>
                        <a:pt x="1882491" y="1333653"/>
                      </a:cubicBezTo>
                      <a:cubicBezTo>
                        <a:pt x="1825539" y="1335018"/>
                        <a:pt x="1784893" y="1375102"/>
                        <a:pt x="1735812" y="1395184"/>
                      </a:cubicBezTo>
                      <a:cubicBezTo>
                        <a:pt x="1735812" y="1395184"/>
                        <a:pt x="1735812" y="1395184"/>
                        <a:pt x="1735893" y="1395184"/>
                      </a:cubicBezTo>
                      <a:cubicBezTo>
                        <a:pt x="1735893" y="1395184"/>
                        <a:pt x="1735893" y="1395184"/>
                        <a:pt x="1735893" y="1395184"/>
                      </a:cubicBezTo>
                      <a:cubicBezTo>
                        <a:pt x="1735893" y="1395184"/>
                        <a:pt x="1735893" y="1395184"/>
                        <a:pt x="1735893" y="1395184"/>
                      </a:cubicBezTo>
                      <a:cubicBezTo>
                        <a:pt x="1735893" y="1395184"/>
                        <a:pt x="1735893" y="1395184"/>
                        <a:pt x="1735893" y="1395184"/>
                      </a:cubicBezTo>
                      <a:cubicBezTo>
                        <a:pt x="1735893" y="1395184"/>
                        <a:pt x="1735893" y="1395184"/>
                        <a:pt x="1735893" y="1395184"/>
                      </a:cubicBezTo>
                      <a:lnTo>
                        <a:pt x="1735893" y="1395184"/>
                      </a:lnTo>
                      <a:cubicBezTo>
                        <a:pt x="1735893" y="1395184"/>
                        <a:pt x="1735893" y="1395184"/>
                        <a:pt x="1735893" y="1395184"/>
                      </a:cubicBezTo>
                      <a:lnTo>
                        <a:pt x="1735893" y="1395184"/>
                      </a:lnTo>
                      <a:lnTo>
                        <a:pt x="1735089" y="1395505"/>
                      </a:lnTo>
                      <a:cubicBezTo>
                        <a:pt x="1698781" y="1400807"/>
                        <a:pt x="1668417" y="1424423"/>
                        <a:pt x="1631868" y="1428841"/>
                      </a:cubicBezTo>
                      <a:cubicBezTo>
                        <a:pt x="1600861" y="1432617"/>
                        <a:pt x="1571542" y="1420005"/>
                        <a:pt x="1541097" y="1418881"/>
                      </a:cubicBezTo>
                      <a:cubicBezTo>
                        <a:pt x="1530334" y="1406992"/>
                        <a:pt x="1514348" y="1404341"/>
                        <a:pt x="1501335" y="1396469"/>
                      </a:cubicBezTo>
                      <a:cubicBezTo>
                        <a:pt x="1498845" y="1395505"/>
                        <a:pt x="1495471" y="1394139"/>
                        <a:pt x="1492981" y="1393176"/>
                      </a:cubicBezTo>
                      <a:cubicBezTo>
                        <a:pt x="1492097" y="1393818"/>
                        <a:pt x="1490812" y="1394702"/>
                        <a:pt x="1489929" y="1395345"/>
                      </a:cubicBezTo>
                      <a:lnTo>
                        <a:pt x="1489768" y="1393738"/>
                      </a:lnTo>
                      <a:cubicBezTo>
                        <a:pt x="1489527" y="1391248"/>
                        <a:pt x="1489286" y="1387874"/>
                        <a:pt x="1489045" y="1385304"/>
                      </a:cubicBezTo>
                      <a:cubicBezTo>
                        <a:pt x="1472658" y="1388838"/>
                        <a:pt x="1472658" y="1388838"/>
                        <a:pt x="1456271" y="1384500"/>
                      </a:cubicBezTo>
                      <a:cubicBezTo>
                        <a:pt x="1455869" y="1381849"/>
                        <a:pt x="1455388" y="1378395"/>
                        <a:pt x="1454986" y="1375745"/>
                      </a:cubicBezTo>
                      <a:cubicBezTo>
                        <a:pt x="1457556" y="1375102"/>
                        <a:pt x="1460930" y="1374298"/>
                        <a:pt x="1463501" y="1373656"/>
                      </a:cubicBezTo>
                      <a:cubicBezTo>
                        <a:pt x="1468802" y="1371728"/>
                        <a:pt x="1468722" y="1371728"/>
                        <a:pt x="1468722" y="1371728"/>
                      </a:cubicBezTo>
                      <a:cubicBezTo>
                        <a:pt x="1468722" y="1371728"/>
                        <a:pt x="1468642" y="1371728"/>
                        <a:pt x="1468642" y="1371728"/>
                      </a:cubicBezTo>
                      <a:cubicBezTo>
                        <a:pt x="1468642" y="1371728"/>
                        <a:pt x="1468561" y="1371728"/>
                        <a:pt x="1468561" y="1371728"/>
                      </a:cubicBezTo>
                      <a:cubicBezTo>
                        <a:pt x="1468561" y="1371728"/>
                        <a:pt x="1468481" y="1371728"/>
                        <a:pt x="1468481" y="1371728"/>
                      </a:cubicBezTo>
                      <a:cubicBezTo>
                        <a:pt x="1468481" y="1371728"/>
                        <a:pt x="1468401" y="1371728"/>
                        <a:pt x="1468401" y="1371728"/>
                      </a:cubicBezTo>
                      <a:cubicBezTo>
                        <a:pt x="1468401" y="1371728"/>
                        <a:pt x="1468320" y="1371728"/>
                        <a:pt x="1468320" y="1371728"/>
                      </a:cubicBezTo>
                      <a:cubicBezTo>
                        <a:pt x="1468320" y="1371728"/>
                        <a:pt x="1468240" y="1371728"/>
                        <a:pt x="1468240" y="1371728"/>
                      </a:cubicBezTo>
                      <a:cubicBezTo>
                        <a:pt x="1468240" y="1371728"/>
                        <a:pt x="1468160" y="1371728"/>
                        <a:pt x="1468160" y="1371728"/>
                      </a:cubicBezTo>
                      <a:cubicBezTo>
                        <a:pt x="1463179" y="1371969"/>
                        <a:pt x="1456191" y="1370684"/>
                        <a:pt x="1452014" y="1368033"/>
                      </a:cubicBezTo>
                      <a:cubicBezTo>
                        <a:pt x="1447596" y="1365302"/>
                        <a:pt x="1440848" y="1363053"/>
                        <a:pt x="1435707" y="1362651"/>
                      </a:cubicBezTo>
                      <a:cubicBezTo>
                        <a:pt x="1456512" y="1337749"/>
                        <a:pt x="1459083" y="1324254"/>
                        <a:pt x="1447837" y="1300156"/>
                      </a:cubicBezTo>
                      <a:cubicBezTo>
                        <a:pt x="1447033" y="1300477"/>
                        <a:pt x="1445989" y="1300959"/>
                        <a:pt x="1445186" y="1301361"/>
                      </a:cubicBezTo>
                      <a:cubicBezTo>
                        <a:pt x="1445909" y="1298710"/>
                        <a:pt x="1446792" y="1295176"/>
                        <a:pt x="1447435" y="1292525"/>
                      </a:cubicBezTo>
                      <a:cubicBezTo>
                        <a:pt x="1445266" y="1290838"/>
                        <a:pt x="1442374" y="1288508"/>
                        <a:pt x="1440125" y="1286821"/>
                      </a:cubicBezTo>
                      <a:cubicBezTo>
                        <a:pt x="1440045" y="1287223"/>
                        <a:pt x="1439965" y="1287866"/>
                        <a:pt x="1439884" y="1288267"/>
                      </a:cubicBezTo>
                      <a:cubicBezTo>
                        <a:pt x="1437555" y="1286982"/>
                        <a:pt x="1434502" y="1285295"/>
                        <a:pt x="1432173" y="1284010"/>
                      </a:cubicBezTo>
                      <a:cubicBezTo>
                        <a:pt x="1433137" y="1271238"/>
                        <a:pt x="1441250" y="1260554"/>
                        <a:pt x="1442615" y="1247862"/>
                      </a:cubicBezTo>
                      <a:cubicBezTo>
                        <a:pt x="1508163" y="1165285"/>
                        <a:pt x="1543668" y="1115642"/>
                        <a:pt x="1594596" y="1035475"/>
                      </a:cubicBezTo>
                      <a:cubicBezTo>
                        <a:pt x="1609778" y="1041580"/>
                        <a:pt x="1609778" y="1041580"/>
                        <a:pt x="1794131" y="945588"/>
                      </a:cubicBezTo>
                      <a:cubicBezTo>
                        <a:pt x="1793729" y="945186"/>
                        <a:pt x="1793247" y="944544"/>
                        <a:pt x="1792845" y="944142"/>
                      </a:cubicBezTo>
                      <a:cubicBezTo>
                        <a:pt x="1807144" y="940768"/>
                        <a:pt x="1818791" y="931531"/>
                        <a:pt x="1832206" y="926149"/>
                      </a:cubicBezTo>
                      <a:lnTo>
                        <a:pt x="1832206" y="924382"/>
                      </a:lnTo>
                      <a:cubicBezTo>
                        <a:pt x="1834696" y="925024"/>
                        <a:pt x="1838070" y="925908"/>
                        <a:pt x="1840560" y="926550"/>
                      </a:cubicBezTo>
                      <a:cubicBezTo>
                        <a:pt x="1843854" y="924382"/>
                        <a:pt x="1848593" y="921409"/>
                        <a:pt x="1852529" y="921008"/>
                      </a:cubicBezTo>
                      <a:cubicBezTo>
                        <a:pt x="1852850" y="940849"/>
                        <a:pt x="1852850" y="940849"/>
                        <a:pt x="1865703" y="966875"/>
                      </a:cubicBezTo>
                      <a:cubicBezTo>
                        <a:pt x="1868193" y="966554"/>
                        <a:pt x="1871567" y="966072"/>
                        <a:pt x="1874057" y="965750"/>
                      </a:cubicBezTo>
                      <a:cubicBezTo>
                        <a:pt x="1874057" y="966152"/>
                        <a:pt x="1874057" y="966634"/>
                        <a:pt x="1873977" y="967036"/>
                      </a:cubicBezTo>
                      <a:cubicBezTo>
                        <a:pt x="1877350" y="966554"/>
                        <a:pt x="2202116" y="898837"/>
                        <a:pt x="2113033" y="750231"/>
                      </a:cubicBezTo>
                      <a:cubicBezTo>
                        <a:pt x="2104116" y="764689"/>
                        <a:pt x="2098734" y="773445"/>
                        <a:pt x="2051582" y="806701"/>
                      </a:cubicBezTo>
                      <a:cubicBezTo>
                        <a:pt x="2049091" y="807344"/>
                        <a:pt x="2045798" y="808147"/>
                        <a:pt x="2043308" y="808789"/>
                      </a:cubicBezTo>
                      <a:cubicBezTo>
                        <a:pt x="2039291" y="804452"/>
                        <a:pt x="2032383" y="799793"/>
                        <a:pt x="2026760" y="798026"/>
                      </a:cubicBezTo>
                      <a:cubicBezTo>
                        <a:pt x="2026600" y="795294"/>
                        <a:pt x="2026359" y="791599"/>
                        <a:pt x="2026118" y="788868"/>
                      </a:cubicBezTo>
                      <a:cubicBezTo>
                        <a:pt x="2021378" y="786458"/>
                        <a:pt x="2015916" y="781317"/>
                        <a:pt x="2013346" y="776658"/>
                      </a:cubicBezTo>
                      <a:cubicBezTo>
                        <a:pt x="2015675" y="772321"/>
                        <a:pt x="2018808" y="766457"/>
                        <a:pt x="2021138" y="762038"/>
                      </a:cubicBezTo>
                      <a:cubicBezTo>
                        <a:pt x="2023628" y="760673"/>
                        <a:pt x="2027805" y="759709"/>
                        <a:pt x="2029491" y="757380"/>
                      </a:cubicBezTo>
                      <a:lnTo>
                        <a:pt x="2098252" y="656247"/>
                      </a:lnTo>
                      <a:cubicBezTo>
                        <a:pt x="2069977" y="636486"/>
                        <a:pt x="2047083" y="639378"/>
                        <a:pt x="2046842" y="639378"/>
                      </a:cubicBezTo>
                      <a:cubicBezTo>
                        <a:pt x="2048208" y="637129"/>
                        <a:pt x="2050055" y="634076"/>
                        <a:pt x="2051421" y="631747"/>
                      </a:cubicBezTo>
                      <a:cubicBezTo>
                        <a:pt x="2049172" y="624115"/>
                        <a:pt x="2043067" y="617930"/>
                        <a:pt x="2042665" y="609576"/>
                      </a:cubicBezTo>
                      <a:cubicBezTo>
                        <a:pt x="2040738" y="609415"/>
                        <a:pt x="2038006" y="612548"/>
                        <a:pt x="2035115" y="615601"/>
                      </a:cubicBezTo>
                      <a:cubicBezTo>
                        <a:pt x="2028528" y="632630"/>
                        <a:pt x="2028528" y="632630"/>
                        <a:pt x="2030697" y="642671"/>
                      </a:cubicBezTo>
                      <a:cubicBezTo>
                        <a:pt x="2033267" y="643716"/>
                        <a:pt x="2036721" y="645081"/>
                        <a:pt x="2039372" y="646045"/>
                      </a:cubicBezTo>
                      <a:cubicBezTo>
                        <a:pt x="2041300" y="644197"/>
                        <a:pt x="2043870" y="641788"/>
                        <a:pt x="2045718" y="640020"/>
                      </a:cubicBezTo>
                      <a:cubicBezTo>
                        <a:pt x="2043228" y="663075"/>
                        <a:pt x="2039773" y="665725"/>
                        <a:pt x="2024511" y="667653"/>
                      </a:cubicBezTo>
                      <a:cubicBezTo>
                        <a:pt x="2021780" y="662914"/>
                        <a:pt x="2019852" y="655524"/>
                        <a:pt x="2019531" y="650061"/>
                      </a:cubicBezTo>
                      <a:cubicBezTo>
                        <a:pt x="2015434" y="653435"/>
                        <a:pt x="2009168" y="656970"/>
                        <a:pt x="2004188" y="658737"/>
                      </a:cubicBezTo>
                      <a:cubicBezTo>
                        <a:pt x="2005072" y="656247"/>
                        <a:pt x="2006277" y="652953"/>
                        <a:pt x="2007160" y="650543"/>
                      </a:cubicBezTo>
                      <a:cubicBezTo>
                        <a:pt x="2004911" y="651989"/>
                        <a:pt x="2001939" y="653837"/>
                        <a:pt x="1999690" y="655283"/>
                      </a:cubicBezTo>
                      <a:cubicBezTo>
                        <a:pt x="1999208" y="654961"/>
                        <a:pt x="1998646" y="654479"/>
                        <a:pt x="1998164" y="654078"/>
                      </a:cubicBezTo>
                      <a:cubicBezTo>
                        <a:pt x="1995031" y="674320"/>
                        <a:pt x="1995031" y="674320"/>
                        <a:pt x="1997280" y="700909"/>
                      </a:cubicBezTo>
                      <a:cubicBezTo>
                        <a:pt x="2002823" y="717938"/>
                        <a:pt x="2003224" y="720348"/>
                        <a:pt x="2002983" y="737860"/>
                      </a:cubicBezTo>
                      <a:cubicBezTo>
                        <a:pt x="2007964" y="740270"/>
                        <a:pt x="2015033" y="742680"/>
                        <a:pt x="2020495" y="743724"/>
                      </a:cubicBezTo>
                      <a:cubicBezTo>
                        <a:pt x="2019852" y="748704"/>
                        <a:pt x="2019852" y="748704"/>
                        <a:pt x="2011418" y="772160"/>
                      </a:cubicBezTo>
                      <a:cubicBezTo>
                        <a:pt x="2000091" y="768706"/>
                        <a:pt x="2000091" y="768706"/>
                        <a:pt x="1986998" y="778104"/>
                      </a:cubicBezTo>
                      <a:cubicBezTo>
                        <a:pt x="1987560" y="780755"/>
                        <a:pt x="1988203" y="784370"/>
                        <a:pt x="1988765" y="787101"/>
                      </a:cubicBezTo>
                      <a:cubicBezTo>
                        <a:pt x="1987319" y="789189"/>
                        <a:pt x="1985472" y="791921"/>
                        <a:pt x="1984026" y="793929"/>
                      </a:cubicBezTo>
                      <a:cubicBezTo>
                        <a:pt x="1981134" y="794009"/>
                        <a:pt x="1977359" y="794090"/>
                        <a:pt x="1974547" y="794090"/>
                      </a:cubicBezTo>
                      <a:cubicBezTo>
                        <a:pt x="1984106" y="810476"/>
                        <a:pt x="1984106" y="810476"/>
                        <a:pt x="1986195" y="812083"/>
                      </a:cubicBezTo>
                      <a:cubicBezTo>
                        <a:pt x="1991255" y="815617"/>
                        <a:pt x="1997682" y="821803"/>
                        <a:pt x="1999690" y="827667"/>
                      </a:cubicBezTo>
                      <a:cubicBezTo>
                        <a:pt x="1993746" y="832325"/>
                        <a:pt x="1993746" y="832325"/>
                        <a:pt x="1993746" y="832325"/>
                      </a:cubicBezTo>
                      <a:cubicBezTo>
                        <a:pt x="1993746" y="832325"/>
                        <a:pt x="1993665" y="832325"/>
                        <a:pt x="1993665" y="832325"/>
                      </a:cubicBezTo>
                      <a:cubicBezTo>
                        <a:pt x="1993665" y="832325"/>
                        <a:pt x="1993585" y="832325"/>
                        <a:pt x="1993585" y="832406"/>
                      </a:cubicBezTo>
                      <a:cubicBezTo>
                        <a:pt x="1993585" y="832406"/>
                        <a:pt x="1993505" y="832406"/>
                        <a:pt x="1993505" y="832486"/>
                      </a:cubicBezTo>
                      <a:cubicBezTo>
                        <a:pt x="1993505" y="832486"/>
                        <a:pt x="1993424" y="832486"/>
                        <a:pt x="1993424" y="832567"/>
                      </a:cubicBezTo>
                      <a:cubicBezTo>
                        <a:pt x="1993424" y="832647"/>
                        <a:pt x="1993344" y="832567"/>
                        <a:pt x="1993344" y="832647"/>
                      </a:cubicBezTo>
                      <a:cubicBezTo>
                        <a:pt x="1993344" y="832647"/>
                        <a:pt x="1993264" y="832647"/>
                        <a:pt x="1993264" y="832727"/>
                      </a:cubicBezTo>
                      <a:cubicBezTo>
                        <a:pt x="1993264" y="832727"/>
                        <a:pt x="1993183" y="832727"/>
                        <a:pt x="1993183" y="832808"/>
                      </a:cubicBezTo>
                      <a:cubicBezTo>
                        <a:pt x="1995352" y="835057"/>
                        <a:pt x="1998244" y="837949"/>
                        <a:pt x="2000413" y="840198"/>
                      </a:cubicBezTo>
                      <a:cubicBezTo>
                        <a:pt x="1999529" y="842608"/>
                        <a:pt x="1998405" y="845740"/>
                        <a:pt x="1997521" y="848070"/>
                      </a:cubicBezTo>
                      <a:cubicBezTo>
                        <a:pt x="1987801" y="849837"/>
                        <a:pt x="1985552" y="850239"/>
                        <a:pt x="1975350" y="838190"/>
                      </a:cubicBezTo>
                      <a:cubicBezTo>
                        <a:pt x="1979527" y="832647"/>
                        <a:pt x="1987159" y="831603"/>
                        <a:pt x="1991255" y="826060"/>
                      </a:cubicBezTo>
                      <a:cubicBezTo>
                        <a:pt x="1973021" y="823731"/>
                        <a:pt x="1954224" y="826863"/>
                        <a:pt x="1936632" y="819393"/>
                      </a:cubicBezTo>
                      <a:cubicBezTo>
                        <a:pt x="1931732" y="805576"/>
                        <a:pt x="1931732" y="805576"/>
                        <a:pt x="1822004" y="786298"/>
                      </a:cubicBezTo>
                      <a:cubicBezTo>
                        <a:pt x="1819836" y="787985"/>
                        <a:pt x="1816863" y="790234"/>
                        <a:pt x="1814614" y="791840"/>
                      </a:cubicBezTo>
                      <a:cubicBezTo>
                        <a:pt x="1841363" y="824775"/>
                        <a:pt x="1906991" y="832406"/>
                        <a:pt x="1926511" y="833932"/>
                      </a:cubicBezTo>
                      <a:cubicBezTo>
                        <a:pt x="1916309" y="845178"/>
                        <a:pt x="1908839" y="853211"/>
                        <a:pt x="1907875" y="874578"/>
                      </a:cubicBezTo>
                      <a:cubicBezTo>
                        <a:pt x="1907634" y="873213"/>
                        <a:pt x="1808991" y="799632"/>
                        <a:pt x="1717417" y="873695"/>
                      </a:cubicBezTo>
                      <a:cubicBezTo>
                        <a:pt x="1701111" y="877631"/>
                        <a:pt x="1700790" y="878273"/>
                        <a:pt x="1696612" y="888394"/>
                      </a:cubicBezTo>
                      <a:cubicBezTo>
                        <a:pt x="1698058" y="891367"/>
                        <a:pt x="1700066" y="895303"/>
                        <a:pt x="1701512" y="898195"/>
                      </a:cubicBezTo>
                      <a:cubicBezTo>
                        <a:pt x="1694524" y="913537"/>
                        <a:pt x="1676129" y="918678"/>
                        <a:pt x="1669381" y="934182"/>
                      </a:cubicBezTo>
                      <a:cubicBezTo>
                        <a:pt x="1662071" y="950970"/>
                        <a:pt x="1678940" y="970570"/>
                        <a:pt x="1663196" y="986314"/>
                      </a:cubicBezTo>
                      <a:cubicBezTo>
                        <a:pt x="1637652" y="1011939"/>
                        <a:pt x="1598371" y="1008083"/>
                        <a:pt x="1570739" y="1029209"/>
                      </a:cubicBezTo>
                      <a:cubicBezTo>
                        <a:pt x="1564714" y="1027282"/>
                        <a:pt x="1564714" y="1027282"/>
                        <a:pt x="1525915" y="1039813"/>
                      </a:cubicBezTo>
                      <a:cubicBezTo>
                        <a:pt x="1524791" y="1029932"/>
                        <a:pt x="1520373" y="1020775"/>
                        <a:pt x="1519007" y="1010975"/>
                      </a:cubicBezTo>
                      <a:cubicBezTo>
                        <a:pt x="1516276" y="1010734"/>
                        <a:pt x="1512661" y="1010413"/>
                        <a:pt x="1509930" y="1010172"/>
                      </a:cubicBezTo>
                      <a:cubicBezTo>
                        <a:pt x="1504388" y="995472"/>
                        <a:pt x="1508565" y="979888"/>
                        <a:pt x="1505512" y="965027"/>
                      </a:cubicBezTo>
                      <a:cubicBezTo>
                        <a:pt x="1504869" y="965188"/>
                        <a:pt x="1503986" y="965349"/>
                        <a:pt x="1503343" y="965429"/>
                      </a:cubicBezTo>
                      <a:lnTo>
                        <a:pt x="1504227" y="963180"/>
                      </a:lnTo>
                      <a:cubicBezTo>
                        <a:pt x="1527602" y="916349"/>
                        <a:pt x="1580699" y="915144"/>
                        <a:pt x="1617730" y="889278"/>
                      </a:cubicBezTo>
                      <a:cubicBezTo>
                        <a:pt x="1617168" y="889117"/>
                        <a:pt x="1616525" y="888796"/>
                        <a:pt x="1615963" y="888635"/>
                      </a:cubicBezTo>
                      <a:lnTo>
                        <a:pt x="1615160" y="890563"/>
                      </a:lnTo>
                      <a:cubicBezTo>
                        <a:pt x="1614437" y="888073"/>
                        <a:pt x="1613473" y="884699"/>
                        <a:pt x="1612750" y="882209"/>
                      </a:cubicBezTo>
                      <a:cubicBezTo>
                        <a:pt x="1615401" y="881647"/>
                        <a:pt x="1619016" y="880844"/>
                        <a:pt x="1621666" y="880201"/>
                      </a:cubicBezTo>
                      <a:cubicBezTo>
                        <a:pt x="1618614" y="878354"/>
                        <a:pt x="1614276" y="876104"/>
                        <a:pt x="1611786" y="873534"/>
                      </a:cubicBezTo>
                      <a:cubicBezTo>
                        <a:pt x="1606083" y="871124"/>
                        <a:pt x="1598612" y="867429"/>
                        <a:pt x="1593311" y="864136"/>
                      </a:cubicBezTo>
                      <a:cubicBezTo>
                        <a:pt x="1323087" y="953219"/>
                        <a:pt x="1001293" y="1010252"/>
                        <a:pt x="714442" y="1020775"/>
                      </a:cubicBezTo>
                      <a:cubicBezTo>
                        <a:pt x="709382" y="1199425"/>
                        <a:pt x="718298" y="1386910"/>
                        <a:pt x="742637" y="1570460"/>
                      </a:cubicBezTo>
                      <a:cubicBezTo>
                        <a:pt x="746573" y="1572307"/>
                        <a:pt x="751955" y="1574556"/>
                        <a:pt x="756132" y="1575761"/>
                      </a:cubicBezTo>
                      <a:cubicBezTo>
                        <a:pt x="757016" y="1576083"/>
                        <a:pt x="834452" y="1614078"/>
                        <a:pt x="769708" y="1644924"/>
                      </a:cubicBezTo>
                      <a:cubicBezTo>
                        <a:pt x="766414" y="1646530"/>
                        <a:pt x="761836" y="1648297"/>
                        <a:pt x="758382" y="1649663"/>
                      </a:cubicBezTo>
                      <a:cubicBezTo>
                        <a:pt x="788505" y="1644522"/>
                        <a:pt x="792682" y="1644120"/>
                        <a:pt x="819029" y="1647655"/>
                      </a:cubicBezTo>
                      <a:cubicBezTo>
                        <a:pt x="819752" y="1650386"/>
                        <a:pt x="820716" y="1654001"/>
                        <a:pt x="821439" y="1656732"/>
                      </a:cubicBezTo>
                      <a:cubicBezTo>
                        <a:pt x="828588" y="1650466"/>
                        <a:pt x="828588" y="1650466"/>
                        <a:pt x="843449" y="1644442"/>
                      </a:cubicBezTo>
                      <a:cubicBezTo>
                        <a:pt x="844654" y="1642032"/>
                        <a:pt x="846341" y="1638819"/>
                        <a:pt x="847546" y="1636409"/>
                      </a:cubicBezTo>
                      <a:cubicBezTo>
                        <a:pt x="869716" y="1631348"/>
                        <a:pt x="890762" y="1646530"/>
                        <a:pt x="913013" y="1640345"/>
                      </a:cubicBezTo>
                      <a:cubicBezTo>
                        <a:pt x="913816" y="1641068"/>
                        <a:pt x="914941" y="1641952"/>
                        <a:pt x="915744" y="1642674"/>
                      </a:cubicBezTo>
                      <a:lnTo>
                        <a:pt x="918154" y="1641871"/>
                      </a:lnTo>
                      <a:lnTo>
                        <a:pt x="919118" y="1649100"/>
                      </a:lnTo>
                      <a:cubicBezTo>
                        <a:pt x="919198" y="1651993"/>
                        <a:pt x="919279" y="1655768"/>
                        <a:pt x="919359" y="1658659"/>
                      </a:cubicBezTo>
                      <a:cubicBezTo>
                        <a:pt x="921126" y="1656651"/>
                        <a:pt x="923456" y="1654001"/>
                        <a:pt x="925223" y="1651993"/>
                      </a:cubicBezTo>
                      <a:cubicBezTo>
                        <a:pt x="974464" y="1654884"/>
                        <a:pt x="1024267" y="1638577"/>
                        <a:pt x="1072946" y="1656812"/>
                      </a:cubicBezTo>
                      <a:cubicBezTo>
                        <a:pt x="1119054" y="1674083"/>
                        <a:pt x="1115921" y="1708784"/>
                        <a:pt x="1104515" y="1719147"/>
                      </a:cubicBezTo>
                      <a:cubicBezTo>
                        <a:pt x="1098571" y="1724529"/>
                        <a:pt x="1091261" y="1727742"/>
                        <a:pt x="1084915" y="1732321"/>
                      </a:cubicBezTo>
                      <a:cubicBezTo>
                        <a:pt x="1078007" y="1748627"/>
                        <a:pt x="1078007" y="1748627"/>
                        <a:pt x="1056880" y="1753527"/>
                      </a:cubicBezTo>
                      <a:cubicBezTo>
                        <a:pt x="1055836" y="1757463"/>
                        <a:pt x="1055434" y="1763327"/>
                        <a:pt x="1056880" y="1767102"/>
                      </a:cubicBezTo>
                      <a:cubicBezTo>
                        <a:pt x="1066359" y="1829196"/>
                        <a:pt x="1066359" y="1829196"/>
                        <a:pt x="901687" y="1903097"/>
                      </a:cubicBezTo>
                      <a:cubicBezTo>
                        <a:pt x="902169" y="1903178"/>
                        <a:pt x="902811" y="1903258"/>
                        <a:pt x="903293" y="1903339"/>
                      </a:cubicBezTo>
                      <a:lnTo>
                        <a:pt x="898554" y="1906311"/>
                      </a:lnTo>
                      <a:cubicBezTo>
                        <a:pt x="895983" y="1906712"/>
                        <a:pt x="892529" y="1907275"/>
                        <a:pt x="889959" y="1907757"/>
                      </a:cubicBezTo>
                      <a:cubicBezTo>
                        <a:pt x="895180" y="1931293"/>
                        <a:pt x="899277" y="1949929"/>
                        <a:pt x="851080" y="1980052"/>
                      </a:cubicBezTo>
                      <a:cubicBezTo>
                        <a:pt x="855337" y="1977080"/>
                        <a:pt x="860318" y="1971618"/>
                        <a:pt x="862487" y="1966798"/>
                      </a:cubicBezTo>
                      <a:cubicBezTo>
                        <a:pt x="859354" y="1964870"/>
                        <a:pt x="855097" y="1962380"/>
                        <a:pt x="851964" y="1960452"/>
                      </a:cubicBezTo>
                      <a:cubicBezTo>
                        <a:pt x="852205" y="1962540"/>
                        <a:pt x="852526" y="1965352"/>
                        <a:pt x="852767" y="1967440"/>
                      </a:cubicBezTo>
                      <a:cubicBezTo>
                        <a:pt x="844975" y="1979168"/>
                        <a:pt x="844975" y="1979168"/>
                        <a:pt x="834533" y="1990976"/>
                      </a:cubicBezTo>
                      <a:cubicBezTo>
                        <a:pt x="853570" y="2064637"/>
                        <a:pt x="877669" y="2128338"/>
                        <a:pt x="903534" y="2184166"/>
                      </a:cubicBezTo>
                      <a:cubicBezTo>
                        <a:pt x="1246133" y="2171634"/>
                        <a:pt x="1638616" y="2092672"/>
                        <a:pt x="1928760" y="1966396"/>
                      </a:cubicBezTo>
                      <a:cubicBezTo>
                        <a:pt x="2120905" y="1882775"/>
                        <a:pt x="2236015" y="1792406"/>
                        <a:pt x="2271198" y="1710150"/>
                      </a:cubicBezTo>
                      <a:cubicBezTo>
                        <a:pt x="2290718" y="1659062"/>
                        <a:pt x="2314415" y="1589979"/>
                        <a:pt x="2330079" y="1537605"/>
                      </a:cubicBezTo>
                      <a:cubicBezTo>
                        <a:pt x="2356346" y="1417435"/>
                        <a:pt x="2357953" y="1410285"/>
                        <a:pt x="2364861" y="1335340"/>
                      </a:cubicBezTo>
                      <a:cubicBezTo>
                        <a:pt x="2368958" y="1247300"/>
                        <a:pt x="2373135" y="1156208"/>
                        <a:pt x="2353213" y="1030977"/>
                      </a:cubicBezTo>
                      <a:cubicBezTo>
                        <a:pt x="2330320" y="914662"/>
                        <a:pt x="2324617" y="886949"/>
                        <a:pt x="2302607" y="826622"/>
                      </a:cubicBezTo>
                      <a:moveTo>
                        <a:pt x="1704565" y="157329"/>
                      </a:moveTo>
                      <a:cubicBezTo>
                        <a:pt x="1703762" y="156928"/>
                        <a:pt x="1703762" y="156928"/>
                        <a:pt x="1701512" y="156606"/>
                      </a:cubicBezTo>
                      <a:cubicBezTo>
                        <a:pt x="1705609" y="158454"/>
                        <a:pt x="1709786" y="160382"/>
                        <a:pt x="1713883" y="162310"/>
                      </a:cubicBezTo>
                      <a:cubicBezTo>
                        <a:pt x="1712437" y="161426"/>
                        <a:pt x="1709144" y="159579"/>
                        <a:pt x="1704565" y="157329"/>
                      </a:cubicBezTo>
                      <a:moveTo>
                        <a:pt x="533544" y="989447"/>
                      </a:moveTo>
                      <a:cubicBezTo>
                        <a:pt x="531937" y="989447"/>
                        <a:pt x="530411" y="989527"/>
                        <a:pt x="528804" y="989527"/>
                      </a:cubicBezTo>
                      <a:cubicBezTo>
                        <a:pt x="528965" y="989206"/>
                        <a:pt x="528965" y="989045"/>
                        <a:pt x="529045" y="988644"/>
                      </a:cubicBezTo>
                      <a:cubicBezTo>
                        <a:pt x="531214" y="988483"/>
                        <a:pt x="532580" y="988965"/>
                        <a:pt x="533624" y="989447"/>
                      </a:cubicBezTo>
                      <a:cubicBezTo>
                        <a:pt x="533624" y="989447"/>
                        <a:pt x="533624" y="989447"/>
                        <a:pt x="533544" y="989447"/>
                      </a:cubicBezTo>
                      <a:moveTo>
                        <a:pt x="400681" y="676650"/>
                      </a:moveTo>
                      <a:cubicBezTo>
                        <a:pt x="378270" y="676730"/>
                        <a:pt x="357465" y="668215"/>
                        <a:pt x="335856" y="664199"/>
                      </a:cubicBezTo>
                      <a:cubicBezTo>
                        <a:pt x="345335" y="652070"/>
                        <a:pt x="355938" y="639699"/>
                        <a:pt x="379555" y="615199"/>
                      </a:cubicBezTo>
                      <a:cubicBezTo>
                        <a:pt x="382688" y="629739"/>
                        <a:pt x="388793" y="643555"/>
                        <a:pt x="398994" y="663958"/>
                      </a:cubicBezTo>
                      <a:cubicBezTo>
                        <a:pt x="400440" y="666850"/>
                        <a:pt x="401725" y="669742"/>
                        <a:pt x="403252" y="672634"/>
                      </a:cubicBezTo>
                      <a:cubicBezTo>
                        <a:pt x="403975" y="673999"/>
                        <a:pt x="406384" y="674561"/>
                        <a:pt x="405581" y="676570"/>
                      </a:cubicBezTo>
                      <a:cubicBezTo>
                        <a:pt x="404135" y="676570"/>
                        <a:pt x="402127" y="676650"/>
                        <a:pt x="400681" y="676650"/>
                      </a:cubicBezTo>
                      <a:moveTo>
                        <a:pt x="349753" y="518886"/>
                      </a:moveTo>
                      <a:cubicBezTo>
                        <a:pt x="339391" y="519207"/>
                        <a:pt x="324289" y="517359"/>
                        <a:pt x="339873" y="501294"/>
                      </a:cubicBezTo>
                      <a:cubicBezTo>
                        <a:pt x="342122" y="498964"/>
                        <a:pt x="344773" y="497037"/>
                        <a:pt x="347022" y="494787"/>
                      </a:cubicBezTo>
                      <a:cubicBezTo>
                        <a:pt x="347665" y="494145"/>
                        <a:pt x="347424" y="492699"/>
                        <a:pt x="348709" y="492538"/>
                      </a:cubicBezTo>
                      <a:cubicBezTo>
                        <a:pt x="349030" y="492940"/>
                        <a:pt x="349030" y="493502"/>
                        <a:pt x="348789" y="496555"/>
                      </a:cubicBezTo>
                      <a:cubicBezTo>
                        <a:pt x="353448" y="491012"/>
                        <a:pt x="357866" y="486594"/>
                        <a:pt x="358188" y="491414"/>
                      </a:cubicBezTo>
                      <a:cubicBezTo>
                        <a:pt x="358188" y="491896"/>
                        <a:pt x="357143" y="503704"/>
                        <a:pt x="354493" y="508282"/>
                      </a:cubicBezTo>
                      <a:cubicBezTo>
                        <a:pt x="352645" y="511496"/>
                        <a:pt x="351360" y="515030"/>
                        <a:pt x="350878" y="518886"/>
                      </a:cubicBezTo>
                      <a:cubicBezTo>
                        <a:pt x="350556" y="518805"/>
                        <a:pt x="350075" y="518886"/>
                        <a:pt x="349753" y="518886"/>
                      </a:cubicBezTo>
                      <a:moveTo>
                        <a:pt x="295933" y="368914"/>
                      </a:moveTo>
                      <a:cubicBezTo>
                        <a:pt x="295853" y="368994"/>
                        <a:pt x="295532" y="369074"/>
                        <a:pt x="295050" y="369074"/>
                      </a:cubicBezTo>
                      <a:cubicBezTo>
                        <a:pt x="295371" y="368994"/>
                        <a:pt x="295693" y="368833"/>
                        <a:pt x="296014" y="368753"/>
                      </a:cubicBezTo>
                      <a:cubicBezTo>
                        <a:pt x="295933" y="368753"/>
                        <a:pt x="296014" y="368833"/>
                        <a:pt x="295933" y="368914"/>
                      </a:cubicBezTo>
                      <a:moveTo>
                        <a:pt x="440524" y="403776"/>
                      </a:moveTo>
                      <a:cubicBezTo>
                        <a:pt x="437873" y="406346"/>
                        <a:pt x="436347" y="407712"/>
                        <a:pt x="436186" y="407792"/>
                      </a:cubicBezTo>
                      <a:cubicBezTo>
                        <a:pt x="436266" y="407551"/>
                        <a:pt x="438676" y="404981"/>
                        <a:pt x="442130" y="401527"/>
                      </a:cubicBezTo>
                      <a:cubicBezTo>
                        <a:pt x="441729" y="402250"/>
                        <a:pt x="441166" y="403213"/>
                        <a:pt x="440524" y="403776"/>
                      </a:cubicBezTo>
                      <a:moveTo>
                        <a:pt x="572101" y="443136"/>
                      </a:moveTo>
                      <a:cubicBezTo>
                        <a:pt x="561899" y="447876"/>
                        <a:pt x="556758" y="447394"/>
                        <a:pt x="554268" y="447153"/>
                      </a:cubicBezTo>
                      <a:cubicBezTo>
                        <a:pt x="540612" y="444020"/>
                        <a:pt x="549047" y="424500"/>
                        <a:pt x="549208" y="424340"/>
                      </a:cubicBezTo>
                      <a:cubicBezTo>
                        <a:pt x="549449" y="424099"/>
                        <a:pt x="571699" y="407471"/>
                        <a:pt x="575154" y="439361"/>
                      </a:cubicBezTo>
                      <a:cubicBezTo>
                        <a:pt x="575234" y="440004"/>
                        <a:pt x="575314" y="440887"/>
                        <a:pt x="575314" y="441610"/>
                      </a:cubicBezTo>
                      <a:cubicBezTo>
                        <a:pt x="574431" y="442012"/>
                        <a:pt x="573145" y="442655"/>
                        <a:pt x="572101" y="443136"/>
                      </a:cubicBezTo>
                      <a:moveTo>
                        <a:pt x="643513" y="625240"/>
                      </a:moveTo>
                      <a:cubicBezTo>
                        <a:pt x="642790" y="626204"/>
                        <a:pt x="641344" y="627088"/>
                        <a:pt x="640380" y="627810"/>
                      </a:cubicBezTo>
                      <a:cubicBezTo>
                        <a:pt x="639496" y="628051"/>
                        <a:pt x="638372" y="628373"/>
                        <a:pt x="637488" y="628614"/>
                      </a:cubicBezTo>
                      <a:cubicBezTo>
                        <a:pt x="639898" y="631666"/>
                        <a:pt x="639898" y="631666"/>
                        <a:pt x="640942" y="634478"/>
                      </a:cubicBezTo>
                      <a:cubicBezTo>
                        <a:pt x="640541" y="634960"/>
                        <a:pt x="639898" y="635522"/>
                        <a:pt x="639496" y="636004"/>
                      </a:cubicBezTo>
                      <a:cubicBezTo>
                        <a:pt x="637086" y="636004"/>
                        <a:pt x="636524" y="636004"/>
                        <a:pt x="631865" y="634638"/>
                      </a:cubicBezTo>
                      <a:cubicBezTo>
                        <a:pt x="631463" y="634960"/>
                        <a:pt x="630901" y="635361"/>
                        <a:pt x="630500" y="635683"/>
                      </a:cubicBezTo>
                      <a:cubicBezTo>
                        <a:pt x="630660" y="639217"/>
                        <a:pt x="630901" y="640342"/>
                        <a:pt x="634918" y="643555"/>
                      </a:cubicBezTo>
                      <a:cubicBezTo>
                        <a:pt x="631945" y="644117"/>
                        <a:pt x="630901" y="644197"/>
                        <a:pt x="627367" y="643956"/>
                      </a:cubicBezTo>
                      <a:cubicBezTo>
                        <a:pt x="626322" y="649579"/>
                        <a:pt x="626001" y="651106"/>
                        <a:pt x="624796" y="651587"/>
                      </a:cubicBezTo>
                      <a:cubicBezTo>
                        <a:pt x="620780" y="653114"/>
                        <a:pt x="618531" y="648696"/>
                        <a:pt x="614916" y="648615"/>
                      </a:cubicBezTo>
                      <a:cubicBezTo>
                        <a:pt x="614193" y="649579"/>
                        <a:pt x="613631" y="651266"/>
                        <a:pt x="613631" y="652552"/>
                      </a:cubicBezTo>
                      <a:cubicBezTo>
                        <a:pt x="614273" y="652793"/>
                        <a:pt x="615077" y="653114"/>
                        <a:pt x="615639" y="653355"/>
                      </a:cubicBezTo>
                      <a:cubicBezTo>
                        <a:pt x="614354" y="660022"/>
                        <a:pt x="612426" y="664038"/>
                        <a:pt x="607606" y="669742"/>
                      </a:cubicBezTo>
                      <a:cubicBezTo>
                        <a:pt x="606803" y="665806"/>
                        <a:pt x="605999" y="665163"/>
                        <a:pt x="602626" y="665806"/>
                      </a:cubicBezTo>
                      <a:cubicBezTo>
                        <a:pt x="602063" y="665324"/>
                        <a:pt x="601340" y="664761"/>
                        <a:pt x="600778" y="664279"/>
                      </a:cubicBezTo>
                      <a:cubicBezTo>
                        <a:pt x="600537" y="661709"/>
                        <a:pt x="600698" y="661066"/>
                        <a:pt x="602867" y="658014"/>
                      </a:cubicBezTo>
                      <a:cubicBezTo>
                        <a:pt x="599814" y="660584"/>
                        <a:pt x="599091" y="661468"/>
                        <a:pt x="597244" y="664761"/>
                      </a:cubicBezTo>
                      <a:cubicBezTo>
                        <a:pt x="590336" y="654399"/>
                        <a:pt x="591380" y="648214"/>
                        <a:pt x="601501" y="639538"/>
                      </a:cubicBezTo>
                      <a:cubicBezTo>
                        <a:pt x="595878" y="642752"/>
                        <a:pt x="595316" y="642752"/>
                        <a:pt x="592585" y="642912"/>
                      </a:cubicBezTo>
                      <a:cubicBezTo>
                        <a:pt x="591380" y="640743"/>
                        <a:pt x="591380" y="640743"/>
                        <a:pt x="592344" y="637851"/>
                      </a:cubicBezTo>
                      <a:cubicBezTo>
                        <a:pt x="586319" y="637209"/>
                        <a:pt x="581981" y="636727"/>
                        <a:pt x="580134" y="626686"/>
                      </a:cubicBezTo>
                      <a:cubicBezTo>
                        <a:pt x="579973" y="627168"/>
                        <a:pt x="579813" y="627810"/>
                        <a:pt x="579652" y="628373"/>
                      </a:cubicBezTo>
                      <a:cubicBezTo>
                        <a:pt x="578608" y="628533"/>
                        <a:pt x="577162" y="628292"/>
                        <a:pt x="576278" y="627730"/>
                      </a:cubicBezTo>
                      <a:cubicBezTo>
                        <a:pt x="576037" y="631988"/>
                        <a:pt x="576037" y="631988"/>
                        <a:pt x="574591" y="633675"/>
                      </a:cubicBezTo>
                      <a:cubicBezTo>
                        <a:pt x="572101" y="632871"/>
                        <a:pt x="572101" y="632871"/>
                        <a:pt x="569932" y="630301"/>
                      </a:cubicBezTo>
                      <a:cubicBezTo>
                        <a:pt x="570575" y="640020"/>
                        <a:pt x="570575" y="640020"/>
                        <a:pt x="569852" y="641707"/>
                      </a:cubicBezTo>
                      <a:cubicBezTo>
                        <a:pt x="567362" y="642430"/>
                        <a:pt x="565514" y="642993"/>
                        <a:pt x="556517" y="635763"/>
                      </a:cubicBezTo>
                      <a:cubicBezTo>
                        <a:pt x="559972" y="646447"/>
                        <a:pt x="561498" y="648856"/>
                        <a:pt x="568968" y="655524"/>
                      </a:cubicBezTo>
                      <a:cubicBezTo>
                        <a:pt x="568004" y="656166"/>
                        <a:pt x="566719" y="656970"/>
                        <a:pt x="565675" y="657612"/>
                      </a:cubicBezTo>
                      <a:cubicBezTo>
                        <a:pt x="568486" y="661870"/>
                        <a:pt x="569450" y="664842"/>
                        <a:pt x="569450" y="669581"/>
                      </a:cubicBezTo>
                      <a:cubicBezTo>
                        <a:pt x="569852" y="668537"/>
                        <a:pt x="570575" y="667252"/>
                        <a:pt x="571217" y="666368"/>
                      </a:cubicBezTo>
                      <a:cubicBezTo>
                        <a:pt x="573226" y="669903"/>
                        <a:pt x="573226" y="669903"/>
                        <a:pt x="584311" y="674401"/>
                      </a:cubicBezTo>
                      <a:cubicBezTo>
                        <a:pt x="584311" y="675043"/>
                        <a:pt x="584311" y="675847"/>
                        <a:pt x="584311" y="676489"/>
                      </a:cubicBezTo>
                      <a:cubicBezTo>
                        <a:pt x="583427" y="677293"/>
                        <a:pt x="581981" y="678176"/>
                        <a:pt x="580937" y="678738"/>
                      </a:cubicBezTo>
                      <a:cubicBezTo>
                        <a:pt x="582383" y="679140"/>
                        <a:pt x="584231" y="679944"/>
                        <a:pt x="585516" y="680666"/>
                      </a:cubicBezTo>
                      <a:cubicBezTo>
                        <a:pt x="582865" y="682434"/>
                        <a:pt x="582865" y="682434"/>
                        <a:pt x="578768" y="683237"/>
                      </a:cubicBezTo>
                      <a:cubicBezTo>
                        <a:pt x="582704" y="687896"/>
                        <a:pt x="584391" y="690145"/>
                        <a:pt x="585917" y="692876"/>
                      </a:cubicBezTo>
                      <a:cubicBezTo>
                        <a:pt x="588086" y="693439"/>
                        <a:pt x="589854" y="694242"/>
                        <a:pt x="589452" y="698017"/>
                      </a:cubicBezTo>
                      <a:cubicBezTo>
                        <a:pt x="588809" y="698178"/>
                        <a:pt x="588006" y="698338"/>
                        <a:pt x="587363" y="698499"/>
                      </a:cubicBezTo>
                      <a:cubicBezTo>
                        <a:pt x="586319" y="704202"/>
                        <a:pt x="585837" y="705247"/>
                        <a:pt x="585034" y="706853"/>
                      </a:cubicBezTo>
                      <a:cubicBezTo>
                        <a:pt x="584472" y="706693"/>
                        <a:pt x="583668" y="706532"/>
                        <a:pt x="583106" y="706371"/>
                      </a:cubicBezTo>
                      <a:cubicBezTo>
                        <a:pt x="581660" y="703239"/>
                        <a:pt x="581419" y="702516"/>
                        <a:pt x="580054" y="696330"/>
                      </a:cubicBezTo>
                      <a:cubicBezTo>
                        <a:pt x="581901" y="709906"/>
                        <a:pt x="581098" y="713360"/>
                        <a:pt x="575635" y="714886"/>
                      </a:cubicBezTo>
                      <a:cubicBezTo>
                        <a:pt x="573145" y="723401"/>
                        <a:pt x="570655" y="722598"/>
                        <a:pt x="562542" y="710709"/>
                      </a:cubicBezTo>
                      <a:cubicBezTo>
                        <a:pt x="562221" y="711271"/>
                        <a:pt x="561899" y="711994"/>
                        <a:pt x="561578" y="712476"/>
                      </a:cubicBezTo>
                      <a:cubicBezTo>
                        <a:pt x="561016" y="712235"/>
                        <a:pt x="560213" y="711914"/>
                        <a:pt x="559650" y="711593"/>
                      </a:cubicBezTo>
                      <a:cubicBezTo>
                        <a:pt x="559329" y="710468"/>
                        <a:pt x="558927" y="708942"/>
                        <a:pt x="558606" y="707737"/>
                      </a:cubicBezTo>
                      <a:cubicBezTo>
                        <a:pt x="554188" y="708781"/>
                        <a:pt x="552501" y="709102"/>
                        <a:pt x="546476" y="695125"/>
                      </a:cubicBezTo>
                      <a:cubicBezTo>
                        <a:pt x="546717" y="698338"/>
                        <a:pt x="546717" y="699142"/>
                        <a:pt x="546396" y="702355"/>
                      </a:cubicBezTo>
                      <a:cubicBezTo>
                        <a:pt x="544709" y="698981"/>
                        <a:pt x="544549" y="698579"/>
                        <a:pt x="543424" y="696652"/>
                      </a:cubicBezTo>
                      <a:cubicBezTo>
                        <a:pt x="543585" y="702355"/>
                        <a:pt x="550172" y="718581"/>
                        <a:pt x="560213" y="730871"/>
                      </a:cubicBezTo>
                      <a:cubicBezTo>
                        <a:pt x="558526" y="732076"/>
                        <a:pt x="558124" y="732317"/>
                        <a:pt x="557240" y="735932"/>
                      </a:cubicBezTo>
                      <a:cubicBezTo>
                        <a:pt x="535231" y="732237"/>
                        <a:pt x="498039" y="706612"/>
                        <a:pt x="496512" y="700266"/>
                      </a:cubicBezTo>
                      <a:cubicBezTo>
                        <a:pt x="498199" y="698017"/>
                        <a:pt x="499083" y="697535"/>
                        <a:pt x="503501" y="695125"/>
                      </a:cubicBezTo>
                      <a:cubicBezTo>
                        <a:pt x="495548" y="692314"/>
                        <a:pt x="495950" y="690868"/>
                        <a:pt x="496994" y="687093"/>
                      </a:cubicBezTo>
                      <a:cubicBezTo>
                        <a:pt x="489685" y="684120"/>
                        <a:pt x="487516" y="678578"/>
                        <a:pt x="490327" y="669581"/>
                      </a:cubicBezTo>
                      <a:cubicBezTo>
                        <a:pt x="479965" y="671589"/>
                        <a:pt x="476671" y="668778"/>
                        <a:pt x="473940" y="662512"/>
                      </a:cubicBezTo>
                      <a:cubicBezTo>
                        <a:pt x="450966" y="661066"/>
                        <a:pt x="446147" y="660263"/>
                        <a:pt x="443817" y="659942"/>
                      </a:cubicBezTo>
                      <a:cubicBezTo>
                        <a:pt x="447432" y="659862"/>
                        <a:pt x="447432" y="659862"/>
                        <a:pt x="468558" y="660584"/>
                      </a:cubicBezTo>
                      <a:cubicBezTo>
                        <a:pt x="470647" y="651748"/>
                        <a:pt x="474021" y="645242"/>
                        <a:pt x="495629" y="647973"/>
                      </a:cubicBezTo>
                      <a:cubicBezTo>
                        <a:pt x="513703" y="622670"/>
                        <a:pt x="520611" y="606283"/>
                        <a:pt x="530170" y="576722"/>
                      </a:cubicBezTo>
                      <a:cubicBezTo>
                        <a:pt x="519968" y="562102"/>
                        <a:pt x="519968" y="562102"/>
                        <a:pt x="523503" y="558246"/>
                      </a:cubicBezTo>
                      <a:cubicBezTo>
                        <a:pt x="508562" y="549812"/>
                        <a:pt x="506312" y="548527"/>
                        <a:pt x="507598" y="509327"/>
                      </a:cubicBezTo>
                      <a:cubicBezTo>
                        <a:pt x="504465" y="517841"/>
                        <a:pt x="497958" y="535514"/>
                        <a:pt x="476671" y="518805"/>
                      </a:cubicBezTo>
                      <a:cubicBezTo>
                        <a:pt x="479563" y="523464"/>
                        <a:pt x="479081" y="525151"/>
                        <a:pt x="476993" y="529810"/>
                      </a:cubicBezTo>
                      <a:cubicBezTo>
                        <a:pt x="458517" y="522822"/>
                        <a:pt x="448235" y="513263"/>
                        <a:pt x="444701" y="499687"/>
                      </a:cubicBezTo>
                      <a:cubicBezTo>
                        <a:pt x="439480" y="499607"/>
                        <a:pt x="439078" y="499607"/>
                        <a:pt x="436989" y="502017"/>
                      </a:cubicBezTo>
                      <a:cubicBezTo>
                        <a:pt x="421566" y="499768"/>
                        <a:pt x="430563" y="483863"/>
                        <a:pt x="434499" y="477115"/>
                      </a:cubicBezTo>
                      <a:cubicBezTo>
                        <a:pt x="437712" y="480168"/>
                        <a:pt x="438676" y="480810"/>
                        <a:pt x="443175" y="482417"/>
                      </a:cubicBezTo>
                      <a:cubicBezTo>
                        <a:pt x="446307" y="483140"/>
                        <a:pt x="446307" y="483140"/>
                        <a:pt x="448958" y="483381"/>
                      </a:cubicBezTo>
                      <a:cubicBezTo>
                        <a:pt x="422771" y="454222"/>
                        <a:pt x="499645" y="407953"/>
                        <a:pt x="514667" y="407390"/>
                      </a:cubicBezTo>
                      <a:cubicBezTo>
                        <a:pt x="517960" y="407230"/>
                        <a:pt x="522378" y="407872"/>
                        <a:pt x="525671" y="408113"/>
                      </a:cubicBezTo>
                      <a:cubicBezTo>
                        <a:pt x="500368" y="432614"/>
                        <a:pt x="477796" y="459684"/>
                        <a:pt x="453698" y="485309"/>
                      </a:cubicBezTo>
                      <a:cubicBezTo>
                        <a:pt x="459963" y="482979"/>
                        <a:pt x="463016" y="482979"/>
                        <a:pt x="466791" y="483863"/>
                      </a:cubicBezTo>
                      <a:cubicBezTo>
                        <a:pt x="485989" y="457435"/>
                        <a:pt x="485989" y="457435"/>
                        <a:pt x="491934" y="460568"/>
                      </a:cubicBezTo>
                      <a:cubicBezTo>
                        <a:pt x="491291" y="454784"/>
                        <a:pt x="492416" y="453659"/>
                        <a:pt x="496432" y="450527"/>
                      </a:cubicBezTo>
                      <a:cubicBezTo>
                        <a:pt x="493781" y="438156"/>
                        <a:pt x="497075" y="434782"/>
                        <a:pt x="507598" y="438879"/>
                      </a:cubicBezTo>
                      <a:cubicBezTo>
                        <a:pt x="506875" y="410282"/>
                        <a:pt x="541898" y="422492"/>
                        <a:pt x="542219" y="422733"/>
                      </a:cubicBezTo>
                      <a:cubicBezTo>
                        <a:pt x="549288" y="428838"/>
                        <a:pt x="531294" y="447715"/>
                        <a:pt x="527599" y="451410"/>
                      </a:cubicBezTo>
                      <a:cubicBezTo>
                        <a:pt x="517639" y="461532"/>
                        <a:pt x="517478" y="461692"/>
                        <a:pt x="519085" y="464905"/>
                      </a:cubicBezTo>
                      <a:cubicBezTo>
                        <a:pt x="521575" y="465628"/>
                        <a:pt x="522539" y="465789"/>
                        <a:pt x="528804" y="464022"/>
                      </a:cubicBezTo>
                      <a:cubicBezTo>
                        <a:pt x="532098" y="455748"/>
                        <a:pt x="534508" y="457033"/>
                        <a:pt x="536837" y="458238"/>
                      </a:cubicBezTo>
                      <a:cubicBezTo>
                        <a:pt x="536676" y="463781"/>
                        <a:pt x="534427" y="468922"/>
                        <a:pt x="533865" y="474464"/>
                      </a:cubicBezTo>
                      <a:cubicBezTo>
                        <a:pt x="534588" y="469083"/>
                        <a:pt x="536516" y="465789"/>
                        <a:pt x="541657" y="460809"/>
                      </a:cubicBezTo>
                      <a:cubicBezTo>
                        <a:pt x="543906" y="464263"/>
                        <a:pt x="544549" y="464986"/>
                        <a:pt x="548083" y="467395"/>
                      </a:cubicBezTo>
                      <a:cubicBezTo>
                        <a:pt x="558686" y="456551"/>
                        <a:pt x="560293" y="456069"/>
                        <a:pt x="563104" y="455266"/>
                      </a:cubicBezTo>
                      <a:cubicBezTo>
                        <a:pt x="564390" y="457997"/>
                        <a:pt x="564952" y="459283"/>
                        <a:pt x="553626" y="482578"/>
                      </a:cubicBezTo>
                      <a:cubicBezTo>
                        <a:pt x="567522" y="476071"/>
                        <a:pt x="568647" y="475750"/>
                        <a:pt x="571217" y="475187"/>
                      </a:cubicBezTo>
                      <a:cubicBezTo>
                        <a:pt x="568808" y="477918"/>
                        <a:pt x="568808" y="477918"/>
                        <a:pt x="559811" y="483702"/>
                      </a:cubicBezTo>
                      <a:cubicBezTo>
                        <a:pt x="560534" y="484505"/>
                        <a:pt x="561899" y="485228"/>
                        <a:pt x="562944" y="485309"/>
                      </a:cubicBezTo>
                      <a:cubicBezTo>
                        <a:pt x="562462" y="486112"/>
                        <a:pt x="562462" y="486112"/>
                        <a:pt x="553626" y="497920"/>
                      </a:cubicBezTo>
                      <a:cubicBezTo>
                        <a:pt x="565755" y="487156"/>
                        <a:pt x="567201" y="486112"/>
                        <a:pt x="570013" y="484184"/>
                      </a:cubicBezTo>
                      <a:cubicBezTo>
                        <a:pt x="569772" y="486433"/>
                        <a:pt x="569772" y="486433"/>
                        <a:pt x="563827" y="493582"/>
                      </a:cubicBezTo>
                      <a:cubicBezTo>
                        <a:pt x="566960" y="492056"/>
                        <a:pt x="567844" y="491574"/>
                        <a:pt x="571057" y="489004"/>
                      </a:cubicBezTo>
                      <a:cubicBezTo>
                        <a:pt x="570896" y="493181"/>
                        <a:pt x="570976" y="494145"/>
                        <a:pt x="571137" y="498161"/>
                      </a:cubicBezTo>
                      <a:cubicBezTo>
                        <a:pt x="572021" y="492940"/>
                        <a:pt x="574029" y="490369"/>
                        <a:pt x="579732" y="487236"/>
                      </a:cubicBezTo>
                      <a:cubicBezTo>
                        <a:pt x="593388" y="496233"/>
                        <a:pt x="590898" y="502097"/>
                        <a:pt x="569450" y="511415"/>
                      </a:cubicBezTo>
                      <a:cubicBezTo>
                        <a:pt x="585436" y="506515"/>
                        <a:pt x="586319" y="507238"/>
                        <a:pt x="588327" y="508684"/>
                      </a:cubicBezTo>
                      <a:cubicBezTo>
                        <a:pt x="585676" y="512540"/>
                        <a:pt x="584873" y="513745"/>
                        <a:pt x="570816" y="523224"/>
                      </a:cubicBezTo>
                      <a:cubicBezTo>
                        <a:pt x="573627" y="521778"/>
                        <a:pt x="573627" y="521778"/>
                        <a:pt x="575876" y="521215"/>
                      </a:cubicBezTo>
                      <a:cubicBezTo>
                        <a:pt x="576198" y="521697"/>
                        <a:pt x="576680" y="522260"/>
                        <a:pt x="577081" y="522742"/>
                      </a:cubicBezTo>
                      <a:cubicBezTo>
                        <a:pt x="575635" y="526035"/>
                        <a:pt x="575395" y="526517"/>
                        <a:pt x="571217" y="532060"/>
                      </a:cubicBezTo>
                      <a:cubicBezTo>
                        <a:pt x="599814" y="514387"/>
                        <a:pt x="599814" y="514387"/>
                        <a:pt x="606562" y="521697"/>
                      </a:cubicBezTo>
                      <a:cubicBezTo>
                        <a:pt x="606562" y="522340"/>
                        <a:pt x="606562" y="523143"/>
                        <a:pt x="606562" y="523705"/>
                      </a:cubicBezTo>
                      <a:cubicBezTo>
                        <a:pt x="595236" y="528605"/>
                        <a:pt x="593227" y="529489"/>
                        <a:pt x="590577" y="531658"/>
                      </a:cubicBezTo>
                      <a:cubicBezTo>
                        <a:pt x="594272" y="534951"/>
                        <a:pt x="594272" y="534951"/>
                        <a:pt x="594593" y="535674"/>
                      </a:cubicBezTo>
                      <a:cubicBezTo>
                        <a:pt x="594272" y="536478"/>
                        <a:pt x="593790" y="537522"/>
                        <a:pt x="593388" y="538325"/>
                      </a:cubicBezTo>
                      <a:cubicBezTo>
                        <a:pt x="604393" y="536719"/>
                        <a:pt x="605919" y="537040"/>
                        <a:pt x="608329" y="537522"/>
                      </a:cubicBezTo>
                      <a:cubicBezTo>
                        <a:pt x="608249" y="538084"/>
                        <a:pt x="608249" y="538887"/>
                        <a:pt x="608168" y="539450"/>
                      </a:cubicBezTo>
                      <a:cubicBezTo>
                        <a:pt x="604072" y="542583"/>
                        <a:pt x="599413" y="544912"/>
                        <a:pt x="585436" y="550776"/>
                      </a:cubicBezTo>
                      <a:cubicBezTo>
                        <a:pt x="600537" y="554069"/>
                        <a:pt x="602626" y="554712"/>
                        <a:pt x="605839" y="557122"/>
                      </a:cubicBezTo>
                      <a:cubicBezTo>
                        <a:pt x="602385" y="560014"/>
                        <a:pt x="602385" y="560014"/>
                        <a:pt x="591139" y="561379"/>
                      </a:cubicBezTo>
                      <a:cubicBezTo>
                        <a:pt x="594432" y="562986"/>
                        <a:pt x="595396" y="564351"/>
                        <a:pt x="591460" y="571179"/>
                      </a:cubicBezTo>
                      <a:cubicBezTo>
                        <a:pt x="585917" y="570376"/>
                        <a:pt x="585917" y="570376"/>
                        <a:pt x="579893" y="570215"/>
                      </a:cubicBezTo>
                      <a:cubicBezTo>
                        <a:pt x="579973" y="570778"/>
                        <a:pt x="580054" y="571501"/>
                        <a:pt x="580134" y="572063"/>
                      </a:cubicBezTo>
                      <a:cubicBezTo>
                        <a:pt x="585034" y="574794"/>
                        <a:pt x="586560" y="575437"/>
                        <a:pt x="600617" y="580819"/>
                      </a:cubicBezTo>
                      <a:cubicBezTo>
                        <a:pt x="598931" y="582024"/>
                        <a:pt x="594995" y="584915"/>
                        <a:pt x="594754" y="590619"/>
                      </a:cubicBezTo>
                      <a:cubicBezTo>
                        <a:pt x="597886" y="589494"/>
                        <a:pt x="599975" y="586683"/>
                        <a:pt x="603188" y="585638"/>
                      </a:cubicBezTo>
                      <a:cubicBezTo>
                        <a:pt x="602626" y="589494"/>
                        <a:pt x="599654" y="591904"/>
                        <a:pt x="597886" y="595117"/>
                      </a:cubicBezTo>
                      <a:cubicBezTo>
                        <a:pt x="598368" y="595197"/>
                        <a:pt x="599011" y="595358"/>
                        <a:pt x="599573" y="595438"/>
                      </a:cubicBezTo>
                      <a:cubicBezTo>
                        <a:pt x="601742" y="593992"/>
                        <a:pt x="602144" y="593671"/>
                        <a:pt x="605357" y="591020"/>
                      </a:cubicBezTo>
                      <a:cubicBezTo>
                        <a:pt x="604875" y="591904"/>
                        <a:pt x="604473" y="593430"/>
                        <a:pt x="604554" y="594474"/>
                      </a:cubicBezTo>
                      <a:cubicBezTo>
                        <a:pt x="605758" y="594394"/>
                        <a:pt x="607285" y="594314"/>
                        <a:pt x="608490" y="594314"/>
                      </a:cubicBezTo>
                      <a:cubicBezTo>
                        <a:pt x="609293" y="596965"/>
                        <a:pt x="609293" y="596965"/>
                        <a:pt x="607767" y="601463"/>
                      </a:cubicBezTo>
                      <a:cubicBezTo>
                        <a:pt x="613390" y="591342"/>
                        <a:pt x="617004" y="591824"/>
                        <a:pt x="621342" y="603391"/>
                      </a:cubicBezTo>
                      <a:lnTo>
                        <a:pt x="623109" y="602668"/>
                      </a:lnTo>
                      <a:cubicBezTo>
                        <a:pt x="623511" y="603391"/>
                        <a:pt x="623993" y="604274"/>
                        <a:pt x="624395" y="604997"/>
                      </a:cubicBezTo>
                      <a:cubicBezTo>
                        <a:pt x="620940" y="606363"/>
                        <a:pt x="620940" y="606363"/>
                        <a:pt x="620459" y="609496"/>
                      </a:cubicBezTo>
                      <a:cubicBezTo>
                        <a:pt x="618772" y="610299"/>
                        <a:pt x="618772" y="610299"/>
                        <a:pt x="612827" y="610058"/>
                      </a:cubicBezTo>
                      <a:cubicBezTo>
                        <a:pt x="618290" y="612548"/>
                        <a:pt x="618290" y="612548"/>
                        <a:pt x="622065" y="612629"/>
                      </a:cubicBezTo>
                      <a:cubicBezTo>
                        <a:pt x="625278" y="608612"/>
                        <a:pt x="627608" y="610379"/>
                        <a:pt x="630018" y="612388"/>
                      </a:cubicBezTo>
                      <a:cubicBezTo>
                        <a:pt x="629937" y="614637"/>
                        <a:pt x="629937" y="617448"/>
                        <a:pt x="620137" y="623794"/>
                      </a:cubicBezTo>
                      <a:cubicBezTo>
                        <a:pt x="637729" y="621706"/>
                        <a:pt x="639898" y="622268"/>
                        <a:pt x="643432" y="623152"/>
                      </a:cubicBezTo>
                      <a:cubicBezTo>
                        <a:pt x="643513" y="623634"/>
                        <a:pt x="643513" y="624517"/>
                        <a:pt x="643513" y="625240"/>
                      </a:cubicBezTo>
                      <a:moveTo>
                        <a:pt x="474503" y="411005"/>
                      </a:moveTo>
                      <a:cubicBezTo>
                        <a:pt x="473539" y="411568"/>
                        <a:pt x="472414" y="411487"/>
                        <a:pt x="471450" y="412050"/>
                      </a:cubicBezTo>
                      <a:cubicBezTo>
                        <a:pt x="470807" y="412451"/>
                        <a:pt x="470245" y="413335"/>
                        <a:pt x="469763" y="413897"/>
                      </a:cubicBezTo>
                      <a:cubicBezTo>
                        <a:pt x="464863" y="418878"/>
                        <a:pt x="461168" y="421207"/>
                        <a:pt x="458919" y="422251"/>
                      </a:cubicBezTo>
                      <a:cubicBezTo>
                        <a:pt x="453778" y="424741"/>
                        <a:pt x="450725" y="423697"/>
                        <a:pt x="449039" y="423215"/>
                      </a:cubicBezTo>
                      <a:cubicBezTo>
                        <a:pt x="447111" y="422332"/>
                        <a:pt x="445986" y="421528"/>
                        <a:pt x="444540" y="419681"/>
                      </a:cubicBezTo>
                      <a:cubicBezTo>
                        <a:pt x="448717" y="414138"/>
                        <a:pt x="452493" y="408194"/>
                        <a:pt x="456830" y="402812"/>
                      </a:cubicBezTo>
                      <a:cubicBezTo>
                        <a:pt x="458919" y="400161"/>
                        <a:pt x="463096" y="395261"/>
                        <a:pt x="466871" y="391968"/>
                      </a:cubicBezTo>
                      <a:cubicBezTo>
                        <a:pt x="472655" y="386987"/>
                        <a:pt x="475788" y="386987"/>
                        <a:pt x="476511" y="391968"/>
                      </a:cubicBezTo>
                      <a:cubicBezTo>
                        <a:pt x="477153" y="396305"/>
                        <a:pt x="475948" y="404338"/>
                        <a:pt x="474985" y="410764"/>
                      </a:cubicBezTo>
                      <a:cubicBezTo>
                        <a:pt x="474824" y="410845"/>
                        <a:pt x="474663" y="410925"/>
                        <a:pt x="474503" y="411005"/>
                      </a:cubicBezTo>
                      <a:moveTo>
                        <a:pt x="460044" y="374135"/>
                      </a:moveTo>
                      <a:cubicBezTo>
                        <a:pt x="457152" y="375420"/>
                        <a:pt x="454260" y="376705"/>
                        <a:pt x="451288" y="377910"/>
                      </a:cubicBezTo>
                      <a:cubicBezTo>
                        <a:pt x="454983" y="376304"/>
                        <a:pt x="458758" y="374697"/>
                        <a:pt x="462453" y="373090"/>
                      </a:cubicBezTo>
                      <a:cubicBezTo>
                        <a:pt x="461730" y="373331"/>
                        <a:pt x="460766" y="373813"/>
                        <a:pt x="460044" y="374135"/>
                      </a:cubicBezTo>
                      <a:moveTo>
                        <a:pt x="426788" y="420805"/>
                      </a:moveTo>
                      <a:cubicBezTo>
                        <a:pt x="425181" y="422251"/>
                        <a:pt x="422932" y="424018"/>
                        <a:pt x="421325" y="425223"/>
                      </a:cubicBezTo>
                      <a:cubicBezTo>
                        <a:pt x="419639" y="425464"/>
                        <a:pt x="418112" y="427633"/>
                        <a:pt x="416988" y="428919"/>
                      </a:cubicBezTo>
                      <a:cubicBezTo>
                        <a:pt x="411927" y="434863"/>
                        <a:pt x="400279" y="447313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lnTo>
                        <a:pt x="400761" y="434140"/>
                      </a:lnTo>
                      <a:lnTo>
                        <a:pt x="400761" y="434140"/>
                      </a:lnTo>
                      <a:cubicBezTo>
                        <a:pt x="400761" y="434140"/>
                        <a:pt x="400761" y="434140"/>
                        <a:pt x="400761" y="434140"/>
                      </a:cubicBezTo>
                      <a:cubicBezTo>
                        <a:pt x="400761" y="434140"/>
                        <a:pt x="400761" y="434140"/>
                        <a:pt x="400761" y="434140"/>
                      </a:cubicBezTo>
                      <a:lnTo>
                        <a:pt x="400761" y="434140"/>
                      </a:lnTo>
                      <a:cubicBezTo>
                        <a:pt x="400761" y="434140"/>
                        <a:pt x="400761" y="434140"/>
                        <a:pt x="400761" y="434140"/>
                      </a:cubicBezTo>
                      <a:lnTo>
                        <a:pt x="400761" y="434140"/>
                      </a:lnTo>
                      <a:lnTo>
                        <a:pt x="400761" y="434140"/>
                      </a:lnTo>
                      <a:cubicBezTo>
                        <a:pt x="395380" y="431168"/>
                        <a:pt x="391925" y="422412"/>
                        <a:pt x="405742" y="397912"/>
                      </a:cubicBezTo>
                      <a:cubicBezTo>
                        <a:pt x="407188" y="397751"/>
                        <a:pt x="408634" y="397590"/>
                        <a:pt x="410080" y="398072"/>
                      </a:cubicBezTo>
                      <a:cubicBezTo>
                        <a:pt x="411365" y="398474"/>
                        <a:pt x="411927" y="399920"/>
                        <a:pt x="413132" y="400402"/>
                      </a:cubicBezTo>
                      <a:cubicBezTo>
                        <a:pt x="414739" y="401045"/>
                        <a:pt x="419960" y="399358"/>
                        <a:pt x="420763" y="398474"/>
                      </a:cubicBezTo>
                      <a:cubicBezTo>
                        <a:pt x="422932" y="395823"/>
                        <a:pt x="425824" y="394217"/>
                        <a:pt x="429519" y="393735"/>
                      </a:cubicBezTo>
                      <a:cubicBezTo>
                        <a:pt x="429840" y="391887"/>
                        <a:pt x="430965" y="390281"/>
                        <a:pt x="431206" y="388433"/>
                      </a:cubicBezTo>
                      <a:cubicBezTo>
                        <a:pt x="431447" y="386264"/>
                        <a:pt x="429599" y="384256"/>
                        <a:pt x="430884" y="382087"/>
                      </a:cubicBezTo>
                      <a:cubicBezTo>
                        <a:pt x="431447" y="382328"/>
                        <a:pt x="431688" y="382328"/>
                        <a:pt x="433214" y="385541"/>
                      </a:cubicBezTo>
                      <a:cubicBezTo>
                        <a:pt x="438194" y="382087"/>
                        <a:pt x="453296" y="371645"/>
                        <a:pt x="452011" y="381043"/>
                      </a:cubicBezTo>
                      <a:cubicBezTo>
                        <a:pt x="450966" y="388674"/>
                        <a:pt x="448316" y="390281"/>
                        <a:pt x="443898" y="393012"/>
                      </a:cubicBezTo>
                      <a:cubicBezTo>
                        <a:pt x="431607" y="400563"/>
                        <a:pt x="428394" y="410122"/>
                        <a:pt x="426306" y="416387"/>
                      </a:cubicBezTo>
                      <a:cubicBezTo>
                        <a:pt x="429198" y="415905"/>
                        <a:pt x="429439" y="416227"/>
                        <a:pt x="430001" y="416869"/>
                      </a:cubicBezTo>
                      <a:cubicBezTo>
                        <a:pt x="429599" y="417672"/>
                        <a:pt x="429519" y="418315"/>
                        <a:pt x="426788" y="420805"/>
                      </a:cubicBezTo>
                      <a:moveTo>
                        <a:pt x="338989" y="481694"/>
                      </a:moveTo>
                      <a:cubicBezTo>
                        <a:pt x="338668" y="481774"/>
                        <a:pt x="338186" y="481774"/>
                        <a:pt x="337865" y="481774"/>
                      </a:cubicBezTo>
                      <a:cubicBezTo>
                        <a:pt x="337704" y="481373"/>
                        <a:pt x="337463" y="480891"/>
                        <a:pt x="337302" y="480569"/>
                      </a:cubicBezTo>
                      <a:cubicBezTo>
                        <a:pt x="337945" y="478963"/>
                        <a:pt x="338025" y="478722"/>
                        <a:pt x="339552" y="476633"/>
                      </a:cubicBezTo>
                      <a:cubicBezTo>
                        <a:pt x="332081" y="473822"/>
                        <a:pt x="327502" y="476151"/>
                        <a:pt x="318425" y="487397"/>
                      </a:cubicBezTo>
                      <a:cubicBezTo>
                        <a:pt x="301797" y="485791"/>
                        <a:pt x="266373" y="475830"/>
                        <a:pt x="296737" y="418717"/>
                      </a:cubicBezTo>
                      <a:cubicBezTo>
                        <a:pt x="302601" y="423055"/>
                        <a:pt x="305091" y="431248"/>
                        <a:pt x="313204" y="433015"/>
                      </a:cubicBezTo>
                      <a:cubicBezTo>
                        <a:pt x="305814" y="411969"/>
                        <a:pt x="306456" y="399358"/>
                        <a:pt x="330956" y="393012"/>
                      </a:cubicBezTo>
                      <a:cubicBezTo>
                        <a:pt x="332724" y="392530"/>
                        <a:pt x="333286" y="392369"/>
                        <a:pt x="335455" y="380882"/>
                      </a:cubicBezTo>
                      <a:cubicBezTo>
                        <a:pt x="335535" y="380159"/>
                        <a:pt x="335535" y="380159"/>
                        <a:pt x="335535" y="380159"/>
                      </a:cubicBez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lnTo>
                        <a:pt x="335535" y="380159"/>
                      </a:lnTo>
                      <a:cubicBezTo>
                        <a:pt x="343086" y="373653"/>
                        <a:pt x="349914" y="366263"/>
                        <a:pt x="357706" y="360077"/>
                      </a:cubicBezTo>
                      <a:cubicBezTo>
                        <a:pt x="341158" y="367949"/>
                        <a:pt x="333929" y="368512"/>
                        <a:pt x="331760" y="362086"/>
                      </a:cubicBezTo>
                      <a:cubicBezTo>
                        <a:pt x="331760" y="356141"/>
                        <a:pt x="337222" y="346582"/>
                        <a:pt x="341640" y="343128"/>
                      </a:cubicBezTo>
                      <a:lnTo>
                        <a:pt x="412489" y="293485"/>
                      </a:lnTo>
                      <a:cubicBezTo>
                        <a:pt x="412891" y="293244"/>
                        <a:pt x="416747" y="293485"/>
                        <a:pt x="417791" y="294289"/>
                      </a:cubicBezTo>
                      <a:cubicBezTo>
                        <a:pt x="419880" y="295735"/>
                        <a:pt x="418112" y="298466"/>
                        <a:pt x="415542" y="302563"/>
                      </a:cubicBezTo>
                      <a:cubicBezTo>
                        <a:pt x="412168" y="307944"/>
                        <a:pt x="411847" y="308748"/>
                        <a:pt x="410722" y="312122"/>
                      </a:cubicBezTo>
                      <a:cubicBezTo>
                        <a:pt x="408955" y="312925"/>
                        <a:pt x="408393" y="313246"/>
                        <a:pt x="406465" y="314692"/>
                      </a:cubicBezTo>
                      <a:cubicBezTo>
                        <a:pt x="407188" y="314451"/>
                        <a:pt x="408152" y="314049"/>
                        <a:pt x="408875" y="313808"/>
                      </a:cubicBezTo>
                      <a:cubicBezTo>
                        <a:pt x="408875" y="314130"/>
                        <a:pt x="408955" y="314531"/>
                        <a:pt x="408955" y="314853"/>
                      </a:cubicBezTo>
                      <a:cubicBezTo>
                        <a:pt x="394898" y="326902"/>
                        <a:pt x="384616" y="342887"/>
                        <a:pt x="369112" y="353490"/>
                      </a:cubicBezTo>
                      <a:cubicBezTo>
                        <a:pt x="375779" y="350759"/>
                        <a:pt x="380599" y="349554"/>
                        <a:pt x="389435" y="348430"/>
                      </a:cubicBezTo>
                      <a:cubicBezTo>
                        <a:pt x="382447" y="354776"/>
                        <a:pt x="375860" y="361523"/>
                        <a:pt x="368630" y="367548"/>
                      </a:cubicBezTo>
                      <a:cubicBezTo>
                        <a:pt x="373530" y="366102"/>
                        <a:pt x="374093" y="366102"/>
                        <a:pt x="376181" y="366102"/>
                      </a:cubicBezTo>
                      <a:cubicBezTo>
                        <a:pt x="376422" y="366504"/>
                        <a:pt x="376743" y="366985"/>
                        <a:pt x="376984" y="367307"/>
                      </a:cubicBezTo>
                      <a:cubicBezTo>
                        <a:pt x="373771" y="373813"/>
                        <a:pt x="368229" y="378633"/>
                        <a:pt x="364052" y="384417"/>
                      </a:cubicBezTo>
                      <a:cubicBezTo>
                        <a:pt x="366381" y="383051"/>
                        <a:pt x="367104" y="382730"/>
                        <a:pt x="369514" y="381686"/>
                      </a:cubicBezTo>
                      <a:cubicBezTo>
                        <a:pt x="372245" y="383372"/>
                        <a:pt x="377065" y="379999"/>
                        <a:pt x="386704" y="369636"/>
                      </a:cubicBezTo>
                      <a:cubicBezTo>
                        <a:pt x="377547" y="384176"/>
                        <a:pt x="372807" y="393333"/>
                        <a:pt x="365738" y="407310"/>
                      </a:cubicBezTo>
                      <a:cubicBezTo>
                        <a:pt x="384294" y="383372"/>
                        <a:pt x="403573" y="368512"/>
                        <a:pt x="403734" y="368351"/>
                      </a:cubicBezTo>
                      <a:cubicBezTo>
                        <a:pt x="374896" y="409078"/>
                        <a:pt x="358589" y="437674"/>
                        <a:pt x="339230" y="481694"/>
                      </a:cubicBezTo>
                      <a:cubicBezTo>
                        <a:pt x="339150" y="481614"/>
                        <a:pt x="339070" y="481694"/>
                        <a:pt x="338989" y="481694"/>
                      </a:cubicBezTo>
                      <a:moveTo>
                        <a:pt x="488721" y="365620"/>
                      </a:moveTo>
                      <a:cubicBezTo>
                        <a:pt x="488640" y="365620"/>
                        <a:pt x="486471" y="365379"/>
                        <a:pt x="486070" y="365299"/>
                      </a:cubicBezTo>
                      <a:cubicBezTo>
                        <a:pt x="486953" y="365459"/>
                        <a:pt x="487837" y="365540"/>
                        <a:pt x="488721" y="365620"/>
                      </a:cubicBezTo>
                      <a:lnTo>
                        <a:pt x="488721" y="365620"/>
                      </a:lnTo>
                      <a:moveTo>
                        <a:pt x="479804" y="361523"/>
                      </a:moveTo>
                      <a:cubicBezTo>
                        <a:pt x="479242" y="362005"/>
                        <a:pt x="478680" y="362327"/>
                        <a:pt x="478278" y="362568"/>
                      </a:cubicBezTo>
                      <a:lnTo>
                        <a:pt x="475065" y="363692"/>
                      </a:lnTo>
                      <a:cubicBezTo>
                        <a:pt x="476671" y="361041"/>
                        <a:pt x="479483" y="359997"/>
                        <a:pt x="481089" y="359595"/>
                      </a:cubicBezTo>
                      <a:cubicBezTo>
                        <a:pt x="480929" y="359917"/>
                        <a:pt x="480768" y="360720"/>
                        <a:pt x="479804" y="361523"/>
                      </a:cubicBezTo>
                      <a:moveTo>
                        <a:pt x="474663" y="329231"/>
                      </a:moveTo>
                      <a:cubicBezTo>
                        <a:pt x="474663" y="329151"/>
                        <a:pt x="475466" y="327062"/>
                        <a:pt x="477234" y="323287"/>
                      </a:cubicBezTo>
                      <a:cubicBezTo>
                        <a:pt x="476270" y="325215"/>
                        <a:pt x="475466" y="327223"/>
                        <a:pt x="474663" y="329231"/>
                      </a:cubicBezTo>
                      <a:cubicBezTo>
                        <a:pt x="474663" y="329231"/>
                        <a:pt x="474663" y="329231"/>
                        <a:pt x="474663" y="329231"/>
                      </a:cubicBezTo>
                      <a:moveTo>
                        <a:pt x="506794" y="360559"/>
                      </a:moveTo>
                      <a:cubicBezTo>
                        <a:pt x="503662" y="363049"/>
                        <a:pt x="502939" y="360961"/>
                        <a:pt x="502135" y="358310"/>
                      </a:cubicBezTo>
                      <a:cubicBezTo>
                        <a:pt x="500930" y="354454"/>
                        <a:pt x="499726" y="352607"/>
                        <a:pt x="496512" y="352848"/>
                      </a:cubicBezTo>
                      <a:lnTo>
                        <a:pt x="495147" y="353571"/>
                      </a:lnTo>
                      <a:cubicBezTo>
                        <a:pt x="496994" y="351322"/>
                        <a:pt x="515952" y="335336"/>
                        <a:pt x="524065" y="339031"/>
                      </a:cubicBezTo>
                      <a:cubicBezTo>
                        <a:pt x="522780" y="340799"/>
                        <a:pt x="511212" y="357025"/>
                        <a:pt x="506794" y="360559"/>
                      </a:cubicBezTo>
                      <a:moveTo>
                        <a:pt x="515871" y="335979"/>
                      </a:moveTo>
                      <a:cubicBezTo>
                        <a:pt x="514988" y="336541"/>
                        <a:pt x="514345" y="336300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3863" y="336059"/>
                        <a:pt x="513863" y="336059"/>
                        <a:pt x="513863" y="336059"/>
                      </a:cubicBezTo>
                      <a:cubicBezTo>
                        <a:pt x="510489" y="337264"/>
                        <a:pt x="508963" y="337666"/>
                        <a:pt x="508481" y="337585"/>
                      </a:cubicBezTo>
                      <a:cubicBezTo>
                        <a:pt x="508481" y="337585"/>
                        <a:pt x="508481" y="337505"/>
                        <a:pt x="508401" y="337505"/>
                      </a:cubicBezTo>
                      <a:cubicBezTo>
                        <a:pt x="508803" y="336862"/>
                        <a:pt x="511614" y="335256"/>
                        <a:pt x="518603" y="331641"/>
                      </a:cubicBezTo>
                      <a:cubicBezTo>
                        <a:pt x="518121" y="332766"/>
                        <a:pt x="517237" y="335176"/>
                        <a:pt x="515871" y="335979"/>
                      </a:cubicBezTo>
                      <a:moveTo>
                        <a:pt x="532981" y="328509"/>
                      </a:moveTo>
                      <a:cubicBezTo>
                        <a:pt x="532981" y="328509"/>
                        <a:pt x="533062" y="328509"/>
                        <a:pt x="532981" y="328509"/>
                      </a:cubicBezTo>
                      <a:lnTo>
                        <a:pt x="532981" y="328509"/>
                      </a:lnTo>
                      <a:cubicBezTo>
                        <a:pt x="532740" y="328428"/>
                        <a:pt x="532339" y="328428"/>
                        <a:pt x="532017" y="328348"/>
                      </a:cubicBezTo>
                      <a:cubicBezTo>
                        <a:pt x="532017" y="328348"/>
                        <a:pt x="532098" y="328348"/>
                        <a:pt x="532098" y="328348"/>
                      </a:cubicBezTo>
                      <a:cubicBezTo>
                        <a:pt x="532419" y="328428"/>
                        <a:pt x="532660" y="328509"/>
                        <a:pt x="532981" y="328509"/>
                      </a:cubicBezTo>
                      <a:moveTo>
                        <a:pt x="534026" y="328669"/>
                      </a:moveTo>
                      <a:cubicBezTo>
                        <a:pt x="534026" y="328669"/>
                        <a:pt x="534026" y="328750"/>
                        <a:pt x="534026" y="328669"/>
                      </a:cubicBezTo>
                      <a:cubicBezTo>
                        <a:pt x="533704" y="328589"/>
                        <a:pt x="533383" y="328589"/>
                        <a:pt x="533062" y="328509"/>
                      </a:cubicBezTo>
                      <a:cubicBezTo>
                        <a:pt x="533062" y="328509"/>
                        <a:pt x="533142" y="328509"/>
                        <a:pt x="533142" y="328509"/>
                      </a:cubicBezTo>
                      <a:cubicBezTo>
                        <a:pt x="533383" y="328589"/>
                        <a:pt x="533704" y="328669"/>
                        <a:pt x="534026" y="328669"/>
                      </a:cubicBezTo>
                      <a:moveTo>
                        <a:pt x="468880" y="267379"/>
                      </a:moveTo>
                      <a:cubicBezTo>
                        <a:pt x="465586" y="269467"/>
                        <a:pt x="465104" y="269467"/>
                        <a:pt x="465024" y="269307"/>
                      </a:cubicBezTo>
                      <a:cubicBezTo>
                        <a:pt x="465024" y="269066"/>
                        <a:pt x="465265" y="268745"/>
                        <a:pt x="465265" y="268745"/>
                      </a:cubicBezTo>
                      <a:cubicBezTo>
                        <a:pt x="467353" y="267539"/>
                        <a:pt x="469603" y="266575"/>
                        <a:pt x="471691" y="265531"/>
                      </a:cubicBezTo>
                      <a:cubicBezTo>
                        <a:pt x="470807" y="266174"/>
                        <a:pt x="469844" y="266816"/>
                        <a:pt x="468880" y="267379"/>
                      </a:cubicBezTo>
                      <a:moveTo>
                        <a:pt x="479644" y="270833"/>
                      </a:moveTo>
                      <a:cubicBezTo>
                        <a:pt x="473298" y="273484"/>
                        <a:pt x="467032" y="276135"/>
                        <a:pt x="460766" y="278866"/>
                      </a:cubicBezTo>
                      <a:cubicBezTo>
                        <a:pt x="467434" y="275974"/>
                        <a:pt x="474181" y="273162"/>
                        <a:pt x="480848" y="270351"/>
                      </a:cubicBezTo>
                      <a:cubicBezTo>
                        <a:pt x="480447" y="270512"/>
                        <a:pt x="479965" y="270672"/>
                        <a:pt x="479644" y="270833"/>
                      </a:cubicBezTo>
                      <a:moveTo>
                        <a:pt x="622949" y="347707"/>
                      </a:moveTo>
                      <a:cubicBezTo>
                        <a:pt x="620699" y="350358"/>
                        <a:pt x="618370" y="352446"/>
                        <a:pt x="618370" y="352527"/>
                      </a:cubicBezTo>
                      <a:cubicBezTo>
                        <a:pt x="618370" y="352527"/>
                        <a:pt x="617085" y="352607"/>
                        <a:pt x="616281" y="352446"/>
                      </a:cubicBezTo>
                      <a:cubicBezTo>
                        <a:pt x="614675" y="352045"/>
                        <a:pt x="613872" y="351081"/>
                        <a:pt x="621342" y="346341"/>
                      </a:cubicBezTo>
                      <a:cubicBezTo>
                        <a:pt x="622949" y="345297"/>
                        <a:pt x="624555" y="344413"/>
                        <a:pt x="626242" y="343449"/>
                      </a:cubicBezTo>
                      <a:cubicBezTo>
                        <a:pt x="625760" y="344172"/>
                        <a:pt x="624877" y="345538"/>
                        <a:pt x="622949" y="347707"/>
                      </a:cubicBezTo>
                      <a:moveTo>
                        <a:pt x="507517" y="310836"/>
                      </a:moveTo>
                      <a:cubicBezTo>
                        <a:pt x="501894" y="315013"/>
                        <a:pt x="498440" y="314130"/>
                        <a:pt x="497075" y="313728"/>
                      </a:cubicBezTo>
                      <a:cubicBezTo>
                        <a:pt x="503019" y="309069"/>
                        <a:pt x="504063" y="308025"/>
                        <a:pt x="505188" y="305695"/>
                      </a:cubicBezTo>
                      <a:cubicBezTo>
                        <a:pt x="506634" y="302723"/>
                        <a:pt x="511453" y="299510"/>
                        <a:pt x="511453" y="299510"/>
                      </a:cubicBezTo>
                      <a:cubicBezTo>
                        <a:pt x="516273" y="296618"/>
                        <a:pt x="515389" y="302803"/>
                        <a:pt x="515389" y="302884"/>
                      </a:cubicBezTo>
                      <a:cubicBezTo>
                        <a:pt x="515389" y="302964"/>
                        <a:pt x="511614" y="307864"/>
                        <a:pt x="507517" y="310836"/>
                      </a:cubicBezTo>
                      <a:moveTo>
                        <a:pt x="515229" y="328107"/>
                      </a:moveTo>
                      <a:cubicBezTo>
                        <a:pt x="513863" y="329231"/>
                        <a:pt x="496191" y="343449"/>
                        <a:pt x="496191" y="343449"/>
                      </a:cubicBezTo>
                      <a:cubicBezTo>
                        <a:pt x="496030" y="343048"/>
                        <a:pt x="495950" y="342887"/>
                        <a:pt x="496593" y="341602"/>
                      </a:cubicBezTo>
                      <a:cubicBezTo>
                        <a:pt x="487435" y="342807"/>
                        <a:pt x="486632" y="341843"/>
                        <a:pt x="485748" y="340718"/>
                      </a:cubicBezTo>
                      <a:cubicBezTo>
                        <a:pt x="486471" y="337425"/>
                        <a:pt x="491853" y="333649"/>
                        <a:pt x="508883" y="324572"/>
                      </a:cubicBezTo>
                      <a:cubicBezTo>
                        <a:pt x="496271" y="321600"/>
                        <a:pt x="495709" y="320074"/>
                        <a:pt x="495468" y="319431"/>
                      </a:cubicBezTo>
                      <a:cubicBezTo>
                        <a:pt x="496352" y="318307"/>
                        <a:pt x="498762" y="318066"/>
                        <a:pt x="506071" y="317905"/>
                      </a:cubicBezTo>
                      <a:cubicBezTo>
                        <a:pt x="503180" y="315174"/>
                        <a:pt x="524226" y="301277"/>
                        <a:pt x="524627" y="301277"/>
                      </a:cubicBezTo>
                      <a:cubicBezTo>
                        <a:pt x="526314" y="301358"/>
                        <a:pt x="526314" y="301358"/>
                        <a:pt x="523583" y="310595"/>
                      </a:cubicBezTo>
                      <a:cubicBezTo>
                        <a:pt x="532419" y="293967"/>
                        <a:pt x="535712" y="297421"/>
                        <a:pt x="537640" y="302322"/>
                      </a:cubicBezTo>
                      <a:cubicBezTo>
                        <a:pt x="539488" y="300554"/>
                        <a:pt x="540693" y="299430"/>
                        <a:pt x="542781" y="297582"/>
                      </a:cubicBezTo>
                      <a:cubicBezTo>
                        <a:pt x="534588" y="311881"/>
                        <a:pt x="516032" y="327464"/>
                        <a:pt x="515229" y="328107"/>
                      </a:cubicBezTo>
                      <a:moveTo>
                        <a:pt x="518442" y="295253"/>
                      </a:moveTo>
                      <a:lnTo>
                        <a:pt x="518442" y="295253"/>
                      </a:lnTo>
                      <a:cubicBezTo>
                        <a:pt x="518603" y="295012"/>
                        <a:pt x="520370" y="293325"/>
                        <a:pt x="525832" y="288505"/>
                      </a:cubicBezTo>
                      <a:cubicBezTo>
                        <a:pt x="526555" y="288023"/>
                        <a:pt x="527519" y="287461"/>
                        <a:pt x="528242" y="286979"/>
                      </a:cubicBezTo>
                      <a:cubicBezTo>
                        <a:pt x="526314" y="288666"/>
                        <a:pt x="524306" y="290272"/>
                        <a:pt x="522378" y="291959"/>
                      </a:cubicBezTo>
                      <a:cubicBezTo>
                        <a:pt x="521414" y="292843"/>
                        <a:pt x="520370" y="293646"/>
                        <a:pt x="519406" y="294449"/>
                      </a:cubicBezTo>
                      <a:cubicBezTo>
                        <a:pt x="519085" y="294771"/>
                        <a:pt x="518763" y="295012"/>
                        <a:pt x="518442" y="295253"/>
                      </a:cubicBezTo>
                      <a:moveTo>
                        <a:pt x="542380" y="291879"/>
                      </a:moveTo>
                      <a:cubicBezTo>
                        <a:pt x="539568" y="293084"/>
                        <a:pt x="535953" y="294369"/>
                        <a:pt x="534267" y="293566"/>
                      </a:cubicBezTo>
                      <a:cubicBezTo>
                        <a:pt x="533945" y="293325"/>
                        <a:pt x="533785" y="293164"/>
                        <a:pt x="533865" y="292762"/>
                      </a:cubicBezTo>
                      <a:cubicBezTo>
                        <a:pt x="537399" y="291076"/>
                        <a:pt x="542219" y="289148"/>
                        <a:pt x="543183" y="291558"/>
                      </a:cubicBezTo>
                      <a:cubicBezTo>
                        <a:pt x="542942" y="291638"/>
                        <a:pt x="542621" y="291799"/>
                        <a:pt x="542380" y="291879"/>
                      </a:cubicBezTo>
                      <a:moveTo>
                        <a:pt x="483098" y="313326"/>
                      </a:moveTo>
                      <a:cubicBezTo>
                        <a:pt x="476430" y="316459"/>
                        <a:pt x="462212" y="320315"/>
                        <a:pt x="454581" y="322404"/>
                      </a:cubicBezTo>
                      <a:cubicBezTo>
                        <a:pt x="456268" y="321841"/>
                        <a:pt x="456589" y="321359"/>
                        <a:pt x="456911" y="320154"/>
                      </a:cubicBezTo>
                      <a:cubicBezTo>
                        <a:pt x="432009" y="325697"/>
                        <a:pt x="432009" y="325697"/>
                        <a:pt x="431286" y="325617"/>
                      </a:cubicBezTo>
                      <a:cubicBezTo>
                        <a:pt x="427350" y="324974"/>
                        <a:pt x="430804" y="318146"/>
                        <a:pt x="432009" y="315897"/>
                      </a:cubicBezTo>
                      <a:cubicBezTo>
                        <a:pt x="439239" y="315495"/>
                        <a:pt x="446629" y="313889"/>
                        <a:pt x="457714" y="310194"/>
                      </a:cubicBezTo>
                      <a:cubicBezTo>
                        <a:pt x="451850" y="310435"/>
                        <a:pt x="446548" y="310354"/>
                        <a:pt x="451047" y="305615"/>
                      </a:cubicBezTo>
                      <a:cubicBezTo>
                        <a:pt x="453135" y="303446"/>
                        <a:pt x="456429" y="301197"/>
                        <a:pt x="459963" y="298868"/>
                      </a:cubicBezTo>
                      <a:cubicBezTo>
                        <a:pt x="458919" y="299108"/>
                        <a:pt x="458919" y="299108"/>
                        <a:pt x="458276" y="299028"/>
                      </a:cubicBezTo>
                      <a:cubicBezTo>
                        <a:pt x="458276" y="298386"/>
                        <a:pt x="458276" y="298225"/>
                        <a:pt x="459803" y="296939"/>
                      </a:cubicBezTo>
                      <a:cubicBezTo>
                        <a:pt x="457312" y="298466"/>
                        <a:pt x="455625" y="301277"/>
                        <a:pt x="452412" y="301759"/>
                      </a:cubicBezTo>
                      <a:cubicBezTo>
                        <a:pt x="452332" y="301759"/>
                        <a:pt x="443255" y="301840"/>
                        <a:pt x="443978" y="299028"/>
                      </a:cubicBezTo>
                      <a:cubicBezTo>
                        <a:pt x="444862" y="295735"/>
                        <a:pt x="458999" y="290433"/>
                        <a:pt x="468317" y="286898"/>
                      </a:cubicBezTo>
                      <a:cubicBezTo>
                        <a:pt x="464783" y="284971"/>
                        <a:pt x="464703" y="284408"/>
                        <a:pt x="464462" y="283284"/>
                      </a:cubicBezTo>
                      <a:cubicBezTo>
                        <a:pt x="465586" y="282079"/>
                        <a:pt x="467514" y="281918"/>
                        <a:pt x="475868" y="282240"/>
                      </a:cubicBezTo>
                      <a:cubicBezTo>
                        <a:pt x="477555" y="273002"/>
                        <a:pt x="480929" y="272680"/>
                        <a:pt x="486953" y="275412"/>
                      </a:cubicBezTo>
                      <a:cubicBezTo>
                        <a:pt x="491050" y="271556"/>
                        <a:pt x="494906" y="268021"/>
                        <a:pt x="496753" y="267138"/>
                      </a:cubicBezTo>
                      <a:cubicBezTo>
                        <a:pt x="496593" y="268343"/>
                        <a:pt x="496512" y="268423"/>
                        <a:pt x="491934" y="274207"/>
                      </a:cubicBezTo>
                      <a:cubicBezTo>
                        <a:pt x="491532" y="274769"/>
                        <a:pt x="490889" y="275412"/>
                        <a:pt x="490488" y="275974"/>
                      </a:cubicBezTo>
                      <a:cubicBezTo>
                        <a:pt x="489926" y="277018"/>
                        <a:pt x="489604" y="278625"/>
                        <a:pt x="489042" y="279589"/>
                      </a:cubicBezTo>
                      <a:cubicBezTo>
                        <a:pt x="483740" y="288987"/>
                        <a:pt x="475065" y="296458"/>
                        <a:pt x="472655" y="307543"/>
                      </a:cubicBezTo>
                      <a:cubicBezTo>
                        <a:pt x="485507" y="297261"/>
                        <a:pt x="485507" y="297261"/>
                        <a:pt x="523744" y="271395"/>
                      </a:cubicBezTo>
                      <a:cubicBezTo>
                        <a:pt x="511052" y="281597"/>
                        <a:pt x="498039" y="291397"/>
                        <a:pt x="485588" y="301840"/>
                      </a:cubicBezTo>
                      <a:cubicBezTo>
                        <a:pt x="488640" y="300795"/>
                        <a:pt x="489122" y="300795"/>
                        <a:pt x="490006" y="300795"/>
                      </a:cubicBezTo>
                      <a:cubicBezTo>
                        <a:pt x="490086" y="300956"/>
                        <a:pt x="490247" y="301117"/>
                        <a:pt x="490327" y="301197"/>
                      </a:cubicBezTo>
                      <a:cubicBezTo>
                        <a:pt x="489926" y="302482"/>
                        <a:pt x="488399" y="304008"/>
                        <a:pt x="483740" y="307944"/>
                      </a:cubicBezTo>
                      <a:cubicBezTo>
                        <a:pt x="487114" y="308587"/>
                        <a:pt x="487194" y="308908"/>
                        <a:pt x="487596" y="310354"/>
                      </a:cubicBezTo>
                      <a:cubicBezTo>
                        <a:pt x="486471" y="311479"/>
                        <a:pt x="484624" y="312684"/>
                        <a:pt x="483098" y="313326"/>
                      </a:cubicBezTo>
                      <a:moveTo>
                        <a:pt x="515068" y="259185"/>
                      </a:moveTo>
                      <a:cubicBezTo>
                        <a:pt x="513622" y="259828"/>
                        <a:pt x="512176" y="260471"/>
                        <a:pt x="510811" y="261033"/>
                      </a:cubicBezTo>
                      <a:cubicBezTo>
                        <a:pt x="512337" y="260390"/>
                        <a:pt x="513863" y="259667"/>
                        <a:pt x="515389" y="259025"/>
                      </a:cubicBezTo>
                      <a:cubicBezTo>
                        <a:pt x="515229" y="259105"/>
                        <a:pt x="515149" y="259185"/>
                        <a:pt x="515068" y="259185"/>
                      </a:cubicBezTo>
                      <a:moveTo>
                        <a:pt x="590336" y="376545"/>
                      </a:moveTo>
                      <a:cubicBezTo>
                        <a:pt x="579893" y="387228"/>
                        <a:pt x="564149" y="398876"/>
                        <a:pt x="563586" y="386907"/>
                      </a:cubicBezTo>
                      <a:cubicBezTo>
                        <a:pt x="563426" y="383694"/>
                        <a:pt x="563908" y="380400"/>
                        <a:pt x="563908" y="377187"/>
                      </a:cubicBezTo>
                      <a:cubicBezTo>
                        <a:pt x="560775" y="381525"/>
                        <a:pt x="552340" y="392932"/>
                        <a:pt x="546396" y="383774"/>
                      </a:cubicBezTo>
                      <a:cubicBezTo>
                        <a:pt x="544067" y="386104"/>
                        <a:pt x="543826" y="386104"/>
                        <a:pt x="543103" y="386104"/>
                      </a:cubicBezTo>
                      <a:cubicBezTo>
                        <a:pt x="543022" y="385059"/>
                        <a:pt x="543022" y="385059"/>
                        <a:pt x="543585" y="383372"/>
                      </a:cubicBezTo>
                      <a:cubicBezTo>
                        <a:pt x="537721" y="386746"/>
                        <a:pt x="535873" y="384979"/>
                        <a:pt x="534668" y="382569"/>
                      </a:cubicBezTo>
                      <a:cubicBezTo>
                        <a:pt x="534267" y="383212"/>
                        <a:pt x="533704" y="384095"/>
                        <a:pt x="533222" y="384738"/>
                      </a:cubicBezTo>
                      <a:cubicBezTo>
                        <a:pt x="530170" y="381846"/>
                        <a:pt x="529206" y="377428"/>
                        <a:pt x="525912" y="374777"/>
                      </a:cubicBezTo>
                      <a:cubicBezTo>
                        <a:pt x="527117" y="373412"/>
                        <a:pt x="527198" y="373331"/>
                        <a:pt x="527599" y="372448"/>
                      </a:cubicBezTo>
                      <a:cubicBezTo>
                        <a:pt x="527519" y="372287"/>
                        <a:pt x="527439" y="372127"/>
                        <a:pt x="527358" y="371966"/>
                      </a:cubicBezTo>
                      <a:cubicBezTo>
                        <a:pt x="523422" y="372689"/>
                        <a:pt x="522057" y="378071"/>
                        <a:pt x="517317" y="377428"/>
                      </a:cubicBezTo>
                      <a:cubicBezTo>
                        <a:pt x="515229" y="377187"/>
                        <a:pt x="512899" y="374617"/>
                        <a:pt x="515550" y="370440"/>
                      </a:cubicBezTo>
                      <a:cubicBezTo>
                        <a:pt x="529768" y="348269"/>
                        <a:pt x="529768" y="348269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4027" y="304812"/>
                        <a:pt x="554027" y="304812"/>
                        <a:pt x="554027" y="304812"/>
                      </a:cubicBezTo>
                      <a:cubicBezTo>
                        <a:pt x="550332" y="302081"/>
                        <a:pt x="555875" y="294530"/>
                        <a:pt x="566478" y="293084"/>
                      </a:cubicBezTo>
                      <a:cubicBezTo>
                        <a:pt x="572422" y="292281"/>
                        <a:pt x="572021" y="296136"/>
                        <a:pt x="565193" y="304651"/>
                      </a:cubicBezTo>
                      <a:cubicBezTo>
                        <a:pt x="563104" y="307221"/>
                        <a:pt x="560132" y="310435"/>
                        <a:pt x="557963" y="312844"/>
                      </a:cubicBezTo>
                      <a:cubicBezTo>
                        <a:pt x="570495" y="313969"/>
                        <a:pt x="572181" y="314853"/>
                        <a:pt x="573467" y="316299"/>
                      </a:cubicBezTo>
                      <a:cubicBezTo>
                        <a:pt x="573306" y="318628"/>
                        <a:pt x="569691" y="320235"/>
                        <a:pt x="559650" y="323608"/>
                      </a:cubicBezTo>
                      <a:cubicBezTo>
                        <a:pt x="561257" y="332123"/>
                        <a:pt x="558124" y="337987"/>
                        <a:pt x="547280" y="346903"/>
                      </a:cubicBezTo>
                      <a:cubicBezTo>
                        <a:pt x="552742" y="347466"/>
                        <a:pt x="552742" y="347466"/>
                        <a:pt x="553385" y="351000"/>
                      </a:cubicBezTo>
                      <a:cubicBezTo>
                        <a:pt x="554750" y="350599"/>
                        <a:pt x="556517" y="350117"/>
                        <a:pt x="557883" y="349795"/>
                      </a:cubicBezTo>
                      <a:cubicBezTo>
                        <a:pt x="557080" y="351482"/>
                        <a:pt x="556919" y="351804"/>
                        <a:pt x="556196" y="352928"/>
                      </a:cubicBezTo>
                      <a:cubicBezTo>
                        <a:pt x="558204" y="351081"/>
                        <a:pt x="559570" y="350197"/>
                        <a:pt x="561739" y="349233"/>
                      </a:cubicBezTo>
                      <a:cubicBezTo>
                        <a:pt x="560213" y="353731"/>
                        <a:pt x="560373" y="355981"/>
                        <a:pt x="562622" y="358230"/>
                      </a:cubicBezTo>
                      <a:cubicBezTo>
                        <a:pt x="576117" y="356061"/>
                        <a:pt x="611944" y="350358"/>
                        <a:pt x="594432" y="372127"/>
                      </a:cubicBezTo>
                      <a:cubicBezTo>
                        <a:pt x="593308" y="373412"/>
                        <a:pt x="591621" y="375259"/>
                        <a:pt x="590336" y="376545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cubicBezTo>
                        <a:pt x="552421" y="267861"/>
                        <a:pt x="552421" y="267861"/>
                        <a:pt x="552421" y="267861"/>
                      </a:cubicBez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cubicBezTo>
                        <a:pt x="552421" y="267861"/>
                        <a:pt x="552421" y="267861"/>
                        <a:pt x="552421" y="267861"/>
                      </a:cubicBez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cubicBezTo>
                        <a:pt x="552421" y="267861"/>
                        <a:pt x="552421" y="267861"/>
                        <a:pt x="552421" y="267861"/>
                      </a:cubicBez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cubicBezTo>
                        <a:pt x="552421" y="267861"/>
                        <a:pt x="552421" y="267861"/>
                        <a:pt x="552421" y="267861"/>
                      </a:cubicBez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52421" y="267861"/>
                      </a:moveTo>
                      <a:lnTo>
                        <a:pt x="552421" y="267861"/>
                      </a:lnTo>
                      <a:lnTo>
                        <a:pt x="552421" y="267861"/>
                      </a:lnTo>
                      <a:lnTo>
                        <a:pt x="552421" y="267861"/>
                      </a:lnTo>
                      <a:moveTo>
                        <a:pt x="514988" y="252277"/>
                      </a:moveTo>
                      <a:cubicBezTo>
                        <a:pt x="505589" y="257739"/>
                        <a:pt x="495388" y="262639"/>
                        <a:pt x="487837" y="266174"/>
                      </a:cubicBezTo>
                      <a:cubicBezTo>
                        <a:pt x="487917" y="266094"/>
                        <a:pt x="496111" y="259346"/>
                        <a:pt x="504385" y="253562"/>
                      </a:cubicBezTo>
                      <a:cubicBezTo>
                        <a:pt x="492335" y="259346"/>
                        <a:pt x="490247" y="259828"/>
                        <a:pt x="488640" y="258864"/>
                      </a:cubicBezTo>
                      <a:cubicBezTo>
                        <a:pt x="482776" y="261997"/>
                        <a:pt x="479403" y="264085"/>
                        <a:pt x="474262" y="268021"/>
                      </a:cubicBezTo>
                      <a:cubicBezTo>
                        <a:pt x="470888" y="264969"/>
                        <a:pt x="477635" y="257820"/>
                        <a:pt x="480126" y="255089"/>
                      </a:cubicBezTo>
                      <a:cubicBezTo>
                        <a:pt x="479563" y="255089"/>
                        <a:pt x="479403" y="255008"/>
                        <a:pt x="478680" y="255169"/>
                      </a:cubicBezTo>
                      <a:cubicBezTo>
                        <a:pt x="509526" y="241353"/>
                        <a:pt x="526073" y="238140"/>
                        <a:pt x="534508" y="237898"/>
                      </a:cubicBezTo>
                      <a:cubicBezTo>
                        <a:pt x="521655" y="248422"/>
                        <a:pt x="521655" y="248422"/>
                        <a:pt x="514988" y="252277"/>
                      </a:cubicBezTo>
                      <a:moveTo>
                        <a:pt x="608249" y="288827"/>
                      </a:moveTo>
                      <a:cubicBezTo>
                        <a:pt x="608088" y="284971"/>
                        <a:pt x="608249" y="282240"/>
                        <a:pt x="608249" y="282240"/>
                      </a:cubicBezTo>
                      <a:cubicBezTo>
                        <a:pt x="608329" y="284569"/>
                        <a:pt x="608249" y="286979"/>
                        <a:pt x="608249" y="289308"/>
                      </a:cubicBezTo>
                      <a:cubicBezTo>
                        <a:pt x="608329" y="289148"/>
                        <a:pt x="608329" y="288987"/>
                        <a:pt x="608249" y="288827"/>
                      </a:cubicBezTo>
                      <a:moveTo>
                        <a:pt x="556517" y="262720"/>
                      </a:moveTo>
                      <a:cubicBezTo>
                        <a:pt x="560293" y="258061"/>
                        <a:pt x="563024" y="254848"/>
                        <a:pt x="563024" y="254848"/>
                      </a:cubicBezTo>
                      <a:cubicBezTo>
                        <a:pt x="560855" y="257579"/>
                        <a:pt x="558526" y="260149"/>
                        <a:pt x="556357" y="262880"/>
                      </a:cubicBezTo>
                      <a:cubicBezTo>
                        <a:pt x="556357" y="262800"/>
                        <a:pt x="556437" y="262720"/>
                        <a:pt x="556517" y="262720"/>
                      </a:cubicBezTo>
                      <a:moveTo>
                        <a:pt x="605277" y="272199"/>
                      </a:moveTo>
                      <a:cubicBezTo>
                        <a:pt x="599332" y="273564"/>
                        <a:pt x="593468" y="274849"/>
                        <a:pt x="587524" y="276135"/>
                      </a:cubicBezTo>
                      <a:cubicBezTo>
                        <a:pt x="593468" y="274849"/>
                        <a:pt x="599413" y="273484"/>
                        <a:pt x="605357" y="272199"/>
                      </a:cubicBezTo>
                      <a:cubicBezTo>
                        <a:pt x="605357" y="272199"/>
                        <a:pt x="605277" y="272199"/>
                        <a:pt x="605277" y="272199"/>
                      </a:cubicBez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cubicBezTo>
                        <a:pt x="605437" y="272199"/>
                        <a:pt x="605437" y="272199"/>
                        <a:pt x="605437" y="272199"/>
                      </a:cubicBezTo>
                      <a:cubicBezTo>
                        <a:pt x="605437" y="272199"/>
                        <a:pt x="605437" y="272199"/>
                        <a:pt x="605437" y="272199"/>
                      </a:cubicBez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cubicBezTo>
                        <a:pt x="605437" y="272199"/>
                        <a:pt x="605437" y="272199"/>
                        <a:pt x="605437" y="272199"/>
                      </a:cubicBezTo>
                      <a:cubicBezTo>
                        <a:pt x="605437" y="272199"/>
                        <a:pt x="605437" y="272199"/>
                        <a:pt x="605437" y="272199"/>
                      </a:cubicBez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cubicBezTo>
                        <a:pt x="605437" y="272199"/>
                        <a:pt x="605437" y="272199"/>
                        <a:pt x="605437" y="272199"/>
                      </a:cubicBezTo>
                      <a:cubicBezTo>
                        <a:pt x="605437" y="272199"/>
                        <a:pt x="605437" y="272199"/>
                        <a:pt x="605437" y="272199"/>
                      </a:cubicBez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437" y="272199"/>
                      </a:moveTo>
                      <a:lnTo>
                        <a:pt x="605437" y="272199"/>
                      </a:lnTo>
                      <a:lnTo>
                        <a:pt x="605437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cubicBezTo>
                        <a:pt x="605518" y="272199"/>
                        <a:pt x="605518" y="272199"/>
                        <a:pt x="605518" y="272199"/>
                      </a:cubicBezTo>
                      <a:cubicBezTo>
                        <a:pt x="605518" y="272199"/>
                        <a:pt x="605518" y="272199"/>
                        <a:pt x="605518" y="272199"/>
                      </a:cubicBez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cubicBezTo>
                        <a:pt x="605518" y="272199"/>
                        <a:pt x="605518" y="272199"/>
                        <a:pt x="605518" y="272199"/>
                      </a:cubicBezTo>
                      <a:cubicBezTo>
                        <a:pt x="605518" y="272199"/>
                        <a:pt x="605518" y="272199"/>
                        <a:pt x="605518" y="272199"/>
                      </a:cubicBez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cubicBezTo>
                        <a:pt x="605518" y="272199"/>
                        <a:pt x="605518" y="272199"/>
                        <a:pt x="605518" y="272199"/>
                      </a:cubicBezTo>
                      <a:cubicBezTo>
                        <a:pt x="605518" y="272199"/>
                        <a:pt x="605518" y="272199"/>
                        <a:pt x="605518" y="272199"/>
                      </a:cubicBez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18" y="272199"/>
                      </a:moveTo>
                      <a:cubicBezTo>
                        <a:pt x="605518" y="272199"/>
                        <a:pt x="605518" y="272199"/>
                        <a:pt x="605518" y="272199"/>
                      </a:cubicBezTo>
                      <a:cubicBezTo>
                        <a:pt x="605518" y="272199"/>
                        <a:pt x="605518" y="272199"/>
                        <a:pt x="605518" y="272199"/>
                      </a:cubicBezTo>
                      <a:moveTo>
                        <a:pt x="605518" y="272199"/>
                      </a:moveTo>
                      <a:lnTo>
                        <a:pt x="605518" y="272199"/>
                      </a:lnTo>
                      <a:lnTo>
                        <a:pt x="605518" y="272199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605598" y="272118"/>
                      </a:moveTo>
                      <a:lnTo>
                        <a:pt x="605598" y="272118"/>
                      </a:lnTo>
                      <a:lnTo>
                        <a:pt x="605598" y="272118"/>
                      </a:lnTo>
                      <a:moveTo>
                        <a:pt x="581981" y="259507"/>
                      </a:moveTo>
                      <a:cubicBezTo>
                        <a:pt x="581499" y="256695"/>
                        <a:pt x="581580" y="254767"/>
                        <a:pt x="582062" y="255089"/>
                      </a:cubicBezTo>
                      <a:cubicBezTo>
                        <a:pt x="582463" y="255330"/>
                        <a:pt x="583106" y="256936"/>
                        <a:pt x="583749" y="258382"/>
                      </a:cubicBezTo>
                      <a:lnTo>
                        <a:pt x="581981" y="259828"/>
                      </a:lnTo>
                      <a:cubicBezTo>
                        <a:pt x="581981" y="259748"/>
                        <a:pt x="581981" y="259587"/>
                        <a:pt x="581981" y="259507"/>
                      </a:cubicBezTo>
                      <a:moveTo>
                        <a:pt x="568245" y="237738"/>
                      </a:moveTo>
                      <a:cubicBezTo>
                        <a:pt x="565916" y="238461"/>
                        <a:pt x="563506" y="239907"/>
                        <a:pt x="560775" y="241513"/>
                      </a:cubicBezTo>
                      <a:cubicBezTo>
                        <a:pt x="554429" y="245369"/>
                        <a:pt x="549208" y="248181"/>
                        <a:pt x="540131" y="249305"/>
                      </a:cubicBezTo>
                      <a:cubicBezTo>
                        <a:pt x="550894" y="241112"/>
                        <a:pt x="558606" y="236051"/>
                        <a:pt x="562944" y="234284"/>
                      </a:cubicBezTo>
                      <a:cubicBezTo>
                        <a:pt x="568004" y="232195"/>
                        <a:pt x="568326" y="233641"/>
                        <a:pt x="568245" y="236051"/>
                      </a:cubicBezTo>
                      <a:cubicBezTo>
                        <a:pt x="568165" y="237416"/>
                        <a:pt x="568406" y="237577"/>
                        <a:pt x="568888" y="237577"/>
                      </a:cubicBezTo>
                      <a:cubicBezTo>
                        <a:pt x="568647" y="237657"/>
                        <a:pt x="568406" y="237738"/>
                        <a:pt x="568245" y="237738"/>
                      </a:cubicBezTo>
                      <a:moveTo>
                        <a:pt x="560614" y="232276"/>
                      </a:moveTo>
                      <a:cubicBezTo>
                        <a:pt x="557240" y="234123"/>
                        <a:pt x="556598" y="233239"/>
                        <a:pt x="556276" y="232838"/>
                      </a:cubicBezTo>
                      <a:cubicBezTo>
                        <a:pt x="556196" y="232677"/>
                        <a:pt x="556196" y="232516"/>
                        <a:pt x="556116" y="232356"/>
                      </a:cubicBezTo>
                      <a:cubicBezTo>
                        <a:pt x="561016" y="228259"/>
                        <a:pt x="565032" y="226010"/>
                        <a:pt x="565032" y="226010"/>
                      </a:cubicBezTo>
                      <a:cubicBezTo>
                        <a:pt x="565193" y="225930"/>
                        <a:pt x="565514" y="225930"/>
                        <a:pt x="565755" y="225849"/>
                      </a:cubicBezTo>
                      <a:cubicBezTo>
                        <a:pt x="566639" y="225689"/>
                        <a:pt x="568245" y="225287"/>
                        <a:pt x="571137" y="224403"/>
                      </a:cubicBezTo>
                      <a:cubicBezTo>
                        <a:pt x="567603" y="227375"/>
                        <a:pt x="563506" y="230669"/>
                        <a:pt x="560614" y="232276"/>
                      </a:cubicBezTo>
                      <a:moveTo>
                        <a:pt x="609695" y="254607"/>
                      </a:moveTo>
                      <a:cubicBezTo>
                        <a:pt x="608570" y="254848"/>
                        <a:pt x="608088" y="254687"/>
                        <a:pt x="607847" y="254607"/>
                      </a:cubicBezTo>
                      <a:cubicBezTo>
                        <a:pt x="607686" y="254526"/>
                        <a:pt x="607606" y="254446"/>
                        <a:pt x="607526" y="254366"/>
                      </a:cubicBezTo>
                      <a:cubicBezTo>
                        <a:pt x="608329" y="254446"/>
                        <a:pt x="609213" y="254526"/>
                        <a:pt x="610096" y="254526"/>
                      </a:cubicBezTo>
                      <a:cubicBezTo>
                        <a:pt x="609936" y="254526"/>
                        <a:pt x="609775" y="254607"/>
                        <a:pt x="609695" y="254607"/>
                      </a:cubicBezTo>
                      <a:moveTo>
                        <a:pt x="622467" y="251795"/>
                      </a:moveTo>
                      <a:cubicBezTo>
                        <a:pt x="618129" y="254607"/>
                        <a:pt x="612426" y="254526"/>
                        <a:pt x="610016" y="254526"/>
                      </a:cubicBezTo>
                      <a:cubicBezTo>
                        <a:pt x="611060" y="254205"/>
                        <a:pt x="611542" y="253964"/>
                        <a:pt x="612426" y="253482"/>
                      </a:cubicBezTo>
                      <a:cubicBezTo>
                        <a:pt x="613550" y="248582"/>
                        <a:pt x="618691" y="243602"/>
                        <a:pt x="628572" y="237898"/>
                      </a:cubicBezTo>
                      <a:cubicBezTo>
                        <a:pt x="628411" y="242959"/>
                        <a:pt x="627527" y="248502"/>
                        <a:pt x="622467" y="251795"/>
                      </a:cubicBezTo>
                      <a:moveTo>
                        <a:pt x="590737" y="226411"/>
                      </a:moveTo>
                      <a:cubicBezTo>
                        <a:pt x="589532" y="224966"/>
                        <a:pt x="589131" y="222957"/>
                        <a:pt x="587444" y="221833"/>
                      </a:cubicBezTo>
                      <a:cubicBezTo>
                        <a:pt x="586078" y="220949"/>
                        <a:pt x="583749" y="220949"/>
                        <a:pt x="582785" y="220949"/>
                      </a:cubicBezTo>
                      <a:cubicBezTo>
                        <a:pt x="585917" y="220628"/>
                        <a:pt x="588327" y="219825"/>
                        <a:pt x="596119" y="216852"/>
                      </a:cubicBezTo>
                      <a:cubicBezTo>
                        <a:pt x="605196" y="213318"/>
                        <a:pt x="608972" y="212354"/>
                        <a:pt x="603991" y="218218"/>
                      </a:cubicBezTo>
                      <a:cubicBezTo>
                        <a:pt x="603750" y="218540"/>
                        <a:pt x="603349" y="218941"/>
                        <a:pt x="603108" y="219262"/>
                      </a:cubicBezTo>
                      <a:cubicBezTo>
                        <a:pt x="599493" y="221431"/>
                        <a:pt x="594673" y="224403"/>
                        <a:pt x="591058" y="226652"/>
                      </a:cubicBezTo>
                      <a:cubicBezTo>
                        <a:pt x="590817" y="226572"/>
                        <a:pt x="590737" y="226492"/>
                        <a:pt x="590737" y="226411"/>
                      </a:cubicBezTo>
                      <a:moveTo>
                        <a:pt x="587604" y="259828"/>
                      </a:moveTo>
                      <a:cubicBezTo>
                        <a:pt x="602947" y="243039"/>
                        <a:pt x="604875" y="240549"/>
                        <a:pt x="606240" y="237336"/>
                      </a:cubicBezTo>
                      <a:cubicBezTo>
                        <a:pt x="606240" y="237336"/>
                        <a:pt x="606160" y="237336"/>
                        <a:pt x="606160" y="237256"/>
                      </a:cubicBezTo>
                      <a:cubicBezTo>
                        <a:pt x="606160" y="237256"/>
                        <a:pt x="606080" y="237256"/>
                        <a:pt x="606080" y="237175"/>
                      </a:cubicBezTo>
                      <a:cubicBezTo>
                        <a:pt x="606080" y="237175"/>
                        <a:pt x="605999" y="237175"/>
                        <a:pt x="605999" y="237095"/>
                      </a:cubicBezTo>
                      <a:cubicBezTo>
                        <a:pt x="605999" y="237095"/>
                        <a:pt x="605919" y="237095"/>
                        <a:pt x="605919" y="237015"/>
                      </a:cubicBezTo>
                      <a:cubicBezTo>
                        <a:pt x="605919" y="237015"/>
                        <a:pt x="605839" y="237015"/>
                        <a:pt x="605839" y="236934"/>
                      </a:cubicBezTo>
                      <a:cubicBezTo>
                        <a:pt x="605839" y="236934"/>
                        <a:pt x="605758" y="236934"/>
                        <a:pt x="605758" y="236854"/>
                      </a:cubicBezTo>
                      <a:cubicBezTo>
                        <a:pt x="605758" y="236854"/>
                        <a:pt x="605678" y="236854"/>
                        <a:pt x="605678" y="236774"/>
                      </a:cubicBezTo>
                      <a:cubicBezTo>
                        <a:pt x="605678" y="236774"/>
                        <a:pt x="605598" y="236774"/>
                        <a:pt x="605598" y="236693"/>
                      </a:cubicBezTo>
                      <a:cubicBezTo>
                        <a:pt x="603991" y="235328"/>
                        <a:pt x="599895" y="231794"/>
                        <a:pt x="615157" y="227134"/>
                      </a:cubicBezTo>
                      <a:cubicBezTo>
                        <a:pt x="615318" y="227054"/>
                        <a:pt x="629857" y="221110"/>
                        <a:pt x="632990" y="212354"/>
                      </a:cubicBezTo>
                      <a:cubicBezTo>
                        <a:pt x="644637" y="207133"/>
                        <a:pt x="649136" y="205446"/>
                        <a:pt x="650822" y="205848"/>
                      </a:cubicBezTo>
                      <a:cubicBezTo>
                        <a:pt x="650903" y="206651"/>
                        <a:pt x="650983" y="207695"/>
                        <a:pt x="635962" y="218379"/>
                      </a:cubicBezTo>
                      <a:cubicBezTo>
                        <a:pt x="634275" y="219584"/>
                        <a:pt x="631704" y="220949"/>
                        <a:pt x="630500" y="222716"/>
                      </a:cubicBezTo>
                      <a:cubicBezTo>
                        <a:pt x="622788" y="234043"/>
                        <a:pt x="622788" y="234043"/>
                        <a:pt x="620780" y="235971"/>
                      </a:cubicBezTo>
                      <a:cubicBezTo>
                        <a:pt x="619977" y="236774"/>
                        <a:pt x="618772" y="237818"/>
                        <a:pt x="617968" y="238622"/>
                      </a:cubicBezTo>
                      <a:cubicBezTo>
                        <a:pt x="610739" y="245208"/>
                        <a:pt x="600296" y="253161"/>
                        <a:pt x="592585" y="258944"/>
                      </a:cubicBezTo>
                      <a:cubicBezTo>
                        <a:pt x="591139" y="259346"/>
                        <a:pt x="589131" y="259587"/>
                        <a:pt x="587604" y="259828"/>
                      </a:cubicBezTo>
                      <a:moveTo>
                        <a:pt x="705204" y="227536"/>
                      </a:moveTo>
                      <a:cubicBezTo>
                        <a:pt x="690344" y="238702"/>
                        <a:pt x="678054" y="244325"/>
                        <a:pt x="668173" y="248903"/>
                      </a:cubicBezTo>
                      <a:cubicBezTo>
                        <a:pt x="669298" y="247457"/>
                        <a:pt x="669941" y="246574"/>
                        <a:pt x="672109" y="244485"/>
                      </a:cubicBezTo>
                      <a:cubicBezTo>
                        <a:pt x="657409" y="255571"/>
                        <a:pt x="653152" y="258382"/>
                        <a:pt x="650341" y="258543"/>
                      </a:cubicBezTo>
                      <a:cubicBezTo>
                        <a:pt x="649778" y="257498"/>
                        <a:pt x="649377" y="256615"/>
                        <a:pt x="656044" y="248261"/>
                      </a:cubicBezTo>
                      <a:cubicBezTo>
                        <a:pt x="650019" y="253723"/>
                        <a:pt x="646003" y="257498"/>
                        <a:pt x="639416" y="263844"/>
                      </a:cubicBezTo>
                      <a:cubicBezTo>
                        <a:pt x="633954" y="259667"/>
                        <a:pt x="635400" y="256534"/>
                        <a:pt x="646726" y="248020"/>
                      </a:cubicBezTo>
                      <a:cubicBezTo>
                        <a:pt x="641504" y="240710"/>
                        <a:pt x="670503" y="223841"/>
                        <a:pt x="686488" y="220869"/>
                      </a:cubicBezTo>
                      <a:cubicBezTo>
                        <a:pt x="678777" y="221271"/>
                        <a:pt x="672109" y="221190"/>
                        <a:pt x="675001" y="217415"/>
                      </a:cubicBezTo>
                      <a:cubicBezTo>
                        <a:pt x="677572" y="214121"/>
                        <a:pt x="688416" y="208739"/>
                        <a:pt x="695646" y="205125"/>
                      </a:cubicBezTo>
                      <a:cubicBezTo>
                        <a:pt x="691950" y="205928"/>
                        <a:pt x="691950" y="205928"/>
                        <a:pt x="690424" y="204723"/>
                      </a:cubicBezTo>
                      <a:cubicBezTo>
                        <a:pt x="691629" y="202072"/>
                        <a:pt x="695324" y="198859"/>
                        <a:pt x="711309" y="189220"/>
                      </a:cubicBezTo>
                      <a:cubicBezTo>
                        <a:pt x="709141" y="192433"/>
                        <a:pt x="709542" y="193477"/>
                        <a:pt x="711068" y="194280"/>
                      </a:cubicBezTo>
                      <a:cubicBezTo>
                        <a:pt x="714282" y="192995"/>
                        <a:pt x="717173" y="191067"/>
                        <a:pt x="720386" y="189862"/>
                      </a:cubicBezTo>
                      <a:cubicBezTo>
                        <a:pt x="717173" y="190907"/>
                        <a:pt x="716531" y="190987"/>
                        <a:pt x="715487" y="191067"/>
                      </a:cubicBezTo>
                      <a:cubicBezTo>
                        <a:pt x="716129" y="184802"/>
                        <a:pt x="744646" y="172190"/>
                        <a:pt x="744967" y="172030"/>
                      </a:cubicBezTo>
                      <a:cubicBezTo>
                        <a:pt x="745128" y="172190"/>
                        <a:pt x="745449" y="172431"/>
                        <a:pt x="745610" y="172672"/>
                      </a:cubicBezTo>
                      <a:cubicBezTo>
                        <a:pt x="744646" y="174279"/>
                        <a:pt x="744565" y="174520"/>
                        <a:pt x="741673" y="177894"/>
                      </a:cubicBezTo>
                      <a:cubicBezTo>
                        <a:pt x="766334" y="162711"/>
                        <a:pt x="771314" y="160061"/>
                        <a:pt x="788585" y="151225"/>
                      </a:cubicBezTo>
                      <a:cubicBezTo>
                        <a:pt x="789549" y="151144"/>
                        <a:pt x="790754" y="151064"/>
                        <a:pt x="791718" y="150984"/>
                      </a:cubicBezTo>
                      <a:cubicBezTo>
                        <a:pt x="768985" y="166246"/>
                        <a:pt x="758301" y="175725"/>
                        <a:pt x="732275" y="198538"/>
                      </a:cubicBezTo>
                      <a:cubicBezTo>
                        <a:pt x="741834" y="191951"/>
                        <a:pt x="742959" y="191549"/>
                        <a:pt x="744083" y="191148"/>
                      </a:cubicBezTo>
                      <a:cubicBezTo>
                        <a:pt x="734524" y="203839"/>
                        <a:pt x="720628" y="211872"/>
                        <a:pt x="709301" y="222716"/>
                      </a:cubicBezTo>
                      <a:cubicBezTo>
                        <a:pt x="712354" y="220789"/>
                        <a:pt x="714924" y="219262"/>
                        <a:pt x="716611" y="218218"/>
                      </a:cubicBezTo>
                      <a:cubicBezTo>
                        <a:pt x="713077" y="221190"/>
                        <a:pt x="708659" y="224885"/>
                        <a:pt x="705204" y="227536"/>
                      </a:cubicBezTo>
                      <a:moveTo>
                        <a:pt x="903615" y="123190"/>
                      </a:moveTo>
                      <a:cubicBezTo>
                        <a:pt x="874295" y="149136"/>
                        <a:pt x="864254" y="155723"/>
                        <a:pt x="844895" y="166647"/>
                      </a:cubicBezTo>
                      <a:cubicBezTo>
                        <a:pt x="851482" y="163515"/>
                        <a:pt x="858551" y="161587"/>
                        <a:pt x="865057" y="158294"/>
                      </a:cubicBezTo>
                      <a:cubicBezTo>
                        <a:pt x="846100" y="174198"/>
                        <a:pt x="822805" y="183516"/>
                        <a:pt x="803606" y="198939"/>
                      </a:cubicBezTo>
                      <a:cubicBezTo>
                        <a:pt x="795413" y="205526"/>
                        <a:pt x="788987" y="214121"/>
                        <a:pt x="780472" y="220307"/>
                      </a:cubicBezTo>
                      <a:cubicBezTo>
                        <a:pt x="779990" y="220708"/>
                        <a:pt x="779267" y="221110"/>
                        <a:pt x="778785" y="221431"/>
                      </a:cubicBezTo>
                      <a:cubicBezTo>
                        <a:pt x="770993" y="226331"/>
                        <a:pt x="769226" y="221592"/>
                        <a:pt x="768342" y="219343"/>
                      </a:cubicBezTo>
                      <a:cubicBezTo>
                        <a:pt x="761113" y="231151"/>
                        <a:pt x="758141" y="236051"/>
                        <a:pt x="746493" y="228902"/>
                      </a:cubicBezTo>
                      <a:cubicBezTo>
                        <a:pt x="741754" y="236131"/>
                        <a:pt x="741673" y="239585"/>
                        <a:pt x="746172" y="240630"/>
                      </a:cubicBezTo>
                      <a:cubicBezTo>
                        <a:pt x="742316" y="243441"/>
                        <a:pt x="734283" y="247618"/>
                        <a:pt x="723841" y="244084"/>
                      </a:cubicBezTo>
                      <a:cubicBezTo>
                        <a:pt x="730669" y="249144"/>
                        <a:pt x="734123" y="251715"/>
                        <a:pt x="727214" y="257739"/>
                      </a:cubicBezTo>
                      <a:cubicBezTo>
                        <a:pt x="725688" y="259025"/>
                        <a:pt x="723278" y="260230"/>
                        <a:pt x="721591" y="261274"/>
                      </a:cubicBezTo>
                      <a:cubicBezTo>
                        <a:pt x="702473" y="273082"/>
                        <a:pt x="690103" y="295654"/>
                        <a:pt x="664318" y="296618"/>
                      </a:cubicBezTo>
                      <a:cubicBezTo>
                        <a:pt x="659177" y="296779"/>
                        <a:pt x="655883" y="295735"/>
                        <a:pt x="653875" y="295092"/>
                      </a:cubicBezTo>
                      <a:cubicBezTo>
                        <a:pt x="643272" y="301759"/>
                        <a:pt x="643272" y="301759"/>
                        <a:pt x="643031" y="301759"/>
                      </a:cubicBezTo>
                      <a:cubicBezTo>
                        <a:pt x="643513" y="319351"/>
                        <a:pt x="644236" y="341200"/>
                        <a:pt x="624073" y="322082"/>
                      </a:cubicBezTo>
                      <a:cubicBezTo>
                        <a:pt x="623511" y="321520"/>
                        <a:pt x="622788" y="320797"/>
                        <a:pt x="622226" y="320235"/>
                      </a:cubicBezTo>
                      <a:cubicBezTo>
                        <a:pt x="614273" y="328589"/>
                        <a:pt x="613229" y="328589"/>
                        <a:pt x="610337" y="328589"/>
                      </a:cubicBezTo>
                      <a:cubicBezTo>
                        <a:pt x="609534" y="325536"/>
                        <a:pt x="609454" y="325135"/>
                        <a:pt x="611221" y="319672"/>
                      </a:cubicBezTo>
                      <a:cubicBezTo>
                        <a:pt x="601260" y="328026"/>
                        <a:pt x="599413" y="328669"/>
                        <a:pt x="595798" y="329954"/>
                      </a:cubicBezTo>
                      <a:cubicBezTo>
                        <a:pt x="595155" y="329633"/>
                        <a:pt x="594352" y="329231"/>
                        <a:pt x="593790" y="328910"/>
                      </a:cubicBezTo>
                      <a:cubicBezTo>
                        <a:pt x="593709" y="326902"/>
                        <a:pt x="593629" y="325376"/>
                        <a:pt x="596360" y="319512"/>
                      </a:cubicBezTo>
                      <a:cubicBezTo>
                        <a:pt x="592745" y="322082"/>
                        <a:pt x="591781" y="322885"/>
                        <a:pt x="588488" y="325777"/>
                      </a:cubicBezTo>
                      <a:cubicBezTo>
                        <a:pt x="587363" y="323448"/>
                        <a:pt x="586881" y="322484"/>
                        <a:pt x="591058" y="317905"/>
                      </a:cubicBezTo>
                      <a:cubicBezTo>
                        <a:pt x="588890" y="319994"/>
                        <a:pt x="586640" y="322163"/>
                        <a:pt x="584472" y="324331"/>
                      </a:cubicBezTo>
                      <a:cubicBezTo>
                        <a:pt x="583668" y="323528"/>
                        <a:pt x="582383" y="322645"/>
                        <a:pt x="581258" y="322404"/>
                      </a:cubicBezTo>
                      <a:cubicBezTo>
                        <a:pt x="583829" y="318548"/>
                        <a:pt x="584150" y="318066"/>
                        <a:pt x="592424" y="310435"/>
                      </a:cubicBezTo>
                      <a:cubicBezTo>
                        <a:pt x="587363" y="314531"/>
                        <a:pt x="584391" y="317182"/>
                        <a:pt x="580295" y="321600"/>
                      </a:cubicBezTo>
                      <a:cubicBezTo>
                        <a:pt x="587524" y="307061"/>
                        <a:pt x="596521" y="301277"/>
                        <a:pt x="614755" y="299510"/>
                      </a:cubicBezTo>
                      <a:cubicBezTo>
                        <a:pt x="629134" y="280151"/>
                        <a:pt x="629134" y="280151"/>
                        <a:pt x="639496" y="275894"/>
                      </a:cubicBezTo>
                      <a:cubicBezTo>
                        <a:pt x="631062" y="289469"/>
                        <a:pt x="631062" y="291397"/>
                        <a:pt x="631222" y="294289"/>
                      </a:cubicBezTo>
                      <a:cubicBezTo>
                        <a:pt x="634918" y="294208"/>
                        <a:pt x="634918" y="294208"/>
                        <a:pt x="647770" y="285854"/>
                      </a:cubicBezTo>
                      <a:cubicBezTo>
                        <a:pt x="641665" y="288586"/>
                        <a:pt x="641665" y="288586"/>
                        <a:pt x="639175" y="288184"/>
                      </a:cubicBezTo>
                      <a:cubicBezTo>
                        <a:pt x="646404" y="280231"/>
                        <a:pt x="658373" y="278062"/>
                        <a:pt x="663755" y="267941"/>
                      </a:cubicBezTo>
                      <a:cubicBezTo>
                        <a:pt x="663434" y="267539"/>
                        <a:pt x="663032" y="266977"/>
                        <a:pt x="662711" y="266575"/>
                      </a:cubicBezTo>
                      <a:cubicBezTo>
                        <a:pt x="662550" y="266575"/>
                        <a:pt x="662390" y="266575"/>
                        <a:pt x="662229" y="266656"/>
                      </a:cubicBezTo>
                      <a:cubicBezTo>
                        <a:pt x="663996" y="265210"/>
                        <a:pt x="666326" y="263202"/>
                        <a:pt x="668173" y="261756"/>
                      </a:cubicBezTo>
                      <a:cubicBezTo>
                        <a:pt x="660382" y="267459"/>
                        <a:pt x="656044" y="269628"/>
                        <a:pt x="650341" y="270512"/>
                      </a:cubicBezTo>
                      <a:cubicBezTo>
                        <a:pt x="655000" y="267218"/>
                        <a:pt x="657731" y="265210"/>
                        <a:pt x="661827" y="261997"/>
                      </a:cubicBezTo>
                      <a:cubicBezTo>
                        <a:pt x="663193" y="250189"/>
                        <a:pt x="672832" y="248823"/>
                        <a:pt x="704803" y="244405"/>
                      </a:cubicBezTo>
                      <a:cubicBezTo>
                        <a:pt x="698537" y="243200"/>
                        <a:pt x="698457" y="243200"/>
                        <a:pt x="695083" y="241995"/>
                      </a:cubicBezTo>
                      <a:cubicBezTo>
                        <a:pt x="714523" y="227375"/>
                        <a:pt x="728660" y="207133"/>
                        <a:pt x="748341" y="192834"/>
                      </a:cubicBezTo>
                      <a:cubicBezTo>
                        <a:pt x="744887" y="202072"/>
                        <a:pt x="742557" y="211551"/>
                        <a:pt x="739665" y="220949"/>
                      </a:cubicBezTo>
                      <a:cubicBezTo>
                        <a:pt x="769547" y="188336"/>
                        <a:pt x="770110" y="187774"/>
                        <a:pt x="804169" y="178376"/>
                      </a:cubicBezTo>
                      <a:cubicBezTo>
                        <a:pt x="803847" y="177733"/>
                        <a:pt x="803365" y="176849"/>
                        <a:pt x="803044" y="176206"/>
                      </a:cubicBezTo>
                      <a:cubicBezTo>
                        <a:pt x="804972" y="172752"/>
                        <a:pt x="805293" y="172271"/>
                        <a:pt x="813567" y="167210"/>
                      </a:cubicBezTo>
                      <a:cubicBezTo>
                        <a:pt x="795815" y="176528"/>
                        <a:pt x="786014" y="180946"/>
                        <a:pt x="771475" y="186087"/>
                      </a:cubicBezTo>
                      <a:cubicBezTo>
                        <a:pt x="775331" y="183838"/>
                        <a:pt x="779187" y="181669"/>
                        <a:pt x="783123" y="179420"/>
                      </a:cubicBezTo>
                      <a:cubicBezTo>
                        <a:pt x="764085" y="185525"/>
                        <a:pt x="764085" y="185525"/>
                        <a:pt x="762639" y="185203"/>
                      </a:cubicBezTo>
                      <a:cubicBezTo>
                        <a:pt x="762639" y="181026"/>
                        <a:pt x="762639" y="181026"/>
                        <a:pt x="799831" y="165041"/>
                      </a:cubicBezTo>
                      <a:cubicBezTo>
                        <a:pt x="768262" y="176528"/>
                        <a:pt x="768262" y="176528"/>
                        <a:pt x="767057" y="176447"/>
                      </a:cubicBezTo>
                      <a:cubicBezTo>
                        <a:pt x="767700" y="173877"/>
                        <a:pt x="767700" y="173877"/>
                        <a:pt x="803606" y="159016"/>
                      </a:cubicBezTo>
                      <a:cubicBezTo>
                        <a:pt x="789870" y="163997"/>
                        <a:pt x="785693" y="165121"/>
                        <a:pt x="781677" y="165844"/>
                      </a:cubicBezTo>
                      <a:cubicBezTo>
                        <a:pt x="781837" y="165202"/>
                        <a:pt x="781998" y="164318"/>
                        <a:pt x="782078" y="163675"/>
                      </a:cubicBezTo>
                      <a:cubicBezTo>
                        <a:pt x="787219" y="160221"/>
                        <a:pt x="803124" y="151466"/>
                        <a:pt x="803205" y="151385"/>
                      </a:cubicBezTo>
                      <a:cubicBezTo>
                        <a:pt x="802642" y="151466"/>
                        <a:pt x="801919" y="151546"/>
                        <a:pt x="801357" y="151626"/>
                      </a:cubicBezTo>
                      <a:cubicBezTo>
                        <a:pt x="803205" y="149136"/>
                        <a:pt x="803205" y="149136"/>
                        <a:pt x="814933" y="143834"/>
                      </a:cubicBezTo>
                      <a:cubicBezTo>
                        <a:pt x="812683" y="143352"/>
                        <a:pt x="812683" y="143352"/>
                        <a:pt x="808346" y="145200"/>
                      </a:cubicBezTo>
                      <a:cubicBezTo>
                        <a:pt x="826178" y="136444"/>
                        <a:pt x="826178" y="136444"/>
                        <a:pt x="870038" y="119977"/>
                      </a:cubicBezTo>
                      <a:cubicBezTo>
                        <a:pt x="863290" y="126483"/>
                        <a:pt x="856301" y="132669"/>
                        <a:pt x="849474" y="139095"/>
                      </a:cubicBezTo>
                      <a:cubicBezTo>
                        <a:pt x="862888" y="128171"/>
                        <a:pt x="870279" y="122146"/>
                        <a:pt x="901205" y="106883"/>
                      </a:cubicBezTo>
                      <a:cubicBezTo>
                        <a:pt x="900401" y="108008"/>
                        <a:pt x="899197" y="109293"/>
                        <a:pt x="898152" y="110177"/>
                      </a:cubicBezTo>
                      <a:cubicBezTo>
                        <a:pt x="902570" y="107446"/>
                        <a:pt x="908675" y="103751"/>
                        <a:pt x="914539" y="100698"/>
                      </a:cubicBezTo>
                      <a:cubicBezTo>
                        <a:pt x="907390" y="106080"/>
                        <a:pt x="899679" y="110739"/>
                        <a:pt x="892449" y="116041"/>
                      </a:cubicBezTo>
                      <a:cubicBezTo>
                        <a:pt x="921688" y="97887"/>
                        <a:pt x="921688" y="97887"/>
                        <a:pt x="922572" y="97646"/>
                      </a:cubicBezTo>
                      <a:cubicBezTo>
                        <a:pt x="920965" y="99413"/>
                        <a:pt x="920965" y="99413"/>
                        <a:pt x="907149" y="109454"/>
                      </a:cubicBezTo>
                      <a:cubicBezTo>
                        <a:pt x="911487" y="106401"/>
                        <a:pt x="917431" y="102224"/>
                        <a:pt x="924500" y="97967"/>
                      </a:cubicBezTo>
                      <a:cubicBezTo>
                        <a:pt x="922251" y="100216"/>
                        <a:pt x="922251" y="100216"/>
                        <a:pt x="919038" y="102787"/>
                      </a:cubicBezTo>
                      <a:cubicBezTo>
                        <a:pt x="921608" y="101341"/>
                        <a:pt x="924259" y="99815"/>
                        <a:pt x="926910" y="98449"/>
                      </a:cubicBezTo>
                      <a:cubicBezTo>
                        <a:pt x="923456" y="101743"/>
                        <a:pt x="923456" y="101743"/>
                        <a:pt x="908354" y="112587"/>
                      </a:cubicBezTo>
                      <a:cubicBezTo>
                        <a:pt x="916949" y="108329"/>
                        <a:pt x="918074" y="107687"/>
                        <a:pt x="920082" y="106562"/>
                      </a:cubicBezTo>
                      <a:cubicBezTo>
                        <a:pt x="917833" y="110016"/>
                        <a:pt x="916869" y="111543"/>
                        <a:pt x="903615" y="123190"/>
                      </a:cubicBezTo>
                      <a:moveTo>
                        <a:pt x="5066" y="803006"/>
                      </a:moveTo>
                      <a:cubicBezTo>
                        <a:pt x="7476" y="798266"/>
                        <a:pt x="13741" y="781157"/>
                        <a:pt x="15027" y="774489"/>
                      </a:cubicBezTo>
                      <a:cubicBezTo>
                        <a:pt x="15428" y="774248"/>
                        <a:pt x="15990" y="773847"/>
                        <a:pt x="16392" y="773606"/>
                      </a:cubicBezTo>
                      <a:cubicBezTo>
                        <a:pt x="16151" y="771919"/>
                        <a:pt x="16071" y="771357"/>
                        <a:pt x="18481" y="767180"/>
                      </a:cubicBezTo>
                      <a:cubicBezTo>
                        <a:pt x="18079" y="766858"/>
                        <a:pt x="17597" y="766376"/>
                        <a:pt x="17276" y="766055"/>
                      </a:cubicBezTo>
                      <a:cubicBezTo>
                        <a:pt x="20168" y="763083"/>
                        <a:pt x="20248" y="758906"/>
                        <a:pt x="21854" y="755291"/>
                      </a:cubicBezTo>
                      <a:cubicBezTo>
                        <a:pt x="21533" y="755612"/>
                        <a:pt x="21051" y="756014"/>
                        <a:pt x="20649" y="756335"/>
                      </a:cubicBezTo>
                      <a:cubicBezTo>
                        <a:pt x="20409" y="753203"/>
                        <a:pt x="20409" y="752721"/>
                        <a:pt x="26915" y="739547"/>
                      </a:cubicBezTo>
                      <a:cubicBezTo>
                        <a:pt x="26353" y="740511"/>
                        <a:pt x="25550" y="741796"/>
                        <a:pt x="24987" y="742680"/>
                      </a:cubicBezTo>
                      <a:cubicBezTo>
                        <a:pt x="24746" y="741635"/>
                        <a:pt x="24987" y="740190"/>
                        <a:pt x="25309" y="739145"/>
                      </a:cubicBezTo>
                      <a:cubicBezTo>
                        <a:pt x="24987" y="738824"/>
                        <a:pt x="24505" y="738422"/>
                        <a:pt x="24104" y="738101"/>
                      </a:cubicBezTo>
                      <a:cubicBezTo>
                        <a:pt x="29566" y="731996"/>
                        <a:pt x="26433" y="722437"/>
                        <a:pt x="32859" y="716734"/>
                      </a:cubicBezTo>
                      <a:cubicBezTo>
                        <a:pt x="32940" y="713922"/>
                        <a:pt x="33020" y="712798"/>
                        <a:pt x="36876" y="706050"/>
                      </a:cubicBezTo>
                      <a:cubicBezTo>
                        <a:pt x="36876" y="705809"/>
                        <a:pt x="36956" y="705568"/>
                        <a:pt x="36956" y="705327"/>
                      </a:cubicBezTo>
                      <a:cubicBezTo>
                        <a:pt x="37197" y="704845"/>
                        <a:pt x="37518" y="704283"/>
                        <a:pt x="37840" y="703801"/>
                      </a:cubicBezTo>
                      <a:cubicBezTo>
                        <a:pt x="37277" y="704604"/>
                        <a:pt x="36474" y="705729"/>
                        <a:pt x="35912" y="706612"/>
                      </a:cubicBezTo>
                      <a:cubicBezTo>
                        <a:pt x="38081" y="701632"/>
                        <a:pt x="38081" y="701632"/>
                        <a:pt x="50451" y="675927"/>
                      </a:cubicBezTo>
                      <a:cubicBezTo>
                        <a:pt x="50451" y="676409"/>
                        <a:pt x="50371" y="677132"/>
                        <a:pt x="50291" y="677614"/>
                      </a:cubicBezTo>
                      <a:cubicBezTo>
                        <a:pt x="53022" y="672232"/>
                        <a:pt x="53022" y="672232"/>
                        <a:pt x="53263" y="671268"/>
                      </a:cubicBezTo>
                      <a:cubicBezTo>
                        <a:pt x="51576" y="672634"/>
                        <a:pt x="51576" y="672634"/>
                        <a:pt x="49327" y="676088"/>
                      </a:cubicBezTo>
                      <a:cubicBezTo>
                        <a:pt x="55432" y="661548"/>
                        <a:pt x="65392" y="645563"/>
                        <a:pt x="74148" y="631425"/>
                      </a:cubicBezTo>
                      <a:cubicBezTo>
                        <a:pt x="68364" y="640261"/>
                        <a:pt x="68364" y="640261"/>
                        <a:pt x="66517" y="642832"/>
                      </a:cubicBezTo>
                      <a:cubicBezTo>
                        <a:pt x="67240" y="640904"/>
                        <a:pt x="67802" y="639297"/>
                        <a:pt x="77763" y="622589"/>
                      </a:cubicBezTo>
                      <a:cubicBezTo>
                        <a:pt x="77361" y="622911"/>
                        <a:pt x="76799" y="623232"/>
                        <a:pt x="76397" y="623553"/>
                      </a:cubicBezTo>
                      <a:cubicBezTo>
                        <a:pt x="77200" y="620179"/>
                        <a:pt x="108448" y="566119"/>
                        <a:pt x="123469" y="544189"/>
                      </a:cubicBezTo>
                      <a:cubicBezTo>
                        <a:pt x="122746" y="545153"/>
                        <a:pt x="121782" y="546438"/>
                        <a:pt x="121140" y="547482"/>
                      </a:cubicBezTo>
                      <a:lnTo>
                        <a:pt x="121300" y="547081"/>
                      </a:lnTo>
                      <a:cubicBezTo>
                        <a:pt x="117927" y="552061"/>
                        <a:pt x="114633" y="557042"/>
                        <a:pt x="111259" y="562022"/>
                      </a:cubicBezTo>
                      <a:cubicBezTo>
                        <a:pt x="113750" y="557845"/>
                        <a:pt x="117043" y="554150"/>
                        <a:pt x="119051" y="549732"/>
                      </a:cubicBezTo>
                      <a:cubicBezTo>
                        <a:pt x="119614" y="548928"/>
                        <a:pt x="120337" y="547804"/>
                        <a:pt x="120818" y="547001"/>
                      </a:cubicBezTo>
                      <a:cubicBezTo>
                        <a:pt x="120497" y="547482"/>
                        <a:pt x="120015" y="548125"/>
                        <a:pt x="119694" y="548607"/>
                      </a:cubicBezTo>
                      <a:cubicBezTo>
                        <a:pt x="120899" y="546278"/>
                        <a:pt x="120899" y="546278"/>
                        <a:pt x="123871" y="541779"/>
                      </a:cubicBezTo>
                      <a:cubicBezTo>
                        <a:pt x="121059" y="545876"/>
                        <a:pt x="118489" y="550133"/>
                        <a:pt x="115677" y="554150"/>
                      </a:cubicBezTo>
                      <a:cubicBezTo>
                        <a:pt x="119292" y="547643"/>
                        <a:pt x="130458" y="531417"/>
                        <a:pt x="130538" y="531256"/>
                      </a:cubicBezTo>
                      <a:cubicBezTo>
                        <a:pt x="132787" y="528043"/>
                        <a:pt x="136482" y="522581"/>
                        <a:pt x="141945" y="514869"/>
                      </a:cubicBezTo>
                      <a:cubicBezTo>
                        <a:pt x="140820" y="516476"/>
                        <a:pt x="139615" y="518163"/>
                        <a:pt x="138491" y="519769"/>
                      </a:cubicBezTo>
                      <a:cubicBezTo>
                        <a:pt x="140419" y="517038"/>
                        <a:pt x="142346" y="514307"/>
                        <a:pt x="144274" y="511576"/>
                      </a:cubicBezTo>
                      <a:cubicBezTo>
                        <a:pt x="121541" y="545715"/>
                        <a:pt x="91499" y="591583"/>
                        <a:pt x="70694" y="626927"/>
                      </a:cubicBezTo>
                      <a:cubicBezTo>
                        <a:pt x="52459" y="662432"/>
                        <a:pt x="28120" y="709825"/>
                        <a:pt x="11813" y="746294"/>
                      </a:cubicBezTo>
                      <a:cubicBezTo>
                        <a:pt x="3218" y="766135"/>
                        <a:pt x="-637" y="785494"/>
                        <a:pt x="86" y="804211"/>
                      </a:cubicBezTo>
                      <a:cubicBezTo>
                        <a:pt x="246" y="803729"/>
                        <a:pt x="407" y="803086"/>
                        <a:pt x="567" y="802604"/>
                      </a:cubicBezTo>
                      <a:cubicBezTo>
                        <a:pt x="487" y="802524"/>
                        <a:pt x="407" y="802363"/>
                        <a:pt x="327" y="802283"/>
                      </a:cubicBezTo>
                      <a:cubicBezTo>
                        <a:pt x="3620" y="793045"/>
                        <a:pt x="5708" y="787342"/>
                        <a:pt x="9404" y="777944"/>
                      </a:cubicBezTo>
                      <a:cubicBezTo>
                        <a:pt x="8118" y="784771"/>
                        <a:pt x="9725" y="792081"/>
                        <a:pt x="5708" y="798427"/>
                      </a:cubicBezTo>
                      <a:cubicBezTo>
                        <a:pt x="5789" y="798186"/>
                        <a:pt x="5949" y="797785"/>
                        <a:pt x="6030" y="797544"/>
                      </a:cubicBezTo>
                      <a:cubicBezTo>
                        <a:pt x="3540" y="800516"/>
                        <a:pt x="3540" y="800516"/>
                        <a:pt x="3620" y="802524"/>
                      </a:cubicBezTo>
                      <a:cubicBezTo>
                        <a:pt x="3540" y="802363"/>
                        <a:pt x="3459" y="802122"/>
                        <a:pt x="3459" y="801962"/>
                      </a:cubicBezTo>
                      <a:cubicBezTo>
                        <a:pt x="5387" y="799230"/>
                        <a:pt x="5387" y="799230"/>
                        <a:pt x="6592" y="797785"/>
                      </a:cubicBezTo>
                      <a:cubicBezTo>
                        <a:pt x="4825" y="802042"/>
                        <a:pt x="2495" y="806299"/>
                        <a:pt x="2495" y="806299"/>
                      </a:cubicBezTo>
                      <a:cubicBezTo>
                        <a:pt x="3379" y="805657"/>
                        <a:pt x="4423" y="804131"/>
                        <a:pt x="5066" y="803006"/>
                      </a:cubicBezTo>
                      <a:moveTo>
                        <a:pt x="919118" y="126242"/>
                      </a:moveTo>
                      <a:cubicBezTo>
                        <a:pt x="930524" y="109454"/>
                        <a:pt x="942333" y="94111"/>
                        <a:pt x="954623" y="80295"/>
                      </a:cubicBezTo>
                      <a:cubicBezTo>
                        <a:pt x="841601" y="54831"/>
                        <a:pt x="739424" y="63908"/>
                        <a:pt x="651626" y="102144"/>
                      </a:cubicBezTo>
                      <a:cubicBezTo>
                        <a:pt x="545593" y="151466"/>
                        <a:pt x="490568" y="183838"/>
                        <a:pt x="395460" y="253000"/>
                      </a:cubicBezTo>
                      <a:lnTo>
                        <a:pt x="394898" y="253321"/>
                      </a:lnTo>
                      <a:cubicBezTo>
                        <a:pt x="346861" y="289308"/>
                        <a:pt x="310955" y="324813"/>
                        <a:pt x="278502" y="368271"/>
                      </a:cubicBezTo>
                      <a:cubicBezTo>
                        <a:pt x="280109" y="366504"/>
                        <a:pt x="282358" y="364094"/>
                        <a:pt x="284366" y="362889"/>
                      </a:cubicBezTo>
                      <a:cubicBezTo>
                        <a:pt x="285732" y="362327"/>
                        <a:pt x="287579" y="361604"/>
                        <a:pt x="288945" y="361041"/>
                      </a:cubicBezTo>
                      <a:cubicBezTo>
                        <a:pt x="286696" y="363933"/>
                        <a:pt x="283242" y="367387"/>
                        <a:pt x="280591" y="369797"/>
                      </a:cubicBezTo>
                      <a:cubicBezTo>
                        <a:pt x="284286" y="368914"/>
                        <a:pt x="289266" y="367949"/>
                        <a:pt x="293042" y="367467"/>
                      </a:cubicBezTo>
                      <a:cubicBezTo>
                        <a:pt x="288061" y="372127"/>
                        <a:pt x="288061" y="372127"/>
                        <a:pt x="275611" y="379517"/>
                      </a:cubicBezTo>
                      <a:cubicBezTo>
                        <a:pt x="281394" y="379758"/>
                        <a:pt x="281394" y="379758"/>
                        <a:pt x="295451" y="375420"/>
                      </a:cubicBezTo>
                      <a:cubicBezTo>
                        <a:pt x="288302" y="383694"/>
                        <a:pt x="287901" y="384336"/>
                        <a:pt x="283804" y="390281"/>
                      </a:cubicBezTo>
                      <a:cubicBezTo>
                        <a:pt x="285009" y="391084"/>
                        <a:pt x="286696" y="392209"/>
                        <a:pt x="287901" y="393012"/>
                      </a:cubicBezTo>
                      <a:cubicBezTo>
                        <a:pt x="273281" y="419038"/>
                        <a:pt x="285089" y="456712"/>
                        <a:pt x="251753" y="474384"/>
                      </a:cubicBezTo>
                      <a:cubicBezTo>
                        <a:pt x="257537" y="486192"/>
                        <a:pt x="256251" y="499848"/>
                        <a:pt x="261553" y="511817"/>
                      </a:cubicBezTo>
                      <a:cubicBezTo>
                        <a:pt x="251191" y="527882"/>
                        <a:pt x="251191" y="527882"/>
                        <a:pt x="248219" y="535835"/>
                      </a:cubicBezTo>
                      <a:cubicBezTo>
                        <a:pt x="249825" y="532622"/>
                        <a:pt x="252315" y="528525"/>
                        <a:pt x="254565" y="525714"/>
                      </a:cubicBezTo>
                      <a:cubicBezTo>
                        <a:pt x="255127" y="526356"/>
                        <a:pt x="255850" y="527240"/>
                        <a:pt x="256412" y="527963"/>
                      </a:cubicBezTo>
                      <a:cubicBezTo>
                        <a:pt x="273522" y="495671"/>
                        <a:pt x="278663" y="495912"/>
                        <a:pt x="291033" y="496555"/>
                      </a:cubicBezTo>
                      <a:cubicBezTo>
                        <a:pt x="289266" y="497037"/>
                        <a:pt x="286937" y="497759"/>
                        <a:pt x="285170" y="498241"/>
                      </a:cubicBezTo>
                      <a:cubicBezTo>
                        <a:pt x="288061" y="518404"/>
                        <a:pt x="320674" y="528204"/>
                        <a:pt x="320996" y="528284"/>
                      </a:cubicBezTo>
                      <a:cubicBezTo>
                        <a:pt x="321719" y="526758"/>
                        <a:pt x="322683" y="524750"/>
                        <a:pt x="323406" y="523224"/>
                      </a:cubicBezTo>
                      <a:cubicBezTo>
                        <a:pt x="326458" y="523384"/>
                        <a:pt x="330555" y="523545"/>
                        <a:pt x="333607" y="523625"/>
                      </a:cubicBezTo>
                      <a:cubicBezTo>
                        <a:pt x="334170" y="524991"/>
                        <a:pt x="334973" y="526838"/>
                        <a:pt x="335615" y="528204"/>
                      </a:cubicBezTo>
                      <a:cubicBezTo>
                        <a:pt x="334732" y="529489"/>
                        <a:pt x="333527" y="531096"/>
                        <a:pt x="332643" y="532381"/>
                      </a:cubicBezTo>
                      <a:cubicBezTo>
                        <a:pt x="334170" y="532301"/>
                        <a:pt x="336178" y="532220"/>
                        <a:pt x="337704" y="532220"/>
                      </a:cubicBezTo>
                      <a:cubicBezTo>
                        <a:pt x="324289" y="544028"/>
                        <a:pt x="323486" y="547563"/>
                        <a:pt x="322120" y="553347"/>
                      </a:cubicBezTo>
                      <a:cubicBezTo>
                        <a:pt x="322843" y="555355"/>
                        <a:pt x="322843" y="555435"/>
                        <a:pt x="322843" y="555435"/>
                      </a:cubicBezTo>
                      <a:cubicBezTo>
                        <a:pt x="322843" y="555435"/>
                        <a:pt x="322843" y="555515"/>
                        <a:pt x="322763" y="555515"/>
                      </a:cubicBezTo>
                      <a:cubicBezTo>
                        <a:pt x="322763" y="555515"/>
                        <a:pt x="322763" y="555596"/>
                        <a:pt x="322683" y="555596"/>
                      </a:cubicBezTo>
                      <a:cubicBezTo>
                        <a:pt x="322683" y="555596"/>
                        <a:pt x="322683" y="555676"/>
                        <a:pt x="322602" y="555676"/>
                      </a:cubicBezTo>
                      <a:cubicBezTo>
                        <a:pt x="322602" y="555676"/>
                        <a:pt x="322602" y="555756"/>
                        <a:pt x="322522" y="555756"/>
                      </a:cubicBezTo>
                      <a:cubicBezTo>
                        <a:pt x="322522" y="555756"/>
                        <a:pt x="322522" y="555837"/>
                        <a:pt x="322442" y="555837"/>
                      </a:cubicBezTo>
                      <a:cubicBezTo>
                        <a:pt x="322442" y="555837"/>
                        <a:pt x="322442" y="555917"/>
                        <a:pt x="322361" y="555917"/>
                      </a:cubicBezTo>
                      <a:cubicBezTo>
                        <a:pt x="322361" y="555917"/>
                        <a:pt x="322361" y="555997"/>
                        <a:pt x="322281" y="555997"/>
                      </a:cubicBezTo>
                      <a:cubicBezTo>
                        <a:pt x="333929" y="544350"/>
                        <a:pt x="343166" y="538084"/>
                        <a:pt x="360357" y="530212"/>
                      </a:cubicBezTo>
                      <a:cubicBezTo>
                        <a:pt x="359071" y="521938"/>
                        <a:pt x="372084" y="462978"/>
                        <a:pt x="423253" y="440084"/>
                      </a:cubicBezTo>
                      <a:cubicBezTo>
                        <a:pt x="400601" y="496635"/>
                        <a:pt x="396022" y="499045"/>
                        <a:pt x="383652" y="505310"/>
                      </a:cubicBezTo>
                      <a:cubicBezTo>
                        <a:pt x="387507" y="508604"/>
                        <a:pt x="392247" y="510933"/>
                        <a:pt x="395460" y="515030"/>
                      </a:cubicBezTo>
                      <a:cubicBezTo>
                        <a:pt x="387588" y="523625"/>
                        <a:pt x="387588" y="523625"/>
                        <a:pt x="377225" y="546278"/>
                      </a:cubicBezTo>
                      <a:cubicBezTo>
                        <a:pt x="385820" y="540976"/>
                        <a:pt x="386383" y="541297"/>
                        <a:pt x="392407" y="545314"/>
                      </a:cubicBezTo>
                      <a:cubicBezTo>
                        <a:pt x="393291" y="554712"/>
                        <a:pt x="393130" y="558166"/>
                        <a:pt x="382045" y="581220"/>
                      </a:cubicBezTo>
                      <a:cubicBezTo>
                        <a:pt x="414899" y="544751"/>
                        <a:pt x="414899" y="544751"/>
                        <a:pt x="457152" y="532622"/>
                      </a:cubicBezTo>
                      <a:cubicBezTo>
                        <a:pt x="459401" y="535273"/>
                        <a:pt x="461168" y="539691"/>
                        <a:pt x="461811" y="543145"/>
                      </a:cubicBezTo>
                      <a:cubicBezTo>
                        <a:pt x="451930" y="555114"/>
                        <a:pt x="447352" y="570537"/>
                        <a:pt x="436106" y="581622"/>
                      </a:cubicBezTo>
                      <a:cubicBezTo>
                        <a:pt x="423816" y="593751"/>
                        <a:pt x="403814" y="594394"/>
                        <a:pt x="393853" y="610058"/>
                      </a:cubicBezTo>
                      <a:cubicBezTo>
                        <a:pt x="388311" y="607889"/>
                        <a:pt x="388311" y="607889"/>
                        <a:pt x="378350" y="599374"/>
                      </a:cubicBezTo>
                      <a:cubicBezTo>
                        <a:pt x="364614" y="619938"/>
                        <a:pt x="364614" y="619938"/>
                        <a:pt x="363007" y="621143"/>
                      </a:cubicBezTo>
                      <a:cubicBezTo>
                        <a:pt x="355457" y="616886"/>
                        <a:pt x="353047" y="605881"/>
                        <a:pt x="342443" y="605720"/>
                      </a:cubicBezTo>
                      <a:cubicBezTo>
                        <a:pt x="340275" y="603632"/>
                        <a:pt x="337061" y="601142"/>
                        <a:pt x="334571" y="599455"/>
                      </a:cubicBezTo>
                      <a:cubicBezTo>
                        <a:pt x="370719" y="669019"/>
                        <a:pt x="300030" y="650543"/>
                        <a:pt x="299147" y="649981"/>
                      </a:cubicBezTo>
                      <a:cubicBezTo>
                        <a:pt x="293604" y="646688"/>
                        <a:pt x="291355" y="640422"/>
                        <a:pt x="288945" y="633755"/>
                      </a:cubicBezTo>
                      <a:cubicBezTo>
                        <a:pt x="290311" y="670545"/>
                        <a:pt x="290311" y="670545"/>
                        <a:pt x="273201" y="680024"/>
                      </a:cubicBezTo>
                      <a:cubicBezTo>
                        <a:pt x="272638" y="678497"/>
                        <a:pt x="271835" y="676489"/>
                        <a:pt x="271273" y="675043"/>
                      </a:cubicBezTo>
                      <a:cubicBezTo>
                        <a:pt x="256251" y="696652"/>
                        <a:pt x="235928" y="713842"/>
                        <a:pt x="220425" y="735048"/>
                      </a:cubicBezTo>
                      <a:cubicBezTo>
                        <a:pt x="221951" y="742117"/>
                        <a:pt x="222273" y="743724"/>
                        <a:pt x="217935" y="752158"/>
                      </a:cubicBezTo>
                      <a:cubicBezTo>
                        <a:pt x="220907" y="751194"/>
                        <a:pt x="225165" y="750632"/>
                        <a:pt x="228297" y="750632"/>
                      </a:cubicBezTo>
                      <a:cubicBezTo>
                        <a:pt x="230868" y="760191"/>
                        <a:pt x="231109" y="761155"/>
                        <a:pt x="218337" y="783647"/>
                      </a:cubicBezTo>
                      <a:cubicBezTo>
                        <a:pt x="219943" y="783406"/>
                        <a:pt x="222112" y="783165"/>
                        <a:pt x="223799" y="782924"/>
                      </a:cubicBezTo>
                      <a:cubicBezTo>
                        <a:pt x="223397" y="783245"/>
                        <a:pt x="222915" y="783727"/>
                        <a:pt x="222514" y="784049"/>
                      </a:cubicBezTo>
                      <a:cubicBezTo>
                        <a:pt x="262919" y="796740"/>
                        <a:pt x="273602" y="830157"/>
                        <a:pt x="277056" y="841162"/>
                      </a:cubicBezTo>
                      <a:cubicBezTo>
                        <a:pt x="314168" y="847749"/>
                        <a:pt x="313686" y="869517"/>
                        <a:pt x="300833" y="902371"/>
                      </a:cubicBezTo>
                      <a:cubicBezTo>
                        <a:pt x="315533" y="911529"/>
                        <a:pt x="314248" y="914662"/>
                        <a:pt x="307340" y="923980"/>
                      </a:cubicBezTo>
                      <a:cubicBezTo>
                        <a:pt x="319630" y="921168"/>
                        <a:pt x="321076" y="924863"/>
                        <a:pt x="324691" y="933941"/>
                      </a:cubicBezTo>
                      <a:cubicBezTo>
                        <a:pt x="324450" y="930647"/>
                        <a:pt x="324450" y="926149"/>
                        <a:pt x="324691" y="922855"/>
                      </a:cubicBezTo>
                      <a:cubicBezTo>
                        <a:pt x="326217" y="923096"/>
                        <a:pt x="328225" y="923337"/>
                        <a:pt x="329752" y="923578"/>
                      </a:cubicBezTo>
                      <a:cubicBezTo>
                        <a:pt x="330394" y="923016"/>
                        <a:pt x="407911" y="751275"/>
                        <a:pt x="408393" y="746053"/>
                      </a:cubicBezTo>
                      <a:cubicBezTo>
                        <a:pt x="406866" y="745973"/>
                        <a:pt x="404939" y="745893"/>
                        <a:pt x="403412" y="745893"/>
                      </a:cubicBezTo>
                      <a:cubicBezTo>
                        <a:pt x="405983" y="741876"/>
                        <a:pt x="405983" y="741876"/>
                        <a:pt x="415462" y="730711"/>
                      </a:cubicBezTo>
                      <a:cubicBezTo>
                        <a:pt x="412329" y="704684"/>
                        <a:pt x="426466" y="710147"/>
                        <a:pt x="439962" y="717376"/>
                      </a:cubicBezTo>
                      <a:cubicBezTo>
                        <a:pt x="440122" y="718099"/>
                        <a:pt x="440283" y="719143"/>
                        <a:pt x="440443" y="719947"/>
                      </a:cubicBezTo>
                      <a:lnTo>
                        <a:pt x="440524" y="720268"/>
                      </a:lnTo>
                      <a:cubicBezTo>
                        <a:pt x="448396" y="717537"/>
                        <a:pt x="449681" y="719063"/>
                        <a:pt x="453537" y="723481"/>
                      </a:cubicBezTo>
                      <a:cubicBezTo>
                        <a:pt x="463096" y="719384"/>
                        <a:pt x="463096" y="719384"/>
                        <a:pt x="470647" y="720830"/>
                      </a:cubicBezTo>
                      <a:cubicBezTo>
                        <a:pt x="472575" y="723803"/>
                        <a:pt x="473458" y="728702"/>
                        <a:pt x="473458" y="732237"/>
                      </a:cubicBezTo>
                      <a:cubicBezTo>
                        <a:pt x="475145" y="732398"/>
                        <a:pt x="477475" y="732639"/>
                        <a:pt x="479162" y="732880"/>
                      </a:cubicBezTo>
                      <a:cubicBezTo>
                        <a:pt x="478840" y="734486"/>
                        <a:pt x="478358" y="736575"/>
                        <a:pt x="477957" y="738181"/>
                      </a:cubicBezTo>
                      <a:cubicBezTo>
                        <a:pt x="479483" y="738181"/>
                        <a:pt x="481571" y="738181"/>
                        <a:pt x="483178" y="738181"/>
                      </a:cubicBezTo>
                      <a:cubicBezTo>
                        <a:pt x="483419" y="739627"/>
                        <a:pt x="483821" y="741555"/>
                        <a:pt x="484062" y="743001"/>
                      </a:cubicBezTo>
                      <a:cubicBezTo>
                        <a:pt x="501573" y="750552"/>
                        <a:pt x="501734" y="751114"/>
                        <a:pt x="504626" y="760914"/>
                      </a:cubicBezTo>
                      <a:cubicBezTo>
                        <a:pt x="500368" y="767180"/>
                        <a:pt x="497878" y="768384"/>
                        <a:pt x="487194" y="773686"/>
                      </a:cubicBezTo>
                      <a:cubicBezTo>
                        <a:pt x="495067" y="779952"/>
                        <a:pt x="495067" y="779952"/>
                        <a:pt x="498360" y="788386"/>
                      </a:cubicBezTo>
                      <a:cubicBezTo>
                        <a:pt x="496111" y="792885"/>
                        <a:pt x="490488" y="797303"/>
                        <a:pt x="486070" y="799712"/>
                      </a:cubicBezTo>
                      <a:cubicBezTo>
                        <a:pt x="496271" y="799391"/>
                        <a:pt x="496271" y="799391"/>
                        <a:pt x="505188" y="801399"/>
                      </a:cubicBezTo>
                      <a:cubicBezTo>
                        <a:pt x="505750" y="803247"/>
                        <a:pt x="506553" y="805737"/>
                        <a:pt x="507196" y="807665"/>
                      </a:cubicBezTo>
                      <a:cubicBezTo>
                        <a:pt x="504144" y="811280"/>
                        <a:pt x="499726" y="815939"/>
                        <a:pt x="496111" y="818911"/>
                      </a:cubicBezTo>
                      <a:cubicBezTo>
                        <a:pt x="506553" y="812163"/>
                        <a:pt x="506553" y="812163"/>
                        <a:pt x="512257" y="809753"/>
                      </a:cubicBezTo>
                      <a:cubicBezTo>
                        <a:pt x="511694" y="811360"/>
                        <a:pt x="510891" y="813529"/>
                        <a:pt x="510329" y="815135"/>
                      </a:cubicBezTo>
                      <a:cubicBezTo>
                        <a:pt x="511694" y="814011"/>
                        <a:pt x="513462" y="812565"/>
                        <a:pt x="514827" y="811521"/>
                      </a:cubicBezTo>
                      <a:cubicBezTo>
                        <a:pt x="514988" y="812967"/>
                        <a:pt x="515229" y="814975"/>
                        <a:pt x="515309" y="816421"/>
                      </a:cubicBezTo>
                      <a:cubicBezTo>
                        <a:pt x="530893" y="806621"/>
                        <a:pt x="530893" y="806621"/>
                        <a:pt x="534427" y="806139"/>
                      </a:cubicBezTo>
                      <a:cubicBezTo>
                        <a:pt x="535793" y="807263"/>
                        <a:pt x="537560" y="808709"/>
                        <a:pt x="538926" y="809834"/>
                      </a:cubicBezTo>
                      <a:cubicBezTo>
                        <a:pt x="544227" y="800275"/>
                        <a:pt x="544227" y="800275"/>
                        <a:pt x="548886" y="795214"/>
                      </a:cubicBezTo>
                      <a:lnTo>
                        <a:pt x="551939" y="793286"/>
                      </a:lnTo>
                      <a:cubicBezTo>
                        <a:pt x="553385" y="792804"/>
                        <a:pt x="555313" y="792081"/>
                        <a:pt x="556758" y="791599"/>
                      </a:cubicBezTo>
                      <a:cubicBezTo>
                        <a:pt x="555794" y="790394"/>
                        <a:pt x="554429" y="788788"/>
                        <a:pt x="553465" y="787583"/>
                      </a:cubicBezTo>
                      <a:cubicBezTo>
                        <a:pt x="555072" y="786378"/>
                        <a:pt x="557321" y="784450"/>
                        <a:pt x="559329" y="784049"/>
                      </a:cubicBezTo>
                      <a:cubicBezTo>
                        <a:pt x="560855" y="781076"/>
                        <a:pt x="562863" y="777221"/>
                        <a:pt x="564550" y="774329"/>
                      </a:cubicBezTo>
                      <a:cubicBezTo>
                        <a:pt x="564390" y="775775"/>
                        <a:pt x="564229" y="777703"/>
                        <a:pt x="564149" y="779148"/>
                      </a:cubicBezTo>
                      <a:cubicBezTo>
                        <a:pt x="565835" y="778988"/>
                        <a:pt x="568085" y="778747"/>
                        <a:pt x="569772" y="778586"/>
                      </a:cubicBezTo>
                      <a:cubicBezTo>
                        <a:pt x="570093" y="780112"/>
                        <a:pt x="570495" y="782120"/>
                        <a:pt x="570816" y="783647"/>
                      </a:cubicBezTo>
                      <a:cubicBezTo>
                        <a:pt x="571458" y="783567"/>
                        <a:pt x="572262" y="783567"/>
                        <a:pt x="572904" y="783486"/>
                      </a:cubicBezTo>
                      <a:cubicBezTo>
                        <a:pt x="573868" y="786298"/>
                        <a:pt x="574270" y="790314"/>
                        <a:pt x="573949" y="793206"/>
                      </a:cubicBezTo>
                      <a:cubicBezTo>
                        <a:pt x="575154" y="794170"/>
                        <a:pt x="576680" y="795455"/>
                        <a:pt x="577885" y="796419"/>
                      </a:cubicBezTo>
                      <a:cubicBezTo>
                        <a:pt x="576439" y="797142"/>
                        <a:pt x="574511" y="798106"/>
                        <a:pt x="572985" y="798829"/>
                      </a:cubicBezTo>
                      <a:cubicBezTo>
                        <a:pt x="574591" y="799070"/>
                        <a:pt x="576680" y="799471"/>
                        <a:pt x="578206" y="799712"/>
                      </a:cubicBezTo>
                      <a:cubicBezTo>
                        <a:pt x="579732" y="802444"/>
                        <a:pt x="580937" y="806701"/>
                        <a:pt x="580937" y="809914"/>
                      </a:cubicBezTo>
                      <a:cubicBezTo>
                        <a:pt x="582383" y="810798"/>
                        <a:pt x="584391" y="812003"/>
                        <a:pt x="585837" y="812967"/>
                      </a:cubicBezTo>
                      <a:cubicBezTo>
                        <a:pt x="583990" y="815376"/>
                        <a:pt x="580857" y="818108"/>
                        <a:pt x="578286" y="819714"/>
                      </a:cubicBezTo>
                      <a:cubicBezTo>
                        <a:pt x="582142" y="820517"/>
                        <a:pt x="587363" y="821642"/>
                        <a:pt x="591219" y="822686"/>
                      </a:cubicBezTo>
                      <a:cubicBezTo>
                        <a:pt x="590416" y="824694"/>
                        <a:pt x="589291" y="827345"/>
                        <a:pt x="588488" y="829353"/>
                      </a:cubicBezTo>
                      <a:cubicBezTo>
                        <a:pt x="591781" y="833611"/>
                        <a:pt x="593388" y="838912"/>
                        <a:pt x="597003" y="842929"/>
                      </a:cubicBezTo>
                      <a:cubicBezTo>
                        <a:pt x="595958" y="843973"/>
                        <a:pt x="594513" y="845419"/>
                        <a:pt x="593468" y="846544"/>
                      </a:cubicBezTo>
                      <a:cubicBezTo>
                        <a:pt x="590095" y="845981"/>
                        <a:pt x="585516" y="845580"/>
                        <a:pt x="582062" y="845499"/>
                      </a:cubicBezTo>
                      <a:cubicBezTo>
                        <a:pt x="583909" y="846222"/>
                        <a:pt x="586319" y="847186"/>
                        <a:pt x="588167" y="847990"/>
                      </a:cubicBezTo>
                      <a:cubicBezTo>
                        <a:pt x="588408" y="849435"/>
                        <a:pt x="588649" y="851363"/>
                        <a:pt x="588809" y="852809"/>
                      </a:cubicBezTo>
                      <a:cubicBezTo>
                        <a:pt x="590336" y="853211"/>
                        <a:pt x="592424" y="853693"/>
                        <a:pt x="594031" y="854014"/>
                      </a:cubicBezTo>
                      <a:cubicBezTo>
                        <a:pt x="594191" y="855460"/>
                        <a:pt x="594352" y="857388"/>
                        <a:pt x="594513" y="858914"/>
                      </a:cubicBezTo>
                      <a:cubicBezTo>
                        <a:pt x="602947" y="865099"/>
                        <a:pt x="602947" y="865099"/>
                        <a:pt x="608249" y="865501"/>
                      </a:cubicBezTo>
                      <a:lnTo>
                        <a:pt x="610177" y="865903"/>
                      </a:lnTo>
                      <a:cubicBezTo>
                        <a:pt x="610337" y="872409"/>
                        <a:pt x="610418" y="873614"/>
                        <a:pt x="603991" y="879639"/>
                      </a:cubicBezTo>
                      <a:cubicBezTo>
                        <a:pt x="611944" y="875542"/>
                        <a:pt x="612827" y="875703"/>
                        <a:pt x="619655" y="876586"/>
                      </a:cubicBezTo>
                      <a:cubicBezTo>
                        <a:pt x="618932" y="878113"/>
                        <a:pt x="617888" y="880121"/>
                        <a:pt x="617165" y="881727"/>
                      </a:cubicBezTo>
                      <a:cubicBezTo>
                        <a:pt x="623752" y="883254"/>
                        <a:pt x="632508" y="885181"/>
                        <a:pt x="639175" y="886145"/>
                      </a:cubicBezTo>
                      <a:cubicBezTo>
                        <a:pt x="639898" y="887511"/>
                        <a:pt x="640942" y="889278"/>
                        <a:pt x="641665" y="890644"/>
                      </a:cubicBezTo>
                      <a:cubicBezTo>
                        <a:pt x="633954" y="895865"/>
                        <a:pt x="630098" y="897632"/>
                        <a:pt x="603590" y="906067"/>
                      </a:cubicBezTo>
                      <a:cubicBezTo>
                        <a:pt x="604795" y="906950"/>
                        <a:pt x="606401" y="908236"/>
                        <a:pt x="607686" y="909119"/>
                      </a:cubicBezTo>
                      <a:cubicBezTo>
                        <a:pt x="606642" y="909842"/>
                        <a:pt x="605277" y="910726"/>
                        <a:pt x="604232" y="911449"/>
                      </a:cubicBezTo>
                      <a:lnTo>
                        <a:pt x="605036" y="911770"/>
                      </a:lnTo>
                      <a:lnTo>
                        <a:pt x="603590" y="913216"/>
                      </a:lnTo>
                      <a:cubicBezTo>
                        <a:pt x="617165" y="906308"/>
                        <a:pt x="626885" y="902452"/>
                        <a:pt x="642147" y="897873"/>
                      </a:cubicBezTo>
                      <a:cubicBezTo>
                        <a:pt x="644637" y="899881"/>
                        <a:pt x="646726" y="904059"/>
                        <a:pt x="647288" y="907191"/>
                      </a:cubicBezTo>
                      <a:cubicBezTo>
                        <a:pt x="654839" y="910886"/>
                        <a:pt x="663514" y="907593"/>
                        <a:pt x="671065" y="911127"/>
                      </a:cubicBezTo>
                      <a:cubicBezTo>
                        <a:pt x="670423" y="916108"/>
                        <a:pt x="667290" y="922373"/>
                        <a:pt x="664237" y="926229"/>
                      </a:cubicBezTo>
                      <a:cubicBezTo>
                        <a:pt x="666165" y="926470"/>
                        <a:pt x="668816" y="926791"/>
                        <a:pt x="670744" y="927032"/>
                      </a:cubicBezTo>
                      <a:cubicBezTo>
                        <a:pt x="596521" y="964385"/>
                        <a:pt x="522298" y="975068"/>
                        <a:pt x="472896" y="979968"/>
                      </a:cubicBezTo>
                      <a:cubicBezTo>
                        <a:pt x="473137" y="980209"/>
                        <a:pt x="473458" y="980611"/>
                        <a:pt x="473699" y="980852"/>
                      </a:cubicBezTo>
                      <a:cubicBezTo>
                        <a:pt x="463899" y="989045"/>
                        <a:pt x="454662" y="996837"/>
                        <a:pt x="433937" y="990572"/>
                      </a:cubicBezTo>
                      <a:cubicBezTo>
                        <a:pt x="431929" y="1003022"/>
                        <a:pt x="431929" y="1003022"/>
                        <a:pt x="429840" y="1007280"/>
                      </a:cubicBezTo>
                      <a:cubicBezTo>
                        <a:pt x="523342" y="990411"/>
                        <a:pt x="523342" y="990411"/>
                        <a:pt x="528724" y="990170"/>
                      </a:cubicBezTo>
                      <a:cubicBezTo>
                        <a:pt x="523744" y="999408"/>
                        <a:pt x="519004" y="1003585"/>
                        <a:pt x="496673" y="1001657"/>
                      </a:cubicBezTo>
                      <a:cubicBezTo>
                        <a:pt x="502698" y="1004870"/>
                        <a:pt x="506071" y="1006637"/>
                        <a:pt x="519326" y="1005673"/>
                      </a:cubicBezTo>
                      <a:cubicBezTo>
                        <a:pt x="519004" y="1005914"/>
                        <a:pt x="518683" y="1006236"/>
                        <a:pt x="518362" y="1006557"/>
                      </a:cubicBezTo>
                      <a:cubicBezTo>
                        <a:pt x="519808" y="1006878"/>
                        <a:pt x="521816" y="1007280"/>
                        <a:pt x="523262" y="1007601"/>
                      </a:cubicBezTo>
                      <a:cubicBezTo>
                        <a:pt x="521575" y="1010332"/>
                        <a:pt x="518683" y="1013546"/>
                        <a:pt x="516193" y="1015634"/>
                      </a:cubicBezTo>
                      <a:cubicBezTo>
                        <a:pt x="517317" y="1016598"/>
                        <a:pt x="518844" y="1017803"/>
                        <a:pt x="519968" y="1018767"/>
                      </a:cubicBezTo>
                      <a:cubicBezTo>
                        <a:pt x="582142" y="1023988"/>
                        <a:pt x="647529" y="1024069"/>
                        <a:pt x="714924" y="1021578"/>
                      </a:cubicBezTo>
                      <a:cubicBezTo>
                        <a:pt x="715005" y="1019409"/>
                        <a:pt x="715085" y="1017241"/>
                        <a:pt x="715085" y="1014991"/>
                      </a:cubicBezTo>
                      <a:cubicBezTo>
                        <a:pt x="705124" y="1021418"/>
                        <a:pt x="698537" y="1024952"/>
                        <a:pt x="688416" y="1016839"/>
                      </a:cubicBezTo>
                      <a:cubicBezTo>
                        <a:pt x="688416" y="1015393"/>
                        <a:pt x="688496" y="1013385"/>
                        <a:pt x="688496" y="1011939"/>
                      </a:cubicBezTo>
                      <a:cubicBezTo>
                        <a:pt x="676206" y="1018687"/>
                        <a:pt x="676206" y="1018687"/>
                        <a:pt x="668896" y="1022060"/>
                      </a:cubicBezTo>
                      <a:cubicBezTo>
                        <a:pt x="673154" y="1017401"/>
                        <a:pt x="673154" y="1017401"/>
                        <a:pt x="683436" y="1010172"/>
                      </a:cubicBezTo>
                      <a:cubicBezTo>
                        <a:pt x="673154" y="1012501"/>
                        <a:pt x="672591" y="1012582"/>
                        <a:pt x="660944" y="1013305"/>
                      </a:cubicBezTo>
                      <a:cubicBezTo>
                        <a:pt x="662390" y="1012582"/>
                        <a:pt x="664398" y="1011537"/>
                        <a:pt x="665844" y="1010734"/>
                      </a:cubicBezTo>
                      <a:cubicBezTo>
                        <a:pt x="653554" y="1008485"/>
                        <a:pt x="641344" y="1012501"/>
                        <a:pt x="629134" y="1011296"/>
                      </a:cubicBezTo>
                      <a:cubicBezTo>
                        <a:pt x="625037" y="1010413"/>
                        <a:pt x="625037" y="1010091"/>
                        <a:pt x="625037" y="1009770"/>
                      </a:cubicBezTo>
                      <a:cubicBezTo>
                        <a:pt x="621262" y="1010091"/>
                        <a:pt x="616281" y="1010172"/>
                        <a:pt x="612506" y="1010011"/>
                      </a:cubicBezTo>
                      <a:cubicBezTo>
                        <a:pt x="612747" y="1008244"/>
                        <a:pt x="612988" y="1005914"/>
                        <a:pt x="613229" y="1004147"/>
                      </a:cubicBezTo>
                      <a:cubicBezTo>
                        <a:pt x="617004" y="1001737"/>
                        <a:pt x="622145" y="998685"/>
                        <a:pt x="626081" y="996516"/>
                      </a:cubicBezTo>
                      <a:cubicBezTo>
                        <a:pt x="623029" y="996436"/>
                        <a:pt x="619013" y="996355"/>
                        <a:pt x="615960" y="996355"/>
                      </a:cubicBezTo>
                      <a:cubicBezTo>
                        <a:pt x="635962" y="980531"/>
                        <a:pt x="642629" y="949926"/>
                        <a:pt x="672591" y="945106"/>
                      </a:cubicBezTo>
                      <a:cubicBezTo>
                        <a:pt x="665763" y="956031"/>
                        <a:pt x="658936" y="966875"/>
                        <a:pt x="652027" y="977719"/>
                      </a:cubicBezTo>
                      <a:cubicBezTo>
                        <a:pt x="654357" y="975390"/>
                        <a:pt x="657731" y="972418"/>
                        <a:pt x="660382" y="970409"/>
                      </a:cubicBezTo>
                      <a:cubicBezTo>
                        <a:pt x="663514" y="971132"/>
                        <a:pt x="667932" y="971373"/>
                        <a:pt x="671226" y="971213"/>
                      </a:cubicBezTo>
                      <a:cubicBezTo>
                        <a:pt x="668896" y="973542"/>
                        <a:pt x="666165" y="977077"/>
                        <a:pt x="664559" y="979968"/>
                      </a:cubicBezTo>
                      <a:cubicBezTo>
                        <a:pt x="667772" y="979888"/>
                        <a:pt x="672109" y="979727"/>
                        <a:pt x="675323" y="979486"/>
                      </a:cubicBezTo>
                      <a:cubicBezTo>
                        <a:pt x="675644" y="981013"/>
                        <a:pt x="676126" y="983021"/>
                        <a:pt x="676527" y="984547"/>
                      </a:cubicBezTo>
                      <a:cubicBezTo>
                        <a:pt x="684400" y="981896"/>
                        <a:pt x="684400" y="981896"/>
                        <a:pt x="699501" y="981334"/>
                      </a:cubicBezTo>
                      <a:cubicBezTo>
                        <a:pt x="699823" y="982940"/>
                        <a:pt x="700224" y="985029"/>
                        <a:pt x="700465" y="986636"/>
                      </a:cubicBezTo>
                      <a:cubicBezTo>
                        <a:pt x="698698" y="987921"/>
                        <a:pt x="696368" y="989608"/>
                        <a:pt x="694601" y="990893"/>
                      </a:cubicBezTo>
                      <a:cubicBezTo>
                        <a:pt x="696127" y="990973"/>
                        <a:pt x="698216" y="991134"/>
                        <a:pt x="699742" y="991214"/>
                      </a:cubicBezTo>
                      <a:cubicBezTo>
                        <a:pt x="699341" y="992660"/>
                        <a:pt x="698859" y="994588"/>
                        <a:pt x="698537" y="996114"/>
                      </a:cubicBezTo>
                      <a:cubicBezTo>
                        <a:pt x="701670" y="995472"/>
                        <a:pt x="705847" y="994669"/>
                        <a:pt x="708980" y="993946"/>
                      </a:cubicBezTo>
                      <a:cubicBezTo>
                        <a:pt x="707373" y="996596"/>
                        <a:pt x="705044" y="1000050"/>
                        <a:pt x="703036" y="1002460"/>
                      </a:cubicBezTo>
                      <a:cubicBezTo>
                        <a:pt x="704642" y="1002781"/>
                        <a:pt x="706731" y="1003264"/>
                        <a:pt x="708337" y="1003665"/>
                      </a:cubicBezTo>
                      <a:cubicBezTo>
                        <a:pt x="709221" y="1005513"/>
                        <a:pt x="710345" y="1007923"/>
                        <a:pt x="711229" y="1009690"/>
                      </a:cubicBezTo>
                      <a:cubicBezTo>
                        <a:pt x="719262" y="884137"/>
                        <a:pt x="730026" y="764368"/>
                        <a:pt x="746895" y="653355"/>
                      </a:cubicBezTo>
                      <a:cubicBezTo>
                        <a:pt x="745931" y="650222"/>
                        <a:pt x="744083" y="646125"/>
                        <a:pt x="742075" y="643475"/>
                      </a:cubicBezTo>
                      <a:cubicBezTo>
                        <a:pt x="743360" y="642511"/>
                        <a:pt x="745128" y="641225"/>
                        <a:pt x="746493" y="640261"/>
                      </a:cubicBezTo>
                      <a:cubicBezTo>
                        <a:pt x="749385" y="637129"/>
                        <a:pt x="749626" y="635683"/>
                        <a:pt x="749867" y="634237"/>
                      </a:cubicBezTo>
                      <a:cubicBezTo>
                        <a:pt x="748421" y="634879"/>
                        <a:pt x="746493" y="635683"/>
                        <a:pt x="745047" y="636325"/>
                      </a:cubicBezTo>
                      <a:cubicBezTo>
                        <a:pt x="746091" y="634478"/>
                        <a:pt x="747457" y="631988"/>
                        <a:pt x="748421" y="630060"/>
                      </a:cubicBezTo>
                      <a:cubicBezTo>
                        <a:pt x="751554" y="623553"/>
                        <a:pt x="752277" y="619215"/>
                        <a:pt x="753000" y="614878"/>
                      </a:cubicBezTo>
                      <a:cubicBezTo>
                        <a:pt x="752518" y="611825"/>
                        <a:pt x="753080" y="607488"/>
                        <a:pt x="754687" y="604837"/>
                      </a:cubicBezTo>
                      <a:cubicBezTo>
                        <a:pt x="754928" y="603391"/>
                        <a:pt x="755169" y="602025"/>
                        <a:pt x="755409" y="600579"/>
                      </a:cubicBezTo>
                      <a:cubicBezTo>
                        <a:pt x="752357" y="601704"/>
                        <a:pt x="748341" y="603471"/>
                        <a:pt x="745368" y="604997"/>
                      </a:cubicBezTo>
                      <a:cubicBezTo>
                        <a:pt x="748180" y="603552"/>
                        <a:pt x="752036" y="601624"/>
                        <a:pt x="754847" y="600097"/>
                      </a:cubicBezTo>
                      <a:cubicBezTo>
                        <a:pt x="756454" y="594876"/>
                        <a:pt x="757257" y="590056"/>
                        <a:pt x="758141" y="585317"/>
                      </a:cubicBezTo>
                      <a:cubicBezTo>
                        <a:pt x="756534" y="585558"/>
                        <a:pt x="754365" y="585879"/>
                        <a:pt x="752759" y="586120"/>
                      </a:cubicBezTo>
                      <a:cubicBezTo>
                        <a:pt x="754044" y="585156"/>
                        <a:pt x="755811" y="583951"/>
                        <a:pt x="757096" y="583068"/>
                      </a:cubicBezTo>
                      <a:cubicBezTo>
                        <a:pt x="760631" y="571340"/>
                        <a:pt x="762719" y="560656"/>
                        <a:pt x="764808" y="550053"/>
                      </a:cubicBezTo>
                      <a:cubicBezTo>
                        <a:pt x="753321" y="556961"/>
                        <a:pt x="752357" y="557523"/>
                        <a:pt x="743601" y="549892"/>
                      </a:cubicBezTo>
                      <a:cubicBezTo>
                        <a:pt x="744405" y="547563"/>
                        <a:pt x="745529" y="544430"/>
                        <a:pt x="746332" y="542101"/>
                      </a:cubicBezTo>
                      <a:cubicBezTo>
                        <a:pt x="761273" y="543547"/>
                        <a:pt x="761273" y="543547"/>
                        <a:pt x="764728" y="544269"/>
                      </a:cubicBezTo>
                      <a:cubicBezTo>
                        <a:pt x="767057" y="538727"/>
                        <a:pt x="768342" y="532702"/>
                        <a:pt x="769547" y="526758"/>
                      </a:cubicBezTo>
                      <a:cubicBezTo>
                        <a:pt x="763924" y="524750"/>
                        <a:pt x="761755" y="524027"/>
                        <a:pt x="753321" y="522019"/>
                      </a:cubicBezTo>
                      <a:cubicBezTo>
                        <a:pt x="761836" y="524027"/>
                        <a:pt x="763603" y="524107"/>
                        <a:pt x="770110" y="524268"/>
                      </a:cubicBezTo>
                      <a:cubicBezTo>
                        <a:pt x="772037" y="515030"/>
                        <a:pt x="774046" y="505873"/>
                        <a:pt x="776134" y="496796"/>
                      </a:cubicBezTo>
                      <a:cubicBezTo>
                        <a:pt x="774608" y="495189"/>
                        <a:pt x="772841" y="492458"/>
                        <a:pt x="772841" y="490209"/>
                      </a:cubicBezTo>
                      <a:cubicBezTo>
                        <a:pt x="772600" y="486674"/>
                        <a:pt x="772519" y="482015"/>
                        <a:pt x="772760" y="478481"/>
                      </a:cubicBezTo>
                      <a:cubicBezTo>
                        <a:pt x="767860" y="491896"/>
                        <a:pt x="764728" y="496314"/>
                        <a:pt x="752839" y="499527"/>
                      </a:cubicBezTo>
                      <a:cubicBezTo>
                        <a:pt x="752036" y="498241"/>
                        <a:pt x="750991" y="496474"/>
                        <a:pt x="750188" y="495109"/>
                      </a:cubicBezTo>
                      <a:cubicBezTo>
                        <a:pt x="753562" y="485871"/>
                        <a:pt x="753803" y="485309"/>
                        <a:pt x="761354" y="473019"/>
                      </a:cubicBezTo>
                      <a:cubicBezTo>
                        <a:pt x="760069" y="473982"/>
                        <a:pt x="758382" y="475187"/>
                        <a:pt x="757177" y="476151"/>
                      </a:cubicBezTo>
                      <a:cubicBezTo>
                        <a:pt x="757739" y="468520"/>
                        <a:pt x="757739" y="468520"/>
                        <a:pt x="764888" y="454463"/>
                      </a:cubicBezTo>
                      <a:cubicBezTo>
                        <a:pt x="763523" y="453820"/>
                        <a:pt x="761675" y="452937"/>
                        <a:pt x="760229" y="452294"/>
                      </a:cubicBezTo>
                      <a:cubicBezTo>
                        <a:pt x="761514" y="448840"/>
                        <a:pt x="763523" y="444261"/>
                        <a:pt x="765290" y="440968"/>
                      </a:cubicBezTo>
                      <a:cubicBezTo>
                        <a:pt x="763924" y="440486"/>
                        <a:pt x="762077" y="439763"/>
                        <a:pt x="760711" y="439281"/>
                      </a:cubicBezTo>
                      <a:cubicBezTo>
                        <a:pt x="764647" y="424500"/>
                        <a:pt x="764647" y="424500"/>
                        <a:pt x="764326" y="422091"/>
                      </a:cubicBezTo>
                      <a:cubicBezTo>
                        <a:pt x="762719" y="421528"/>
                        <a:pt x="760550" y="420805"/>
                        <a:pt x="758944" y="420243"/>
                      </a:cubicBezTo>
                      <a:cubicBezTo>
                        <a:pt x="759426" y="384417"/>
                        <a:pt x="760149" y="335417"/>
                        <a:pt x="706329" y="358873"/>
                      </a:cubicBezTo>
                      <a:cubicBezTo>
                        <a:pt x="696368" y="345779"/>
                        <a:pt x="696529" y="340076"/>
                        <a:pt x="707454" y="323126"/>
                      </a:cubicBezTo>
                      <a:cubicBezTo>
                        <a:pt x="704883" y="324894"/>
                        <a:pt x="701349" y="327062"/>
                        <a:pt x="698457" y="328348"/>
                      </a:cubicBezTo>
                      <a:cubicBezTo>
                        <a:pt x="707855" y="311399"/>
                        <a:pt x="722636" y="310997"/>
                        <a:pt x="733239" y="313728"/>
                      </a:cubicBezTo>
                      <a:cubicBezTo>
                        <a:pt x="725608" y="280071"/>
                        <a:pt x="725608" y="280071"/>
                        <a:pt x="820314" y="212515"/>
                      </a:cubicBezTo>
                      <a:cubicBezTo>
                        <a:pt x="819592" y="211149"/>
                        <a:pt x="818708" y="209382"/>
                        <a:pt x="817985" y="208017"/>
                      </a:cubicBezTo>
                      <a:cubicBezTo>
                        <a:pt x="820957" y="199903"/>
                        <a:pt x="820957" y="199903"/>
                        <a:pt x="888915" y="145441"/>
                      </a:cubicBezTo>
                      <a:cubicBezTo>
                        <a:pt x="890360" y="150180"/>
                        <a:pt x="890360" y="150180"/>
                        <a:pt x="884256" y="164077"/>
                      </a:cubicBezTo>
                      <a:cubicBezTo>
                        <a:pt x="895020" y="147288"/>
                        <a:pt x="900883" y="139416"/>
                        <a:pt x="909238" y="130339"/>
                      </a:cubicBezTo>
                      <a:cubicBezTo>
                        <a:pt x="907792" y="135079"/>
                        <a:pt x="907792" y="135079"/>
                        <a:pt x="900562" y="152510"/>
                      </a:cubicBezTo>
                      <a:cubicBezTo>
                        <a:pt x="907149" y="143834"/>
                        <a:pt x="914941" y="111864"/>
                        <a:pt x="919118" y="126242"/>
                      </a:cubicBezTo>
                      <a:moveTo>
                        <a:pt x="1559252" y="97887"/>
                      </a:moveTo>
                      <a:cubicBezTo>
                        <a:pt x="1559252" y="97887"/>
                        <a:pt x="1564634" y="100297"/>
                        <a:pt x="1573871" y="104715"/>
                      </a:cubicBezTo>
                      <a:lnTo>
                        <a:pt x="1574674" y="105197"/>
                      </a:lnTo>
                      <a:cubicBezTo>
                        <a:pt x="1569534" y="102706"/>
                        <a:pt x="1564312" y="100377"/>
                        <a:pt x="1559252" y="97887"/>
                      </a:cubicBezTo>
                      <a:moveTo>
                        <a:pt x="1226854" y="9526"/>
                      </a:moveTo>
                      <a:cubicBezTo>
                        <a:pt x="1228622" y="9526"/>
                        <a:pt x="1234325" y="9767"/>
                        <a:pt x="1234807" y="12578"/>
                      </a:cubicBezTo>
                      <a:cubicBezTo>
                        <a:pt x="1232236" y="12659"/>
                        <a:pt x="1227015" y="12819"/>
                        <a:pt x="1224927" y="12257"/>
                      </a:cubicBezTo>
                      <a:cubicBezTo>
                        <a:pt x="1223641" y="11855"/>
                        <a:pt x="1221794" y="12418"/>
                        <a:pt x="1220508" y="12498"/>
                      </a:cubicBezTo>
                      <a:cubicBezTo>
                        <a:pt x="1215287" y="12819"/>
                        <a:pt x="1208861" y="13141"/>
                        <a:pt x="1205808" y="13221"/>
                      </a:cubicBezTo>
                      <a:cubicBezTo>
                        <a:pt x="1205407" y="13221"/>
                        <a:pt x="1204845" y="13221"/>
                        <a:pt x="1204443" y="13221"/>
                      </a:cubicBezTo>
                      <a:cubicBezTo>
                        <a:pt x="1204041" y="13221"/>
                        <a:pt x="1203559" y="13221"/>
                        <a:pt x="1203158" y="13221"/>
                      </a:cubicBezTo>
                      <a:cubicBezTo>
                        <a:pt x="1198981" y="13221"/>
                        <a:pt x="1198820" y="12739"/>
                        <a:pt x="1198659" y="12498"/>
                      </a:cubicBezTo>
                      <a:cubicBezTo>
                        <a:pt x="1193840" y="12578"/>
                        <a:pt x="1192153" y="12578"/>
                        <a:pt x="1191349" y="12498"/>
                      </a:cubicBezTo>
                      <a:cubicBezTo>
                        <a:pt x="1191671" y="12337"/>
                        <a:pt x="1191671" y="12337"/>
                        <a:pt x="1194322" y="12096"/>
                      </a:cubicBezTo>
                      <a:cubicBezTo>
                        <a:pt x="1201631" y="11454"/>
                        <a:pt x="1209022" y="12096"/>
                        <a:pt x="1216331" y="11052"/>
                      </a:cubicBezTo>
                      <a:cubicBezTo>
                        <a:pt x="1219786" y="10651"/>
                        <a:pt x="1223240" y="9526"/>
                        <a:pt x="1226854" y="9526"/>
                      </a:cubicBezTo>
                      <a:moveTo>
                        <a:pt x="1187574" y="15872"/>
                      </a:moveTo>
                      <a:cubicBezTo>
                        <a:pt x="1190626" y="15631"/>
                        <a:pt x="1191751" y="15791"/>
                        <a:pt x="1192153" y="15872"/>
                      </a:cubicBezTo>
                      <a:cubicBezTo>
                        <a:pt x="1187413" y="16354"/>
                        <a:pt x="1187413" y="16354"/>
                        <a:pt x="1186771" y="16273"/>
                      </a:cubicBezTo>
                      <a:cubicBezTo>
                        <a:pt x="1187413" y="16113"/>
                        <a:pt x="1187413" y="16113"/>
                        <a:pt x="1187413" y="16032"/>
                      </a:cubicBezTo>
                      <a:cubicBezTo>
                        <a:pt x="1187413" y="16032"/>
                        <a:pt x="1187333" y="15952"/>
                        <a:pt x="1187333" y="15952"/>
                      </a:cubicBezTo>
                      <a:cubicBezTo>
                        <a:pt x="1187413" y="15872"/>
                        <a:pt x="1187494" y="15872"/>
                        <a:pt x="1187574" y="15872"/>
                      </a:cubicBezTo>
                      <a:moveTo>
                        <a:pt x="1203399" y="22700"/>
                      </a:moveTo>
                      <a:cubicBezTo>
                        <a:pt x="1203881" y="23985"/>
                        <a:pt x="1203881" y="25029"/>
                        <a:pt x="1203881" y="25029"/>
                      </a:cubicBezTo>
                      <a:cubicBezTo>
                        <a:pt x="1203800" y="24387"/>
                        <a:pt x="1203720" y="23664"/>
                        <a:pt x="1203318" y="22539"/>
                      </a:cubicBezTo>
                      <a:cubicBezTo>
                        <a:pt x="1203399" y="22539"/>
                        <a:pt x="1203399" y="22619"/>
                        <a:pt x="1203399" y="22700"/>
                      </a:cubicBezTo>
                      <a:moveTo>
                        <a:pt x="1188297" y="16434"/>
                      </a:moveTo>
                      <a:cubicBezTo>
                        <a:pt x="1210146" y="14426"/>
                        <a:pt x="1231433" y="15791"/>
                        <a:pt x="1235369" y="17238"/>
                      </a:cubicBezTo>
                      <a:cubicBezTo>
                        <a:pt x="1235289" y="17398"/>
                        <a:pt x="1235209" y="17559"/>
                        <a:pt x="1235209" y="17720"/>
                      </a:cubicBezTo>
                      <a:cubicBezTo>
                        <a:pt x="1233602" y="18201"/>
                        <a:pt x="1232076" y="18442"/>
                        <a:pt x="1225649" y="19085"/>
                      </a:cubicBezTo>
                      <a:cubicBezTo>
                        <a:pt x="1211753" y="20451"/>
                        <a:pt x="1197856" y="21415"/>
                        <a:pt x="1184040" y="22700"/>
                      </a:cubicBezTo>
                      <a:lnTo>
                        <a:pt x="1186690" y="22057"/>
                      </a:lnTo>
                      <a:cubicBezTo>
                        <a:pt x="1180345" y="21977"/>
                        <a:pt x="1176489" y="21656"/>
                        <a:pt x="1171990" y="21013"/>
                      </a:cubicBezTo>
                      <a:cubicBezTo>
                        <a:pt x="1178336" y="19728"/>
                        <a:pt x="1183558" y="19165"/>
                        <a:pt x="1192795" y="18603"/>
                      </a:cubicBezTo>
                      <a:cubicBezTo>
                        <a:pt x="1182674" y="19165"/>
                        <a:pt x="1181630" y="19165"/>
                        <a:pt x="1180104" y="18041"/>
                      </a:cubicBezTo>
                      <a:cubicBezTo>
                        <a:pt x="1180585" y="17559"/>
                        <a:pt x="1181228" y="17077"/>
                        <a:pt x="1188297" y="16434"/>
                      </a:cubicBezTo>
                      <a:moveTo>
                        <a:pt x="1146205" y="24467"/>
                      </a:moveTo>
                      <a:cubicBezTo>
                        <a:pt x="1154559" y="23423"/>
                        <a:pt x="1175043" y="21174"/>
                        <a:pt x="1184040" y="23342"/>
                      </a:cubicBezTo>
                      <a:cubicBezTo>
                        <a:pt x="1188377" y="24869"/>
                        <a:pt x="1183959" y="26636"/>
                        <a:pt x="1183959" y="26716"/>
                      </a:cubicBezTo>
                      <a:cubicBezTo>
                        <a:pt x="1182754" y="27118"/>
                        <a:pt x="1180987" y="26877"/>
                        <a:pt x="1179702" y="27037"/>
                      </a:cubicBezTo>
                      <a:cubicBezTo>
                        <a:pt x="1161467" y="28242"/>
                        <a:pt x="1152149" y="28965"/>
                        <a:pt x="1149017" y="29206"/>
                      </a:cubicBezTo>
                      <a:cubicBezTo>
                        <a:pt x="1146928" y="29367"/>
                        <a:pt x="1144759" y="29688"/>
                        <a:pt x="1142671" y="29929"/>
                      </a:cubicBezTo>
                      <a:cubicBezTo>
                        <a:pt x="1126203" y="31857"/>
                        <a:pt x="1117849" y="32339"/>
                        <a:pt x="1113351" y="32580"/>
                      </a:cubicBezTo>
                      <a:cubicBezTo>
                        <a:pt x="1141546" y="25029"/>
                        <a:pt x="1141546" y="25029"/>
                        <a:pt x="1146205" y="24467"/>
                      </a:cubicBezTo>
                      <a:moveTo>
                        <a:pt x="651545" y="102144"/>
                      </a:moveTo>
                      <a:cubicBezTo>
                        <a:pt x="739344" y="63908"/>
                        <a:pt x="841521" y="54831"/>
                        <a:pt x="954543" y="80295"/>
                      </a:cubicBezTo>
                      <a:cubicBezTo>
                        <a:pt x="1181469" y="32259"/>
                        <a:pt x="1403496" y="48565"/>
                        <a:pt x="1601183" y="116683"/>
                      </a:cubicBezTo>
                      <a:cubicBezTo>
                        <a:pt x="1590178" y="111864"/>
                        <a:pt x="1587527" y="110820"/>
                        <a:pt x="1577566" y="107044"/>
                      </a:cubicBezTo>
                      <a:cubicBezTo>
                        <a:pt x="1634439" y="113149"/>
                        <a:pt x="1701512" y="147288"/>
                        <a:pt x="1746978" y="172431"/>
                      </a:cubicBezTo>
                      <a:cubicBezTo>
                        <a:pt x="1709224" y="146565"/>
                        <a:pt x="1709224" y="146565"/>
                        <a:pt x="1567927" y="92826"/>
                      </a:cubicBezTo>
                      <a:cubicBezTo>
                        <a:pt x="1584073" y="97485"/>
                        <a:pt x="1600460" y="101180"/>
                        <a:pt x="1616606" y="105598"/>
                      </a:cubicBezTo>
                      <a:cubicBezTo>
                        <a:pt x="1616124" y="105036"/>
                        <a:pt x="1468079" y="48405"/>
                        <a:pt x="1458520" y="48646"/>
                      </a:cubicBezTo>
                      <a:lnTo>
                        <a:pt x="1456994" y="47441"/>
                      </a:lnTo>
                      <a:cubicBezTo>
                        <a:pt x="1443419" y="43585"/>
                        <a:pt x="1376827" y="26796"/>
                        <a:pt x="1376345" y="26716"/>
                      </a:cubicBezTo>
                      <a:cubicBezTo>
                        <a:pt x="1376746" y="26877"/>
                        <a:pt x="1377228" y="27198"/>
                        <a:pt x="1377630" y="27359"/>
                      </a:cubicBezTo>
                      <a:lnTo>
                        <a:pt x="1375461" y="27118"/>
                      </a:lnTo>
                      <a:cubicBezTo>
                        <a:pt x="1363492" y="24306"/>
                        <a:pt x="1363492" y="24306"/>
                        <a:pt x="1357709" y="22539"/>
                      </a:cubicBezTo>
                      <a:cubicBezTo>
                        <a:pt x="1360520" y="22860"/>
                        <a:pt x="1364215" y="23262"/>
                        <a:pt x="1366946" y="23664"/>
                      </a:cubicBezTo>
                      <a:cubicBezTo>
                        <a:pt x="1348150" y="20129"/>
                        <a:pt x="1329273" y="16836"/>
                        <a:pt x="1310476" y="13301"/>
                      </a:cubicBezTo>
                      <a:cubicBezTo>
                        <a:pt x="1304130" y="12659"/>
                        <a:pt x="1304130" y="12659"/>
                        <a:pt x="1258584" y="8964"/>
                      </a:cubicBezTo>
                      <a:cubicBezTo>
                        <a:pt x="1263243" y="8883"/>
                        <a:pt x="1269428" y="8964"/>
                        <a:pt x="1274087" y="9124"/>
                      </a:cubicBezTo>
                      <a:cubicBezTo>
                        <a:pt x="1270392" y="8562"/>
                        <a:pt x="1265572" y="7759"/>
                        <a:pt x="1261877" y="7197"/>
                      </a:cubicBezTo>
                      <a:cubicBezTo>
                        <a:pt x="1271999" y="7518"/>
                        <a:pt x="1271999" y="7518"/>
                        <a:pt x="1280433" y="8401"/>
                      </a:cubicBezTo>
                      <a:cubicBezTo>
                        <a:pt x="1243402" y="4224"/>
                        <a:pt x="1232236" y="2939"/>
                        <a:pt x="1196169" y="1252"/>
                      </a:cubicBezTo>
                      <a:cubicBezTo>
                        <a:pt x="1144759" y="-194"/>
                        <a:pt x="1144759" y="-194"/>
                        <a:pt x="1118733" y="288"/>
                      </a:cubicBezTo>
                      <a:cubicBezTo>
                        <a:pt x="1073589" y="1734"/>
                        <a:pt x="1073589" y="1734"/>
                        <a:pt x="1051016" y="3421"/>
                      </a:cubicBezTo>
                      <a:cubicBezTo>
                        <a:pt x="1009407" y="7036"/>
                        <a:pt x="1009407" y="7036"/>
                        <a:pt x="988762" y="9606"/>
                      </a:cubicBezTo>
                      <a:cubicBezTo>
                        <a:pt x="948679" y="15149"/>
                        <a:pt x="948679" y="15149"/>
                        <a:pt x="928757" y="18603"/>
                      </a:cubicBezTo>
                      <a:cubicBezTo>
                        <a:pt x="888433" y="26234"/>
                        <a:pt x="888433" y="26234"/>
                        <a:pt x="868351" y="30813"/>
                      </a:cubicBezTo>
                      <a:cubicBezTo>
                        <a:pt x="826821" y="40854"/>
                        <a:pt x="826018" y="41015"/>
                        <a:pt x="804651" y="47119"/>
                      </a:cubicBezTo>
                      <a:cubicBezTo>
                        <a:pt x="759747" y="60615"/>
                        <a:pt x="757980" y="61177"/>
                        <a:pt x="734042" y="69611"/>
                      </a:cubicBezTo>
                      <a:cubicBezTo>
                        <a:pt x="683195" y="88649"/>
                        <a:pt x="680142" y="89774"/>
                        <a:pt x="651545" y="102144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3" name="Freeform: Shape 422">
                  <a:extLst>
                    <a:ext uri="{FF2B5EF4-FFF2-40B4-BE49-F238E27FC236}">
                      <a16:creationId xmlns:a16="http://schemas.microsoft.com/office/drawing/2014/main" id="{941AB5FB-029A-DC50-37F9-038A7EB478F3}"/>
                    </a:ext>
                  </a:extLst>
                </p:cNvPr>
                <p:cNvSpPr/>
                <p:nvPr/>
              </p:nvSpPr>
              <p:spPr>
                <a:xfrm>
                  <a:off x="-5378635" y="1958360"/>
                  <a:ext cx="2358991" cy="2404309"/>
                </a:xfrm>
                <a:custGeom>
                  <a:avLst/>
                  <a:gdLst>
                    <a:gd name="connsiteX0" fmla="*/ 2350156 w 2358991"/>
                    <a:gd name="connsiteY0" fmla="*/ 1677823 h 2404309"/>
                    <a:gd name="connsiteX1" fmla="*/ 2358992 w 2358991"/>
                    <a:gd name="connsiteY1" fmla="*/ 1657660 h 2404309"/>
                    <a:gd name="connsiteX2" fmla="*/ 2016553 w 2358991"/>
                    <a:gd name="connsiteY2" fmla="*/ 1913907 h 2404309"/>
                    <a:gd name="connsiteX3" fmla="*/ 991328 w 2358991"/>
                    <a:gd name="connsiteY3" fmla="*/ 2131676 h 2404309"/>
                    <a:gd name="connsiteX4" fmla="*/ 1272717 w 2358991"/>
                    <a:gd name="connsiteY4" fmla="*/ 2404229 h 2404309"/>
                    <a:gd name="connsiteX5" fmla="*/ 1289746 w 2358991"/>
                    <a:gd name="connsiteY5" fmla="*/ 2403506 h 2404309"/>
                    <a:gd name="connsiteX6" fmla="*/ 1289023 w 2358991"/>
                    <a:gd name="connsiteY6" fmla="*/ 2403506 h 2404309"/>
                    <a:gd name="connsiteX7" fmla="*/ 1381481 w 2358991"/>
                    <a:gd name="connsiteY7" fmla="*/ 2395473 h 2404309"/>
                    <a:gd name="connsiteX8" fmla="*/ 1426625 w 2358991"/>
                    <a:gd name="connsiteY8" fmla="*/ 2388967 h 2404309"/>
                    <a:gd name="connsiteX9" fmla="*/ 1413451 w 2358991"/>
                    <a:gd name="connsiteY9" fmla="*/ 2390895 h 2404309"/>
                    <a:gd name="connsiteX10" fmla="*/ 1400679 w 2358991"/>
                    <a:gd name="connsiteY10" fmla="*/ 2391778 h 2404309"/>
                    <a:gd name="connsiteX11" fmla="*/ 1591137 w 2358991"/>
                    <a:gd name="connsiteY11" fmla="*/ 2323660 h 2404309"/>
                    <a:gd name="connsiteX12" fmla="*/ 1582541 w 2358991"/>
                    <a:gd name="connsiteY12" fmla="*/ 2325186 h 2404309"/>
                    <a:gd name="connsiteX13" fmla="*/ 1675722 w 2358991"/>
                    <a:gd name="connsiteY13" fmla="*/ 2279560 h 2404309"/>
                    <a:gd name="connsiteX14" fmla="*/ 1994463 w 2358991"/>
                    <a:gd name="connsiteY14" fmla="*/ 2132158 h 2404309"/>
                    <a:gd name="connsiteX15" fmla="*/ 2093829 w 2358991"/>
                    <a:gd name="connsiteY15" fmla="*/ 2048456 h 2404309"/>
                    <a:gd name="connsiteX16" fmla="*/ 2088447 w 2358991"/>
                    <a:gd name="connsiteY16" fmla="*/ 2053919 h 2404309"/>
                    <a:gd name="connsiteX17" fmla="*/ 2119052 w 2358991"/>
                    <a:gd name="connsiteY17" fmla="*/ 2022832 h 2404309"/>
                    <a:gd name="connsiteX18" fmla="*/ 2250710 w 2358991"/>
                    <a:gd name="connsiteY18" fmla="*/ 1857998 h 2404309"/>
                    <a:gd name="connsiteX19" fmla="*/ 2350156 w 2358991"/>
                    <a:gd name="connsiteY19" fmla="*/ 1677823 h 2404309"/>
                    <a:gd name="connsiteX20" fmla="*/ 991247 w 2358991"/>
                    <a:gd name="connsiteY20" fmla="*/ 2131756 h 2404309"/>
                    <a:gd name="connsiteX21" fmla="*/ 919434 w 2358991"/>
                    <a:gd name="connsiteY21" fmla="*/ 1941218 h 2404309"/>
                    <a:gd name="connsiteX22" fmla="*/ 819586 w 2358991"/>
                    <a:gd name="connsiteY22" fmla="*/ 1937363 h 2404309"/>
                    <a:gd name="connsiteX23" fmla="*/ 827539 w 2358991"/>
                    <a:gd name="connsiteY23" fmla="*/ 1944994 h 2404309"/>
                    <a:gd name="connsiteX24" fmla="*/ 777735 w 2358991"/>
                    <a:gd name="connsiteY24" fmla="*/ 2011345 h 2404309"/>
                    <a:gd name="connsiteX25" fmla="*/ 739901 w 2358991"/>
                    <a:gd name="connsiteY25" fmla="*/ 2025483 h 2404309"/>
                    <a:gd name="connsiteX26" fmla="*/ 760144 w 2358991"/>
                    <a:gd name="connsiteY26" fmla="*/ 2041789 h 2404309"/>
                    <a:gd name="connsiteX27" fmla="*/ 759822 w 2358991"/>
                    <a:gd name="connsiteY27" fmla="*/ 2041789 h 2404309"/>
                    <a:gd name="connsiteX28" fmla="*/ 759501 w 2358991"/>
                    <a:gd name="connsiteY28" fmla="*/ 2041789 h 2404309"/>
                    <a:gd name="connsiteX29" fmla="*/ 759180 w 2358991"/>
                    <a:gd name="connsiteY29" fmla="*/ 2041789 h 2404309"/>
                    <a:gd name="connsiteX30" fmla="*/ 758858 w 2358991"/>
                    <a:gd name="connsiteY30" fmla="*/ 2041789 h 2404309"/>
                    <a:gd name="connsiteX31" fmla="*/ 758537 w 2358991"/>
                    <a:gd name="connsiteY31" fmla="*/ 2041789 h 2404309"/>
                    <a:gd name="connsiteX32" fmla="*/ 758216 w 2358991"/>
                    <a:gd name="connsiteY32" fmla="*/ 2041789 h 2404309"/>
                    <a:gd name="connsiteX33" fmla="*/ 757894 w 2358991"/>
                    <a:gd name="connsiteY33" fmla="*/ 2041789 h 2404309"/>
                    <a:gd name="connsiteX34" fmla="*/ 757573 w 2358991"/>
                    <a:gd name="connsiteY34" fmla="*/ 2041789 h 2404309"/>
                    <a:gd name="connsiteX35" fmla="*/ 767293 w 2358991"/>
                    <a:gd name="connsiteY35" fmla="*/ 2044841 h 2404309"/>
                    <a:gd name="connsiteX36" fmla="*/ 746890 w 2358991"/>
                    <a:gd name="connsiteY36" fmla="*/ 2046689 h 2404309"/>
                    <a:gd name="connsiteX37" fmla="*/ 759662 w 2358991"/>
                    <a:gd name="connsiteY37" fmla="*/ 2049581 h 2404309"/>
                    <a:gd name="connsiteX38" fmla="*/ 757332 w 2358991"/>
                    <a:gd name="connsiteY38" fmla="*/ 2101714 h 2404309"/>
                    <a:gd name="connsiteX39" fmla="*/ 763999 w 2358991"/>
                    <a:gd name="connsiteY39" fmla="*/ 2102999 h 2404309"/>
                    <a:gd name="connsiteX40" fmla="*/ 732752 w 2358991"/>
                    <a:gd name="connsiteY40" fmla="*/ 2120752 h 2404309"/>
                    <a:gd name="connsiteX41" fmla="*/ 733796 w 2358991"/>
                    <a:gd name="connsiteY41" fmla="*/ 2121956 h 2404309"/>
                    <a:gd name="connsiteX42" fmla="*/ 729860 w 2358991"/>
                    <a:gd name="connsiteY42" fmla="*/ 2123161 h 2404309"/>
                    <a:gd name="connsiteX43" fmla="*/ 737250 w 2358991"/>
                    <a:gd name="connsiteY43" fmla="*/ 2127178 h 2404309"/>
                    <a:gd name="connsiteX44" fmla="*/ 991247 w 2358991"/>
                    <a:gd name="connsiteY44" fmla="*/ 2131756 h 2404309"/>
                    <a:gd name="connsiteX45" fmla="*/ 376096 w 2358991"/>
                    <a:gd name="connsiteY45" fmla="*/ 1458768 h 2404309"/>
                    <a:gd name="connsiteX46" fmla="*/ 372882 w 2358991"/>
                    <a:gd name="connsiteY46" fmla="*/ 1458367 h 2404309"/>
                    <a:gd name="connsiteX47" fmla="*/ 376176 w 2358991"/>
                    <a:gd name="connsiteY47" fmla="*/ 1458688 h 2404309"/>
                    <a:gd name="connsiteX48" fmla="*/ 376096 w 2358991"/>
                    <a:gd name="connsiteY48" fmla="*/ 1458768 h 2404309"/>
                    <a:gd name="connsiteX49" fmla="*/ 376738 w 2358991"/>
                    <a:gd name="connsiteY49" fmla="*/ 1458768 h 2404309"/>
                    <a:gd name="connsiteX50" fmla="*/ 376738 w 2358991"/>
                    <a:gd name="connsiteY50" fmla="*/ 1458768 h 2404309"/>
                    <a:gd name="connsiteX51" fmla="*/ 376738 w 2358991"/>
                    <a:gd name="connsiteY51" fmla="*/ 1458768 h 2404309"/>
                    <a:gd name="connsiteX52" fmla="*/ 376738 w 2358991"/>
                    <a:gd name="connsiteY52" fmla="*/ 1458768 h 2404309"/>
                    <a:gd name="connsiteX53" fmla="*/ 376738 w 2358991"/>
                    <a:gd name="connsiteY53" fmla="*/ 1458768 h 2404309"/>
                    <a:gd name="connsiteX54" fmla="*/ 376738 w 2358991"/>
                    <a:gd name="connsiteY54" fmla="*/ 1458768 h 2404309"/>
                    <a:gd name="connsiteX55" fmla="*/ 376658 w 2358991"/>
                    <a:gd name="connsiteY55" fmla="*/ 1458768 h 2404309"/>
                    <a:gd name="connsiteX56" fmla="*/ 376658 w 2358991"/>
                    <a:gd name="connsiteY56" fmla="*/ 1458768 h 2404309"/>
                    <a:gd name="connsiteX57" fmla="*/ 376658 w 2358991"/>
                    <a:gd name="connsiteY57" fmla="*/ 1458768 h 2404309"/>
                    <a:gd name="connsiteX58" fmla="*/ 376658 w 2358991"/>
                    <a:gd name="connsiteY58" fmla="*/ 1458768 h 2404309"/>
                    <a:gd name="connsiteX59" fmla="*/ 376658 w 2358991"/>
                    <a:gd name="connsiteY59" fmla="*/ 1458768 h 2404309"/>
                    <a:gd name="connsiteX60" fmla="*/ 376658 w 2358991"/>
                    <a:gd name="connsiteY60" fmla="*/ 1458768 h 2404309"/>
                    <a:gd name="connsiteX61" fmla="*/ 376658 w 2358991"/>
                    <a:gd name="connsiteY61" fmla="*/ 1458768 h 2404309"/>
                    <a:gd name="connsiteX62" fmla="*/ 376658 w 2358991"/>
                    <a:gd name="connsiteY62" fmla="*/ 1458768 h 2404309"/>
                    <a:gd name="connsiteX63" fmla="*/ 376658 w 2358991"/>
                    <a:gd name="connsiteY63" fmla="*/ 1458768 h 2404309"/>
                    <a:gd name="connsiteX64" fmla="*/ 376658 w 2358991"/>
                    <a:gd name="connsiteY64" fmla="*/ 1458768 h 2404309"/>
                    <a:gd name="connsiteX65" fmla="*/ 376658 w 2358991"/>
                    <a:gd name="connsiteY65" fmla="*/ 1458768 h 2404309"/>
                    <a:gd name="connsiteX66" fmla="*/ 376658 w 2358991"/>
                    <a:gd name="connsiteY66" fmla="*/ 1458768 h 2404309"/>
                    <a:gd name="connsiteX67" fmla="*/ 376658 w 2358991"/>
                    <a:gd name="connsiteY67" fmla="*/ 1458768 h 2404309"/>
                    <a:gd name="connsiteX68" fmla="*/ 376658 w 2358991"/>
                    <a:gd name="connsiteY68" fmla="*/ 1458768 h 2404309"/>
                    <a:gd name="connsiteX69" fmla="*/ 376658 w 2358991"/>
                    <a:gd name="connsiteY69" fmla="*/ 1458768 h 2404309"/>
                    <a:gd name="connsiteX70" fmla="*/ 376658 w 2358991"/>
                    <a:gd name="connsiteY70" fmla="*/ 1458768 h 2404309"/>
                    <a:gd name="connsiteX71" fmla="*/ 376658 w 2358991"/>
                    <a:gd name="connsiteY71" fmla="*/ 1458768 h 2404309"/>
                    <a:gd name="connsiteX72" fmla="*/ 376658 w 2358991"/>
                    <a:gd name="connsiteY72" fmla="*/ 1458768 h 2404309"/>
                    <a:gd name="connsiteX73" fmla="*/ 376658 w 2358991"/>
                    <a:gd name="connsiteY73" fmla="*/ 1458768 h 2404309"/>
                    <a:gd name="connsiteX74" fmla="*/ 376658 w 2358991"/>
                    <a:gd name="connsiteY74" fmla="*/ 1458768 h 2404309"/>
                    <a:gd name="connsiteX75" fmla="*/ 376658 w 2358991"/>
                    <a:gd name="connsiteY75" fmla="*/ 1458768 h 2404309"/>
                    <a:gd name="connsiteX76" fmla="*/ 376658 w 2358991"/>
                    <a:gd name="connsiteY76" fmla="*/ 1458768 h 2404309"/>
                    <a:gd name="connsiteX77" fmla="*/ 376658 w 2358991"/>
                    <a:gd name="connsiteY77" fmla="*/ 1458768 h 2404309"/>
                    <a:gd name="connsiteX78" fmla="*/ 376658 w 2358991"/>
                    <a:gd name="connsiteY78" fmla="*/ 1458768 h 2404309"/>
                    <a:gd name="connsiteX79" fmla="*/ 376658 w 2358991"/>
                    <a:gd name="connsiteY79" fmla="*/ 1458768 h 2404309"/>
                    <a:gd name="connsiteX80" fmla="*/ 376658 w 2358991"/>
                    <a:gd name="connsiteY80" fmla="*/ 1458768 h 2404309"/>
                    <a:gd name="connsiteX81" fmla="*/ 377060 w 2358991"/>
                    <a:gd name="connsiteY81" fmla="*/ 1458528 h 2404309"/>
                    <a:gd name="connsiteX82" fmla="*/ 376738 w 2358991"/>
                    <a:gd name="connsiteY82" fmla="*/ 1458768 h 2404309"/>
                    <a:gd name="connsiteX83" fmla="*/ 376738 w 2358991"/>
                    <a:gd name="connsiteY83" fmla="*/ 1458768 h 2404309"/>
                    <a:gd name="connsiteX84" fmla="*/ 372481 w 2358991"/>
                    <a:gd name="connsiteY84" fmla="*/ 1458286 h 2404309"/>
                    <a:gd name="connsiteX85" fmla="*/ 350873 w 2358991"/>
                    <a:gd name="connsiteY85" fmla="*/ 1453065 h 2404309"/>
                    <a:gd name="connsiteX86" fmla="*/ 350953 w 2358991"/>
                    <a:gd name="connsiteY86" fmla="*/ 1452904 h 2404309"/>
                    <a:gd name="connsiteX87" fmla="*/ 349989 w 2358991"/>
                    <a:gd name="connsiteY87" fmla="*/ 1452182 h 2404309"/>
                    <a:gd name="connsiteX88" fmla="*/ 372882 w 2358991"/>
                    <a:gd name="connsiteY88" fmla="*/ 1458367 h 2404309"/>
                    <a:gd name="connsiteX89" fmla="*/ 372481 w 2358991"/>
                    <a:gd name="connsiteY89" fmla="*/ 1458286 h 2404309"/>
                    <a:gd name="connsiteX90" fmla="*/ 351515 w 2358991"/>
                    <a:gd name="connsiteY90" fmla="*/ 1446719 h 2404309"/>
                    <a:gd name="connsiteX91" fmla="*/ 349427 w 2358991"/>
                    <a:gd name="connsiteY91" fmla="*/ 1447121 h 2404309"/>
                    <a:gd name="connsiteX92" fmla="*/ 349668 w 2358991"/>
                    <a:gd name="connsiteY92" fmla="*/ 1446719 h 2404309"/>
                    <a:gd name="connsiteX93" fmla="*/ 348302 w 2358991"/>
                    <a:gd name="connsiteY93" fmla="*/ 1445836 h 2404309"/>
                    <a:gd name="connsiteX94" fmla="*/ 345812 w 2358991"/>
                    <a:gd name="connsiteY94" fmla="*/ 1446960 h 2404309"/>
                    <a:gd name="connsiteX95" fmla="*/ 348463 w 2358991"/>
                    <a:gd name="connsiteY95" fmla="*/ 1444631 h 2404309"/>
                    <a:gd name="connsiteX96" fmla="*/ 351837 w 2358991"/>
                    <a:gd name="connsiteY96" fmla="*/ 1446559 h 2404309"/>
                    <a:gd name="connsiteX97" fmla="*/ 351515 w 2358991"/>
                    <a:gd name="connsiteY97" fmla="*/ 1446719 h 2404309"/>
                    <a:gd name="connsiteX98" fmla="*/ 291189 w 2358991"/>
                    <a:gd name="connsiteY98" fmla="*/ 1392819 h 2404309"/>
                    <a:gd name="connsiteX99" fmla="*/ 290305 w 2358991"/>
                    <a:gd name="connsiteY99" fmla="*/ 1394104 h 2404309"/>
                    <a:gd name="connsiteX100" fmla="*/ 290305 w 2358991"/>
                    <a:gd name="connsiteY100" fmla="*/ 1394104 h 2404309"/>
                    <a:gd name="connsiteX101" fmla="*/ 291269 w 2358991"/>
                    <a:gd name="connsiteY101" fmla="*/ 1392739 h 2404309"/>
                    <a:gd name="connsiteX102" fmla="*/ 291189 w 2358991"/>
                    <a:gd name="connsiteY102" fmla="*/ 1392819 h 2404309"/>
                    <a:gd name="connsiteX103" fmla="*/ 526952 w 2358991"/>
                    <a:gd name="connsiteY103" fmla="*/ 1358840 h 2404309"/>
                    <a:gd name="connsiteX104" fmla="*/ 524863 w 2358991"/>
                    <a:gd name="connsiteY104" fmla="*/ 1361411 h 2404309"/>
                    <a:gd name="connsiteX105" fmla="*/ 462930 w 2358991"/>
                    <a:gd name="connsiteY105" fmla="*/ 1359162 h 2404309"/>
                    <a:gd name="connsiteX106" fmla="*/ 444937 w 2358991"/>
                    <a:gd name="connsiteY106" fmla="*/ 1350004 h 2404309"/>
                    <a:gd name="connsiteX107" fmla="*/ 455379 w 2358991"/>
                    <a:gd name="connsiteY107" fmla="*/ 1344462 h 2404309"/>
                    <a:gd name="connsiteX108" fmla="*/ 515143 w 2358991"/>
                    <a:gd name="connsiteY108" fmla="*/ 1347755 h 2404309"/>
                    <a:gd name="connsiteX109" fmla="*/ 508556 w 2358991"/>
                    <a:gd name="connsiteY109" fmla="*/ 1349201 h 2404309"/>
                    <a:gd name="connsiteX110" fmla="*/ 526952 w 2358991"/>
                    <a:gd name="connsiteY110" fmla="*/ 1358840 h 2404309"/>
                    <a:gd name="connsiteX111" fmla="*/ 130131 w 2358991"/>
                    <a:gd name="connsiteY111" fmla="*/ 1233368 h 2404309"/>
                    <a:gd name="connsiteX112" fmla="*/ 129971 w 2358991"/>
                    <a:gd name="connsiteY112" fmla="*/ 1234412 h 2404309"/>
                    <a:gd name="connsiteX113" fmla="*/ 130051 w 2358991"/>
                    <a:gd name="connsiteY113" fmla="*/ 1231521 h 2404309"/>
                    <a:gd name="connsiteX114" fmla="*/ 130131 w 2358991"/>
                    <a:gd name="connsiteY114" fmla="*/ 1233368 h 2404309"/>
                    <a:gd name="connsiteX115" fmla="*/ 429514 w 2358991"/>
                    <a:gd name="connsiteY115" fmla="*/ 1326227 h 2404309"/>
                    <a:gd name="connsiteX116" fmla="*/ 417866 w 2358991"/>
                    <a:gd name="connsiteY116" fmla="*/ 1329521 h 2404309"/>
                    <a:gd name="connsiteX117" fmla="*/ 417465 w 2358991"/>
                    <a:gd name="connsiteY117" fmla="*/ 1328236 h 2404309"/>
                    <a:gd name="connsiteX118" fmla="*/ 377220 w 2358991"/>
                    <a:gd name="connsiteY118" fmla="*/ 1324139 h 2404309"/>
                    <a:gd name="connsiteX119" fmla="*/ 334566 w 2358991"/>
                    <a:gd name="connsiteY119" fmla="*/ 1289035 h 2404309"/>
                    <a:gd name="connsiteX120" fmla="*/ 325489 w 2358991"/>
                    <a:gd name="connsiteY120" fmla="*/ 1284858 h 2404309"/>
                    <a:gd name="connsiteX121" fmla="*/ 312556 w 2358991"/>
                    <a:gd name="connsiteY121" fmla="*/ 1280762 h 2404309"/>
                    <a:gd name="connsiteX122" fmla="*/ 278176 w 2358991"/>
                    <a:gd name="connsiteY122" fmla="*/ 1280521 h 2404309"/>
                    <a:gd name="connsiteX123" fmla="*/ 305728 w 2358991"/>
                    <a:gd name="connsiteY123" fmla="*/ 1272086 h 2404309"/>
                    <a:gd name="connsiteX124" fmla="*/ 345812 w 2358991"/>
                    <a:gd name="connsiteY124" fmla="*/ 1281163 h 2404309"/>
                    <a:gd name="connsiteX125" fmla="*/ 345410 w 2358991"/>
                    <a:gd name="connsiteY125" fmla="*/ 1281806 h 2404309"/>
                    <a:gd name="connsiteX126" fmla="*/ 380755 w 2358991"/>
                    <a:gd name="connsiteY126" fmla="*/ 1300924 h 2404309"/>
                    <a:gd name="connsiteX127" fmla="*/ 379389 w 2358991"/>
                    <a:gd name="connsiteY127" fmla="*/ 1299478 h 2404309"/>
                    <a:gd name="connsiteX128" fmla="*/ 386056 w 2358991"/>
                    <a:gd name="connsiteY128" fmla="*/ 1303655 h 2404309"/>
                    <a:gd name="connsiteX129" fmla="*/ 382763 w 2358991"/>
                    <a:gd name="connsiteY129" fmla="*/ 1303414 h 2404309"/>
                    <a:gd name="connsiteX130" fmla="*/ 386538 w 2358991"/>
                    <a:gd name="connsiteY130" fmla="*/ 1304619 h 2404309"/>
                    <a:gd name="connsiteX131" fmla="*/ 390876 w 2358991"/>
                    <a:gd name="connsiteY131" fmla="*/ 1307350 h 2404309"/>
                    <a:gd name="connsiteX132" fmla="*/ 390314 w 2358991"/>
                    <a:gd name="connsiteY132" fmla="*/ 1308073 h 2404309"/>
                    <a:gd name="connsiteX133" fmla="*/ 402042 w 2358991"/>
                    <a:gd name="connsiteY133" fmla="*/ 1311688 h 2404309"/>
                    <a:gd name="connsiteX134" fmla="*/ 410315 w 2358991"/>
                    <a:gd name="connsiteY134" fmla="*/ 1317150 h 2404309"/>
                    <a:gd name="connsiteX135" fmla="*/ 429674 w 2358991"/>
                    <a:gd name="connsiteY135" fmla="*/ 1324460 h 2404309"/>
                    <a:gd name="connsiteX136" fmla="*/ 429514 w 2358991"/>
                    <a:gd name="connsiteY136" fmla="*/ 1326227 h 2404309"/>
                    <a:gd name="connsiteX137" fmla="*/ 830109 w 2358991"/>
                    <a:gd name="connsiteY137" fmla="*/ 1517810 h 2404309"/>
                    <a:gd name="connsiteX138" fmla="*/ 801914 w 2358991"/>
                    <a:gd name="connsiteY138" fmla="*/ 968125 h 2404309"/>
                    <a:gd name="connsiteX139" fmla="*/ 606798 w 2358991"/>
                    <a:gd name="connsiteY139" fmla="*/ 967643 h 2404309"/>
                    <a:gd name="connsiteX140" fmla="*/ 617401 w 2358991"/>
                    <a:gd name="connsiteY140" fmla="*/ 982665 h 2404309"/>
                    <a:gd name="connsiteX141" fmla="*/ 637643 w 2358991"/>
                    <a:gd name="connsiteY141" fmla="*/ 989412 h 2404309"/>
                    <a:gd name="connsiteX142" fmla="*/ 653147 w 2358991"/>
                    <a:gd name="connsiteY142" fmla="*/ 988287 h 2404309"/>
                    <a:gd name="connsiteX143" fmla="*/ 657966 w 2358991"/>
                    <a:gd name="connsiteY143" fmla="*/ 994473 h 2404309"/>
                    <a:gd name="connsiteX144" fmla="*/ 614107 w 2358991"/>
                    <a:gd name="connsiteY144" fmla="*/ 1007164 h 2404309"/>
                    <a:gd name="connsiteX145" fmla="*/ 613224 w 2358991"/>
                    <a:gd name="connsiteY145" fmla="*/ 1005638 h 2404309"/>
                    <a:gd name="connsiteX146" fmla="*/ 581976 w 2358991"/>
                    <a:gd name="connsiteY146" fmla="*/ 1017527 h 2404309"/>
                    <a:gd name="connsiteX147" fmla="*/ 581334 w 2358991"/>
                    <a:gd name="connsiteY147" fmla="*/ 1009092 h 2404309"/>
                    <a:gd name="connsiteX148" fmla="*/ 588563 w 2358991"/>
                    <a:gd name="connsiteY148" fmla="*/ 1002827 h 2404309"/>
                    <a:gd name="connsiteX149" fmla="*/ 611858 w 2358991"/>
                    <a:gd name="connsiteY149" fmla="*/ 993991 h 2404309"/>
                    <a:gd name="connsiteX150" fmla="*/ 620293 w 2358991"/>
                    <a:gd name="connsiteY150" fmla="*/ 994232 h 2404309"/>
                    <a:gd name="connsiteX151" fmla="*/ 605030 w 2358991"/>
                    <a:gd name="connsiteY151" fmla="*/ 992625 h 2404309"/>
                    <a:gd name="connsiteX152" fmla="*/ 610573 w 2358991"/>
                    <a:gd name="connsiteY152" fmla="*/ 987404 h 2404309"/>
                    <a:gd name="connsiteX153" fmla="*/ 585189 w 2358991"/>
                    <a:gd name="connsiteY153" fmla="*/ 992706 h 2404309"/>
                    <a:gd name="connsiteX154" fmla="*/ 585350 w 2358991"/>
                    <a:gd name="connsiteY154" fmla="*/ 991018 h 2404309"/>
                    <a:gd name="connsiteX155" fmla="*/ 582699 w 2358991"/>
                    <a:gd name="connsiteY155" fmla="*/ 992223 h 2404309"/>
                    <a:gd name="connsiteX156" fmla="*/ 567758 w 2358991"/>
                    <a:gd name="connsiteY156" fmla="*/ 994071 h 2404309"/>
                    <a:gd name="connsiteX157" fmla="*/ 553299 w 2358991"/>
                    <a:gd name="connsiteY157" fmla="*/ 1004353 h 2404309"/>
                    <a:gd name="connsiteX158" fmla="*/ 551612 w 2358991"/>
                    <a:gd name="connsiteY158" fmla="*/ 1005558 h 2404309"/>
                    <a:gd name="connsiteX159" fmla="*/ 541652 w 2358991"/>
                    <a:gd name="connsiteY159" fmla="*/ 1003791 h 2404309"/>
                    <a:gd name="connsiteX160" fmla="*/ 528076 w 2358991"/>
                    <a:gd name="connsiteY160" fmla="*/ 1011422 h 2404309"/>
                    <a:gd name="connsiteX161" fmla="*/ 527755 w 2358991"/>
                    <a:gd name="connsiteY161" fmla="*/ 1009976 h 2404309"/>
                    <a:gd name="connsiteX162" fmla="*/ 526470 w 2358991"/>
                    <a:gd name="connsiteY162" fmla="*/ 1011502 h 2404309"/>
                    <a:gd name="connsiteX163" fmla="*/ 526309 w 2358991"/>
                    <a:gd name="connsiteY163" fmla="*/ 1009735 h 2404309"/>
                    <a:gd name="connsiteX164" fmla="*/ 524943 w 2358991"/>
                    <a:gd name="connsiteY164" fmla="*/ 1011823 h 2404309"/>
                    <a:gd name="connsiteX165" fmla="*/ 523979 w 2358991"/>
                    <a:gd name="connsiteY165" fmla="*/ 1010860 h 2404309"/>
                    <a:gd name="connsiteX166" fmla="*/ 523578 w 2358991"/>
                    <a:gd name="connsiteY166" fmla="*/ 1012948 h 2404309"/>
                    <a:gd name="connsiteX167" fmla="*/ 521007 w 2358991"/>
                    <a:gd name="connsiteY167" fmla="*/ 1012546 h 2404309"/>
                    <a:gd name="connsiteX168" fmla="*/ 521329 w 2358991"/>
                    <a:gd name="connsiteY168" fmla="*/ 1011422 h 2404309"/>
                    <a:gd name="connsiteX169" fmla="*/ 503897 w 2358991"/>
                    <a:gd name="connsiteY169" fmla="*/ 1031263 h 2404309"/>
                    <a:gd name="connsiteX170" fmla="*/ 506709 w 2358991"/>
                    <a:gd name="connsiteY170" fmla="*/ 1039456 h 2404309"/>
                    <a:gd name="connsiteX171" fmla="*/ 513617 w 2358991"/>
                    <a:gd name="connsiteY171" fmla="*/ 1041384 h 2404309"/>
                    <a:gd name="connsiteX172" fmla="*/ 514581 w 2358991"/>
                    <a:gd name="connsiteY172" fmla="*/ 1038814 h 2404309"/>
                    <a:gd name="connsiteX173" fmla="*/ 514581 w 2358991"/>
                    <a:gd name="connsiteY173" fmla="*/ 1038894 h 2404309"/>
                    <a:gd name="connsiteX174" fmla="*/ 510163 w 2358991"/>
                    <a:gd name="connsiteY174" fmla="*/ 1045240 h 2404309"/>
                    <a:gd name="connsiteX175" fmla="*/ 496989 w 2358991"/>
                    <a:gd name="connsiteY175" fmla="*/ 1042991 h 2404309"/>
                    <a:gd name="connsiteX176" fmla="*/ 495302 w 2358991"/>
                    <a:gd name="connsiteY176" fmla="*/ 1041063 h 2404309"/>
                    <a:gd name="connsiteX177" fmla="*/ 454094 w 2358991"/>
                    <a:gd name="connsiteY177" fmla="*/ 1052469 h 2404309"/>
                    <a:gd name="connsiteX178" fmla="*/ 455379 w 2358991"/>
                    <a:gd name="connsiteY178" fmla="*/ 1045079 h 2404309"/>
                    <a:gd name="connsiteX179" fmla="*/ 450801 w 2358991"/>
                    <a:gd name="connsiteY179" fmla="*/ 1066688 h 2404309"/>
                    <a:gd name="connsiteX180" fmla="*/ 451363 w 2358991"/>
                    <a:gd name="connsiteY180" fmla="*/ 1063635 h 2404309"/>
                    <a:gd name="connsiteX181" fmla="*/ 440438 w 2358991"/>
                    <a:gd name="connsiteY181" fmla="*/ 1074801 h 2404309"/>
                    <a:gd name="connsiteX182" fmla="*/ 432405 w 2358991"/>
                    <a:gd name="connsiteY182" fmla="*/ 1073275 h 2404309"/>
                    <a:gd name="connsiteX183" fmla="*/ 431763 w 2358991"/>
                    <a:gd name="connsiteY183" fmla="*/ 1065483 h 2404309"/>
                    <a:gd name="connsiteX184" fmla="*/ 433128 w 2358991"/>
                    <a:gd name="connsiteY184" fmla="*/ 1084520 h 2404309"/>
                    <a:gd name="connsiteX185" fmla="*/ 422043 w 2358991"/>
                    <a:gd name="connsiteY185" fmla="*/ 1096971 h 2404309"/>
                    <a:gd name="connsiteX186" fmla="*/ 420919 w 2358991"/>
                    <a:gd name="connsiteY186" fmla="*/ 1089501 h 2404309"/>
                    <a:gd name="connsiteX187" fmla="*/ 419794 w 2358991"/>
                    <a:gd name="connsiteY187" fmla="*/ 1084681 h 2404309"/>
                    <a:gd name="connsiteX188" fmla="*/ 419633 w 2358991"/>
                    <a:gd name="connsiteY188" fmla="*/ 1084038 h 2404309"/>
                    <a:gd name="connsiteX189" fmla="*/ 416179 w 2358991"/>
                    <a:gd name="connsiteY189" fmla="*/ 1077050 h 2404309"/>
                    <a:gd name="connsiteX190" fmla="*/ 415135 w 2358991"/>
                    <a:gd name="connsiteY190" fmla="*/ 1077853 h 2404309"/>
                    <a:gd name="connsiteX191" fmla="*/ 419071 w 2358991"/>
                    <a:gd name="connsiteY191" fmla="*/ 1072230 h 2404309"/>
                    <a:gd name="connsiteX192" fmla="*/ 417545 w 2358991"/>
                    <a:gd name="connsiteY192" fmla="*/ 1072953 h 2404309"/>
                    <a:gd name="connsiteX193" fmla="*/ 421401 w 2358991"/>
                    <a:gd name="connsiteY193" fmla="*/ 1068294 h 2404309"/>
                    <a:gd name="connsiteX194" fmla="*/ 423569 w 2358991"/>
                    <a:gd name="connsiteY194" fmla="*/ 1067170 h 2404309"/>
                    <a:gd name="connsiteX195" fmla="*/ 422124 w 2358991"/>
                    <a:gd name="connsiteY195" fmla="*/ 1067089 h 2404309"/>
                    <a:gd name="connsiteX196" fmla="*/ 422445 w 2358991"/>
                    <a:gd name="connsiteY196" fmla="*/ 1065884 h 2404309"/>
                    <a:gd name="connsiteX197" fmla="*/ 417946 w 2358991"/>
                    <a:gd name="connsiteY197" fmla="*/ 1067411 h 2404309"/>
                    <a:gd name="connsiteX198" fmla="*/ 417304 w 2358991"/>
                    <a:gd name="connsiteY198" fmla="*/ 1069097 h 2404309"/>
                    <a:gd name="connsiteX199" fmla="*/ 416581 w 2358991"/>
                    <a:gd name="connsiteY199" fmla="*/ 1067732 h 2404309"/>
                    <a:gd name="connsiteX200" fmla="*/ 414894 w 2358991"/>
                    <a:gd name="connsiteY200" fmla="*/ 1070142 h 2404309"/>
                    <a:gd name="connsiteX201" fmla="*/ 412805 w 2358991"/>
                    <a:gd name="connsiteY201" fmla="*/ 1069178 h 2404309"/>
                    <a:gd name="connsiteX202" fmla="*/ 412966 w 2358991"/>
                    <a:gd name="connsiteY202" fmla="*/ 1084761 h 2404309"/>
                    <a:gd name="connsiteX203" fmla="*/ 405817 w 2358991"/>
                    <a:gd name="connsiteY203" fmla="*/ 1087091 h 2404309"/>
                    <a:gd name="connsiteX204" fmla="*/ 412404 w 2358991"/>
                    <a:gd name="connsiteY204" fmla="*/ 1094802 h 2404309"/>
                    <a:gd name="connsiteX205" fmla="*/ 411761 w 2358991"/>
                    <a:gd name="connsiteY205" fmla="*/ 1096811 h 2404309"/>
                    <a:gd name="connsiteX206" fmla="*/ 422043 w 2358991"/>
                    <a:gd name="connsiteY206" fmla="*/ 1120909 h 2404309"/>
                    <a:gd name="connsiteX207" fmla="*/ 418348 w 2358991"/>
                    <a:gd name="connsiteY207" fmla="*/ 1113037 h 2404309"/>
                    <a:gd name="connsiteX208" fmla="*/ 413368 w 2358991"/>
                    <a:gd name="connsiteY208" fmla="*/ 1115045 h 2404309"/>
                    <a:gd name="connsiteX209" fmla="*/ 411601 w 2358991"/>
                    <a:gd name="connsiteY209" fmla="*/ 1114081 h 2404309"/>
                    <a:gd name="connsiteX210" fmla="*/ 412163 w 2358991"/>
                    <a:gd name="connsiteY210" fmla="*/ 1115206 h 2404309"/>
                    <a:gd name="connsiteX211" fmla="*/ 405094 w 2358991"/>
                    <a:gd name="connsiteY211" fmla="*/ 1113198 h 2404309"/>
                    <a:gd name="connsiteX212" fmla="*/ 416099 w 2358991"/>
                    <a:gd name="connsiteY212" fmla="*/ 1123078 h 2404309"/>
                    <a:gd name="connsiteX213" fmla="*/ 400355 w 2358991"/>
                    <a:gd name="connsiteY213" fmla="*/ 1121792 h 2404309"/>
                    <a:gd name="connsiteX214" fmla="*/ 405335 w 2358991"/>
                    <a:gd name="connsiteY214" fmla="*/ 1127416 h 2404309"/>
                    <a:gd name="connsiteX215" fmla="*/ 398186 w 2358991"/>
                    <a:gd name="connsiteY215" fmla="*/ 1126693 h 2404309"/>
                    <a:gd name="connsiteX216" fmla="*/ 404210 w 2358991"/>
                    <a:gd name="connsiteY216" fmla="*/ 1130950 h 2404309"/>
                    <a:gd name="connsiteX217" fmla="*/ 392643 w 2358991"/>
                    <a:gd name="connsiteY217" fmla="*/ 1134725 h 2404309"/>
                    <a:gd name="connsiteX218" fmla="*/ 363966 w 2358991"/>
                    <a:gd name="connsiteY218" fmla="*/ 1145650 h 2404309"/>
                    <a:gd name="connsiteX219" fmla="*/ 341153 w 2358991"/>
                    <a:gd name="connsiteY219" fmla="*/ 1156093 h 2404309"/>
                    <a:gd name="connsiteX220" fmla="*/ 339948 w 2358991"/>
                    <a:gd name="connsiteY220" fmla="*/ 1154406 h 2404309"/>
                    <a:gd name="connsiteX221" fmla="*/ 333361 w 2358991"/>
                    <a:gd name="connsiteY221" fmla="*/ 1165652 h 2404309"/>
                    <a:gd name="connsiteX222" fmla="*/ 338020 w 2358991"/>
                    <a:gd name="connsiteY222" fmla="*/ 1206940 h 2404309"/>
                    <a:gd name="connsiteX223" fmla="*/ 342840 w 2358991"/>
                    <a:gd name="connsiteY223" fmla="*/ 1243007 h 2404309"/>
                    <a:gd name="connsiteX224" fmla="*/ 342358 w 2358991"/>
                    <a:gd name="connsiteY224" fmla="*/ 1242365 h 2404309"/>
                    <a:gd name="connsiteX225" fmla="*/ 335369 w 2358991"/>
                    <a:gd name="connsiteY225" fmla="*/ 1247827 h 2404309"/>
                    <a:gd name="connsiteX226" fmla="*/ 309664 w 2358991"/>
                    <a:gd name="connsiteY226" fmla="*/ 1219471 h 2404309"/>
                    <a:gd name="connsiteX227" fmla="*/ 307977 w 2358991"/>
                    <a:gd name="connsiteY227" fmla="*/ 1208065 h 2404309"/>
                    <a:gd name="connsiteX228" fmla="*/ 273115 w 2358991"/>
                    <a:gd name="connsiteY228" fmla="*/ 1174729 h 2404309"/>
                    <a:gd name="connsiteX229" fmla="*/ 270464 w 2358991"/>
                    <a:gd name="connsiteY229" fmla="*/ 1168061 h 2404309"/>
                    <a:gd name="connsiteX230" fmla="*/ 252953 w 2358991"/>
                    <a:gd name="connsiteY230" fmla="*/ 1160350 h 2404309"/>
                    <a:gd name="connsiteX231" fmla="*/ 251828 w 2358991"/>
                    <a:gd name="connsiteY231" fmla="*/ 1159386 h 2404309"/>
                    <a:gd name="connsiteX232" fmla="*/ 248213 w 2358991"/>
                    <a:gd name="connsiteY232" fmla="*/ 1160350 h 2404309"/>
                    <a:gd name="connsiteX233" fmla="*/ 243876 w 2358991"/>
                    <a:gd name="connsiteY233" fmla="*/ 1160511 h 2404309"/>
                    <a:gd name="connsiteX234" fmla="*/ 238654 w 2358991"/>
                    <a:gd name="connsiteY234" fmla="*/ 1154727 h 2404309"/>
                    <a:gd name="connsiteX235" fmla="*/ 215841 w 2358991"/>
                    <a:gd name="connsiteY235" fmla="*/ 1153281 h 2404309"/>
                    <a:gd name="connsiteX236" fmla="*/ 224356 w 2358991"/>
                    <a:gd name="connsiteY236" fmla="*/ 1160832 h 2404309"/>
                    <a:gd name="connsiteX237" fmla="*/ 221786 w 2358991"/>
                    <a:gd name="connsiteY237" fmla="*/ 1161555 h 2404309"/>
                    <a:gd name="connsiteX238" fmla="*/ 225561 w 2358991"/>
                    <a:gd name="connsiteY238" fmla="*/ 1171997 h 2404309"/>
                    <a:gd name="connsiteX239" fmla="*/ 224677 w 2358991"/>
                    <a:gd name="connsiteY239" fmla="*/ 1170873 h 2404309"/>
                    <a:gd name="connsiteX240" fmla="*/ 222830 w 2358991"/>
                    <a:gd name="connsiteY240" fmla="*/ 1171676 h 2404309"/>
                    <a:gd name="connsiteX241" fmla="*/ 218733 w 2358991"/>
                    <a:gd name="connsiteY241" fmla="*/ 1164688 h 2404309"/>
                    <a:gd name="connsiteX242" fmla="*/ 203069 w 2358991"/>
                    <a:gd name="connsiteY242" fmla="*/ 1160430 h 2404309"/>
                    <a:gd name="connsiteX243" fmla="*/ 199294 w 2358991"/>
                    <a:gd name="connsiteY243" fmla="*/ 1153763 h 2404309"/>
                    <a:gd name="connsiteX244" fmla="*/ 169492 w 2358991"/>
                    <a:gd name="connsiteY244" fmla="*/ 1143562 h 2404309"/>
                    <a:gd name="connsiteX245" fmla="*/ 165235 w 2358991"/>
                    <a:gd name="connsiteY245" fmla="*/ 1142356 h 2404309"/>
                    <a:gd name="connsiteX246" fmla="*/ 149410 w 2358991"/>
                    <a:gd name="connsiteY246" fmla="*/ 1149666 h 2404309"/>
                    <a:gd name="connsiteX247" fmla="*/ 151740 w 2358991"/>
                    <a:gd name="connsiteY247" fmla="*/ 1148863 h 2404309"/>
                    <a:gd name="connsiteX248" fmla="*/ 145956 w 2358991"/>
                    <a:gd name="connsiteY248" fmla="*/ 1145088 h 2404309"/>
                    <a:gd name="connsiteX249" fmla="*/ 142422 w 2358991"/>
                    <a:gd name="connsiteY249" fmla="*/ 1149907 h 2404309"/>
                    <a:gd name="connsiteX250" fmla="*/ 141217 w 2358991"/>
                    <a:gd name="connsiteY250" fmla="*/ 1151112 h 2404309"/>
                    <a:gd name="connsiteX251" fmla="*/ 130051 w 2358991"/>
                    <a:gd name="connsiteY251" fmla="*/ 1231601 h 2404309"/>
                    <a:gd name="connsiteX252" fmla="*/ 127962 w 2358991"/>
                    <a:gd name="connsiteY252" fmla="*/ 1224693 h 2404309"/>
                    <a:gd name="connsiteX253" fmla="*/ 144108 w 2358991"/>
                    <a:gd name="connsiteY253" fmla="*/ 1271845 h 2404309"/>
                    <a:gd name="connsiteX254" fmla="*/ 142662 w 2358991"/>
                    <a:gd name="connsiteY254" fmla="*/ 1270560 h 2404309"/>
                    <a:gd name="connsiteX255" fmla="*/ 144751 w 2358991"/>
                    <a:gd name="connsiteY255" fmla="*/ 1272568 h 2404309"/>
                    <a:gd name="connsiteX256" fmla="*/ 185959 w 2358991"/>
                    <a:gd name="connsiteY256" fmla="*/ 1292570 h 2404309"/>
                    <a:gd name="connsiteX257" fmla="*/ 189895 w 2358991"/>
                    <a:gd name="connsiteY257" fmla="*/ 1290160 h 2404309"/>
                    <a:gd name="connsiteX258" fmla="*/ 242269 w 2358991"/>
                    <a:gd name="connsiteY258" fmla="*/ 1279476 h 2404309"/>
                    <a:gd name="connsiteX259" fmla="*/ 237289 w 2358991"/>
                    <a:gd name="connsiteY259" fmla="*/ 1304539 h 2404309"/>
                    <a:gd name="connsiteX260" fmla="*/ 229658 w 2358991"/>
                    <a:gd name="connsiteY260" fmla="*/ 1304539 h 2404309"/>
                    <a:gd name="connsiteX261" fmla="*/ 223472 w 2358991"/>
                    <a:gd name="connsiteY261" fmla="*/ 1336670 h 2404309"/>
                    <a:gd name="connsiteX262" fmla="*/ 258013 w 2358991"/>
                    <a:gd name="connsiteY262" fmla="*/ 1346229 h 2404309"/>
                    <a:gd name="connsiteX263" fmla="*/ 257291 w 2358991"/>
                    <a:gd name="connsiteY263" fmla="*/ 1345104 h 2404309"/>
                    <a:gd name="connsiteX264" fmla="*/ 277212 w 2358991"/>
                    <a:gd name="connsiteY264" fmla="*/ 1352093 h 2404309"/>
                    <a:gd name="connsiteX265" fmla="*/ 290466 w 2358991"/>
                    <a:gd name="connsiteY265" fmla="*/ 1362776 h 2404309"/>
                    <a:gd name="connsiteX266" fmla="*/ 289181 w 2358991"/>
                    <a:gd name="connsiteY266" fmla="*/ 1361009 h 2404309"/>
                    <a:gd name="connsiteX267" fmla="*/ 295045 w 2358991"/>
                    <a:gd name="connsiteY267" fmla="*/ 1365347 h 2404309"/>
                    <a:gd name="connsiteX268" fmla="*/ 294643 w 2358991"/>
                    <a:gd name="connsiteY268" fmla="*/ 1368962 h 2404309"/>
                    <a:gd name="connsiteX269" fmla="*/ 289181 w 2358991"/>
                    <a:gd name="connsiteY269" fmla="*/ 1399808 h 2404309"/>
                    <a:gd name="connsiteX270" fmla="*/ 320187 w 2358991"/>
                    <a:gd name="connsiteY270" fmla="*/ 1442542 h 2404309"/>
                    <a:gd name="connsiteX271" fmla="*/ 318340 w 2358991"/>
                    <a:gd name="connsiteY271" fmla="*/ 1440052 h 2404309"/>
                    <a:gd name="connsiteX272" fmla="*/ 350873 w 2358991"/>
                    <a:gd name="connsiteY272" fmla="*/ 1452985 h 2404309"/>
                    <a:gd name="connsiteX273" fmla="*/ 340028 w 2358991"/>
                    <a:gd name="connsiteY273" fmla="*/ 1463909 h 2404309"/>
                    <a:gd name="connsiteX274" fmla="*/ 283317 w 2358991"/>
                    <a:gd name="connsiteY274" fmla="*/ 1427762 h 2404309"/>
                    <a:gd name="connsiteX275" fmla="*/ 225400 w 2358991"/>
                    <a:gd name="connsiteY275" fmla="*/ 1368078 h 2404309"/>
                    <a:gd name="connsiteX276" fmla="*/ 225641 w 2358991"/>
                    <a:gd name="connsiteY276" fmla="*/ 1369203 h 2404309"/>
                    <a:gd name="connsiteX277" fmla="*/ 155595 w 2358991"/>
                    <a:gd name="connsiteY277" fmla="*/ 1306949 h 2404309"/>
                    <a:gd name="connsiteX278" fmla="*/ 153507 w 2358991"/>
                    <a:gd name="connsiteY278" fmla="*/ 1306306 h 2404309"/>
                    <a:gd name="connsiteX279" fmla="*/ 70367 w 2358991"/>
                    <a:gd name="connsiteY279" fmla="*/ 1215134 h 2404309"/>
                    <a:gd name="connsiteX280" fmla="*/ 40244 w 2358991"/>
                    <a:gd name="connsiteY280" fmla="*/ 1014474 h 2404309"/>
                    <a:gd name="connsiteX281" fmla="*/ 42654 w 2358991"/>
                    <a:gd name="connsiteY281" fmla="*/ 1149907 h 2404309"/>
                    <a:gd name="connsiteX282" fmla="*/ 43538 w 2358991"/>
                    <a:gd name="connsiteY282" fmla="*/ 881612 h 2404309"/>
                    <a:gd name="connsiteX283" fmla="*/ 43377 w 2358991"/>
                    <a:gd name="connsiteY283" fmla="*/ 881371 h 2404309"/>
                    <a:gd name="connsiteX284" fmla="*/ 44020 w 2358991"/>
                    <a:gd name="connsiteY284" fmla="*/ 880166 h 2404309"/>
                    <a:gd name="connsiteX285" fmla="*/ 54221 w 2358991"/>
                    <a:gd name="connsiteY285" fmla="*/ 837190 h 2404309"/>
                    <a:gd name="connsiteX286" fmla="*/ 54221 w 2358991"/>
                    <a:gd name="connsiteY286" fmla="*/ 837110 h 2404309"/>
                    <a:gd name="connsiteX287" fmla="*/ 54382 w 2358991"/>
                    <a:gd name="connsiteY287" fmla="*/ 836628 h 2404309"/>
                    <a:gd name="connsiteX288" fmla="*/ 54221 w 2358991"/>
                    <a:gd name="connsiteY288" fmla="*/ 837431 h 2404309"/>
                    <a:gd name="connsiteX289" fmla="*/ 54543 w 2358991"/>
                    <a:gd name="connsiteY289" fmla="*/ 836548 h 2404309"/>
                    <a:gd name="connsiteX290" fmla="*/ 54543 w 2358991"/>
                    <a:gd name="connsiteY290" fmla="*/ 836227 h 2404309"/>
                    <a:gd name="connsiteX291" fmla="*/ 67154 w 2358991"/>
                    <a:gd name="connsiteY291" fmla="*/ 799436 h 2404309"/>
                    <a:gd name="connsiteX292" fmla="*/ 85630 w 2358991"/>
                    <a:gd name="connsiteY292" fmla="*/ 753730 h 2404309"/>
                    <a:gd name="connsiteX293" fmla="*/ 98643 w 2358991"/>
                    <a:gd name="connsiteY293" fmla="*/ 693484 h 2404309"/>
                    <a:gd name="connsiteX294" fmla="*/ 72376 w 2358991"/>
                    <a:gd name="connsiteY294" fmla="*/ 760236 h 2404309"/>
                    <a:gd name="connsiteX295" fmla="*/ 19359 w 2358991"/>
                    <a:gd name="connsiteY295" fmla="*/ 957682 h 2404309"/>
                    <a:gd name="connsiteX296" fmla="*/ 0 w 2358991"/>
                    <a:gd name="connsiteY296" fmla="*/ 1163242 h 2404309"/>
                    <a:gd name="connsiteX297" fmla="*/ 16066 w 2358991"/>
                    <a:gd name="connsiteY297" fmla="*/ 1373701 h 2404309"/>
                    <a:gd name="connsiteX298" fmla="*/ 59282 w 2358991"/>
                    <a:gd name="connsiteY298" fmla="*/ 1553475 h 2404309"/>
                    <a:gd name="connsiteX299" fmla="*/ 138967 w 2358991"/>
                    <a:gd name="connsiteY299" fmla="*/ 1744335 h 2404309"/>
                    <a:gd name="connsiteX300" fmla="*/ 248213 w 2358991"/>
                    <a:gd name="connsiteY300" fmla="*/ 1917040 h 2404309"/>
                    <a:gd name="connsiteX301" fmla="*/ 309504 w 2358991"/>
                    <a:gd name="connsiteY301" fmla="*/ 1991664 h 2404309"/>
                    <a:gd name="connsiteX302" fmla="*/ 538278 w 2358991"/>
                    <a:gd name="connsiteY302" fmla="*/ 2099063 h 2404309"/>
                    <a:gd name="connsiteX303" fmla="*/ 654432 w 2358991"/>
                    <a:gd name="connsiteY303" fmla="*/ 2119145 h 2404309"/>
                    <a:gd name="connsiteX304" fmla="*/ 654994 w 2358991"/>
                    <a:gd name="connsiteY304" fmla="*/ 2114486 h 2404309"/>
                    <a:gd name="connsiteX305" fmla="*/ 632663 w 2358991"/>
                    <a:gd name="connsiteY305" fmla="*/ 2093038 h 2404309"/>
                    <a:gd name="connsiteX306" fmla="*/ 648568 w 2358991"/>
                    <a:gd name="connsiteY306" fmla="*/ 2095368 h 2404309"/>
                    <a:gd name="connsiteX307" fmla="*/ 615312 w 2358991"/>
                    <a:gd name="connsiteY307" fmla="*/ 2074402 h 2404309"/>
                    <a:gd name="connsiteX308" fmla="*/ 608324 w 2358991"/>
                    <a:gd name="connsiteY308" fmla="*/ 2076170 h 2404309"/>
                    <a:gd name="connsiteX309" fmla="*/ 619650 w 2358991"/>
                    <a:gd name="connsiteY309" fmla="*/ 2066369 h 2404309"/>
                    <a:gd name="connsiteX310" fmla="*/ 626237 w 2358991"/>
                    <a:gd name="connsiteY310" fmla="*/ 2070065 h 2404309"/>
                    <a:gd name="connsiteX311" fmla="*/ 634029 w 2358991"/>
                    <a:gd name="connsiteY311" fmla="*/ 2066289 h 2404309"/>
                    <a:gd name="connsiteX312" fmla="*/ 624148 w 2358991"/>
                    <a:gd name="connsiteY312" fmla="*/ 2029901 h 2404309"/>
                    <a:gd name="connsiteX313" fmla="*/ 618686 w 2358991"/>
                    <a:gd name="connsiteY313" fmla="*/ 2024037 h 2404309"/>
                    <a:gd name="connsiteX314" fmla="*/ 603504 w 2358991"/>
                    <a:gd name="connsiteY314" fmla="*/ 2022269 h 2404309"/>
                    <a:gd name="connsiteX315" fmla="*/ 571855 w 2358991"/>
                    <a:gd name="connsiteY315" fmla="*/ 1822012 h 2404309"/>
                    <a:gd name="connsiteX316" fmla="*/ 445097 w 2358991"/>
                    <a:gd name="connsiteY316" fmla="*/ 1715657 h 2404309"/>
                    <a:gd name="connsiteX317" fmla="*/ 362922 w 2358991"/>
                    <a:gd name="connsiteY317" fmla="*/ 1579983 h 2404309"/>
                    <a:gd name="connsiteX318" fmla="*/ 347659 w 2358991"/>
                    <a:gd name="connsiteY318" fmla="*/ 1569460 h 2404309"/>
                    <a:gd name="connsiteX319" fmla="*/ 349828 w 2358991"/>
                    <a:gd name="connsiteY319" fmla="*/ 1559901 h 2404309"/>
                    <a:gd name="connsiteX320" fmla="*/ 354728 w 2358991"/>
                    <a:gd name="connsiteY320" fmla="*/ 1557090 h 2404309"/>
                    <a:gd name="connsiteX321" fmla="*/ 397864 w 2358991"/>
                    <a:gd name="connsiteY321" fmla="*/ 1513874 h 2404309"/>
                    <a:gd name="connsiteX322" fmla="*/ 393286 w 2358991"/>
                    <a:gd name="connsiteY322" fmla="*/ 1512749 h 2404309"/>
                    <a:gd name="connsiteX323" fmla="*/ 390394 w 2358991"/>
                    <a:gd name="connsiteY323" fmla="*/ 1509295 h 2404309"/>
                    <a:gd name="connsiteX324" fmla="*/ 392804 w 2358991"/>
                    <a:gd name="connsiteY324" fmla="*/ 1502306 h 2404309"/>
                    <a:gd name="connsiteX325" fmla="*/ 374891 w 2358991"/>
                    <a:gd name="connsiteY325" fmla="*/ 1465516 h 2404309"/>
                    <a:gd name="connsiteX326" fmla="*/ 412966 w 2358991"/>
                    <a:gd name="connsiteY326" fmla="*/ 1444952 h 2404309"/>
                    <a:gd name="connsiteX327" fmla="*/ 479076 w 2358991"/>
                    <a:gd name="connsiteY327" fmla="*/ 1439249 h 2404309"/>
                    <a:gd name="connsiteX328" fmla="*/ 477791 w 2358991"/>
                    <a:gd name="connsiteY328" fmla="*/ 1442863 h 2404309"/>
                    <a:gd name="connsiteX329" fmla="*/ 481245 w 2358991"/>
                    <a:gd name="connsiteY329" fmla="*/ 1459733 h 2404309"/>
                    <a:gd name="connsiteX330" fmla="*/ 482209 w 2358991"/>
                    <a:gd name="connsiteY330" fmla="*/ 1443587 h 2404309"/>
                    <a:gd name="connsiteX331" fmla="*/ 652022 w 2358991"/>
                    <a:gd name="connsiteY331" fmla="*/ 1456359 h 2404309"/>
                    <a:gd name="connsiteX332" fmla="*/ 634270 w 2358991"/>
                    <a:gd name="connsiteY332" fmla="*/ 1458367 h 2404309"/>
                    <a:gd name="connsiteX333" fmla="*/ 647925 w 2358991"/>
                    <a:gd name="connsiteY333" fmla="*/ 1466962 h 2404309"/>
                    <a:gd name="connsiteX334" fmla="*/ 647604 w 2358991"/>
                    <a:gd name="connsiteY334" fmla="*/ 1465114 h 2404309"/>
                    <a:gd name="connsiteX335" fmla="*/ 654352 w 2358991"/>
                    <a:gd name="connsiteY335" fmla="*/ 1467926 h 2404309"/>
                    <a:gd name="connsiteX336" fmla="*/ 655075 w 2358991"/>
                    <a:gd name="connsiteY336" fmla="*/ 1467203 h 2404309"/>
                    <a:gd name="connsiteX337" fmla="*/ 669935 w 2358991"/>
                    <a:gd name="connsiteY337" fmla="*/ 1472746 h 2404309"/>
                    <a:gd name="connsiteX338" fmla="*/ 664312 w 2358991"/>
                    <a:gd name="connsiteY338" fmla="*/ 1479895 h 2404309"/>
                    <a:gd name="connsiteX339" fmla="*/ 694516 w 2358991"/>
                    <a:gd name="connsiteY339" fmla="*/ 1485036 h 2404309"/>
                    <a:gd name="connsiteX340" fmla="*/ 694435 w 2358991"/>
                    <a:gd name="connsiteY340" fmla="*/ 1484554 h 2404309"/>
                    <a:gd name="connsiteX341" fmla="*/ 717248 w 2358991"/>
                    <a:gd name="connsiteY341" fmla="*/ 1507769 h 2404309"/>
                    <a:gd name="connsiteX342" fmla="*/ 746729 w 2358991"/>
                    <a:gd name="connsiteY342" fmla="*/ 1517649 h 2404309"/>
                    <a:gd name="connsiteX343" fmla="*/ 806573 w 2358991"/>
                    <a:gd name="connsiteY343" fmla="*/ 1517810 h 2404309"/>
                    <a:gd name="connsiteX344" fmla="*/ 830109 w 2358991"/>
                    <a:gd name="connsiteY344" fmla="*/ 1517810 h 2404309"/>
                    <a:gd name="connsiteX345" fmla="*/ 2131181 w 2358991"/>
                    <a:gd name="connsiteY345" fmla="*/ 548251 h 2404309"/>
                    <a:gd name="connsiteX346" fmla="*/ 2127245 w 2358991"/>
                    <a:gd name="connsiteY346" fmla="*/ 552106 h 2404309"/>
                    <a:gd name="connsiteX347" fmla="*/ 2127326 w 2358991"/>
                    <a:gd name="connsiteY347" fmla="*/ 549295 h 2404309"/>
                    <a:gd name="connsiteX348" fmla="*/ 2126924 w 2358991"/>
                    <a:gd name="connsiteY348" fmla="*/ 550098 h 2404309"/>
                    <a:gd name="connsiteX349" fmla="*/ 2122506 w 2358991"/>
                    <a:gd name="connsiteY349" fmla="*/ 563192 h 2404309"/>
                    <a:gd name="connsiteX350" fmla="*/ 2130780 w 2358991"/>
                    <a:gd name="connsiteY350" fmla="*/ 553874 h 2404309"/>
                    <a:gd name="connsiteX351" fmla="*/ 2131181 w 2358991"/>
                    <a:gd name="connsiteY351" fmla="*/ 548251 h 2404309"/>
                    <a:gd name="connsiteX352" fmla="*/ 858867 w 2358991"/>
                    <a:gd name="connsiteY352" fmla="*/ 568815 h 2404309"/>
                    <a:gd name="connsiteX353" fmla="*/ 859509 w 2358991"/>
                    <a:gd name="connsiteY353" fmla="*/ 568252 h 2404309"/>
                    <a:gd name="connsiteX354" fmla="*/ 858626 w 2358991"/>
                    <a:gd name="connsiteY354" fmla="*/ 568815 h 2404309"/>
                    <a:gd name="connsiteX355" fmla="*/ 836857 w 2358991"/>
                    <a:gd name="connsiteY355" fmla="*/ 581105 h 2404309"/>
                    <a:gd name="connsiteX356" fmla="*/ 836134 w 2358991"/>
                    <a:gd name="connsiteY356" fmla="*/ 585443 h 2404309"/>
                    <a:gd name="connsiteX357" fmla="*/ 858867 w 2358991"/>
                    <a:gd name="connsiteY357" fmla="*/ 568815 h 2404309"/>
                    <a:gd name="connsiteX358" fmla="*/ 844488 w 2358991"/>
                    <a:gd name="connsiteY358" fmla="*/ 569297 h 2404309"/>
                    <a:gd name="connsiteX359" fmla="*/ 844970 w 2358991"/>
                    <a:gd name="connsiteY359" fmla="*/ 568895 h 2404309"/>
                    <a:gd name="connsiteX360" fmla="*/ 840070 w 2358991"/>
                    <a:gd name="connsiteY360" fmla="*/ 561826 h 2404309"/>
                    <a:gd name="connsiteX361" fmla="*/ 837901 w 2358991"/>
                    <a:gd name="connsiteY361" fmla="*/ 574839 h 2404309"/>
                    <a:gd name="connsiteX362" fmla="*/ 844488 w 2358991"/>
                    <a:gd name="connsiteY362" fmla="*/ 569297 h 2404309"/>
                    <a:gd name="connsiteX363" fmla="*/ 866418 w 2358991"/>
                    <a:gd name="connsiteY363" fmla="*/ 545359 h 2404309"/>
                    <a:gd name="connsiteX364" fmla="*/ 867060 w 2358991"/>
                    <a:gd name="connsiteY364" fmla="*/ 545279 h 2404309"/>
                    <a:gd name="connsiteX365" fmla="*/ 856216 w 2358991"/>
                    <a:gd name="connsiteY365" fmla="*/ 544957 h 2404309"/>
                    <a:gd name="connsiteX366" fmla="*/ 842480 w 2358991"/>
                    <a:gd name="connsiteY366" fmla="*/ 547528 h 2404309"/>
                    <a:gd name="connsiteX367" fmla="*/ 841757 w 2358991"/>
                    <a:gd name="connsiteY367" fmla="*/ 551785 h 2404309"/>
                    <a:gd name="connsiteX368" fmla="*/ 866418 w 2358991"/>
                    <a:gd name="connsiteY368" fmla="*/ 545359 h 2404309"/>
                    <a:gd name="connsiteX369" fmla="*/ 861357 w 2358991"/>
                    <a:gd name="connsiteY369" fmla="*/ 533792 h 2404309"/>
                    <a:gd name="connsiteX370" fmla="*/ 853485 w 2358991"/>
                    <a:gd name="connsiteY370" fmla="*/ 531382 h 2404309"/>
                    <a:gd name="connsiteX371" fmla="*/ 845131 w 2358991"/>
                    <a:gd name="connsiteY371" fmla="*/ 532265 h 2404309"/>
                    <a:gd name="connsiteX372" fmla="*/ 842560 w 2358991"/>
                    <a:gd name="connsiteY372" fmla="*/ 546724 h 2404309"/>
                    <a:gd name="connsiteX373" fmla="*/ 861357 w 2358991"/>
                    <a:gd name="connsiteY373" fmla="*/ 533792 h 2404309"/>
                    <a:gd name="connsiteX374" fmla="*/ 877101 w 2358991"/>
                    <a:gd name="connsiteY374" fmla="*/ 509693 h 2404309"/>
                    <a:gd name="connsiteX375" fmla="*/ 870514 w 2358991"/>
                    <a:gd name="connsiteY375" fmla="*/ 508006 h 2404309"/>
                    <a:gd name="connsiteX376" fmla="*/ 869309 w 2358991"/>
                    <a:gd name="connsiteY376" fmla="*/ 493146 h 2404309"/>
                    <a:gd name="connsiteX377" fmla="*/ 856698 w 2358991"/>
                    <a:gd name="connsiteY377" fmla="*/ 473706 h 2404309"/>
                    <a:gd name="connsiteX378" fmla="*/ 853003 w 2358991"/>
                    <a:gd name="connsiteY378" fmla="*/ 491780 h 2404309"/>
                    <a:gd name="connsiteX379" fmla="*/ 851959 w 2358991"/>
                    <a:gd name="connsiteY379" fmla="*/ 497082 h 2404309"/>
                    <a:gd name="connsiteX380" fmla="*/ 845854 w 2358991"/>
                    <a:gd name="connsiteY380" fmla="*/ 529213 h 2404309"/>
                    <a:gd name="connsiteX381" fmla="*/ 865936 w 2358991"/>
                    <a:gd name="connsiteY381" fmla="*/ 520296 h 2404309"/>
                    <a:gd name="connsiteX382" fmla="*/ 867462 w 2358991"/>
                    <a:gd name="connsiteY382" fmla="*/ 519814 h 2404309"/>
                    <a:gd name="connsiteX383" fmla="*/ 877101 w 2358991"/>
                    <a:gd name="connsiteY383" fmla="*/ 509693 h 2404309"/>
                    <a:gd name="connsiteX384" fmla="*/ 875173 w 2358991"/>
                    <a:gd name="connsiteY384" fmla="*/ 463424 h 2404309"/>
                    <a:gd name="connsiteX385" fmla="*/ 871960 w 2358991"/>
                    <a:gd name="connsiteY385" fmla="*/ 458765 h 2404309"/>
                    <a:gd name="connsiteX386" fmla="*/ 875575 w 2358991"/>
                    <a:gd name="connsiteY386" fmla="*/ 439647 h 2404309"/>
                    <a:gd name="connsiteX387" fmla="*/ 874691 w 2358991"/>
                    <a:gd name="connsiteY387" fmla="*/ 439968 h 2404309"/>
                    <a:gd name="connsiteX388" fmla="*/ 863124 w 2358991"/>
                    <a:gd name="connsiteY388" fmla="*/ 443664 h 2404309"/>
                    <a:gd name="connsiteX389" fmla="*/ 857100 w 2358991"/>
                    <a:gd name="connsiteY389" fmla="*/ 471136 h 2404309"/>
                    <a:gd name="connsiteX390" fmla="*/ 857100 w 2358991"/>
                    <a:gd name="connsiteY390" fmla="*/ 471136 h 2404309"/>
                    <a:gd name="connsiteX391" fmla="*/ 857100 w 2358991"/>
                    <a:gd name="connsiteY391" fmla="*/ 471136 h 2404309"/>
                    <a:gd name="connsiteX392" fmla="*/ 857100 w 2358991"/>
                    <a:gd name="connsiteY392" fmla="*/ 471136 h 2404309"/>
                    <a:gd name="connsiteX393" fmla="*/ 857100 w 2358991"/>
                    <a:gd name="connsiteY393" fmla="*/ 471136 h 2404309"/>
                    <a:gd name="connsiteX394" fmla="*/ 857100 w 2358991"/>
                    <a:gd name="connsiteY394" fmla="*/ 471136 h 2404309"/>
                    <a:gd name="connsiteX395" fmla="*/ 857100 w 2358991"/>
                    <a:gd name="connsiteY395" fmla="*/ 471136 h 2404309"/>
                    <a:gd name="connsiteX396" fmla="*/ 857100 w 2358991"/>
                    <a:gd name="connsiteY396" fmla="*/ 471136 h 2404309"/>
                    <a:gd name="connsiteX397" fmla="*/ 857100 w 2358991"/>
                    <a:gd name="connsiteY397" fmla="*/ 471136 h 2404309"/>
                    <a:gd name="connsiteX398" fmla="*/ 875173 w 2358991"/>
                    <a:gd name="connsiteY398" fmla="*/ 463424 h 2404309"/>
                    <a:gd name="connsiteX399" fmla="*/ 1502695 w 2358991"/>
                    <a:gd name="connsiteY399" fmla="*/ 731238 h 2404309"/>
                    <a:gd name="connsiteX400" fmla="*/ 1502454 w 2358991"/>
                    <a:gd name="connsiteY400" fmla="*/ 731318 h 2404309"/>
                    <a:gd name="connsiteX401" fmla="*/ 1502213 w 2358991"/>
                    <a:gd name="connsiteY401" fmla="*/ 731398 h 2404309"/>
                    <a:gd name="connsiteX402" fmla="*/ 1501973 w 2358991"/>
                    <a:gd name="connsiteY402" fmla="*/ 731479 h 2404309"/>
                    <a:gd name="connsiteX403" fmla="*/ 1501732 w 2358991"/>
                    <a:gd name="connsiteY403" fmla="*/ 731559 h 2404309"/>
                    <a:gd name="connsiteX404" fmla="*/ 1501491 w 2358991"/>
                    <a:gd name="connsiteY404" fmla="*/ 731640 h 2404309"/>
                    <a:gd name="connsiteX405" fmla="*/ 1501250 w 2358991"/>
                    <a:gd name="connsiteY405" fmla="*/ 731720 h 2404309"/>
                    <a:gd name="connsiteX406" fmla="*/ 1501009 w 2358991"/>
                    <a:gd name="connsiteY406" fmla="*/ 731800 h 2404309"/>
                    <a:gd name="connsiteX407" fmla="*/ 1502615 w 2358991"/>
                    <a:gd name="connsiteY407" fmla="*/ 730756 h 2404309"/>
                    <a:gd name="connsiteX408" fmla="*/ 1502936 w 2358991"/>
                    <a:gd name="connsiteY408" fmla="*/ 731238 h 2404309"/>
                    <a:gd name="connsiteX409" fmla="*/ 1502695 w 2358991"/>
                    <a:gd name="connsiteY409" fmla="*/ 731238 h 2404309"/>
                    <a:gd name="connsiteX410" fmla="*/ 1569287 w 2358991"/>
                    <a:gd name="connsiteY410" fmla="*/ 705533 h 2404309"/>
                    <a:gd name="connsiteX411" fmla="*/ 1565673 w 2358991"/>
                    <a:gd name="connsiteY411" fmla="*/ 704649 h 2404309"/>
                    <a:gd name="connsiteX412" fmla="*/ 1568805 w 2358991"/>
                    <a:gd name="connsiteY412" fmla="*/ 707139 h 2404309"/>
                    <a:gd name="connsiteX413" fmla="*/ 1560853 w 2358991"/>
                    <a:gd name="connsiteY413" fmla="*/ 715172 h 2404309"/>
                    <a:gd name="connsiteX414" fmla="*/ 1569850 w 2358991"/>
                    <a:gd name="connsiteY414" fmla="*/ 745697 h 2404309"/>
                    <a:gd name="connsiteX415" fmla="*/ 1572581 w 2358991"/>
                    <a:gd name="connsiteY415" fmla="*/ 746661 h 2404309"/>
                    <a:gd name="connsiteX416" fmla="*/ 1564468 w 2358991"/>
                    <a:gd name="connsiteY416" fmla="*/ 750838 h 2404309"/>
                    <a:gd name="connsiteX417" fmla="*/ 1562540 w 2358991"/>
                    <a:gd name="connsiteY417" fmla="*/ 749713 h 2404309"/>
                    <a:gd name="connsiteX418" fmla="*/ 1542538 w 2358991"/>
                    <a:gd name="connsiteY418" fmla="*/ 762486 h 2404309"/>
                    <a:gd name="connsiteX419" fmla="*/ 1522536 w 2358991"/>
                    <a:gd name="connsiteY419" fmla="*/ 775740 h 2404309"/>
                    <a:gd name="connsiteX420" fmla="*/ 1526232 w 2358991"/>
                    <a:gd name="connsiteY420" fmla="*/ 771080 h 2404309"/>
                    <a:gd name="connsiteX421" fmla="*/ 1517235 w 2358991"/>
                    <a:gd name="connsiteY421" fmla="*/ 775097 h 2404309"/>
                    <a:gd name="connsiteX422" fmla="*/ 1523741 w 2358991"/>
                    <a:gd name="connsiteY422" fmla="*/ 768189 h 2404309"/>
                    <a:gd name="connsiteX423" fmla="*/ 1512495 w 2358991"/>
                    <a:gd name="connsiteY423" fmla="*/ 772848 h 2404309"/>
                    <a:gd name="connsiteX424" fmla="*/ 1517395 w 2358991"/>
                    <a:gd name="connsiteY424" fmla="*/ 765458 h 2404309"/>
                    <a:gd name="connsiteX425" fmla="*/ 1509684 w 2358991"/>
                    <a:gd name="connsiteY425" fmla="*/ 767466 h 2404309"/>
                    <a:gd name="connsiteX426" fmla="*/ 1518681 w 2358991"/>
                    <a:gd name="connsiteY426" fmla="*/ 762726 h 2404309"/>
                    <a:gd name="connsiteX427" fmla="*/ 1515548 w 2358991"/>
                    <a:gd name="connsiteY427" fmla="*/ 760798 h 2404309"/>
                    <a:gd name="connsiteX428" fmla="*/ 1531373 w 2358991"/>
                    <a:gd name="connsiteY428" fmla="*/ 750998 h 2404309"/>
                    <a:gd name="connsiteX429" fmla="*/ 1527677 w 2358991"/>
                    <a:gd name="connsiteY429" fmla="*/ 750677 h 2404309"/>
                    <a:gd name="connsiteX430" fmla="*/ 1514343 w 2358991"/>
                    <a:gd name="connsiteY430" fmla="*/ 757987 h 2404309"/>
                    <a:gd name="connsiteX431" fmla="*/ 1519002 w 2358991"/>
                    <a:gd name="connsiteY431" fmla="*/ 749553 h 2404309"/>
                    <a:gd name="connsiteX432" fmla="*/ 1525509 w 2358991"/>
                    <a:gd name="connsiteY432" fmla="*/ 742805 h 2404309"/>
                    <a:gd name="connsiteX433" fmla="*/ 1509845 w 2358991"/>
                    <a:gd name="connsiteY433" fmla="*/ 744733 h 2404309"/>
                    <a:gd name="connsiteX434" fmla="*/ 1510809 w 2358991"/>
                    <a:gd name="connsiteY434" fmla="*/ 743528 h 2404309"/>
                    <a:gd name="connsiteX435" fmla="*/ 1505587 w 2358991"/>
                    <a:gd name="connsiteY435" fmla="*/ 742966 h 2404309"/>
                    <a:gd name="connsiteX436" fmla="*/ 1510648 w 2358991"/>
                    <a:gd name="connsiteY436" fmla="*/ 739512 h 2404309"/>
                    <a:gd name="connsiteX437" fmla="*/ 1507274 w 2358991"/>
                    <a:gd name="connsiteY437" fmla="*/ 738708 h 2404309"/>
                    <a:gd name="connsiteX438" fmla="*/ 1511451 w 2358991"/>
                    <a:gd name="connsiteY438" fmla="*/ 735415 h 2404309"/>
                    <a:gd name="connsiteX439" fmla="*/ 1510969 w 2358991"/>
                    <a:gd name="connsiteY439" fmla="*/ 734130 h 2404309"/>
                    <a:gd name="connsiteX440" fmla="*/ 1505828 w 2358991"/>
                    <a:gd name="connsiteY440" fmla="*/ 735897 h 2404309"/>
                    <a:gd name="connsiteX441" fmla="*/ 1505186 w 2358991"/>
                    <a:gd name="connsiteY441" fmla="*/ 731640 h 2404309"/>
                    <a:gd name="connsiteX442" fmla="*/ 1504061 w 2358991"/>
                    <a:gd name="connsiteY442" fmla="*/ 732363 h 2404309"/>
                    <a:gd name="connsiteX443" fmla="*/ 1502936 w 2358991"/>
                    <a:gd name="connsiteY443" fmla="*/ 731077 h 2404309"/>
                    <a:gd name="connsiteX444" fmla="*/ 1527758 w 2358991"/>
                    <a:gd name="connsiteY444" fmla="*/ 714449 h 2404309"/>
                    <a:gd name="connsiteX445" fmla="*/ 1517797 w 2358991"/>
                    <a:gd name="connsiteY445" fmla="*/ 716618 h 2404309"/>
                    <a:gd name="connsiteX446" fmla="*/ 1529525 w 2358991"/>
                    <a:gd name="connsiteY446" fmla="*/ 703203 h 2404309"/>
                    <a:gd name="connsiteX447" fmla="*/ 1528722 w 2358991"/>
                    <a:gd name="connsiteY447" fmla="*/ 702159 h 2404309"/>
                    <a:gd name="connsiteX448" fmla="*/ 1532176 w 2358991"/>
                    <a:gd name="connsiteY448" fmla="*/ 704890 h 2404309"/>
                    <a:gd name="connsiteX449" fmla="*/ 1532417 w 2358991"/>
                    <a:gd name="connsiteY449" fmla="*/ 706497 h 2404309"/>
                    <a:gd name="connsiteX450" fmla="*/ 1535309 w 2358991"/>
                    <a:gd name="connsiteY450" fmla="*/ 699107 h 2404309"/>
                    <a:gd name="connsiteX451" fmla="*/ 1533943 w 2358991"/>
                    <a:gd name="connsiteY451" fmla="*/ 698303 h 2404309"/>
                    <a:gd name="connsiteX452" fmla="*/ 1540932 w 2358991"/>
                    <a:gd name="connsiteY452" fmla="*/ 698625 h 2404309"/>
                    <a:gd name="connsiteX453" fmla="*/ 1540932 w 2358991"/>
                    <a:gd name="connsiteY453" fmla="*/ 698625 h 2404309"/>
                    <a:gd name="connsiteX454" fmla="*/ 1540932 w 2358991"/>
                    <a:gd name="connsiteY454" fmla="*/ 698625 h 2404309"/>
                    <a:gd name="connsiteX455" fmla="*/ 1540932 w 2358991"/>
                    <a:gd name="connsiteY455" fmla="*/ 698625 h 2404309"/>
                    <a:gd name="connsiteX456" fmla="*/ 1540932 w 2358991"/>
                    <a:gd name="connsiteY456" fmla="*/ 698625 h 2404309"/>
                    <a:gd name="connsiteX457" fmla="*/ 1540932 w 2358991"/>
                    <a:gd name="connsiteY457" fmla="*/ 698625 h 2404309"/>
                    <a:gd name="connsiteX458" fmla="*/ 1540932 w 2358991"/>
                    <a:gd name="connsiteY458" fmla="*/ 698625 h 2404309"/>
                    <a:gd name="connsiteX459" fmla="*/ 1540932 w 2358991"/>
                    <a:gd name="connsiteY459" fmla="*/ 698625 h 2404309"/>
                    <a:gd name="connsiteX460" fmla="*/ 1540932 w 2358991"/>
                    <a:gd name="connsiteY460" fmla="*/ 698625 h 2404309"/>
                    <a:gd name="connsiteX461" fmla="*/ 1561897 w 2358991"/>
                    <a:gd name="connsiteY461" fmla="*/ 703926 h 2404309"/>
                    <a:gd name="connsiteX462" fmla="*/ 1569287 w 2358991"/>
                    <a:gd name="connsiteY462" fmla="*/ 705533 h 2404309"/>
                    <a:gd name="connsiteX463" fmla="*/ 1689619 w 2358991"/>
                    <a:gd name="connsiteY463" fmla="*/ 707862 h 2404309"/>
                    <a:gd name="connsiteX464" fmla="*/ 1683594 w 2358991"/>
                    <a:gd name="connsiteY464" fmla="*/ 718787 h 2404309"/>
                    <a:gd name="connsiteX465" fmla="*/ 1686084 w 2358991"/>
                    <a:gd name="connsiteY465" fmla="*/ 719912 h 2404309"/>
                    <a:gd name="connsiteX466" fmla="*/ 1680783 w 2358991"/>
                    <a:gd name="connsiteY466" fmla="*/ 724812 h 2404309"/>
                    <a:gd name="connsiteX467" fmla="*/ 1693555 w 2358991"/>
                    <a:gd name="connsiteY467" fmla="*/ 727864 h 2404309"/>
                    <a:gd name="connsiteX468" fmla="*/ 1693555 w 2358991"/>
                    <a:gd name="connsiteY468" fmla="*/ 729390 h 2404309"/>
                    <a:gd name="connsiteX469" fmla="*/ 1657648 w 2358991"/>
                    <a:gd name="connsiteY469" fmla="*/ 743769 h 2404309"/>
                    <a:gd name="connsiteX470" fmla="*/ 1659415 w 2358991"/>
                    <a:gd name="connsiteY470" fmla="*/ 744492 h 2404309"/>
                    <a:gd name="connsiteX471" fmla="*/ 1649615 w 2358991"/>
                    <a:gd name="connsiteY471" fmla="*/ 749794 h 2404309"/>
                    <a:gd name="connsiteX472" fmla="*/ 1651383 w 2358991"/>
                    <a:gd name="connsiteY472" fmla="*/ 750918 h 2404309"/>
                    <a:gd name="connsiteX473" fmla="*/ 1598607 w 2358991"/>
                    <a:gd name="connsiteY473" fmla="*/ 778872 h 2404309"/>
                    <a:gd name="connsiteX474" fmla="*/ 1627846 w 2358991"/>
                    <a:gd name="connsiteY474" fmla="*/ 742805 h 2404309"/>
                    <a:gd name="connsiteX475" fmla="*/ 1609692 w 2358991"/>
                    <a:gd name="connsiteY475" fmla="*/ 747464 h 2404309"/>
                    <a:gd name="connsiteX476" fmla="*/ 1611219 w 2358991"/>
                    <a:gd name="connsiteY476" fmla="*/ 745215 h 2404309"/>
                    <a:gd name="connsiteX477" fmla="*/ 1591699 w 2358991"/>
                    <a:gd name="connsiteY477" fmla="*/ 747464 h 2404309"/>
                    <a:gd name="connsiteX478" fmla="*/ 1606399 w 2358991"/>
                    <a:gd name="connsiteY478" fmla="*/ 730274 h 2404309"/>
                    <a:gd name="connsiteX479" fmla="*/ 1601820 w 2358991"/>
                    <a:gd name="connsiteY479" fmla="*/ 724651 h 2404309"/>
                    <a:gd name="connsiteX480" fmla="*/ 1593868 w 2358991"/>
                    <a:gd name="connsiteY480" fmla="*/ 729310 h 2404309"/>
                    <a:gd name="connsiteX481" fmla="*/ 1614271 w 2358991"/>
                    <a:gd name="connsiteY481" fmla="*/ 713967 h 2404309"/>
                    <a:gd name="connsiteX482" fmla="*/ 1612343 w 2358991"/>
                    <a:gd name="connsiteY482" fmla="*/ 712923 h 2404309"/>
                    <a:gd name="connsiteX483" fmla="*/ 1612343 w 2358991"/>
                    <a:gd name="connsiteY483" fmla="*/ 711799 h 2404309"/>
                    <a:gd name="connsiteX484" fmla="*/ 1613468 w 2358991"/>
                    <a:gd name="connsiteY484" fmla="*/ 710915 h 2404309"/>
                    <a:gd name="connsiteX485" fmla="*/ 1619010 w 2358991"/>
                    <a:gd name="connsiteY485" fmla="*/ 711316 h 2404309"/>
                    <a:gd name="connsiteX486" fmla="*/ 1613146 w 2358991"/>
                    <a:gd name="connsiteY486" fmla="*/ 705131 h 2404309"/>
                    <a:gd name="connsiteX487" fmla="*/ 1601499 w 2358991"/>
                    <a:gd name="connsiteY487" fmla="*/ 684969 h 2404309"/>
                    <a:gd name="connsiteX488" fmla="*/ 1575955 w 2358991"/>
                    <a:gd name="connsiteY488" fmla="*/ 698625 h 2404309"/>
                    <a:gd name="connsiteX489" fmla="*/ 1570492 w 2358991"/>
                    <a:gd name="connsiteY489" fmla="*/ 695492 h 2404309"/>
                    <a:gd name="connsiteX490" fmla="*/ 1571135 w 2358991"/>
                    <a:gd name="connsiteY490" fmla="*/ 691395 h 2404309"/>
                    <a:gd name="connsiteX491" fmla="*/ 1570653 w 2358991"/>
                    <a:gd name="connsiteY491" fmla="*/ 675410 h 2404309"/>
                    <a:gd name="connsiteX492" fmla="*/ 1565592 w 2358991"/>
                    <a:gd name="connsiteY492" fmla="*/ 672598 h 2404309"/>
                    <a:gd name="connsiteX493" fmla="*/ 1561576 w 2358991"/>
                    <a:gd name="connsiteY493" fmla="*/ 679426 h 2404309"/>
                    <a:gd name="connsiteX494" fmla="*/ 1561094 w 2358991"/>
                    <a:gd name="connsiteY494" fmla="*/ 678703 h 2404309"/>
                    <a:gd name="connsiteX495" fmla="*/ 1558604 w 2358991"/>
                    <a:gd name="connsiteY495" fmla="*/ 689949 h 2404309"/>
                    <a:gd name="connsiteX496" fmla="*/ 1558041 w 2358991"/>
                    <a:gd name="connsiteY496" fmla="*/ 689387 h 2404309"/>
                    <a:gd name="connsiteX497" fmla="*/ 1558122 w 2358991"/>
                    <a:gd name="connsiteY497" fmla="*/ 682158 h 2404309"/>
                    <a:gd name="connsiteX498" fmla="*/ 1554427 w 2358991"/>
                    <a:gd name="connsiteY498" fmla="*/ 674125 h 2404309"/>
                    <a:gd name="connsiteX499" fmla="*/ 1554909 w 2358991"/>
                    <a:gd name="connsiteY499" fmla="*/ 663843 h 2404309"/>
                    <a:gd name="connsiteX500" fmla="*/ 1544868 w 2358991"/>
                    <a:gd name="connsiteY500" fmla="*/ 669867 h 2404309"/>
                    <a:gd name="connsiteX501" fmla="*/ 1545430 w 2358991"/>
                    <a:gd name="connsiteY501" fmla="*/ 666172 h 2404309"/>
                    <a:gd name="connsiteX502" fmla="*/ 1543341 w 2358991"/>
                    <a:gd name="connsiteY502" fmla="*/ 655649 h 2404309"/>
                    <a:gd name="connsiteX503" fmla="*/ 1540128 w 2358991"/>
                    <a:gd name="connsiteY503" fmla="*/ 654123 h 2404309"/>
                    <a:gd name="connsiteX504" fmla="*/ 1542538 w 2358991"/>
                    <a:gd name="connsiteY504" fmla="*/ 651472 h 2404309"/>
                    <a:gd name="connsiteX505" fmla="*/ 1545591 w 2358991"/>
                    <a:gd name="connsiteY505" fmla="*/ 643439 h 2404309"/>
                    <a:gd name="connsiteX506" fmla="*/ 1544386 w 2358991"/>
                    <a:gd name="connsiteY506" fmla="*/ 635728 h 2404309"/>
                    <a:gd name="connsiteX507" fmla="*/ 1550330 w 2358991"/>
                    <a:gd name="connsiteY507" fmla="*/ 628498 h 2404309"/>
                    <a:gd name="connsiteX508" fmla="*/ 1568484 w 2358991"/>
                    <a:gd name="connsiteY508" fmla="*/ 627454 h 2404309"/>
                    <a:gd name="connsiteX509" fmla="*/ 1561978 w 2358991"/>
                    <a:gd name="connsiteY509" fmla="*/ 638780 h 2404309"/>
                    <a:gd name="connsiteX510" fmla="*/ 1564789 w 2358991"/>
                    <a:gd name="connsiteY510" fmla="*/ 638539 h 2404309"/>
                    <a:gd name="connsiteX511" fmla="*/ 1563022 w 2358991"/>
                    <a:gd name="connsiteY511" fmla="*/ 644162 h 2404309"/>
                    <a:gd name="connsiteX512" fmla="*/ 1594189 w 2358991"/>
                    <a:gd name="connsiteY512" fmla="*/ 647857 h 2404309"/>
                    <a:gd name="connsiteX513" fmla="*/ 1585674 w 2358991"/>
                    <a:gd name="connsiteY513" fmla="*/ 661835 h 2404309"/>
                    <a:gd name="connsiteX514" fmla="*/ 1594350 w 2358991"/>
                    <a:gd name="connsiteY514" fmla="*/ 662236 h 2404309"/>
                    <a:gd name="connsiteX515" fmla="*/ 1581015 w 2358991"/>
                    <a:gd name="connsiteY515" fmla="*/ 668823 h 2404309"/>
                    <a:gd name="connsiteX516" fmla="*/ 1651624 w 2358991"/>
                    <a:gd name="connsiteY516" fmla="*/ 684085 h 2404309"/>
                    <a:gd name="connsiteX517" fmla="*/ 1658853 w 2358991"/>
                    <a:gd name="connsiteY517" fmla="*/ 691556 h 2404309"/>
                    <a:gd name="connsiteX518" fmla="*/ 1646563 w 2358991"/>
                    <a:gd name="connsiteY518" fmla="*/ 693644 h 2404309"/>
                    <a:gd name="connsiteX519" fmla="*/ 1663833 w 2358991"/>
                    <a:gd name="connsiteY519" fmla="*/ 703444 h 2404309"/>
                    <a:gd name="connsiteX520" fmla="*/ 1689619 w 2358991"/>
                    <a:gd name="connsiteY520" fmla="*/ 707862 h 2404309"/>
                    <a:gd name="connsiteX521" fmla="*/ 1665520 w 2358991"/>
                    <a:gd name="connsiteY521" fmla="*/ 432498 h 2404309"/>
                    <a:gd name="connsiteX522" fmla="*/ 1664556 w 2358991"/>
                    <a:gd name="connsiteY522" fmla="*/ 433542 h 2404309"/>
                    <a:gd name="connsiteX523" fmla="*/ 1660620 w 2358991"/>
                    <a:gd name="connsiteY523" fmla="*/ 434747 h 2404309"/>
                    <a:gd name="connsiteX524" fmla="*/ 1661825 w 2358991"/>
                    <a:gd name="connsiteY524" fmla="*/ 431213 h 2404309"/>
                    <a:gd name="connsiteX525" fmla="*/ 1665520 w 2358991"/>
                    <a:gd name="connsiteY525" fmla="*/ 432498 h 2404309"/>
                    <a:gd name="connsiteX526" fmla="*/ 1784807 w 2358991"/>
                    <a:gd name="connsiteY526" fmla="*/ 362372 h 2404309"/>
                    <a:gd name="connsiteX527" fmla="*/ 1782076 w 2358991"/>
                    <a:gd name="connsiteY527" fmla="*/ 362613 h 2404309"/>
                    <a:gd name="connsiteX528" fmla="*/ 1784968 w 2358991"/>
                    <a:gd name="connsiteY528" fmla="*/ 360765 h 2404309"/>
                    <a:gd name="connsiteX529" fmla="*/ 1784807 w 2358991"/>
                    <a:gd name="connsiteY529" fmla="*/ 362372 h 2404309"/>
                    <a:gd name="connsiteX530" fmla="*/ 1850435 w 2358991"/>
                    <a:gd name="connsiteY530" fmla="*/ 305901 h 2404309"/>
                    <a:gd name="connsiteX531" fmla="*/ 1852122 w 2358991"/>
                    <a:gd name="connsiteY531" fmla="*/ 307909 h 2404309"/>
                    <a:gd name="connsiteX532" fmla="*/ 1847142 w 2358991"/>
                    <a:gd name="connsiteY532" fmla="*/ 305660 h 2404309"/>
                    <a:gd name="connsiteX533" fmla="*/ 1847463 w 2358991"/>
                    <a:gd name="connsiteY533" fmla="*/ 305740 h 2404309"/>
                    <a:gd name="connsiteX534" fmla="*/ 1848347 w 2358991"/>
                    <a:gd name="connsiteY534" fmla="*/ 304536 h 2404309"/>
                    <a:gd name="connsiteX535" fmla="*/ 1850435 w 2358991"/>
                    <a:gd name="connsiteY535" fmla="*/ 305901 h 2404309"/>
                    <a:gd name="connsiteX536" fmla="*/ 1660138 w 2358991"/>
                    <a:gd name="connsiteY536" fmla="*/ 414264 h 2404309"/>
                    <a:gd name="connsiteX537" fmla="*/ 1657889 w 2358991"/>
                    <a:gd name="connsiteY537" fmla="*/ 413942 h 2404309"/>
                    <a:gd name="connsiteX538" fmla="*/ 1660138 w 2358991"/>
                    <a:gd name="connsiteY538" fmla="*/ 414264 h 2404309"/>
                    <a:gd name="connsiteX539" fmla="*/ 1660138 w 2358991"/>
                    <a:gd name="connsiteY539" fmla="*/ 414264 h 2404309"/>
                    <a:gd name="connsiteX540" fmla="*/ 1658130 w 2358991"/>
                    <a:gd name="connsiteY540" fmla="*/ 400849 h 2404309"/>
                    <a:gd name="connsiteX541" fmla="*/ 1657006 w 2358991"/>
                    <a:gd name="connsiteY541" fmla="*/ 404464 h 2404309"/>
                    <a:gd name="connsiteX542" fmla="*/ 1655961 w 2358991"/>
                    <a:gd name="connsiteY542" fmla="*/ 400126 h 2404309"/>
                    <a:gd name="connsiteX543" fmla="*/ 1658130 w 2358991"/>
                    <a:gd name="connsiteY543" fmla="*/ 400849 h 2404309"/>
                    <a:gd name="connsiteX544" fmla="*/ 1359631 w 2358991"/>
                    <a:gd name="connsiteY544" fmla="*/ 528570 h 2404309"/>
                    <a:gd name="connsiteX545" fmla="*/ 1355936 w 2358991"/>
                    <a:gd name="connsiteY545" fmla="*/ 543913 h 2404309"/>
                    <a:gd name="connsiteX546" fmla="*/ 1353125 w 2358991"/>
                    <a:gd name="connsiteY546" fmla="*/ 554436 h 2404309"/>
                    <a:gd name="connsiteX547" fmla="*/ 1351358 w 2358991"/>
                    <a:gd name="connsiteY547" fmla="*/ 555882 h 2404309"/>
                    <a:gd name="connsiteX548" fmla="*/ 1330312 w 2358991"/>
                    <a:gd name="connsiteY548" fmla="*/ 570823 h 2404309"/>
                    <a:gd name="connsiteX549" fmla="*/ 1314246 w 2358991"/>
                    <a:gd name="connsiteY549" fmla="*/ 584157 h 2404309"/>
                    <a:gd name="connsiteX550" fmla="*/ 1285328 w 2358991"/>
                    <a:gd name="connsiteY550" fmla="*/ 586728 h 2404309"/>
                    <a:gd name="connsiteX551" fmla="*/ 1281472 w 2358991"/>
                    <a:gd name="connsiteY551" fmla="*/ 583997 h 2404309"/>
                    <a:gd name="connsiteX552" fmla="*/ 1271190 w 2358991"/>
                    <a:gd name="connsiteY552" fmla="*/ 583193 h 2404309"/>
                    <a:gd name="connsiteX553" fmla="*/ 1250144 w 2358991"/>
                    <a:gd name="connsiteY553" fmla="*/ 590101 h 2404309"/>
                    <a:gd name="connsiteX554" fmla="*/ 1247976 w 2358991"/>
                    <a:gd name="connsiteY554" fmla="*/ 584639 h 2404309"/>
                    <a:gd name="connsiteX555" fmla="*/ 1263077 w 2358991"/>
                    <a:gd name="connsiteY555" fmla="*/ 574438 h 2404309"/>
                    <a:gd name="connsiteX556" fmla="*/ 1255366 w 2358991"/>
                    <a:gd name="connsiteY556" fmla="*/ 577651 h 2404309"/>
                    <a:gd name="connsiteX557" fmla="*/ 1256972 w 2358991"/>
                    <a:gd name="connsiteY557" fmla="*/ 575482 h 2404309"/>
                    <a:gd name="connsiteX558" fmla="*/ 1259703 w 2358991"/>
                    <a:gd name="connsiteY558" fmla="*/ 569377 h 2404309"/>
                    <a:gd name="connsiteX559" fmla="*/ 1230062 w 2358991"/>
                    <a:gd name="connsiteY559" fmla="*/ 572188 h 2404309"/>
                    <a:gd name="connsiteX560" fmla="*/ 1253438 w 2358991"/>
                    <a:gd name="connsiteY560" fmla="*/ 557328 h 2404309"/>
                    <a:gd name="connsiteX561" fmla="*/ 1223395 w 2358991"/>
                    <a:gd name="connsiteY561" fmla="*/ 555400 h 2404309"/>
                    <a:gd name="connsiteX562" fmla="*/ 1219620 w 2358991"/>
                    <a:gd name="connsiteY562" fmla="*/ 551062 h 2404309"/>
                    <a:gd name="connsiteX563" fmla="*/ 1224680 w 2358991"/>
                    <a:gd name="connsiteY563" fmla="*/ 548893 h 2404309"/>
                    <a:gd name="connsiteX564" fmla="*/ 1222351 w 2358991"/>
                    <a:gd name="connsiteY564" fmla="*/ 548331 h 2404309"/>
                    <a:gd name="connsiteX565" fmla="*/ 1225484 w 2358991"/>
                    <a:gd name="connsiteY565" fmla="*/ 546323 h 2404309"/>
                    <a:gd name="connsiteX566" fmla="*/ 1221387 w 2358991"/>
                    <a:gd name="connsiteY566" fmla="*/ 543431 h 2404309"/>
                    <a:gd name="connsiteX567" fmla="*/ 1225323 w 2358991"/>
                    <a:gd name="connsiteY567" fmla="*/ 542788 h 2404309"/>
                    <a:gd name="connsiteX568" fmla="*/ 1225002 w 2358991"/>
                    <a:gd name="connsiteY568" fmla="*/ 539575 h 2404309"/>
                    <a:gd name="connsiteX569" fmla="*/ 1232954 w 2358991"/>
                    <a:gd name="connsiteY569" fmla="*/ 542467 h 2404309"/>
                    <a:gd name="connsiteX570" fmla="*/ 1235043 w 2358991"/>
                    <a:gd name="connsiteY570" fmla="*/ 540941 h 2404309"/>
                    <a:gd name="connsiteX571" fmla="*/ 1236810 w 2358991"/>
                    <a:gd name="connsiteY571" fmla="*/ 534515 h 2404309"/>
                    <a:gd name="connsiteX572" fmla="*/ 1233436 w 2358991"/>
                    <a:gd name="connsiteY572" fmla="*/ 531061 h 2404309"/>
                    <a:gd name="connsiteX573" fmla="*/ 1255205 w 2358991"/>
                    <a:gd name="connsiteY573" fmla="*/ 542788 h 2404309"/>
                    <a:gd name="connsiteX574" fmla="*/ 1251430 w 2358991"/>
                    <a:gd name="connsiteY574" fmla="*/ 544797 h 2404309"/>
                    <a:gd name="connsiteX575" fmla="*/ 1256008 w 2358991"/>
                    <a:gd name="connsiteY575" fmla="*/ 547046 h 2404309"/>
                    <a:gd name="connsiteX576" fmla="*/ 1261712 w 2358991"/>
                    <a:gd name="connsiteY576" fmla="*/ 553713 h 2404309"/>
                    <a:gd name="connsiteX577" fmla="*/ 1303803 w 2358991"/>
                    <a:gd name="connsiteY577" fmla="*/ 527044 h 2404309"/>
                    <a:gd name="connsiteX578" fmla="*/ 1338184 w 2358991"/>
                    <a:gd name="connsiteY578" fmla="*/ 508087 h 2404309"/>
                    <a:gd name="connsiteX579" fmla="*/ 1347421 w 2358991"/>
                    <a:gd name="connsiteY579" fmla="*/ 525759 h 2404309"/>
                    <a:gd name="connsiteX580" fmla="*/ 1359631 w 2358991"/>
                    <a:gd name="connsiteY580" fmla="*/ 528570 h 2404309"/>
                    <a:gd name="connsiteX581" fmla="*/ 1841438 w 2358991"/>
                    <a:gd name="connsiteY581" fmla="*/ 247021 h 2404309"/>
                    <a:gd name="connsiteX582" fmla="*/ 1838788 w 2358991"/>
                    <a:gd name="connsiteY582" fmla="*/ 246298 h 2404309"/>
                    <a:gd name="connsiteX583" fmla="*/ 1841599 w 2358991"/>
                    <a:gd name="connsiteY583" fmla="*/ 247021 h 2404309"/>
                    <a:gd name="connsiteX584" fmla="*/ 1841438 w 2358991"/>
                    <a:gd name="connsiteY584" fmla="*/ 247021 h 2404309"/>
                    <a:gd name="connsiteX585" fmla="*/ 1627686 w 2358991"/>
                    <a:gd name="connsiteY585" fmla="*/ 361890 h 2404309"/>
                    <a:gd name="connsiteX586" fmla="*/ 1628489 w 2358991"/>
                    <a:gd name="connsiteY586" fmla="*/ 366629 h 2404309"/>
                    <a:gd name="connsiteX587" fmla="*/ 1626642 w 2358991"/>
                    <a:gd name="connsiteY587" fmla="*/ 363737 h 2404309"/>
                    <a:gd name="connsiteX588" fmla="*/ 1626240 w 2358991"/>
                    <a:gd name="connsiteY588" fmla="*/ 363014 h 2404309"/>
                    <a:gd name="connsiteX589" fmla="*/ 1625838 w 2358991"/>
                    <a:gd name="connsiteY589" fmla="*/ 360524 h 2404309"/>
                    <a:gd name="connsiteX590" fmla="*/ 1627686 w 2358991"/>
                    <a:gd name="connsiteY590" fmla="*/ 361890 h 2404309"/>
                    <a:gd name="connsiteX591" fmla="*/ 1631943 w 2358991"/>
                    <a:gd name="connsiteY591" fmla="*/ 353616 h 2404309"/>
                    <a:gd name="connsiteX592" fmla="*/ 1630096 w 2358991"/>
                    <a:gd name="connsiteY592" fmla="*/ 358998 h 2404309"/>
                    <a:gd name="connsiteX593" fmla="*/ 1628891 w 2358991"/>
                    <a:gd name="connsiteY593" fmla="*/ 358596 h 2404309"/>
                    <a:gd name="connsiteX594" fmla="*/ 1628730 w 2358991"/>
                    <a:gd name="connsiteY594" fmla="*/ 361247 h 2404309"/>
                    <a:gd name="connsiteX595" fmla="*/ 1626401 w 2358991"/>
                    <a:gd name="connsiteY595" fmla="*/ 356668 h 2404309"/>
                    <a:gd name="connsiteX596" fmla="*/ 1629614 w 2358991"/>
                    <a:gd name="connsiteY596" fmla="*/ 352893 h 2404309"/>
                    <a:gd name="connsiteX597" fmla="*/ 1631943 w 2358991"/>
                    <a:gd name="connsiteY597" fmla="*/ 353616 h 2404309"/>
                    <a:gd name="connsiteX598" fmla="*/ 1641984 w 2358991"/>
                    <a:gd name="connsiteY598" fmla="*/ 331767 h 2404309"/>
                    <a:gd name="connsiteX599" fmla="*/ 1639333 w 2358991"/>
                    <a:gd name="connsiteY599" fmla="*/ 346547 h 2404309"/>
                    <a:gd name="connsiteX600" fmla="*/ 1634192 w 2358991"/>
                    <a:gd name="connsiteY600" fmla="*/ 352732 h 2404309"/>
                    <a:gd name="connsiteX601" fmla="*/ 1629774 w 2358991"/>
                    <a:gd name="connsiteY601" fmla="*/ 339880 h 2404309"/>
                    <a:gd name="connsiteX602" fmla="*/ 1625437 w 2358991"/>
                    <a:gd name="connsiteY602" fmla="*/ 338273 h 2404309"/>
                    <a:gd name="connsiteX603" fmla="*/ 1626320 w 2358991"/>
                    <a:gd name="connsiteY603" fmla="*/ 338113 h 2404309"/>
                    <a:gd name="connsiteX604" fmla="*/ 1624312 w 2358991"/>
                    <a:gd name="connsiteY604" fmla="*/ 335301 h 2404309"/>
                    <a:gd name="connsiteX605" fmla="*/ 1626079 w 2358991"/>
                    <a:gd name="connsiteY605" fmla="*/ 334980 h 2404309"/>
                    <a:gd name="connsiteX606" fmla="*/ 1628569 w 2358991"/>
                    <a:gd name="connsiteY606" fmla="*/ 337229 h 2404309"/>
                    <a:gd name="connsiteX607" fmla="*/ 1628650 w 2358991"/>
                    <a:gd name="connsiteY607" fmla="*/ 337309 h 2404309"/>
                    <a:gd name="connsiteX608" fmla="*/ 1628730 w 2358991"/>
                    <a:gd name="connsiteY608" fmla="*/ 337390 h 2404309"/>
                    <a:gd name="connsiteX609" fmla="*/ 1628810 w 2358991"/>
                    <a:gd name="connsiteY609" fmla="*/ 337470 h 2404309"/>
                    <a:gd name="connsiteX610" fmla="*/ 1628891 w 2358991"/>
                    <a:gd name="connsiteY610" fmla="*/ 337550 h 2404309"/>
                    <a:gd name="connsiteX611" fmla="*/ 1628971 w 2358991"/>
                    <a:gd name="connsiteY611" fmla="*/ 337631 h 2404309"/>
                    <a:gd name="connsiteX612" fmla="*/ 1629051 w 2358991"/>
                    <a:gd name="connsiteY612" fmla="*/ 337711 h 2404309"/>
                    <a:gd name="connsiteX613" fmla="*/ 1629132 w 2358991"/>
                    <a:gd name="connsiteY613" fmla="*/ 337791 h 2404309"/>
                    <a:gd name="connsiteX614" fmla="*/ 1629212 w 2358991"/>
                    <a:gd name="connsiteY614" fmla="*/ 337872 h 2404309"/>
                    <a:gd name="connsiteX615" fmla="*/ 1628650 w 2358991"/>
                    <a:gd name="connsiteY615" fmla="*/ 326465 h 2404309"/>
                    <a:gd name="connsiteX616" fmla="*/ 1639896 w 2358991"/>
                    <a:gd name="connsiteY616" fmla="*/ 338836 h 2404309"/>
                    <a:gd name="connsiteX617" fmla="*/ 1641984 w 2358991"/>
                    <a:gd name="connsiteY617" fmla="*/ 331767 h 2404309"/>
                    <a:gd name="connsiteX618" fmla="*/ 1641984 w 2358991"/>
                    <a:gd name="connsiteY618" fmla="*/ 331767 h 2404309"/>
                    <a:gd name="connsiteX619" fmla="*/ 1796937 w 2358991"/>
                    <a:gd name="connsiteY619" fmla="*/ 176734 h 2404309"/>
                    <a:gd name="connsiteX620" fmla="*/ 1798222 w 2358991"/>
                    <a:gd name="connsiteY620" fmla="*/ 177537 h 2404309"/>
                    <a:gd name="connsiteX621" fmla="*/ 1795732 w 2358991"/>
                    <a:gd name="connsiteY621" fmla="*/ 176573 h 2404309"/>
                    <a:gd name="connsiteX622" fmla="*/ 1800552 w 2358991"/>
                    <a:gd name="connsiteY622" fmla="*/ 186293 h 2404309"/>
                    <a:gd name="connsiteX623" fmla="*/ 1783040 w 2358991"/>
                    <a:gd name="connsiteY623" fmla="*/ 175529 h 2404309"/>
                    <a:gd name="connsiteX624" fmla="*/ 1796937 w 2358991"/>
                    <a:gd name="connsiteY624" fmla="*/ 176734 h 2404309"/>
                    <a:gd name="connsiteX625" fmla="*/ 1639655 w 2358991"/>
                    <a:gd name="connsiteY625" fmla="*/ 311685 h 2404309"/>
                    <a:gd name="connsiteX626" fmla="*/ 1639735 w 2358991"/>
                    <a:gd name="connsiteY626" fmla="*/ 318031 h 2404309"/>
                    <a:gd name="connsiteX627" fmla="*/ 1640619 w 2358991"/>
                    <a:gd name="connsiteY627" fmla="*/ 323573 h 2404309"/>
                    <a:gd name="connsiteX628" fmla="*/ 1637165 w 2358991"/>
                    <a:gd name="connsiteY628" fmla="*/ 323573 h 2404309"/>
                    <a:gd name="connsiteX629" fmla="*/ 1634594 w 2358991"/>
                    <a:gd name="connsiteY629" fmla="*/ 314898 h 2404309"/>
                    <a:gd name="connsiteX630" fmla="*/ 1630738 w 2358991"/>
                    <a:gd name="connsiteY630" fmla="*/ 309918 h 2404309"/>
                    <a:gd name="connsiteX631" fmla="*/ 1632907 w 2358991"/>
                    <a:gd name="connsiteY631" fmla="*/ 310560 h 2404309"/>
                    <a:gd name="connsiteX632" fmla="*/ 1639655 w 2358991"/>
                    <a:gd name="connsiteY632" fmla="*/ 311685 h 2404309"/>
                    <a:gd name="connsiteX633" fmla="*/ 1642145 w 2358991"/>
                    <a:gd name="connsiteY633" fmla="*/ 286944 h 2404309"/>
                    <a:gd name="connsiteX634" fmla="*/ 1642145 w 2358991"/>
                    <a:gd name="connsiteY634" fmla="*/ 286944 h 2404309"/>
                    <a:gd name="connsiteX635" fmla="*/ 1642145 w 2358991"/>
                    <a:gd name="connsiteY635" fmla="*/ 286944 h 2404309"/>
                    <a:gd name="connsiteX636" fmla="*/ 1642145 w 2358991"/>
                    <a:gd name="connsiteY636" fmla="*/ 286944 h 2404309"/>
                    <a:gd name="connsiteX637" fmla="*/ 1642145 w 2358991"/>
                    <a:gd name="connsiteY637" fmla="*/ 286944 h 2404309"/>
                    <a:gd name="connsiteX638" fmla="*/ 1642145 w 2358991"/>
                    <a:gd name="connsiteY638" fmla="*/ 286944 h 2404309"/>
                    <a:gd name="connsiteX639" fmla="*/ 1642145 w 2358991"/>
                    <a:gd name="connsiteY639" fmla="*/ 286944 h 2404309"/>
                    <a:gd name="connsiteX640" fmla="*/ 1642145 w 2358991"/>
                    <a:gd name="connsiteY640" fmla="*/ 286944 h 2404309"/>
                    <a:gd name="connsiteX641" fmla="*/ 1642145 w 2358991"/>
                    <a:gd name="connsiteY641" fmla="*/ 286944 h 2404309"/>
                    <a:gd name="connsiteX642" fmla="*/ 1642145 w 2358991"/>
                    <a:gd name="connsiteY642" fmla="*/ 286944 h 2404309"/>
                    <a:gd name="connsiteX643" fmla="*/ 1642145 w 2358991"/>
                    <a:gd name="connsiteY643" fmla="*/ 286944 h 2404309"/>
                    <a:gd name="connsiteX644" fmla="*/ 1642145 w 2358991"/>
                    <a:gd name="connsiteY644" fmla="*/ 286944 h 2404309"/>
                    <a:gd name="connsiteX645" fmla="*/ 1642145 w 2358991"/>
                    <a:gd name="connsiteY645" fmla="*/ 286944 h 2404309"/>
                    <a:gd name="connsiteX646" fmla="*/ 1642145 w 2358991"/>
                    <a:gd name="connsiteY646" fmla="*/ 286944 h 2404309"/>
                    <a:gd name="connsiteX647" fmla="*/ 1642145 w 2358991"/>
                    <a:gd name="connsiteY647" fmla="*/ 286944 h 2404309"/>
                    <a:gd name="connsiteX648" fmla="*/ 1642145 w 2358991"/>
                    <a:gd name="connsiteY648" fmla="*/ 286944 h 2404309"/>
                    <a:gd name="connsiteX649" fmla="*/ 1642145 w 2358991"/>
                    <a:gd name="connsiteY649" fmla="*/ 286944 h 2404309"/>
                    <a:gd name="connsiteX650" fmla="*/ 1642145 w 2358991"/>
                    <a:gd name="connsiteY650" fmla="*/ 286944 h 2404309"/>
                    <a:gd name="connsiteX651" fmla="*/ 1642145 w 2358991"/>
                    <a:gd name="connsiteY651" fmla="*/ 286944 h 2404309"/>
                    <a:gd name="connsiteX652" fmla="*/ 1642145 w 2358991"/>
                    <a:gd name="connsiteY652" fmla="*/ 286944 h 2404309"/>
                    <a:gd name="connsiteX653" fmla="*/ 1642145 w 2358991"/>
                    <a:gd name="connsiteY653" fmla="*/ 286944 h 2404309"/>
                    <a:gd name="connsiteX654" fmla="*/ 1642145 w 2358991"/>
                    <a:gd name="connsiteY654" fmla="*/ 286944 h 2404309"/>
                    <a:gd name="connsiteX655" fmla="*/ 1642145 w 2358991"/>
                    <a:gd name="connsiteY655" fmla="*/ 286944 h 2404309"/>
                    <a:gd name="connsiteX656" fmla="*/ 1642145 w 2358991"/>
                    <a:gd name="connsiteY656" fmla="*/ 286944 h 2404309"/>
                    <a:gd name="connsiteX657" fmla="*/ 1642145 w 2358991"/>
                    <a:gd name="connsiteY657" fmla="*/ 286944 h 2404309"/>
                    <a:gd name="connsiteX658" fmla="*/ 1642145 w 2358991"/>
                    <a:gd name="connsiteY658" fmla="*/ 286944 h 2404309"/>
                    <a:gd name="connsiteX659" fmla="*/ 1642145 w 2358991"/>
                    <a:gd name="connsiteY659" fmla="*/ 286944 h 2404309"/>
                    <a:gd name="connsiteX660" fmla="*/ 1642145 w 2358991"/>
                    <a:gd name="connsiteY660" fmla="*/ 286944 h 2404309"/>
                    <a:gd name="connsiteX661" fmla="*/ 1642145 w 2358991"/>
                    <a:gd name="connsiteY661" fmla="*/ 286944 h 2404309"/>
                    <a:gd name="connsiteX662" fmla="*/ 1642145 w 2358991"/>
                    <a:gd name="connsiteY662" fmla="*/ 286944 h 2404309"/>
                    <a:gd name="connsiteX663" fmla="*/ 1642145 w 2358991"/>
                    <a:gd name="connsiteY663" fmla="*/ 286944 h 2404309"/>
                    <a:gd name="connsiteX664" fmla="*/ 1642145 w 2358991"/>
                    <a:gd name="connsiteY664" fmla="*/ 286944 h 2404309"/>
                    <a:gd name="connsiteX665" fmla="*/ 1642145 w 2358991"/>
                    <a:gd name="connsiteY665" fmla="*/ 286944 h 2404309"/>
                    <a:gd name="connsiteX666" fmla="*/ 1642145 w 2358991"/>
                    <a:gd name="connsiteY666" fmla="*/ 286944 h 2404309"/>
                    <a:gd name="connsiteX667" fmla="*/ 1642145 w 2358991"/>
                    <a:gd name="connsiteY667" fmla="*/ 286944 h 2404309"/>
                    <a:gd name="connsiteX668" fmla="*/ 1642145 w 2358991"/>
                    <a:gd name="connsiteY668" fmla="*/ 286944 h 2404309"/>
                    <a:gd name="connsiteX669" fmla="*/ 1642145 w 2358991"/>
                    <a:gd name="connsiteY669" fmla="*/ 286944 h 2404309"/>
                    <a:gd name="connsiteX670" fmla="*/ 1642145 w 2358991"/>
                    <a:gd name="connsiteY670" fmla="*/ 286944 h 2404309"/>
                    <a:gd name="connsiteX671" fmla="*/ 1642145 w 2358991"/>
                    <a:gd name="connsiteY671" fmla="*/ 286944 h 2404309"/>
                    <a:gd name="connsiteX672" fmla="*/ 1642145 w 2358991"/>
                    <a:gd name="connsiteY672" fmla="*/ 286944 h 2404309"/>
                    <a:gd name="connsiteX673" fmla="*/ 1642145 w 2358991"/>
                    <a:gd name="connsiteY673" fmla="*/ 286944 h 2404309"/>
                    <a:gd name="connsiteX674" fmla="*/ 1642145 w 2358991"/>
                    <a:gd name="connsiteY674" fmla="*/ 286944 h 2404309"/>
                    <a:gd name="connsiteX675" fmla="*/ 1642145 w 2358991"/>
                    <a:gd name="connsiteY675" fmla="*/ 286944 h 2404309"/>
                    <a:gd name="connsiteX676" fmla="*/ 1642145 w 2358991"/>
                    <a:gd name="connsiteY676" fmla="*/ 286944 h 2404309"/>
                    <a:gd name="connsiteX677" fmla="*/ 1642145 w 2358991"/>
                    <a:gd name="connsiteY677" fmla="*/ 286944 h 2404309"/>
                    <a:gd name="connsiteX678" fmla="*/ 1642145 w 2358991"/>
                    <a:gd name="connsiteY678" fmla="*/ 286944 h 2404309"/>
                    <a:gd name="connsiteX679" fmla="*/ 1642145 w 2358991"/>
                    <a:gd name="connsiteY679" fmla="*/ 286944 h 2404309"/>
                    <a:gd name="connsiteX680" fmla="*/ 1642145 w 2358991"/>
                    <a:gd name="connsiteY680" fmla="*/ 286944 h 2404309"/>
                    <a:gd name="connsiteX681" fmla="*/ 1642145 w 2358991"/>
                    <a:gd name="connsiteY681" fmla="*/ 286944 h 2404309"/>
                    <a:gd name="connsiteX682" fmla="*/ 1642145 w 2358991"/>
                    <a:gd name="connsiteY682" fmla="*/ 286944 h 2404309"/>
                    <a:gd name="connsiteX683" fmla="*/ 1642145 w 2358991"/>
                    <a:gd name="connsiteY683" fmla="*/ 286944 h 2404309"/>
                    <a:gd name="connsiteX684" fmla="*/ 1642145 w 2358991"/>
                    <a:gd name="connsiteY684" fmla="*/ 286944 h 2404309"/>
                    <a:gd name="connsiteX685" fmla="*/ 1642145 w 2358991"/>
                    <a:gd name="connsiteY685" fmla="*/ 286944 h 2404309"/>
                    <a:gd name="connsiteX686" fmla="*/ 1642145 w 2358991"/>
                    <a:gd name="connsiteY686" fmla="*/ 286944 h 2404309"/>
                    <a:gd name="connsiteX687" fmla="*/ 1642145 w 2358991"/>
                    <a:gd name="connsiteY687" fmla="*/ 286944 h 2404309"/>
                    <a:gd name="connsiteX688" fmla="*/ 1642145 w 2358991"/>
                    <a:gd name="connsiteY688" fmla="*/ 286944 h 2404309"/>
                    <a:gd name="connsiteX689" fmla="*/ 1642145 w 2358991"/>
                    <a:gd name="connsiteY689" fmla="*/ 286944 h 2404309"/>
                    <a:gd name="connsiteX690" fmla="*/ 1642145 w 2358991"/>
                    <a:gd name="connsiteY690" fmla="*/ 286944 h 2404309"/>
                    <a:gd name="connsiteX691" fmla="*/ 1642145 w 2358991"/>
                    <a:gd name="connsiteY691" fmla="*/ 286944 h 2404309"/>
                    <a:gd name="connsiteX692" fmla="*/ 1642145 w 2358991"/>
                    <a:gd name="connsiteY692" fmla="*/ 286944 h 2404309"/>
                    <a:gd name="connsiteX693" fmla="*/ 1642145 w 2358991"/>
                    <a:gd name="connsiteY693" fmla="*/ 286944 h 2404309"/>
                    <a:gd name="connsiteX694" fmla="*/ 1642145 w 2358991"/>
                    <a:gd name="connsiteY694" fmla="*/ 286944 h 2404309"/>
                    <a:gd name="connsiteX695" fmla="*/ 1642145 w 2358991"/>
                    <a:gd name="connsiteY695" fmla="*/ 286944 h 2404309"/>
                    <a:gd name="connsiteX696" fmla="*/ 1642145 w 2358991"/>
                    <a:gd name="connsiteY696" fmla="*/ 286944 h 2404309"/>
                    <a:gd name="connsiteX697" fmla="*/ 1642145 w 2358991"/>
                    <a:gd name="connsiteY697" fmla="*/ 286944 h 2404309"/>
                    <a:gd name="connsiteX698" fmla="*/ 1642145 w 2358991"/>
                    <a:gd name="connsiteY698" fmla="*/ 286944 h 2404309"/>
                    <a:gd name="connsiteX699" fmla="*/ 1642145 w 2358991"/>
                    <a:gd name="connsiteY699" fmla="*/ 286944 h 2404309"/>
                    <a:gd name="connsiteX700" fmla="*/ 1642145 w 2358991"/>
                    <a:gd name="connsiteY700" fmla="*/ 286944 h 2404309"/>
                    <a:gd name="connsiteX701" fmla="*/ 1642145 w 2358991"/>
                    <a:gd name="connsiteY701" fmla="*/ 286944 h 2404309"/>
                    <a:gd name="connsiteX702" fmla="*/ 1642145 w 2358991"/>
                    <a:gd name="connsiteY702" fmla="*/ 286944 h 2404309"/>
                    <a:gd name="connsiteX703" fmla="*/ 1642145 w 2358991"/>
                    <a:gd name="connsiteY703" fmla="*/ 286944 h 2404309"/>
                    <a:gd name="connsiteX704" fmla="*/ 1642145 w 2358991"/>
                    <a:gd name="connsiteY704" fmla="*/ 286944 h 2404309"/>
                    <a:gd name="connsiteX705" fmla="*/ 1642145 w 2358991"/>
                    <a:gd name="connsiteY705" fmla="*/ 286944 h 2404309"/>
                    <a:gd name="connsiteX706" fmla="*/ 1642145 w 2358991"/>
                    <a:gd name="connsiteY706" fmla="*/ 286944 h 2404309"/>
                    <a:gd name="connsiteX707" fmla="*/ 1642145 w 2358991"/>
                    <a:gd name="connsiteY707" fmla="*/ 286944 h 2404309"/>
                    <a:gd name="connsiteX708" fmla="*/ 1642145 w 2358991"/>
                    <a:gd name="connsiteY708" fmla="*/ 286944 h 2404309"/>
                    <a:gd name="connsiteX709" fmla="*/ 1642145 w 2358991"/>
                    <a:gd name="connsiteY709" fmla="*/ 286944 h 2404309"/>
                    <a:gd name="connsiteX710" fmla="*/ 1642145 w 2358991"/>
                    <a:gd name="connsiteY710" fmla="*/ 286944 h 2404309"/>
                    <a:gd name="connsiteX711" fmla="*/ 1642145 w 2358991"/>
                    <a:gd name="connsiteY711" fmla="*/ 286944 h 2404309"/>
                    <a:gd name="connsiteX712" fmla="*/ 1642145 w 2358991"/>
                    <a:gd name="connsiteY712" fmla="*/ 286944 h 2404309"/>
                    <a:gd name="connsiteX713" fmla="*/ 1642145 w 2358991"/>
                    <a:gd name="connsiteY713" fmla="*/ 286944 h 2404309"/>
                    <a:gd name="connsiteX714" fmla="*/ 1642145 w 2358991"/>
                    <a:gd name="connsiteY714" fmla="*/ 286944 h 2404309"/>
                    <a:gd name="connsiteX715" fmla="*/ 1642145 w 2358991"/>
                    <a:gd name="connsiteY715" fmla="*/ 286944 h 2404309"/>
                    <a:gd name="connsiteX716" fmla="*/ 1642145 w 2358991"/>
                    <a:gd name="connsiteY716" fmla="*/ 286944 h 2404309"/>
                    <a:gd name="connsiteX717" fmla="*/ 1642145 w 2358991"/>
                    <a:gd name="connsiteY717" fmla="*/ 286944 h 2404309"/>
                    <a:gd name="connsiteX718" fmla="*/ 1642145 w 2358991"/>
                    <a:gd name="connsiteY718" fmla="*/ 286944 h 2404309"/>
                    <a:gd name="connsiteX719" fmla="*/ 1642145 w 2358991"/>
                    <a:gd name="connsiteY719" fmla="*/ 286944 h 2404309"/>
                    <a:gd name="connsiteX720" fmla="*/ 1642145 w 2358991"/>
                    <a:gd name="connsiteY720" fmla="*/ 286944 h 2404309"/>
                    <a:gd name="connsiteX721" fmla="*/ 1642145 w 2358991"/>
                    <a:gd name="connsiteY721" fmla="*/ 286944 h 2404309"/>
                    <a:gd name="connsiteX722" fmla="*/ 1642145 w 2358991"/>
                    <a:gd name="connsiteY722" fmla="*/ 286944 h 2404309"/>
                    <a:gd name="connsiteX723" fmla="*/ 1642145 w 2358991"/>
                    <a:gd name="connsiteY723" fmla="*/ 286944 h 2404309"/>
                    <a:gd name="connsiteX724" fmla="*/ 1642145 w 2358991"/>
                    <a:gd name="connsiteY724" fmla="*/ 286944 h 2404309"/>
                    <a:gd name="connsiteX725" fmla="*/ 1636040 w 2358991"/>
                    <a:gd name="connsiteY725" fmla="*/ 293772 h 2404309"/>
                    <a:gd name="connsiteX726" fmla="*/ 1638209 w 2358991"/>
                    <a:gd name="connsiteY726" fmla="*/ 307829 h 2404309"/>
                    <a:gd name="connsiteX727" fmla="*/ 1634273 w 2358991"/>
                    <a:gd name="connsiteY727" fmla="*/ 300760 h 2404309"/>
                    <a:gd name="connsiteX728" fmla="*/ 1635397 w 2358991"/>
                    <a:gd name="connsiteY728" fmla="*/ 301162 h 2404309"/>
                    <a:gd name="connsiteX729" fmla="*/ 1632104 w 2358991"/>
                    <a:gd name="connsiteY729" fmla="*/ 294414 h 2404309"/>
                    <a:gd name="connsiteX730" fmla="*/ 1628087 w 2358991"/>
                    <a:gd name="connsiteY730" fmla="*/ 289434 h 2404309"/>
                    <a:gd name="connsiteX731" fmla="*/ 1636040 w 2358991"/>
                    <a:gd name="connsiteY731" fmla="*/ 293772 h 2404309"/>
                    <a:gd name="connsiteX732" fmla="*/ 1637405 w 2358991"/>
                    <a:gd name="connsiteY732" fmla="*/ 288791 h 2404309"/>
                    <a:gd name="connsiteX733" fmla="*/ 1637325 w 2358991"/>
                    <a:gd name="connsiteY733" fmla="*/ 288871 h 2404309"/>
                    <a:gd name="connsiteX734" fmla="*/ 1633871 w 2358991"/>
                    <a:gd name="connsiteY734" fmla="*/ 289032 h 2404309"/>
                    <a:gd name="connsiteX735" fmla="*/ 1630578 w 2358991"/>
                    <a:gd name="connsiteY735" fmla="*/ 287426 h 2404309"/>
                    <a:gd name="connsiteX736" fmla="*/ 1637405 w 2358991"/>
                    <a:gd name="connsiteY736" fmla="*/ 288791 h 2404309"/>
                    <a:gd name="connsiteX737" fmla="*/ 1781996 w 2358991"/>
                    <a:gd name="connsiteY737" fmla="*/ 129260 h 2404309"/>
                    <a:gd name="connsiteX738" fmla="*/ 1766171 w 2358991"/>
                    <a:gd name="connsiteY738" fmla="*/ 123476 h 2404309"/>
                    <a:gd name="connsiteX739" fmla="*/ 1783120 w 2358991"/>
                    <a:gd name="connsiteY739" fmla="*/ 129662 h 2404309"/>
                    <a:gd name="connsiteX740" fmla="*/ 1781996 w 2358991"/>
                    <a:gd name="connsiteY740" fmla="*/ 129260 h 2404309"/>
                    <a:gd name="connsiteX741" fmla="*/ 1653471 w 2358991"/>
                    <a:gd name="connsiteY741" fmla="*/ 266781 h 2404309"/>
                    <a:gd name="connsiteX742" fmla="*/ 1653873 w 2358991"/>
                    <a:gd name="connsiteY742" fmla="*/ 271199 h 2404309"/>
                    <a:gd name="connsiteX743" fmla="*/ 1651865 w 2358991"/>
                    <a:gd name="connsiteY743" fmla="*/ 270396 h 2404309"/>
                    <a:gd name="connsiteX744" fmla="*/ 1651945 w 2358991"/>
                    <a:gd name="connsiteY744" fmla="*/ 271199 h 2404309"/>
                    <a:gd name="connsiteX745" fmla="*/ 1648571 w 2358991"/>
                    <a:gd name="connsiteY745" fmla="*/ 263809 h 2404309"/>
                    <a:gd name="connsiteX746" fmla="*/ 1653471 w 2358991"/>
                    <a:gd name="connsiteY746" fmla="*/ 266781 h 2404309"/>
                    <a:gd name="connsiteX747" fmla="*/ 1648491 w 2358991"/>
                    <a:gd name="connsiteY747" fmla="*/ 260998 h 2404309"/>
                    <a:gd name="connsiteX748" fmla="*/ 1651865 w 2358991"/>
                    <a:gd name="connsiteY748" fmla="*/ 263568 h 2404309"/>
                    <a:gd name="connsiteX749" fmla="*/ 1646563 w 2358991"/>
                    <a:gd name="connsiteY749" fmla="*/ 260275 h 2404309"/>
                    <a:gd name="connsiteX750" fmla="*/ 1648491 w 2358991"/>
                    <a:gd name="connsiteY750" fmla="*/ 260998 h 2404309"/>
                    <a:gd name="connsiteX751" fmla="*/ 1643269 w 2358991"/>
                    <a:gd name="connsiteY751" fmla="*/ 261319 h 2404309"/>
                    <a:gd name="connsiteX752" fmla="*/ 1644555 w 2358991"/>
                    <a:gd name="connsiteY752" fmla="*/ 269754 h 2404309"/>
                    <a:gd name="connsiteX753" fmla="*/ 1637245 w 2358991"/>
                    <a:gd name="connsiteY753" fmla="*/ 269512 h 2404309"/>
                    <a:gd name="connsiteX754" fmla="*/ 1641502 w 2358991"/>
                    <a:gd name="connsiteY754" fmla="*/ 260034 h 2404309"/>
                    <a:gd name="connsiteX755" fmla="*/ 1643269 w 2358991"/>
                    <a:gd name="connsiteY755" fmla="*/ 261319 h 2404309"/>
                    <a:gd name="connsiteX756" fmla="*/ 1168210 w 2358991"/>
                    <a:gd name="connsiteY756" fmla="*/ 430972 h 2404309"/>
                    <a:gd name="connsiteX757" fmla="*/ 1153992 w 2358991"/>
                    <a:gd name="connsiteY757" fmla="*/ 440692 h 2404309"/>
                    <a:gd name="connsiteX758" fmla="*/ 1141541 w 2358991"/>
                    <a:gd name="connsiteY758" fmla="*/ 439406 h 2404309"/>
                    <a:gd name="connsiteX759" fmla="*/ 1168852 w 2358991"/>
                    <a:gd name="connsiteY759" fmla="*/ 429847 h 2404309"/>
                    <a:gd name="connsiteX760" fmla="*/ 1168210 w 2358991"/>
                    <a:gd name="connsiteY760" fmla="*/ 430972 h 2404309"/>
                    <a:gd name="connsiteX761" fmla="*/ 1652828 w 2358991"/>
                    <a:gd name="connsiteY761" fmla="*/ 245093 h 2404309"/>
                    <a:gd name="connsiteX762" fmla="*/ 1650419 w 2358991"/>
                    <a:gd name="connsiteY762" fmla="*/ 248145 h 2404309"/>
                    <a:gd name="connsiteX763" fmla="*/ 1649455 w 2358991"/>
                    <a:gd name="connsiteY763" fmla="*/ 244771 h 2404309"/>
                    <a:gd name="connsiteX764" fmla="*/ 1652909 w 2358991"/>
                    <a:gd name="connsiteY764" fmla="*/ 244771 h 2404309"/>
                    <a:gd name="connsiteX765" fmla="*/ 1652828 w 2358991"/>
                    <a:gd name="connsiteY765" fmla="*/ 245093 h 2404309"/>
                    <a:gd name="connsiteX766" fmla="*/ 1173993 w 2358991"/>
                    <a:gd name="connsiteY766" fmla="*/ 244209 h 2404309"/>
                    <a:gd name="connsiteX767" fmla="*/ 1173993 w 2358991"/>
                    <a:gd name="connsiteY767" fmla="*/ 244370 h 2404309"/>
                    <a:gd name="connsiteX768" fmla="*/ 1173993 w 2358991"/>
                    <a:gd name="connsiteY768" fmla="*/ 244370 h 2404309"/>
                    <a:gd name="connsiteX769" fmla="*/ 1173993 w 2358991"/>
                    <a:gd name="connsiteY769" fmla="*/ 244370 h 2404309"/>
                    <a:gd name="connsiteX770" fmla="*/ 1173993 w 2358991"/>
                    <a:gd name="connsiteY770" fmla="*/ 244370 h 2404309"/>
                    <a:gd name="connsiteX771" fmla="*/ 1173993 w 2358991"/>
                    <a:gd name="connsiteY771" fmla="*/ 244370 h 2404309"/>
                    <a:gd name="connsiteX772" fmla="*/ 1173993 w 2358991"/>
                    <a:gd name="connsiteY772" fmla="*/ 244370 h 2404309"/>
                    <a:gd name="connsiteX773" fmla="*/ 1173993 w 2358991"/>
                    <a:gd name="connsiteY773" fmla="*/ 244370 h 2404309"/>
                    <a:gd name="connsiteX774" fmla="*/ 1173993 w 2358991"/>
                    <a:gd name="connsiteY774" fmla="*/ 244370 h 2404309"/>
                    <a:gd name="connsiteX775" fmla="*/ 1173993 w 2358991"/>
                    <a:gd name="connsiteY775" fmla="*/ 244370 h 2404309"/>
                    <a:gd name="connsiteX776" fmla="*/ 1173993 w 2358991"/>
                    <a:gd name="connsiteY776" fmla="*/ 244370 h 2404309"/>
                    <a:gd name="connsiteX777" fmla="*/ 1173993 w 2358991"/>
                    <a:gd name="connsiteY777" fmla="*/ 244370 h 2404309"/>
                    <a:gd name="connsiteX778" fmla="*/ 1173993 w 2358991"/>
                    <a:gd name="connsiteY778" fmla="*/ 244370 h 2404309"/>
                    <a:gd name="connsiteX779" fmla="*/ 1173993 w 2358991"/>
                    <a:gd name="connsiteY779" fmla="*/ 244209 h 2404309"/>
                    <a:gd name="connsiteX780" fmla="*/ 1173993 w 2358991"/>
                    <a:gd name="connsiteY780" fmla="*/ 244209 h 2404309"/>
                    <a:gd name="connsiteX781" fmla="*/ 1173913 w 2358991"/>
                    <a:gd name="connsiteY781" fmla="*/ 244290 h 2404309"/>
                    <a:gd name="connsiteX782" fmla="*/ 1173913 w 2358991"/>
                    <a:gd name="connsiteY782" fmla="*/ 244290 h 2404309"/>
                    <a:gd name="connsiteX783" fmla="*/ 1173913 w 2358991"/>
                    <a:gd name="connsiteY783" fmla="*/ 244290 h 2404309"/>
                    <a:gd name="connsiteX784" fmla="*/ 1173913 w 2358991"/>
                    <a:gd name="connsiteY784" fmla="*/ 244290 h 2404309"/>
                    <a:gd name="connsiteX785" fmla="*/ 1173913 w 2358991"/>
                    <a:gd name="connsiteY785" fmla="*/ 244290 h 2404309"/>
                    <a:gd name="connsiteX786" fmla="*/ 1173913 w 2358991"/>
                    <a:gd name="connsiteY786" fmla="*/ 244290 h 2404309"/>
                    <a:gd name="connsiteX787" fmla="*/ 1173913 w 2358991"/>
                    <a:gd name="connsiteY787" fmla="*/ 244290 h 2404309"/>
                    <a:gd name="connsiteX788" fmla="*/ 1173913 w 2358991"/>
                    <a:gd name="connsiteY788" fmla="*/ 244290 h 2404309"/>
                    <a:gd name="connsiteX789" fmla="*/ 1173913 w 2358991"/>
                    <a:gd name="connsiteY789" fmla="*/ 244290 h 2404309"/>
                    <a:gd name="connsiteX790" fmla="*/ 1173913 w 2358991"/>
                    <a:gd name="connsiteY790" fmla="*/ 244290 h 2404309"/>
                    <a:gd name="connsiteX791" fmla="*/ 1173913 w 2358991"/>
                    <a:gd name="connsiteY791" fmla="*/ 244290 h 2404309"/>
                    <a:gd name="connsiteX792" fmla="*/ 1173913 w 2358991"/>
                    <a:gd name="connsiteY792" fmla="*/ 244290 h 2404309"/>
                    <a:gd name="connsiteX793" fmla="*/ 1173913 w 2358991"/>
                    <a:gd name="connsiteY793" fmla="*/ 244290 h 2404309"/>
                    <a:gd name="connsiteX794" fmla="*/ 1173913 w 2358991"/>
                    <a:gd name="connsiteY794" fmla="*/ 244290 h 2404309"/>
                    <a:gd name="connsiteX795" fmla="*/ 1173913 w 2358991"/>
                    <a:gd name="connsiteY795" fmla="*/ 244290 h 2404309"/>
                    <a:gd name="connsiteX796" fmla="*/ 1173913 w 2358991"/>
                    <a:gd name="connsiteY796" fmla="*/ 244290 h 2404309"/>
                    <a:gd name="connsiteX797" fmla="*/ 1173913 w 2358991"/>
                    <a:gd name="connsiteY797" fmla="*/ 244290 h 2404309"/>
                    <a:gd name="connsiteX798" fmla="*/ 1173913 w 2358991"/>
                    <a:gd name="connsiteY798" fmla="*/ 244290 h 2404309"/>
                    <a:gd name="connsiteX799" fmla="*/ 1173913 w 2358991"/>
                    <a:gd name="connsiteY799" fmla="*/ 244290 h 2404309"/>
                    <a:gd name="connsiteX800" fmla="*/ 1173993 w 2358991"/>
                    <a:gd name="connsiteY800" fmla="*/ 244209 h 2404309"/>
                    <a:gd name="connsiteX801" fmla="*/ 1510487 w 2358991"/>
                    <a:gd name="connsiteY801" fmla="*/ 19452 h 2404309"/>
                    <a:gd name="connsiteX802" fmla="*/ 1583987 w 2358991"/>
                    <a:gd name="connsiteY802" fmla="*/ 49414 h 2404309"/>
                    <a:gd name="connsiteX803" fmla="*/ 1613789 w 2358991"/>
                    <a:gd name="connsiteY803" fmla="*/ 64676 h 2404309"/>
                    <a:gd name="connsiteX804" fmla="*/ 1612504 w 2358991"/>
                    <a:gd name="connsiteY804" fmla="*/ 65479 h 2404309"/>
                    <a:gd name="connsiteX805" fmla="*/ 1666002 w 2358991"/>
                    <a:gd name="connsiteY805" fmla="*/ 95442 h 2404309"/>
                    <a:gd name="connsiteX806" fmla="*/ 1669296 w 2358991"/>
                    <a:gd name="connsiteY806" fmla="*/ 93996 h 2404309"/>
                    <a:gd name="connsiteX807" fmla="*/ 1757978 w 2358991"/>
                    <a:gd name="connsiteY807" fmla="*/ 129742 h 2404309"/>
                    <a:gd name="connsiteX808" fmla="*/ 1755568 w 2358991"/>
                    <a:gd name="connsiteY808" fmla="*/ 130144 h 2404309"/>
                    <a:gd name="connsiteX809" fmla="*/ 1756773 w 2358991"/>
                    <a:gd name="connsiteY809" fmla="*/ 130866 h 2404309"/>
                    <a:gd name="connsiteX810" fmla="*/ 1752435 w 2358991"/>
                    <a:gd name="connsiteY810" fmla="*/ 134642 h 2404309"/>
                    <a:gd name="connsiteX811" fmla="*/ 1754363 w 2358991"/>
                    <a:gd name="connsiteY811" fmla="*/ 135686 h 2404309"/>
                    <a:gd name="connsiteX812" fmla="*/ 1747615 w 2358991"/>
                    <a:gd name="connsiteY812" fmla="*/ 137614 h 2404309"/>
                    <a:gd name="connsiteX813" fmla="*/ 1739583 w 2358991"/>
                    <a:gd name="connsiteY813" fmla="*/ 131107 h 2404309"/>
                    <a:gd name="connsiteX814" fmla="*/ 1730666 w 2358991"/>
                    <a:gd name="connsiteY814" fmla="*/ 132393 h 2404309"/>
                    <a:gd name="connsiteX815" fmla="*/ 1744081 w 2358991"/>
                    <a:gd name="connsiteY815" fmla="*/ 136971 h 2404309"/>
                    <a:gd name="connsiteX816" fmla="*/ 1744483 w 2358991"/>
                    <a:gd name="connsiteY816" fmla="*/ 137614 h 2404309"/>
                    <a:gd name="connsiteX817" fmla="*/ 1731952 w 2358991"/>
                    <a:gd name="connsiteY817" fmla="*/ 133116 h 2404309"/>
                    <a:gd name="connsiteX818" fmla="*/ 1730586 w 2358991"/>
                    <a:gd name="connsiteY818" fmla="*/ 132473 h 2404309"/>
                    <a:gd name="connsiteX819" fmla="*/ 1665360 w 2358991"/>
                    <a:gd name="connsiteY819" fmla="*/ 97691 h 2404309"/>
                    <a:gd name="connsiteX820" fmla="*/ 1664396 w 2358991"/>
                    <a:gd name="connsiteY820" fmla="*/ 98655 h 2404309"/>
                    <a:gd name="connsiteX821" fmla="*/ 1616038 w 2358991"/>
                    <a:gd name="connsiteY821" fmla="*/ 77448 h 2404309"/>
                    <a:gd name="connsiteX822" fmla="*/ 1592743 w 2358991"/>
                    <a:gd name="connsiteY822" fmla="*/ 68853 h 2404309"/>
                    <a:gd name="connsiteX823" fmla="*/ 1564066 w 2358991"/>
                    <a:gd name="connsiteY823" fmla="*/ 52547 h 2404309"/>
                    <a:gd name="connsiteX824" fmla="*/ 1548081 w 2358991"/>
                    <a:gd name="connsiteY824" fmla="*/ 44112 h 2404309"/>
                    <a:gd name="connsiteX825" fmla="*/ 1525830 w 2358991"/>
                    <a:gd name="connsiteY825" fmla="*/ 27725 h 2404309"/>
                    <a:gd name="connsiteX826" fmla="*/ 1503418 w 2358991"/>
                    <a:gd name="connsiteY826" fmla="*/ 18568 h 2404309"/>
                    <a:gd name="connsiteX827" fmla="*/ 1510487 w 2358991"/>
                    <a:gd name="connsiteY827" fmla="*/ 19452 h 2404309"/>
                    <a:gd name="connsiteX828" fmla="*/ 1409515 w 2358991"/>
                    <a:gd name="connsiteY828" fmla="*/ 117612 h 2404309"/>
                    <a:gd name="connsiteX829" fmla="*/ 1414335 w 2358991"/>
                    <a:gd name="connsiteY829" fmla="*/ 129662 h 2404309"/>
                    <a:gd name="connsiteX830" fmla="*/ 1408390 w 2358991"/>
                    <a:gd name="connsiteY830" fmla="*/ 129662 h 2404309"/>
                    <a:gd name="connsiteX831" fmla="*/ 1405338 w 2358991"/>
                    <a:gd name="connsiteY831" fmla="*/ 128778 h 2404309"/>
                    <a:gd name="connsiteX832" fmla="*/ 1388068 w 2358991"/>
                    <a:gd name="connsiteY832" fmla="*/ 121147 h 2404309"/>
                    <a:gd name="connsiteX833" fmla="*/ 1384694 w 2358991"/>
                    <a:gd name="connsiteY833" fmla="*/ 120665 h 2404309"/>
                    <a:gd name="connsiteX834" fmla="*/ 1367584 w 2358991"/>
                    <a:gd name="connsiteY834" fmla="*/ 116086 h 2404309"/>
                    <a:gd name="connsiteX835" fmla="*/ 1355936 w 2358991"/>
                    <a:gd name="connsiteY835" fmla="*/ 108937 h 2404309"/>
                    <a:gd name="connsiteX836" fmla="*/ 1362764 w 2358991"/>
                    <a:gd name="connsiteY836" fmla="*/ 107893 h 2404309"/>
                    <a:gd name="connsiteX837" fmla="*/ 1408310 w 2358991"/>
                    <a:gd name="connsiteY837" fmla="*/ 116247 h 2404309"/>
                    <a:gd name="connsiteX838" fmla="*/ 1409515 w 2358991"/>
                    <a:gd name="connsiteY838" fmla="*/ 117612 h 2404309"/>
                    <a:gd name="connsiteX839" fmla="*/ 1331436 w 2358991"/>
                    <a:gd name="connsiteY839" fmla="*/ 138016 h 2404309"/>
                    <a:gd name="connsiteX840" fmla="*/ 1296654 w 2358991"/>
                    <a:gd name="connsiteY840" fmla="*/ 125002 h 2404309"/>
                    <a:gd name="connsiteX841" fmla="*/ 1304767 w 2358991"/>
                    <a:gd name="connsiteY841" fmla="*/ 127252 h 2404309"/>
                    <a:gd name="connsiteX842" fmla="*/ 1308221 w 2358991"/>
                    <a:gd name="connsiteY842" fmla="*/ 128617 h 2404309"/>
                    <a:gd name="connsiteX843" fmla="*/ 1315853 w 2358991"/>
                    <a:gd name="connsiteY843" fmla="*/ 132152 h 2404309"/>
                    <a:gd name="connsiteX844" fmla="*/ 1325090 w 2358991"/>
                    <a:gd name="connsiteY844" fmla="*/ 134481 h 2404309"/>
                    <a:gd name="connsiteX845" fmla="*/ 1331838 w 2358991"/>
                    <a:gd name="connsiteY845" fmla="*/ 137453 h 2404309"/>
                    <a:gd name="connsiteX846" fmla="*/ 1331436 w 2358991"/>
                    <a:gd name="connsiteY846" fmla="*/ 138016 h 2404309"/>
                    <a:gd name="connsiteX847" fmla="*/ 1324528 w 2358991"/>
                    <a:gd name="connsiteY847" fmla="*/ 99298 h 2404309"/>
                    <a:gd name="connsiteX848" fmla="*/ 1325894 w 2358991"/>
                    <a:gd name="connsiteY848" fmla="*/ 99860 h 2404309"/>
                    <a:gd name="connsiteX849" fmla="*/ 1324528 w 2358991"/>
                    <a:gd name="connsiteY849" fmla="*/ 99298 h 2404309"/>
                    <a:gd name="connsiteX850" fmla="*/ 1324528 w 2358991"/>
                    <a:gd name="connsiteY850" fmla="*/ 99298 h 2404309"/>
                    <a:gd name="connsiteX851" fmla="*/ 1330633 w 2358991"/>
                    <a:gd name="connsiteY851" fmla="*/ 102029 h 2404309"/>
                    <a:gd name="connsiteX852" fmla="*/ 1420199 w 2358991"/>
                    <a:gd name="connsiteY852" fmla="*/ 163480 h 2404309"/>
                    <a:gd name="connsiteX853" fmla="*/ 1369913 w 2358991"/>
                    <a:gd name="connsiteY853" fmla="*/ 137293 h 2404309"/>
                    <a:gd name="connsiteX854" fmla="*/ 1348546 w 2358991"/>
                    <a:gd name="connsiteY854" fmla="*/ 129983 h 2404309"/>
                    <a:gd name="connsiteX855" fmla="*/ 1349028 w 2358991"/>
                    <a:gd name="connsiteY855" fmla="*/ 129099 h 2404309"/>
                    <a:gd name="connsiteX856" fmla="*/ 1347261 w 2358991"/>
                    <a:gd name="connsiteY856" fmla="*/ 121388 h 2404309"/>
                    <a:gd name="connsiteX857" fmla="*/ 1334489 w 2358991"/>
                    <a:gd name="connsiteY857" fmla="*/ 116889 h 2404309"/>
                    <a:gd name="connsiteX858" fmla="*/ 1336899 w 2358991"/>
                    <a:gd name="connsiteY858" fmla="*/ 122994 h 2404309"/>
                    <a:gd name="connsiteX859" fmla="*/ 1323002 w 2358991"/>
                    <a:gd name="connsiteY859" fmla="*/ 117532 h 2404309"/>
                    <a:gd name="connsiteX860" fmla="*/ 1334730 w 2358991"/>
                    <a:gd name="connsiteY860" fmla="*/ 129662 h 2404309"/>
                    <a:gd name="connsiteX861" fmla="*/ 1304205 w 2358991"/>
                    <a:gd name="connsiteY861" fmla="*/ 122753 h 2404309"/>
                    <a:gd name="connsiteX862" fmla="*/ 1291433 w 2358991"/>
                    <a:gd name="connsiteY862" fmla="*/ 118496 h 2404309"/>
                    <a:gd name="connsiteX863" fmla="*/ 1258980 w 2358991"/>
                    <a:gd name="connsiteY863" fmla="*/ 103876 h 2404309"/>
                    <a:gd name="connsiteX864" fmla="*/ 1263238 w 2358991"/>
                    <a:gd name="connsiteY864" fmla="*/ 104519 h 2404309"/>
                    <a:gd name="connsiteX865" fmla="*/ 1260426 w 2358991"/>
                    <a:gd name="connsiteY865" fmla="*/ 101627 h 2404309"/>
                    <a:gd name="connsiteX866" fmla="*/ 1267817 w 2358991"/>
                    <a:gd name="connsiteY866" fmla="*/ 102430 h 2404309"/>
                    <a:gd name="connsiteX867" fmla="*/ 1262917 w 2358991"/>
                    <a:gd name="connsiteY867" fmla="*/ 100101 h 2404309"/>
                    <a:gd name="connsiteX868" fmla="*/ 1275689 w 2358991"/>
                    <a:gd name="connsiteY868" fmla="*/ 105242 h 2404309"/>
                    <a:gd name="connsiteX869" fmla="*/ 1287497 w 2358991"/>
                    <a:gd name="connsiteY869" fmla="*/ 105965 h 2404309"/>
                    <a:gd name="connsiteX870" fmla="*/ 1272234 w 2358991"/>
                    <a:gd name="connsiteY870" fmla="*/ 96165 h 2404309"/>
                    <a:gd name="connsiteX871" fmla="*/ 1318343 w 2358991"/>
                    <a:gd name="connsiteY871" fmla="*/ 110865 h 2404309"/>
                    <a:gd name="connsiteX872" fmla="*/ 1271753 w 2358991"/>
                    <a:gd name="connsiteY872" fmla="*/ 89658 h 2404309"/>
                    <a:gd name="connsiteX873" fmla="*/ 1272234 w 2358991"/>
                    <a:gd name="connsiteY873" fmla="*/ 88453 h 2404309"/>
                    <a:gd name="connsiteX874" fmla="*/ 1303723 w 2358991"/>
                    <a:gd name="connsiteY874" fmla="*/ 99298 h 2404309"/>
                    <a:gd name="connsiteX875" fmla="*/ 1297457 w 2358991"/>
                    <a:gd name="connsiteY875" fmla="*/ 93916 h 2404309"/>
                    <a:gd name="connsiteX876" fmla="*/ 1315612 w 2358991"/>
                    <a:gd name="connsiteY876" fmla="*/ 100181 h 2404309"/>
                    <a:gd name="connsiteX877" fmla="*/ 1328063 w 2358991"/>
                    <a:gd name="connsiteY877" fmla="*/ 101707 h 2404309"/>
                    <a:gd name="connsiteX878" fmla="*/ 1326456 w 2358991"/>
                    <a:gd name="connsiteY878" fmla="*/ 100101 h 2404309"/>
                    <a:gd name="connsiteX879" fmla="*/ 1330633 w 2358991"/>
                    <a:gd name="connsiteY879" fmla="*/ 102029 h 2404309"/>
                    <a:gd name="connsiteX880" fmla="*/ 1333605 w 2358991"/>
                    <a:gd name="connsiteY880" fmla="*/ 13989 h 2404309"/>
                    <a:gd name="connsiteX881" fmla="*/ 1336176 w 2358991"/>
                    <a:gd name="connsiteY881" fmla="*/ 15435 h 2404309"/>
                    <a:gd name="connsiteX882" fmla="*/ 1333605 w 2358991"/>
                    <a:gd name="connsiteY882" fmla="*/ 13989 h 2404309"/>
                    <a:gd name="connsiteX883" fmla="*/ 1338264 w 2358991"/>
                    <a:gd name="connsiteY883" fmla="*/ 28528 h 2404309"/>
                    <a:gd name="connsiteX884" fmla="*/ 1339067 w 2358991"/>
                    <a:gd name="connsiteY884" fmla="*/ 29332 h 2404309"/>
                    <a:gd name="connsiteX885" fmla="*/ 1334489 w 2358991"/>
                    <a:gd name="connsiteY885" fmla="*/ 29814 h 2404309"/>
                    <a:gd name="connsiteX886" fmla="*/ 1334087 w 2358991"/>
                    <a:gd name="connsiteY886" fmla="*/ 29653 h 2404309"/>
                    <a:gd name="connsiteX887" fmla="*/ 1327339 w 2358991"/>
                    <a:gd name="connsiteY887" fmla="*/ 27484 h 2404309"/>
                    <a:gd name="connsiteX888" fmla="*/ 1339228 w 2358991"/>
                    <a:gd name="connsiteY888" fmla="*/ 27966 h 2404309"/>
                    <a:gd name="connsiteX889" fmla="*/ 1338264 w 2358991"/>
                    <a:gd name="connsiteY889" fmla="*/ 28528 h 2404309"/>
                    <a:gd name="connsiteX890" fmla="*/ 1329107 w 2358991"/>
                    <a:gd name="connsiteY890" fmla="*/ 29412 h 2404309"/>
                    <a:gd name="connsiteX891" fmla="*/ 1319226 w 2358991"/>
                    <a:gd name="connsiteY891" fmla="*/ 28287 h 2404309"/>
                    <a:gd name="connsiteX892" fmla="*/ 1328223 w 2358991"/>
                    <a:gd name="connsiteY892" fmla="*/ 29171 h 2404309"/>
                    <a:gd name="connsiteX893" fmla="*/ 1329107 w 2358991"/>
                    <a:gd name="connsiteY893" fmla="*/ 29412 h 2404309"/>
                    <a:gd name="connsiteX894" fmla="*/ 1313925 w 2358991"/>
                    <a:gd name="connsiteY894" fmla="*/ 19371 h 2404309"/>
                    <a:gd name="connsiteX895" fmla="*/ 1319708 w 2358991"/>
                    <a:gd name="connsiteY895" fmla="*/ 19934 h 2404309"/>
                    <a:gd name="connsiteX896" fmla="*/ 1313925 w 2358991"/>
                    <a:gd name="connsiteY896" fmla="*/ 19371 h 2404309"/>
                    <a:gd name="connsiteX897" fmla="*/ 1313925 w 2358991"/>
                    <a:gd name="connsiteY897" fmla="*/ 19371 h 2404309"/>
                    <a:gd name="connsiteX898" fmla="*/ 1261631 w 2358991"/>
                    <a:gd name="connsiteY898" fmla="*/ 79939 h 2404309"/>
                    <a:gd name="connsiteX899" fmla="*/ 1255848 w 2358991"/>
                    <a:gd name="connsiteY899" fmla="*/ 78492 h 2404309"/>
                    <a:gd name="connsiteX900" fmla="*/ 1259221 w 2358991"/>
                    <a:gd name="connsiteY900" fmla="*/ 78412 h 2404309"/>
                    <a:gd name="connsiteX901" fmla="*/ 1261631 w 2358991"/>
                    <a:gd name="connsiteY901" fmla="*/ 79939 h 2404309"/>
                    <a:gd name="connsiteX902" fmla="*/ 1311515 w 2358991"/>
                    <a:gd name="connsiteY902" fmla="*/ 22183 h 2404309"/>
                    <a:gd name="connsiteX903" fmla="*/ 1320753 w 2358991"/>
                    <a:gd name="connsiteY903" fmla="*/ 24271 h 2404309"/>
                    <a:gd name="connsiteX904" fmla="*/ 1311515 w 2358991"/>
                    <a:gd name="connsiteY904" fmla="*/ 22183 h 2404309"/>
                    <a:gd name="connsiteX905" fmla="*/ 1311515 w 2358991"/>
                    <a:gd name="connsiteY905" fmla="*/ 22183 h 2404309"/>
                    <a:gd name="connsiteX906" fmla="*/ 1321957 w 2358991"/>
                    <a:gd name="connsiteY906" fmla="*/ 17202 h 2404309"/>
                    <a:gd name="connsiteX907" fmla="*/ 1328063 w 2358991"/>
                    <a:gd name="connsiteY907" fmla="*/ 19853 h 2404309"/>
                    <a:gd name="connsiteX908" fmla="*/ 1311836 w 2358991"/>
                    <a:gd name="connsiteY908" fmla="*/ 18166 h 2404309"/>
                    <a:gd name="connsiteX909" fmla="*/ 1312720 w 2358991"/>
                    <a:gd name="connsiteY909" fmla="*/ 17283 h 2404309"/>
                    <a:gd name="connsiteX910" fmla="*/ 1321957 w 2358991"/>
                    <a:gd name="connsiteY910" fmla="*/ 17202 h 2404309"/>
                    <a:gd name="connsiteX911" fmla="*/ 1315371 w 2358991"/>
                    <a:gd name="connsiteY911" fmla="*/ 77609 h 2404309"/>
                    <a:gd name="connsiteX912" fmla="*/ 1315451 w 2358991"/>
                    <a:gd name="connsiteY912" fmla="*/ 91024 h 2404309"/>
                    <a:gd name="connsiteX913" fmla="*/ 1295289 w 2358991"/>
                    <a:gd name="connsiteY913" fmla="*/ 85883 h 2404309"/>
                    <a:gd name="connsiteX914" fmla="*/ 1273921 w 2358991"/>
                    <a:gd name="connsiteY914" fmla="*/ 83634 h 2404309"/>
                    <a:gd name="connsiteX915" fmla="*/ 1264684 w 2358991"/>
                    <a:gd name="connsiteY915" fmla="*/ 81143 h 2404309"/>
                    <a:gd name="connsiteX916" fmla="*/ 1271110 w 2358991"/>
                    <a:gd name="connsiteY916" fmla="*/ 81143 h 2404309"/>
                    <a:gd name="connsiteX917" fmla="*/ 1259784 w 2358991"/>
                    <a:gd name="connsiteY917" fmla="*/ 77529 h 2404309"/>
                    <a:gd name="connsiteX918" fmla="*/ 1266130 w 2358991"/>
                    <a:gd name="connsiteY918" fmla="*/ 78251 h 2404309"/>
                    <a:gd name="connsiteX919" fmla="*/ 1256812 w 2358991"/>
                    <a:gd name="connsiteY919" fmla="*/ 73914 h 2404309"/>
                    <a:gd name="connsiteX920" fmla="*/ 1283239 w 2358991"/>
                    <a:gd name="connsiteY920" fmla="*/ 77288 h 2404309"/>
                    <a:gd name="connsiteX921" fmla="*/ 1262274 w 2358991"/>
                    <a:gd name="connsiteY921" fmla="*/ 69255 h 2404309"/>
                    <a:gd name="connsiteX922" fmla="*/ 1277617 w 2358991"/>
                    <a:gd name="connsiteY922" fmla="*/ 73352 h 2404309"/>
                    <a:gd name="connsiteX923" fmla="*/ 1270387 w 2358991"/>
                    <a:gd name="connsiteY923" fmla="*/ 68291 h 2404309"/>
                    <a:gd name="connsiteX924" fmla="*/ 1315371 w 2358991"/>
                    <a:gd name="connsiteY924" fmla="*/ 77609 h 2404309"/>
                    <a:gd name="connsiteX925" fmla="*/ 1313121 w 2358991"/>
                    <a:gd name="connsiteY925" fmla="*/ 13588 h 2404309"/>
                    <a:gd name="connsiteX926" fmla="*/ 1323805 w 2358991"/>
                    <a:gd name="connsiteY926" fmla="*/ 16238 h 2404309"/>
                    <a:gd name="connsiteX927" fmla="*/ 1301233 w 2358991"/>
                    <a:gd name="connsiteY927" fmla="*/ 15917 h 2404309"/>
                    <a:gd name="connsiteX928" fmla="*/ 1313121 w 2358991"/>
                    <a:gd name="connsiteY928" fmla="*/ 13588 h 2404309"/>
                    <a:gd name="connsiteX929" fmla="*/ 1302116 w 2358991"/>
                    <a:gd name="connsiteY929" fmla="*/ 19773 h 2404309"/>
                    <a:gd name="connsiteX930" fmla="*/ 1302518 w 2358991"/>
                    <a:gd name="connsiteY930" fmla="*/ 19773 h 2404309"/>
                    <a:gd name="connsiteX931" fmla="*/ 1306133 w 2358991"/>
                    <a:gd name="connsiteY931" fmla="*/ 20255 h 2404309"/>
                    <a:gd name="connsiteX932" fmla="*/ 1292879 w 2358991"/>
                    <a:gd name="connsiteY932" fmla="*/ 19853 h 2404309"/>
                    <a:gd name="connsiteX933" fmla="*/ 1302116 w 2358991"/>
                    <a:gd name="connsiteY933" fmla="*/ 19773 h 2404309"/>
                    <a:gd name="connsiteX934" fmla="*/ 1276090 w 2358991"/>
                    <a:gd name="connsiteY934" fmla="*/ 26360 h 2404309"/>
                    <a:gd name="connsiteX935" fmla="*/ 1278098 w 2358991"/>
                    <a:gd name="connsiteY935" fmla="*/ 27324 h 2404309"/>
                    <a:gd name="connsiteX936" fmla="*/ 1288380 w 2358991"/>
                    <a:gd name="connsiteY936" fmla="*/ 29171 h 2404309"/>
                    <a:gd name="connsiteX937" fmla="*/ 1289907 w 2358991"/>
                    <a:gd name="connsiteY937" fmla="*/ 29412 h 2404309"/>
                    <a:gd name="connsiteX938" fmla="*/ 1300108 w 2358991"/>
                    <a:gd name="connsiteY938" fmla="*/ 32384 h 2404309"/>
                    <a:gd name="connsiteX939" fmla="*/ 1291433 w 2358991"/>
                    <a:gd name="connsiteY939" fmla="*/ 31661 h 2404309"/>
                    <a:gd name="connsiteX940" fmla="*/ 1293441 w 2358991"/>
                    <a:gd name="connsiteY940" fmla="*/ 32384 h 2404309"/>
                    <a:gd name="connsiteX941" fmla="*/ 1287577 w 2358991"/>
                    <a:gd name="connsiteY941" fmla="*/ 32866 h 2404309"/>
                    <a:gd name="connsiteX942" fmla="*/ 1276090 w 2358991"/>
                    <a:gd name="connsiteY942" fmla="*/ 26360 h 2404309"/>
                    <a:gd name="connsiteX943" fmla="*/ 1276090 w 2358991"/>
                    <a:gd name="connsiteY943" fmla="*/ 26360 h 2404309"/>
                    <a:gd name="connsiteX944" fmla="*/ 1282918 w 2358991"/>
                    <a:gd name="connsiteY944" fmla="*/ 8527 h 2404309"/>
                    <a:gd name="connsiteX945" fmla="*/ 1306213 w 2358991"/>
                    <a:gd name="connsiteY945" fmla="*/ 11499 h 2404309"/>
                    <a:gd name="connsiteX946" fmla="*/ 1277295 w 2358991"/>
                    <a:gd name="connsiteY946" fmla="*/ 11258 h 2404309"/>
                    <a:gd name="connsiteX947" fmla="*/ 1278741 w 2358991"/>
                    <a:gd name="connsiteY947" fmla="*/ 10776 h 2404309"/>
                    <a:gd name="connsiteX948" fmla="*/ 1276894 w 2358991"/>
                    <a:gd name="connsiteY948" fmla="*/ 8848 h 2404309"/>
                    <a:gd name="connsiteX949" fmla="*/ 1282918 w 2358991"/>
                    <a:gd name="connsiteY949" fmla="*/ 8527 h 2404309"/>
                    <a:gd name="connsiteX950" fmla="*/ 1284926 w 2358991"/>
                    <a:gd name="connsiteY950" fmla="*/ 22906 h 2404309"/>
                    <a:gd name="connsiteX951" fmla="*/ 1325733 w 2358991"/>
                    <a:gd name="connsiteY951" fmla="*/ 31661 h 2404309"/>
                    <a:gd name="connsiteX952" fmla="*/ 1310872 w 2358991"/>
                    <a:gd name="connsiteY952" fmla="*/ 31742 h 2404309"/>
                    <a:gd name="connsiteX953" fmla="*/ 1309185 w 2358991"/>
                    <a:gd name="connsiteY953" fmla="*/ 31420 h 2404309"/>
                    <a:gd name="connsiteX954" fmla="*/ 1293521 w 2358991"/>
                    <a:gd name="connsiteY954" fmla="*/ 26520 h 2404309"/>
                    <a:gd name="connsiteX955" fmla="*/ 1279866 w 2358991"/>
                    <a:gd name="connsiteY955" fmla="*/ 24673 h 2404309"/>
                    <a:gd name="connsiteX956" fmla="*/ 1269503 w 2358991"/>
                    <a:gd name="connsiteY956" fmla="*/ 23227 h 2404309"/>
                    <a:gd name="connsiteX957" fmla="*/ 1284926 w 2358991"/>
                    <a:gd name="connsiteY957" fmla="*/ 22906 h 2404309"/>
                    <a:gd name="connsiteX958" fmla="*/ 1270949 w 2358991"/>
                    <a:gd name="connsiteY958" fmla="*/ 15194 h 2404309"/>
                    <a:gd name="connsiteX959" fmla="*/ 1283480 w 2358991"/>
                    <a:gd name="connsiteY959" fmla="*/ 18246 h 2404309"/>
                    <a:gd name="connsiteX960" fmla="*/ 1279946 w 2358991"/>
                    <a:gd name="connsiteY960" fmla="*/ 18487 h 2404309"/>
                    <a:gd name="connsiteX961" fmla="*/ 1270548 w 2358991"/>
                    <a:gd name="connsiteY961" fmla="*/ 15194 h 2404309"/>
                    <a:gd name="connsiteX962" fmla="*/ 1270949 w 2358991"/>
                    <a:gd name="connsiteY962" fmla="*/ 15194 h 2404309"/>
                    <a:gd name="connsiteX963" fmla="*/ 1268539 w 2358991"/>
                    <a:gd name="connsiteY963" fmla="*/ 9973 h 2404309"/>
                    <a:gd name="connsiteX964" fmla="*/ 1258980 w 2358991"/>
                    <a:gd name="connsiteY964" fmla="*/ 9973 h 2404309"/>
                    <a:gd name="connsiteX965" fmla="*/ 1269182 w 2358991"/>
                    <a:gd name="connsiteY965" fmla="*/ 9973 h 2404309"/>
                    <a:gd name="connsiteX966" fmla="*/ 1268539 w 2358991"/>
                    <a:gd name="connsiteY966" fmla="*/ 9973 h 2404309"/>
                    <a:gd name="connsiteX967" fmla="*/ 1277054 w 2358991"/>
                    <a:gd name="connsiteY967" fmla="*/ 13266 h 2404309"/>
                    <a:gd name="connsiteX968" fmla="*/ 1277617 w 2358991"/>
                    <a:gd name="connsiteY968" fmla="*/ 13266 h 2404309"/>
                    <a:gd name="connsiteX969" fmla="*/ 1255285 w 2358991"/>
                    <a:gd name="connsiteY969" fmla="*/ 13025 h 2404309"/>
                    <a:gd name="connsiteX970" fmla="*/ 1277054 w 2358991"/>
                    <a:gd name="connsiteY970" fmla="*/ 13266 h 2404309"/>
                    <a:gd name="connsiteX971" fmla="*/ 1254643 w 2358991"/>
                    <a:gd name="connsiteY971" fmla="*/ 21701 h 2404309"/>
                    <a:gd name="connsiteX972" fmla="*/ 1256571 w 2358991"/>
                    <a:gd name="connsiteY972" fmla="*/ 22343 h 2404309"/>
                    <a:gd name="connsiteX973" fmla="*/ 1253598 w 2358991"/>
                    <a:gd name="connsiteY973" fmla="*/ 22263 h 2404309"/>
                    <a:gd name="connsiteX974" fmla="*/ 1253598 w 2358991"/>
                    <a:gd name="connsiteY974" fmla="*/ 22263 h 2404309"/>
                    <a:gd name="connsiteX975" fmla="*/ 1253598 w 2358991"/>
                    <a:gd name="connsiteY975" fmla="*/ 22263 h 2404309"/>
                    <a:gd name="connsiteX976" fmla="*/ 1253598 w 2358991"/>
                    <a:gd name="connsiteY976" fmla="*/ 22263 h 2404309"/>
                    <a:gd name="connsiteX977" fmla="*/ 1253598 w 2358991"/>
                    <a:gd name="connsiteY977" fmla="*/ 22263 h 2404309"/>
                    <a:gd name="connsiteX978" fmla="*/ 1253598 w 2358991"/>
                    <a:gd name="connsiteY978" fmla="*/ 22263 h 2404309"/>
                    <a:gd name="connsiteX979" fmla="*/ 1253598 w 2358991"/>
                    <a:gd name="connsiteY979" fmla="*/ 22263 h 2404309"/>
                    <a:gd name="connsiteX980" fmla="*/ 1253598 w 2358991"/>
                    <a:gd name="connsiteY980" fmla="*/ 22263 h 2404309"/>
                    <a:gd name="connsiteX981" fmla="*/ 1253598 w 2358991"/>
                    <a:gd name="connsiteY981" fmla="*/ 22263 h 2404309"/>
                    <a:gd name="connsiteX982" fmla="*/ 1254643 w 2358991"/>
                    <a:gd name="connsiteY982" fmla="*/ 21701 h 2404309"/>
                    <a:gd name="connsiteX983" fmla="*/ 1269343 w 2358991"/>
                    <a:gd name="connsiteY983" fmla="*/ 4671 h 2404309"/>
                    <a:gd name="connsiteX984" fmla="*/ 1282436 w 2358991"/>
                    <a:gd name="connsiteY984" fmla="*/ 6760 h 2404309"/>
                    <a:gd name="connsiteX985" fmla="*/ 1282356 w 2358991"/>
                    <a:gd name="connsiteY985" fmla="*/ 7001 h 2404309"/>
                    <a:gd name="connsiteX986" fmla="*/ 1265648 w 2358991"/>
                    <a:gd name="connsiteY986" fmla="*/ 7242 h 2404309"/>
                    <a:gd name="connsiteX987" fmla="*/ 1265728 w 2358991"/>
                    <a:gd name="connsiteY987" fmla="*/ 7081 h 2404309"/>
                    <a:gd name="connsiteX988" fmla="*/ 1254964 w 2358991"/>
                    <a:gd name="connsiteY988" fmla="*/ 5796 h 2404309"/>
                    <a:gd name="connsiteX989" fmla="*/ 1250064 w 2358991"/>
                    <a:gd name="connsiteY989" fmla="*/ 5394 h 2404309"/>
                    <a:gd name="connsiteX990" fmla="*/ 1269343 w 2358991"/>
                    <a:gd name="connsiteY990" fmla="*/ 4671 h 2404309"/>
                    <a:gd name="connsiteX991" fmla="*/ 1241630 w 2358991"/>
                    <a:gd name="connsiteY991" fmla="*/ 11820 h 2404309"/>
                    <a:gd name="connsiteX992" fmla="*/ 1235444 w 2358991"/>
                    <a:gd name="connsiteY992" fmla="*/ 12061 h 2404309"/>
                    <a:gd name="connsiteX993" fmla="*/ 1241870 w 2358991"/>
                    <a:gd name="connsiteY993" fmla="*/ 11820 h 2404309"/>
                    <a:gd name="connsiteX994" fmla="*/ 1241630 w 2358991"/>
                    <a:gd name="connsiteY994" fmla="*/ 11820 h 2404309"/>
                    <a:gd name="connsiteX995" fmla="*/ 1230785 w 2358991"/>
                    <a:gd name="connsiteY995" fmla="*/ 12543 h 2404309"/>
                    <a:gd name="connsiteX996" fmla="*/ 1231749 w 2358991"/>
                    <a:gd name="connsiteY996" fmla="*/ 12543 h 2404309"/>
                    <a:gd name="connsiteX997" fmla="*/ 1236007 w 2358991"/>
                    <a:gd name="connsiteY997" fmla="*/ 13106 h 2404309"/>
                    <a:gd name="connsiteX998" fmla="*/ 1249100 w 2358991"/>
                    <a:gd name="connsiteY998" fmla="*/ 13186 h 2404309"/>
                    <a:gd name="connsiteX999" fmla="*/ 1251510 w 2358991"/>
                    <a:gd name="connsiteY999" fmla="*/ 13507 h 2404309"/>
                    <a:gd name="connsiteX1000" fmla="*/ 1246289 w 2358991"/>
                    <a:gd name="connsiteY1000" fmla="*/ 14310 h 2404309"/>
                    <a:gd name="connsiteX1001" fmla="*/ 1250707 w 2358991"/>
                    <a:gd name="connsiteY1001" fmla="*/ 14712 h 2404309"/>
                    <a:gd name="connsiteX1002" fmla="*/ 1247333 w 2358991"/>
                    <a:gd name="connsiteY1002" fmla="*/ 15033 h 2404309"/>
                    <a:gd name="connsiteX1003" fmla="*/ 1250064 w 2358991"/>
                    <a:gd name="connsiteY1003" fmla="*/ 15596 h 2404309"/>
                    <a:gd name="connsiteX1004" fmla="*/ 1239220 w 2358991"/>
                    <a:gd name="connsiteY1004" fmla="*/ 15355 h 2404309"/>
                    <a:gd name="connsiteX1005" fmla="*/ 1241308 w 2358991"/>
                    <a:gd name="connsiteY1005" fmla="*/ 14953 h 2404309"/>
                    <a:gd name="connsiteX1006" fmla="*/ 1220584 w 2358991"/>
                    <a:gd name="connsiteY1006" fmla="*/ 13266 h 2404309"/>
                    <a:gd name="connsiteX1007" fmla="*/ 1230785 w 2358991"/>
                    <a:gd name="connsiteY1007" fmla="*/ 12543 h 2404309"/>
                    <a:gd name="connsiteX1008" fmla="*/ 1198654 w 2358991"/>
                    <a:gd name="connsiteY1008" fmla="*/ 12543 h 2404309"/>
                    <a:gd name="connsiteX1009" fmla="*/ 1209739 w 2358991"/>
                    <a:gd name="connsiteY1009" fmla="*/ 13266 h 2404309"/>
                    <a:gd name="connsiteX1010" fmla="*/ 1198654 w 2358991"/>
                    <a:gd name="connsiteY1010" fmla="*/ 12543 h 2404309"/>
                    <a:gd name="connsiteX1011" fmla="*/ 1198654 w 2358991"/>
                    <a:gd name="connsiteY1011" fmla="*/ 12543 h 2404309"/>
                    <a:gd name="connsiteX1012" fmla="*/ 1198654 w 2358991"/>
                    <a:gd name="connsiteY1012" fmla="*/ 12543 h 2404309"/>
                    <a:gd name="connsiteX1013" fmla="*/ 1198654 w 2358991"/>
                    <a:gd name="connsiteY1013" fmla="*/ 12543 h 2404309"/>
                    <a:gd name="connsiteX1014" fmla="*/ 1198654 w 2358991"/>
                    <a:gd name="connsiteY1014" fmla="*/ 12543 h 2404309"/>
                    <a:gd name="connsiteX1015" fmla="*/ 1010365 w 2358991"/>
                    <a:gd name="connsiteY1015" fmla="*/ 593395 h 2404309"/>
                    <a:gd name="connsiteX1016" fmla="*/ 1010365 w 2358991"/>
                    <a:gd name="connsiteY1016" fmla="*/ 593395 h 2404309"/>
                    <a:gd name="connsiteX1017" fmla="*/ 1010365 w 2358991"/>
                    <a:gd name="connsiteY1017" fmla="*/ 593395 h 2404309"/>
                    <a:gd name="connsiteX1018" fmla="*/ 1041452 w 2358991"/>
                    <a:gd name="connsiteY1018" fmla="*/ 27645 h 2404309"/>
                    <a:gd name="connsiteX1019" fmla="*/ 1005947 w 2358991"/>
                    <a:gd name="connsiteY1019" fmla="*/ 73593 h 2404309"/>
                    <a:gd name="connsiteX1020" fmla="*/ 1004341 w 2358991"/>
                    <a:gd name="connsiteY1020" fmla="*/ 79858 h 2404309"/>
                    <a:gd name="connsiteX1021" fmla="*/ 1003216 w 2358991"/>
                    <a:gd name="connsiteY1021" fmla="*/ 89498 h 2404309"/>
                    <a:gd name="connsiteX1022" fmla="*/ 1013016 w 2358991"/>
                    <a:gd name="connsiteY1022" fmla="*/ 67729 h 2404309"/>
                    <a:gd name="connsiteX1023" fmla="*/ 1013819 w 2358991"/>
                    <a:gd name="connsiteY1023" fmla="*/ 93193 h 2404309"/>
                    <a:gd name="connsiteX1024" fmla="*/ 1026993 w 2358991"/>
                    <a:gd name="connsiteY1024" fmla="*/ 56161 h 2404309"/>
                    <a:gd name="connsiteX1025" fmla="*/ 1031813 w 2358991"/>
                    <a:gd name="connsiteY1025" fmla="*/ 57286 h 2404309"/>
                    <a:gd name="connsiteX1026" fmla="*/ 1031733 w 2358991"/>
                    <a:gd name="connsiteY1026" fmla="*/ 45558 h 2404309"/>
                    <a:gd name="connsiteX1027" fmla="*/ 1032054 w 2358991"/>
                    <a:gd name="connsiteY1027" fmla="*/ 45799 h 2404309"/>
                    <a:gd name="connsiteX1028" fmla="*/ 1037115 w 2358991"/>
                    <a:gd name="connsiteY1028" fmla="*/ 37686 h 2404309"/>
                    <a:gd name="connsiteX1029" fmla="*/ 1036472 w 2358991"/>
                    <a:gd name="connsiteY1029" fmla="*/ 42425 h 2404309"/>
                    <a:gd name="connsiteX1030" fmla="*/ 1041452 w 2358991"/>
                    <a:gd name="connsiteY1030" fmla="*/ 27645 h 2404309"/>
                    <a:gd name="connsiteX1031" fmla="*/ 1688173 w 2358991"/>
                    <a:gd name="connsiteY1031" fmla="*/ 63953 h 2404309"/>
                    <a:gd name="connsiteX1032" fmla="*/ 1041532 w 2358991"/>
                    <a:gd name="connsiteY1032" fmla="*/ 27565 h 2404309"/>
                    <a:gd name="connsiteX1033" fmla="*/ 1041532 w 2358991"/>
                    <a:gd name="connsiteY1033" fmla="*/ 27565 h 2404309"/>
                    <a:gd name="connsiteX1034" fmla="*/ 1044023 w 2358991"/>
                    <a:gd name="connsiteY1034" fmla="*/ 39132 h 2404309"/>
                    <a:gd name="connsiteX1035" fmla="*/ 1066354 w 2358991"/>
                    <a:gd name="connsiteY1035" fmla="*/ 86043 h 2404309"/>
                    <a:gd name="connsiteX1036" fmla="*/ 1069888 w 2358991"/>
                    <a:gd name="connsiteY1036" fmla="*/ 75199 h 2404309"/>
                    <a:gd name="connsiteX1037" fmla="*/ 1087480 w 2358991"/>
                    <a:gd name="connsiteY1037" fmla="*/ 119058 h 2404309"/>
                    <a:gd name="connsiteX1038" fmla="*/ 1085151 w 2358991"/>
                    <a:gd name="connsiteY1038" fmla="*/ 87088 h 2404309"/>
                    <a:gd name="connsiteX1039" fmla="*/ 1104670 w 2358991"/>
                    <a:gd name="connsiteY1039" fmla="*/ 91827 h 2404309"/>
                    <a:gd name="connsiteX1040" fmla="*/ 1139854 w 2358991"/>
                    <a:gd name="connsiteY1040" fmla="*/ 221316 h 2404309"/>
                    <a:gd name="connsiteX1041" fmla="*/ 1150457 w 2358991"/>
                    <a:gd name="connsiteY1041" fmla="*/ 216014 h 2404309"/>
                    <a:gd name="connsiteX1042" fmla="*/ 1146602 w 2358991"/>
                    <a:gd name="connsiteY1042" fmla="*/ 220994 h 2404309"/>
                    <a:gd name="connsiteX1043" fmla="*/ 1173913 w 2358991"/>
                    <a:gd name="connsiteY1043" fmla="*/ 244049 h 2404309"/>
                    <a:gd name="connsiteX1044" fmla="*/ 1143870 w 2358991"/>
                    <a:gd name="connsiteY1044" fmla="*/ 252965 h 2404309"/>
                    <a:gd name="connsiteX1045" fmla="*/ 1174234 w 2358991"/>
                    <a:gd name="connsiteY1045" fmla="*/ 274573 h 2404309"/>
                    <a:gd name="connsiteX1046" fmla="*/ 1164595 w 2358991"/>
                    <a:gd name="connsiteY1046" fmla="*/ 300760 h 2404309"/>
                    <a:gd name="connsiteX1047" fmla="*/ 1187328 w 2358991"/>
                    <a:gd name="connsiteY1047" fmla="*/ 325903 h 2404309"/>
                    <a:gd name="connsiteX1048" fmla="*/ 1180902 w 2358991"/>
                    <a:gd name="connsiteY1048" fmla="*/ 326706 h 2404309"/>
                    <a:gd name="connsiteX1049" fmla="*/ 1176323 w 2358991"/>
                    <a:gd name="connsiteY1049" fmla="*/ 323011 h 2404309"/>
                    <a:gd name="connsiteX1050" fmla="*/ 1176002 w 2358991"/>
                    <a:gd name="connsiteY1050" fmla="*/ 330080 h 2404309"/>
                    <a:gd name="connsiteX1051" fmla="*/ 1196164 w 2358991"/>
                    <a:gd name="connsiteY1051" fmla="*/ 334900 h 2404309"/>
                    <a:gd name="connsiteX1052" fmla="*/ 1153028 w 2358991"/>
                    <a:gd name="connsiteY1052" fmla="*/ 349198 h 2404309"/>
                    <a:gd name="connsiteX1053" fmla="*/ 1148128 w 2358991"/>
                    <a:gd name="connsiteY1053" fmla="*/ 346627 h 2404309"/>
                    <a:gd name="connsiteX1054" fmla="*/ 1151341 w 2358991"/>
                    <a:gd name="connsiteY1054" fmla="*/ 352893 h 2404309"/>
                    <a:gd name="connsiteX1055" fmla="*/ 1148529 w 2358991"/>
                    <a:gd name="connsiteY1055" fmla="*/ 359239 h 2404309"/>
                    <a:gd name="connsiteX1056" fmla="*/ 1193272 w 2358991"/>
                    <a:gd name="connsiteY1056" fmla="*/ 386631 h 2404309"/>
                    <a:gd name="connsiteX1057" fmla="*/ 1146361 w 2358991"/>
                    <a:gd name="connsiteY1057" fmla="*/ 376268 h 2404309"/>
                    <a:gd name="connsiteX1058" fmla="*/ 1159695 w 2358991"/>
                    <a:gd name="connsiteY1058" fmla="*/ 373216 h 2404309"/>
                    <a:gd name="connsiteX1059" fmla="*/ 1161462 w 2358991"/>
                    <a:gd name="connsiteY1059" fmla="*/ 386470 h 2404309"/>
                    <a:gd name="connsiteX1060" fmla="*/ 1200341 w 2358991"/>
                    <a:gd name="connsiteY1060" fmla="*/ 396109 h 2404309"/>
                    <a:gd name="connsiteX1061" fmla="*/ 1198333 w 2358991"/>
                    <a:gd name="connsiteY1061" fmla="*/ 408641 h 2404309"/>
                    <a:gd name="connsiteX1062" fmla="*/ 1210462 w 2358991"/>
                    <a:gd name="connsiteY1062" fmla="*/ 415228 h 2404309"/>
                    <a:gd name="connsiteX1063" fmla="*/ 1206526 w 2358991"/>
                    <a:gd name="connsiteY1063" fmla="*/ 431133 h 2404309"/>
                    <a:gd name="connsiteX1064" fmla="*/ 1204197 w 2358991"/>
                    <a:gd name="connsiteY1064" fmla="*/ 425108 h 2404309"/>
                    <a:gd name="connsiteX1065" fmla="*/ 1157044 w 2358991"/>
                    <a:gd name="connsiteY1065" fmla="*/ 414424 h 2404309"/>
                    <a:gd name="connsiteX1066" fmla="*/ 1155197 w 2358991"/>
                    <a:gd name="connsiteY1066" fmla="*/ 420931 h 2404309"/>
                    <a:gd name="connsiteX1067" fmla="*/ 1134311 w 2358991"/>
                    <a:gd name="connsiteY1067" fmla="*/ 430249 h 2404309"/>
                    <a:gd name="connsiteX1068" fmla="*/ 1138729 w 2358991"/>
                    <a:gd name="connsiteY1068" fmla="*/ 434105 h 2404309"/>
                    <a:gd name="connsiteX1069" fmla="*/ 1133106 w 2358991"/>
                    <a:gd name="connsiteY1069" fmla="*/ 444387 h 2404309"/>
                    <a:gd name="connsiteX1070" fmla="*/ 1156883 w 2358991"/>
                    <a:gd name="connsiteY1070" fmla="*/ 443905 h 2404309"/>
                    <a:gd name="connsiteX1071" fmla="*/ 1151823 w 2358991"/>
                    <a:gd name="connsiteY1071" fmla="*/ 454910 h 2404309"/>
                    <a:gd name="connsiteX1072" fmla="*/ 1188613 w 2358991"/>
                    <a:gd name="connsiteY1072" fmla="*/ 442700 h 2404309"/>
                    <a:gd name="connsiteX1073" fmla="*/ 1115836 w 2358991"/>
                    <a:gd name="connsiteY1073" fmla="*/ 511059 h 2404309"/>
                    <a:gd name="connsiteX1074" fmla="*/ 1103385 w 2358991"/>
                    <a:gd name="connsiteY1074" fmla="*/ 507685 h 2404309"/>
                    <a:gd name="connsiteX1075" fmla="*/ 1058723 w 2358991"/>
                    <a:gd name="connsiteY1075" fmla="*/ 560943 h 2404309"/>
                    <a:gd name="connsiteX1076" fmla="*/ 1061133 w 2358991"/>
                    <a:gd name="connsiteY1076" fmla="*/ 566967 h 2404309"/>
                    <a:gd name="connsiteX1077" fmla="*/ 1035669 w 2358991"/>
                    <a:gd name="connsiteY1077" fmla="*/ 579257 h 2404309"/>
                    <a:gd name="connsiteX1078" fmla="*/ 1031491 w 2358991"/>
                    <a:gd name="connsiteY1078" fmla="*/ 574197 h 2404309"/>
                    <a:gd name="connsiteX1079" fmla="*/ 1009241 w 2358991"/>
                    <a:gd name="connsiteY1079" fmla="*/ 595162 h 2404309"/>
                    <a:gd name="connsiteX1080" fmla="*/ 992854 w 2358991"/>
                    <a:gd name="connsiteY1080" fmla="*/ 601669 h 2404309"/>
                    <a:gd name="connsiteX1081" fmla="*/ 1001770 w 2358991"/>
                    <a:gd name="connsiteY1081" fmla="*/ 612272 h 2404309"/>
                    <a:gd name="connsiteX1082" fmla="*/ 987231 w 2358991"/>
                    <a:gd name="connsiteY1082" fmla="*/ 621349 h 2404309"/>
                    <a:gd name="connsiteX1083" fmla="*/ 997111 w 2358991"/>
                    <a:gd name="connsiteY1083" fmla="*/ 629703 h 2404309"/>
                    <a:gd name="connsiteX1084" fmla="*/ 987070 w 2358991"/>
                    <a:gd name="connsiteY1084" fmla="*/ 647134 h 2404309"/>
                    <a:gd name="connsiteX1085" fmla="*/ 975423 w 2358991"/>
                    <a:gd name="connsiteY1085" fmla="*/ 646492 h 2404309"/>
                    <a:gd name="connsiteX1086" fmla="*/ 980082 w 2358991"/>
                    <a:gd name="connsiteY1086" fmla="*/ 650990 h 2404309"/>
                    <a:gd name="connsiteX1087" fmla="*/ 976949 w 2358991"/>
                    <a:gd name="connsiteY1087" fmla="*/ 656774 h 2404309"/>
                    <a:gd name="connsiteX1088" fmla="*/ 969800 w 2358991"/>
                    <a:gd name="connsiteY1088" fmla="*/ 658139 h 2404309"/>
                    <a:gd name="connsiteX1089" fmla="*/ 975824 w 2358991"/>
                    <a:gd name="connsiteY1089" fmla="*/ 660710 h 2404309"/>
                    <a:gd name="connsiteX1090" fmla="*/ 969639 w 2358991"/>
                    <a:gd name="connsiteY1090" fmla="*/ 679989 h 2404309"/>
                    <a:gd name="connsiteX1091" fmla="*/ 973575 w 2358991"/>
                    <a:gd name="connsiteY1091" fmla="*/ 680470 h 2404309"/>
                    <a:gd name="connsiteX1092" fmla="*/ 953413 w 2358991"/>
                    <a:gd name="connsiteY1092" fmla="*/ 715092 h 2404309"/>
                    <a:gd name="connsiteX1093" fmla="*/ 954055 w 2358991"/>
                    <a:gd name="connsiteY1093" fmla="*/ 720956 h 2404309"/>
                    <a:gd name="connsiteX1094" fmla="*/ 948432 w 2358991"/>
                    <a:gd name="connsiteY1094" fmla="*/ 722161 h 2404309"/>
                    <a:gd name="connsiteX1095" fmla="*/ 948031 w 2358991"/>
                    <a:gd name="connsiteY1095" fmla="*/ 720233 h 2404309"/>
                    <a:gd name="connsiteX1096" fmla="*/ 942568 w 2358991"/>
                    <a:gd name="connsiteY1096" fmla="*/ 718385 h 2404309"/>
                    <a:gd name="connsiteX1097" fmla="*/ 945701 w 2358991"/>
                    <a:gd name="connsiteY1097" fmla="*/ 713084 h 2404309"/>
                    <a:gd name="connsiteX1098" fmla="*/ 934937 w 2358991"/>
                    <a:gd name="connsiteY1098" fmla="*/ 718385 h 2404309"/>
                    <a:gd name="connsiteX1099" fmla="*/ 929555 w 2358991"/>
                    <a:gd name="connsiteY1099" fmla="*/ 713967 h 2404309"/>
                    <a:gd name="connsiteX1100" fmla="*/ 934777 w 2358991"/>
                    <a:gd name="connsiteY1100" fmla="*/ 709951 h 2404309"/>
                    <a:gd name="connsiteX1101" fmla="*/ 921844 w 2358991"/>
                    <a:gd name="connsiteY1101" fmla="*/ 708666 h 2404309"/>
                    <a:gd name="connsiteX1102" fmla="*/ 921683 w 2358991"/>
                    <a:gd name="connsiteY1102" fmla="*/ 695010 h 2404309"/>
                    <a:gd name="connsiteX1103" fmla="*/ 894131 w 2358991"/>
                    <a:gd name="connsiteY1103" fmla="*/ 707461 h 2404309"/>
                    <a:gd name="connsiteX1104" fmla="*/ 887945 w 2358991"/>
                    <a:gd name="connsiteY1104" fmla="*/ 706898 h 2404309"/>
                    <a:gd name="connsiteX1105" fmla="*/ 893729 w 2358991"/>
                    <a:gd name="connsiteY1105" fmla="*/ 701838 h 2404309"/>
                    <a:gd name="connsiteX1106" fmla="*/ 872603 w 2358991"/>
                    <a:gd name="connsiteY1106" fmla="*/ 690351 h 2404309"/>
                    <a:gd name="connsiteX1107" fmla="*/ 872924 w 2358991"/>
                    <a:gd name="connsiteY1107" fmla="*/ 684246 h 2404309"/>
                    <a:gd name="connsiteX1108" fmla="*/ 877503 w 2358991"/>
                    <a:gd name="connsiteY1108" fmla="*/ 680390 h 2404309"/>
                    <a:gd name="connsiteX1109" fmla="*/ 871880 w 2358991"/>
                    <a:gd name="connsiteY1109" fmla="*/ 681193 h 2404309"/>
                    <a:gd name="connsiteX1110" fmla="*/ 860232 w 2358991"/>
                    <a:gd name="connsiteY1110" fmla="*/ 668020 h 2404309"/>
                    <a:gd name="connsiteX1111" fmla="*/ 868185 w 2358991"/>
                    <a:gd name="connsiteY1111" fmla="*/ 658461 h 2404309"/>
                    <a:gd name="connsiteX1112" fmla="*/ 856618 w 2358991"/>
                    <a:gd name="connsiteY1112" fmla="*/ 661031 h 2404309"/>
                    <a:gd name="connsiteX1113" fmla="*/ 846818 w 2358991"/>
                    <a:gd name="connsiteY1113" fmla="*/ 641190 h 2404309"/>
                    <a:gd name="connsiteX1114" fmla="*/ 864409 w 2358991"/>
                    <a:gd name="connsiteY1114" fmla="*/ 632033 h 2404309"/>
                    <a:gd name="connsiteX1115" fmla="*/ 851637 w 2358991"/>
                    <a:gd name="connsiteY1115" fmla="*/ 633318 h 2404309"/>
                    <a:gd name="connsiteX1116" fmla="*/ 865373 w 2358991"/>
                    <a:gd name="connsiteY1116" fmla="*/ 622795 h 2404309"/>
                    <a:gd name="connsiteX1117" fmla="*/ 857742 w 2358991"/>
                    <a:gd name="connsiteY1117" fmla="*/ 609300 h 2404309"/>
                    <a:gd name="connsiteX1118" fmla="*/ 859831 w 2358991"/>
                    <a:gd name="connsiteY1118" fmla="*/ 615244 h 2404309"/>
                    <a:gd name="connsiteX1119" fmla="*/ 857260 w 2358991"/>
                    <a:gd name="connsiteY1119" fmla="*/ 620305 h 2404309"/>
                    <a:gd name="connsiteX1120" fmla="*/ 837419 w 2358991"/>
                    <a:gd name="connsiteY1120" fmla="*/ 622554 h 2404309"/>
                    <a:gd name="connsiteX1121" fmla="*/ 857581 w 2358991"/>
                    <a:gd name="connsiteY1121" fmla="*/ 596206 h 2404309"/>
                    <a:gd name="connsiteX1122" fmla="*/ 838142 w 2358991"/>
                    <a:gd name="connsiteY1122" fmla="*/ 602472 h 2404309"/>
                    <a:gd name="connsiteX1123" fmla="*/ 802396 w 2358991"/>
                    <a:gd name="connsiteY1123" fmla="*/ 955514 h 2404309"/>
                    <a:gd name="connsiteX1124" fmla="*/ 803039 w 2358991"/>
                    <a:gd name="connsiteY1124" fmla="*/ 961136 h 2404309"/>
                    <a:gd name="connsiteX1125" fmla="*/ 801995 w 2358991"/>
                    <a:gd name="connsiteY1125" fmla="*/ 968366 h 2404309"/>
                    <a:gd name="connsiteX1126" fmla="*/ 1677971 w 2358991"/>
                    <a:gd name="connsiteY1126" fmla="*/ 808353 h 2404309"/>
                    <a:gd name="connsiteX1127" fmla="*/ 1675079 w 2358991"/>
                    <a:gd name="connsiteY1127" fmla="*/ 803613 h 2404309"/>
                    <a:gd name="connsiteX1128" fmla="*/ 1630738 w 2358991"/>
                    <a:gd name="connsiteY1128" fmla="*/ 805863 h 2404309"/>
                    <a:gd name="connsiteX1129" fmla="*/ 1626883 w 2358991"/>
                    <a:gd name="connsiteY1129" fmla="*/ 801444 h 2404309"/>
                    <a:gd name="connsiteX1130" fmla="*/ 1666002 w 2358991"/>
                    <a:gd name="connsiteY1130" fmla="*/ 781121 h 2404309"/>
                    <a:gd name="connsiteX1131" fmla="*/ 1671866 w 2358991"/>
                    <a:gd name="connsiteY1131" fmla="*/ 780639 h 2404309"/>
                    <a:gd name="connsiteX1132" fmla="*/ 1664958 w 2358991"/>
                    <a:gd name="connsiteY1132" fmla="*/ 766100 h 2404309"/>
                    <a:gd name="connsiteX1133" fmla="*/ 1692912 w 2358991"/>
                    <a:gd name="connsiteY1133" fmla="*/ 756862 h 2404309"/>
                    <a:gd name="connsiteX1134" fmla="*/ 1732353 w 2358991"/>
                    <a:gd name="connsiteY1134" fmla="*/ 706898 h 2404309"/>
                    <a:gd name="connsiteX1135" fmla="*/ 1725686 w 2358991"/>
                    <a:gd name="connsiteY1135" fmla="*/ 707300 h 2404309"/>
                    <a:gd name="connsiteX1136" fmla="*/ 1736852 w 2358991"/>
                    <a:gd name="connsiteY1136" fmla="*/ 703525 h 2404309"/>
                    <a:gd name="connsiteX1137" fmla="*/ 1734281 w 2358991"/>
                    <a:gd name="connsiteY1137" fmla="*/ 701918 h 2404309"/>
                    <a:gd name="connsiteX1138" fmla="*/ 1758219 w 2358991"/>
                    <a:gd name="connsiteY1138" fmla="*/ 658541 h 2404309"/>
                    <a:gd name="connsiteX1139" fmla="*/ 1775329 w 2358991"/>
                    <a:gd name="connsiteY1139" fmla="*/ 646251 h 2404309"/>
                    <a:gd name="connsiteX1140" fmla="*/ 1776533 w 2358991"/>
                    <a:gd name="connsiteY1140" fmla="*/ 640708 h 2404309"/>
                    <a:gd name="connsiteX1141" fmla="*/ 1787940 w 2358991"/>
                    <a:gd name="connsiteY1141" fmla="*/ 637736 h 2404309"/>
                    <a:gd name="connsiteX1142" fmla="*/ 1748258 w 2358991"/>
                    <a:gd name="connsiteY1142" fmla="*/ 596769 h 2404309"/>
                    <a:gd name="connsiteX1143" fmla="*/ 1758219 w 2358991"/>
                    <a:gd name="connsiteY1143" fmla="*/ 564959 h 2404309"/>
                    <a:gd name="connsiteX1144" fmla="*/ 1783843 w 2358991"/>
                    <a:gd name="connsiteY1144" fmla="*/ 619983 h 2404309"/>
                    <a:gd name="connsiteX1145" fmla="*/ 1851239 w 2358991"/>
                    <a:gd name="connsiteY1145" fmla="*/ 608657 h 2404309"/>
                    <a:gd name="connsiteX1146" fmla="*/ 1837262 w 2358991"/>
                    <a:gd name="connsiteY1146" fmla="*/ 605525 h 2404309"/>
                    <a:gd name="connsiteX1147" fmla="*/ 1886502 w 2358991"/>
                    <a:gd name="connsiteY1147" fmla="*/ 568172 h 2404309"/>
                    <a:gd name="connsiteX1148" fmla="*/ 1886663 w 2358991"/>
                    <a:gd name="connsiteY1148" fmla="*/ 568092 h 2404309"/>
                    <a:gd name="connsiteX1149" fmla="*/ 1886663 w 2358991"/>
                    <a:gd name="connsiteY1149" fmla="*/ 568092 h 2404309"/>
                    <a:gd name="connsiteX1150" fmla="*/ 1886663 w 2358991"/>
                    <a:gd name="connsiteY1150" fmla="*/ 568092 h 2404309"/>
                    <a:gd name="connsiteX1151" fmla="*/ 1886663 w 2358991"/>
                    <a:gd name="connsiteY1151" fmla="*/ 568092 h 2404309"/>
                    <a:gd name="connsiteX1152" fmla="*/ 1886663 w 2358991"/>
                    <a:gd name="connsiteY1152" fmla="*/ 568092 h 2404309"/>
                    <a:gd name="connsiteX1153" fmla="*/ 1886663 w 2358991"/>
                    <a:gd name="connsiteY1153" fmla="*/ 568092 h 2404309"/>
                    <a:gd name="connsiteX1154" fmla="*/ 1886663 w 2358991"/>
                    <a:gd name="connsiteY1154" fmla="*/ 568092 h 2404309"/>
                    <a:gd name="connsiteX1155" fmla="*/ 1886663 w 2358991"/>
                    <a:gd name="connsiteY1155" fmla="*/ 568092 h 2404309"/>
                    <a:gd name="connsiteX1156" fmla="*/ 1884414 w 2358991"/>
                    <a:gd name="connsiteY1156" fmla="*/ 497242 h 2404309"/>
                    <a:gd name="connsiteX1157" fmla="*/ 1902167 w 2358991"/>
                    <a:gd name="connsiteY1157" fmla="*/ 490575 h 2404309"/>
                    <a:gd name="connsiteX1158" fmla="*/ 1874453 w 2358991"/>
                    <a:gd name="connsiteY1158" fmla="*/ 471377 h 2404309"/>
                    <a:gd name="connsiteX1159" fmla="*/ 1874052 w 2358991"/>
                    <a:gd name="connsiteY1159" fmla="*/ 462139 h 2404309"/>
                    <a:gd name="connsiteX1160" fmla="*/ 1909155 w 2358991"/>
                    <a:gd name="connsiteY1160" fmla="*/ 422055 h 2404309"/>
                    <a:gd name="connsiteX1161" fmla="*/ 1890519 w 2358991"/>
                    <a:gd name="connsiteY1161" fmla="*/ 418601 h 2404309"/>
                    <a:gd name="connsiteX1162" fmla="*/ 1892286 w 2358991"/>
                    <a:gd name="connsiteY1162" fmla="*/ 418682 h 2404309"/>
                    <a:gd name="connsiteX1163" fmla="*/ 1872686 w 2358991"/>
                    <a:gd name="connsiteY1163" fmla="*/ 433623 h 2404309"/>
                    <a:gd name="connsiteX1164" fmla="*/ 1860235 w 2358991"/>
                    <a:gd name="connsiteY1164" fmla="*/ 458123 h 2404309"/>
                    <a:gd name="connsiteX1165" fmla="*/ 1854371 w 2358991"/>
                    <a:gd name="connsiteY1165" fmla="*/ 455311 h 2404309"/>
                    <a:gd name="connsiteX1166" fmla="*/ 1849873 w 2358991"/>
                    <a:gd name="connsiteY1166" fmla="*/ 458846 h 2404309"/>
                    <a:gd name="connsiteX1167" fmla="*/ 1846419 w 2358991"/>
                    <a:gd name="connsiteY1167" fmla="*/ 453705 h 2404309"/>
                    <a:gd name="connsiteX1168" fmla="*/ 1835735 w 2358991"/>
                    <a:gd name="connsiteY1168" fmla="*/ 456516 h 2404309"/>
                    <a:gd name="connsiteX1169" fmla="*/ 1821276 w 2358991"/>
                    <a:gd name="connsiteY1169" fmla="*/ 443342 h 2404309"/>
                    <a:gd name="connsiteX1170" fmla="*/ 1820393 w 2358991"/>
                    <a:gd name="connsiteY1170" fmla="*/ 440611 h 2404309"/>
                    <a:gd name="connsiteX1171" fmla="*/ 1794125 w 2358991"/>
                    <a:gd name="connsiteY1171" fmla="*/ 414344 h 2404309"/>
                    <a:gd name="connsiteX1172" fmla="*/ 1795571 w 2358991"/>
                    <a:gd name="connsiteY1172" fmla="*/ 413300 h 2404309"/>
                    <a:gd name="connsiteX1173" fmla="*/ 1793001 w 2358991"/>
                    <a:gd name="connsiteY1173" fmla="*/ 401732 h 2404309"/>
                    <a:gd name="connsiteX1174" fmla="*/ 1790912 w 2358991"/>
                    <a:gd name="connsiteY1174" fmla="*/ 362773 h 2404309"/>
                    <a:gd name="connsiteX1175" fmla="*/ 1766252 w 2358991"/>
                    <a:gd name="connsiteY1175" fmla="*/ 348234 h 2404309"/>
                    <a:gd name="connsiteX1176" fmla="*/ 1752114 w 2358991"/>
                    <a:gd name="connsiteY1176" fmla="*/ 359399 h 2404309"/>
                    <a:gd name="connsiteX1177" fmla="*/ 1752034 w 2358991"/>
                    <a:gd name="connsiteY1177" fmla="*/ 365183 h 2404309"/>
                    <a:gd name="connsiteX1178" fmla="*/ 1768902 w 2358991"/>
                    <a:gd name="connsiteY1178" fmla="*/ 416191 h 2404309"/>
                    <a:gd name="connsiteX1179" fmla="*/ 1770268 w 2358991"/>
                    <a:gd name="connsiteY1179" fmla="*/ 417718 h 2404309"/>
                    <a:gd name="connsiteX1180" fmla="*/ 1768019 w 2358991"/>
                    <a:gd name="connsiteY1180" fmla="*/ 417477 h 2404309"/>
                    <a:gd name="connsiteX1181" fmla="*/ 1766975 w 2358991"/>
                    <a:gd name="connsiteY1181" fmla="*/ 429606 h 2404309"/>
                    <a:gd name="connsiteX1182" fmla="*/ 1768581 w 2358991"/>
                    <a:gd name="connsiteY1182" fmla="*/ 430651 h 2404309"/>
                    <a:gd name="connsiteX1183" fmla="*/ 1767858 w 2358991"/>
                    <a:gd name="connsiteY1183" fmla="*/ 436434 h 2404309"/>
                    <a:gd name="connsiteX1184" fmla="*/ 1767296 w 2358991"/>
                    <a:gd name="connsiteY1184" fmla="*/ 435550 h 2404309"/>
                    <a:gd name="connsiteX1185" fmla="*/ 1770589 w 2358991"/>
                    <a:gd name="connsiteY1185" fmla="*/ 440772 h 2404309"/>
                    <a:gd name="connsiteX1186" fmla="*/ 1766894 w 2358991"/>
                    <a:gd name="connsiteY1186" fmla="*/ 444949 h 2404309"/>
                    <a:gd name="connsiteX1187" fmla="*/ 1820152 w 2358991"/>
                    <a:gd name="connsiteY1187" fmla="*/ 485755 h 2404309"/>
                    <a:gd name="connsiteX1188" fmla="*/ 1810593 w 2358991"/>
                    <a:gd name="connsiteY1188" fmla="*/ 497323 h 2404309"/>
                    <a:gd name="connsiteX1189" fmla="*/ 1800150 w 2358991"/>
                    <a:gd name="connsiteY1189" fmla="*/ 502865 h 2404309"/>
                    <a:gd name="connsiteX1190" fmla="*/ 1822240 w 2358991"/>
                    <a:gd name="connsiteY1190" fmla="*/ 494672 h 2404309"/>
                    <a:gd name="connsiteX1191" fmla="*/ 1810271 w 2358991"/>
                    <a:gd name="connsiteY1191" fmla="*/ 518288 h 2404309"/>
                    <a:gd name="connsiteX1192" fmla="*/ 1815975 w 2358991"/>
                    <a:gd name="connsiteY1192" fmla="*/ 516521 h 2404309"/>
                    <a:gd name="connsiteX1193" fmla="*/ 1826738 w 2358991"/>
                    <a:gd name="connsiteY1193" fmla="*/ 569538 h 2404309"/>
                    <a:gd name="connsiteX1194" fmla="*/ 1813966 w 2358991"/>
                    <a:gd name="connsiteY1194" fmla="*/ 589700 h 2404309"/>
                    <a:gd name="connsiteX1195" fmla="*/ 1797579 w 2358991"/>
                    <a:gd name="connsiteY1195" fmla="*/ 578534 h 2404309"/>
                    <a:gd name="connsiteX1196" fmla="*/ 1778301 w 2358991"/>
                    <a:gd name="connsiteY1196" fmla="*/ 562549 h 2404309"/>
                    <a:gd name="connsiteX1197" fmla="*/ 1748901 w 2358991"/>
                    <a:gd name="connsiteY1197" fmla="*/ 538531 h 2404309"/>
                    <a:gd name="connsiteX1198" fmla="*/ 1734924 w 2358991"/>
                    <a:gd name="connsiteY1198" fmla="*/ 532185 h 2404309"/>
                    <a:gd name="connsiteX1199" fmla="*/ 1737976 w 2358991"/>
                    <a:gd name="connsiteY1199" fmla="*/ 545359 h 2404309"/>
                    <a:gd name="connsiteX1200" fmla="*/ 1732032 w 2358991"/>
                    <a:gd name="connsiteY1200" fmla="*/ 546805 h 2404309"/>
                    <a:gd name="connsiteX1201" fmla="*/ 1687771 w 2358991"/>
                    <a:gd name="connsiteY1201" fmla="*/ 576928 h 2404309"/>
                    <a:gd name="connsiteX1202" fmla="*/ 1684317 w 2358991"/>
                    <a:gd name="connsiteY1202" fmla="*/ 571948 h 2404309"/>
                    <a:gd name="connsiteX1203" fmla="*/ 1690824 w 2358991"/>
                    <a:gd name="connsiteY1203" fmla="*/ 566164 h 2404309"/>
                    <a:gd name="connsiteX1204" fmla="*/ 1683915 w 2358991"/>
                    <a:gd name="connsiteY1204" fmla="*/ 566003 h 2404309"/>
                    <a:gd name="connsiteX1205" fmla="*/ 1683594 w 2358991"/>
                    <a:gd name="connsiteY1205" fmla="*/ 558774 h 2404309"/>
                    <a:gd name="connsiteX1206" fmla="*/ 1672589 w 2358991"/>
                    <a:gd name="connsiteY1206" fmla="*/ 565521 h 2404309"/>
                    <a:gd name="connsiteX1207" fmla="*/ 1679096 w 2358991"/>
                    <a:gd name="connsiteY1207" fmla="*/ 552106 h 2404309"/>
                    <a:gd name="connsiteX1208" fmla="*/ 1668814 w 2358991"/>
                    <a:gd name="connsiteY1208" fmla="*/ 555802 h 2404309"/>
                    <a:gd name="connsiteX1209" fmla="*/ 1668974 w 2358991"/>
                    <a:gd name="connsiteY1209" fmla="*/ 549616 h 2404309"/>
                    <a:gd name="connsiteX1210" fmla="*/ 1663110 w 2358991"/>
                    <a:gd name="connsiteY1210" fmla="*/ 549456 h 2404309"/>
                    <a:gd name="connsiteX1211" fmla="*/ 1657969 w 2358991"/>
                    <a:gd name="connsiteY1211" fmla="*/ 538772 h 2404309"/>
                    <a:gd name="connsiteX1212" fmla="*/ 1652828 w 2358991"/>
                    <a:gd name="connsiteY1212" fmla="*/ 536282 h 2404309"/>
                    <a:gd name="connsiteX1213" fmla="*/ 1672669 w 2358991"/>
                    <a:gd name="connsiteY1213" fmla="*/ 528169 h 2404309"/>
                    <a:gd name="connsiteX1214" fmla="*/ 1675401 w 2358991"/>
                    <a:gd name="connsiteY1214" fmla="*/ 522626 h 2404309"/>
                    <a:gd name="connsiteX1215" fmla="*/ 1651222 w 2358991"/>
                    <a:gd name="connsiteY1215" fmla="*/ 532265 h 2404309"/>
                    <a:gd name="connsiteX1216" fmla="*/ 1642386 w 2358991"/>
                    <a:gd name="connsiteY1216" fmla="*/ 523992 h 2404309"/>
                    <a:gd name="connsiteX1217" fmla="*/ 1643751 w 2358991"/>
                    <a:gd name="connsiteY1217" fmla="*/ 517485 h 2404309"/>
                    <a:gd name="connsiteX1218" fmla="*/ 1638048 w 2358991"/>
                    <a:gd name="connsiteY1218" fmla="*/ 514513 h 2404309"/>
                    <a:gd name="connsiteX1219" fmla="*/ 1664155 w 2358991"/>
                    <a:gd name="connsiteY1219" fmla="*/ 489049 h 2404309"/>
                    <a:gd name="connsiteX1220" fmla="*/ 1649053 w 2358991"/>
                    <a:gd name="connsiteY1220" fmla="*/ 490977 h 2404309"/>
                    <a:gd name="connsiteX1221" fmla="*/ 1668653 w 2358991"/>
                    <a:gd name="connsiteY1221" fmla="*/ 484229 h 2404309"/>
                    <a:gd name="connsiteX1222" fmla="*/ 1659897 w 2358991"/>
                    <a:gd name="connsiteY1222" fmla="*/ 471297 h 2404309"/>
                    <a:gd name="connsiteX1223" fmla="*/ 1683433 w 2358991"/>
                    <a:gd name="connsiteY1223" fmla="*/ 460452 h 2404309"/>
                    <a:gd name="connsiteX1224" fmla="*/ 1682148 w 2358991"/>
                    <a:gd name="connsiteY1224" fmla="*/ 448965 h 2404309"/>
                    <a:gd name="connsiteX1225" fmla="*/ 1677971 w 2358991"/>
                    <a:gd name="connsiteY1225" fmla="*/ 460291 h 2404309"/>
                    <a:gd name="connsiteX1226" fmla="*/ 1672589 w 2358991"/>
                    <a:gd name="connsiteY1226" fmla="*/ 463665 h 2404309"/>
                    <a:gd name="connsiteX1227" fmla="*/ 1666725 w 2358991"/>
                    <a:gd name="connsiteY1227" fmla="*/ 459649 h 2404309"/>
                    <a:gd name="connsiteX1228" fmla="*/ 1666966 w 2358991"/>
                    <a:gd name="connsiteY1228" fmla="*/ 429847 h 2404309"/>
                    <a:gd name="connsiteX1229" fmla="*/ 1669296 w 2358991"/>
                    <a:gd name="connsiteY1229" fmla="*/ 423662 h 2404309"/>
                    <a:gd name="connsiteX1230" fmla="*/ 1674678 w 2358991"/>
                    <a:gd name="connsiteY1230" fmla="*/ 422136 h 2404309"/>
                    <a:gd name="connsiteX1231" fmla="*/ 1675802 w 2358991"/>
                    <a:gd name="connsiteY1231" fmla="*/ 416593 h 2404309"/>
                    <a:gd name="connsiteX1232" fmla="*/ 1661183 w 2358991"/>
                    <a:gd name="connsiteY1232" fmla="*/ 403178 h 2404309"/>
                    <a:gd name="connsiteX1233" fmla="*/ 1668733 w 2358991"/>
                    <a:gd name="connsiteY1233" fmla="*/ 392977 h 2404309"/>
                    <a:gd name="connsiteX1234" fmla="*/ 1663673 w 2358991"/>
                    <a:gd name="connsiteY1234" fmla="*/ 395788 h 2404309"/>
                    <a:gd name="connsiteX1235" fmla="*/ 1657728 w 2358991"/>
                    <a:gd name="connsiteY1235" fmla="*/ 393700 h 2404309"/>
                    <a:gd name="connsiteX1236" fmla="*/ 1656845 w 2358991"/>
                    <a:gd name="connsiteY1236" fmla="*/ 390969 h 2404309"/>
                    <a:gd name="connsiteX1237" fmla="*/ 1661022 w 2358991"/>
                    <a:gd name="connsiteY1237" fmla="*/ 368396 h 2404309"/>
                    <a:gd name="connsiteX1238" fmla="*/ 1654676 w 2358991"/>
                    <a:gd name="connsiteY1238" fmla="*/ 367352 h 2404309"/>
                    <a:gd name="connsiteX1239" fmla="*/ 1660460 w 2358991"/>
                    <a:gd name="connsiteY1239" fmla="*/ 364460 h 2404309"/>
                    <a:gd name="connsiteX1240" fmla="*/ 1648973 w 2358991"/>
                    <a:gd name="connsiteY1240" fmla="*/ 344298 h 2404309"/>
                    <a:gd name="connsiteX1241" fmla="*/ 1658773 w 2358991"/>
                    <a:gd name="connsiteY1241" fmla="*/ 349760 h 2404309"/>
                    <a:gd name="connsiteX1242" fmla="*/ 1648009 w 2358991"/>
                    <a:gd name="connsiteY1242" fmla="*/ 309275 h 2404309"/>
                    <a:gd name="connsiteX1243" fmla="*/ 1642627 w 2358991"/>
                    <a:gd name="connsiteY1243" fmla="*/ 305660 h 2404309"/>
                    <a:gd name="connsiteX1244" fmla="*/ 1641904 w 2358991"/>
                    <a:gd name="connsiteY1244" fmla="*/ 298591 h 2404309"/>
                    <a:gd name="connsiteX1245" fmla="*/ 1647366 w 2358991"/>
                    <a:gd name="connsiteY1245" fmla="*/ 300439 h 2404309"/>
                    <a:gd name="connsiteX1246" fmla="*/ 1644555 w 2358991"/>
                    <a:gd name="connsiteY1246" fmla="*/ 294977 h 2404309"/>
                    <a:gd name="connsiteX1247" fmla="*/ 1654837 w 2358991"/>
                    <a:gd name="connsiteY1247" fmla="*/ 301162 h 2404309"/>
                    <a:gd name="connsiteX1248" fmla="*/ 1648651 w 2358991"/>
                    <a:gd name="connsiteY1248" fmla="*/ 289032 h 2404309"/>
                    <a:gd name="connsiteX1249" fmla="*/ 1654033 w 2358991"/>
                    <a:gd name="connsiteY1249" fmla="*/ 286542 h 2404309"/>
                    <a:gd name="connsiteX1250" fmla="*/ 1647687 w 2358991"/>
                    <a:gd name="connsiteY1250" fmla="*/ 282526 h 2404309"/>
                    <a:gd name="connsiteX1251" fmla="*/ 1646804 w 2358991"/>
                    <a:gd name="connsiteY1251" fmla="*/ 276903 h 2404309"/>
                    <a:gd name="connsiteX1252" fmla="*/ 1649776 w 2358991"/>
                    <a:gd name="connsiteY1252" fmla="*/ 276099 h 2404309"/>
                    <a:gd name="connsiteX1253" fmla="*/ 1661745 w 2358991"/>
                    <a:gd name="connsiteY1253" fmla="*/ 276099 h 2404309"/>
                    <a:gd name="connsiteX1254" fmla="*/ 1650258 w 2358991"/>
                    <a:gd name="connsiteY1254" fmla="*/ 254973 h 2404309"/>
                    <a:gd name="connsiteX1255" fmla="*/ 1671465 w 2358991"/>
                    <a:gd name="connsiteY1255" fmla="*/ 267504 h 2404309"/>
                    <a:gd name="connsiteX1256" fmla="*/ 1658933 w 2358991"/>
                    <a:gd name="connsiteY1256" fmla="*/ 244852 h 2404309"/>
                    <a:gd name="connsiteX1257" fmla="*/ 1669376 w 2358991"/>
                    <a:gd name="connsiteY1257" fmla="*/ 252403 h 2404309"/>
                    <a:gd name="connsiteX1258" fmla="*/ 1665601 w 2358991"/>
                    <a:gd name="connsiteY1258" fmla="*/ 241237 h 2404309"/>
                    <a:gd name="connsiteX1259" fmla="*/ 1686486 w 2358991"/>
                    <a:gd name="connsiteY1259" fmla="*/ 251358 h 2404309"/>
                    <a:gd name="connsiteX1260" fmla="*/ 1677088 w 2358991"/>
                    <a:gd name="connsiteY1260" fmla="*/ 240193 h 2404309"/>
                    <a:gd name="connsiteX1261" fmla="*/ 1681747 w 2358991"/>
                    <a:gd name="connsiteY1261" fmla="*/ 236176 h 2404309"/>
                    <a:gd name="connsiteX1262" fmla="*/ 1697170 w 2358991"/>
                    <a:gd name="connsiteY1262" fmla="*/ 238907 h 2404309"/>
                    <a:gd name="connsiteX1263" fmla="*/ 1699981 w 2358991"/>
                    <a:gd name="connsiteY1263" fmla="*/ 244450 h 2404309"/>
                    <a:gd name="connsiteX1264" fmla="*/ 1695643 w 2358991"/>
                    <a:gd name="connsiteY1264" fmla="*/ 248627 h 2404309"/>
                    <a:gd name="connsiteX1265" fmla="*/ 1712191 w 2358991"/>
                    <a:gd name="connsiteY1265" fmla="*/ 251037 h 2404309"/>
                    <a:gd name="connsiteX1266" fmla="*/ 1711147 w 2358991"/>
                    <a:gd name="connsiteY1266" fmla="*/ 249832 h 2404309"/>
                    <a:gd name="connsiteX1267" fmla="*/ 1716609 w 2358991"/>
                    <a:gd name="connsiteY1267" fmla="*/ 247824 h 2404309"/>
                    <a:gd name="connsiteX1268" fmla="*/ 1717091 w 2358991"/>
                    <a:gd name="connsiteY1268" fmla="*/ 242040 h 2404309"/>
                    <a:gd name="connsiteX1269" fmla="*/ 1739422 w 2358991"/>
                    <a:gd name="connsiteY1269" fmla="*/ 245816 h 2404309"/>
                    <a:gd name="connsiteX1270" fmla="*/ 1743760 w 2358991"/>
                    <a:gd name="connsiteY1270" fmla="*/ 251117 h 2404309"/>
                    <a:gd name="connsiteX1271" fmla="*/ 1835494 w 2358991"/>
                    <a:gd name="connsiteY1271" fmla="*/ 261881 h 2404309"/>
                    <a:gd name="connsiteX1272" fmla="*/ 1787699 w 2358991"/>
                    <a:gd name="connsiteY1272" fmla="*/ 287506 h 2404309"/>
                    <a:gd name="connsiteX1273" fmla="*/ 1876863 w 2358991"/>
                    <a:gd name="connsiteY1273" fmla="*/ 317388 h 2404309"/>
                    <a:gd name="connsiteX1274" fmla="*/ 1856701 w 2358991"/>
                    <a:gd name="connsiteY1274" fmla="*/ 304937 h 2404309"/>
                    <a:gd name="connsiteX1275" fmla="*/ 1877185 w 2358991"/>
                    <a:gd name="connsiteY1275" fmla="*/ 288711 h 2404309"/>
                    <a:gd name="connsiteX1276" fmla="*/ 1857906 w 2358991"/>
                    <a:gd name="connsiteY1276" fmla="*/ 254491 h 2404309"/>
                    <a:gd name="connsiteX1277" fmla="*/ 1793724 w 2358991"/>
                    <a:gd name="connsiteY1277" fmla="*/ 212801 h 2404309"/>
                    <a:gd name="connsiteX1278" fmla="*/ 1849552 w 2358991"/>
                    <a:gd name="connsiteY1278" fmla="*/ 227903 h 2404309"/>
                    <a:gd name="connsiteX1279" fmla="*/ 1803925 w 2358991"/>
                    <a:gd name="connsiteY1279" fmla="*/ 160829 h 2404309"/>
                    <a:gd name="connsiteX1280" fmla="*/ 1820071 w 2358991"/>
                    <a:gd name="connsiteY1280" fmla="*/ 174003 h 2404309"/>
                    <a:gd name="connsiteX1281" fmla="*/ 1807460 w 2358991"/>
                    <a:gd name="connsiteY1281" fmla="*/ 147012 h 2404309"/>
                    <a:gd name="connsiteX1282" fmla="*/ 1808986 w 2358991"/>
                    <a:gd name="connsiteY1282" fmla="*/ 147494 h 2404309"/>
                    <a:gd name="connsiteX1283" fmla="*/ 1804889 w 2358991"/>
                    <a:gd name="connsiteY1283" fmla="*/ 143719 h 2404309"/>
                    <a:gd name="connsiteX1284" fmla="*/ 1818706 w 2358991"/>
                    <a:gd name="connsiteY1284" fmla="*/ 148057 h 2404309"/>
                    <a:gd name="connsiteX1285" fmla="*/ 1798945 w 2358991"/>
                    <a:gd name="connsiteY1285" fmla="*/ 132875 h 2404309"/>
                    <a:gd name="connsiteX1286" fmla="*/ 1800150 w 2358991"/>
                    <a:gd name="connsiteY1286" fmla="*/ 134160 h 2404309"/>
                    <a:gd name="connsiteX1287" fmla="*/ 1778542 w 2358991"/>
                    <a:gd name="connsiteY1287" fmla="*/ 119058 h 2404309"/>
                    <a:gd name="connsiteX1288" fmla="*/ 1806576 w 2358991"/>
                    <a:gd name="connsiteY1288" fmla="*/ 114560 h 2404309"/>
                    <a:gd name="connsiteX1289" fmla="*/ 1802078 w 2358991"/>
                    <a:gd name="connsiteY1289" fmla="*/ 110383 h 2404309"/>
                    <a:gd name="connsiteX1290" fmla="*/ 1788502 w 2358991"/>
                    <a:gd name="connsiteY1290" fmla="*/ 104037 h 2404309"/>
                    <a:gd name="connsiteX1291" fmla="*/ 1735084 w 2358991"/>
                    <a:gd name="connsiteY1291" fmla="*/ 87007 h 2404309"/>
                    <a:gd name="connsiteX1292" fmla="*/ 1688173 w 2358991"/>
                    <a:gd name="connsiteY1292" fmla="*/ 63953 h 2404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</a:cxnLst>
                  <a:rect l="l" t="t" r="r" b="b"/>
                  <a:pathLst>
                    <a:path w="2358991" h="2404309">
                      <a:moveTo>
                        <a:pt x="2350156" y="1677823"/>
                      </a:moveTo>
                      <a:lnTo>
                        <a:pt x="2358992" y="1657660"/>
                      </a:lnTo>
                      <a:cubicBezTo>
                        <a:pt x="2323808" y="1739836"/>
                        <a:pt x="2208778" y="1830205"/>
                        <a:pt x="2016553" y="1913907"/>
                      </a:cubicBezTo>
                      <a:cubicBezTo>
                        <a:pt x="1726409" y="2040182"/>
                        <a:pt x="1333926" y="2119145"/>
                        <a:pt x="991328" y="2131676"/>
                      </a:cubicBezTo>
                      <a:cubicBezTo>
                        <a:pt x="1073503" y="2309361"/>
                        <a:pt x="1173190" y="2407523"/>
                        <a:pt x="1272717" y="2404229"/>
                      </a:cubicBezTo>
                      <a:lnTo>
                        <a:pt x="1289746" y="2403506"/>
                      </a:lnTo>
                      <a:lnTo>
                        <a:pt x="1289023" y="2403506"/>
                      </a:lnTo>
                      <a:cubicBezTo>
                        <a:pt x="1319548" y="2397401"/>
                        <a:pt x="1350795" y="2399249"/>
                        <a:pt x="1381481" y="2395473"/>
                      </a:cubicBezTo>
                      <a:cubicBezTo>
                        <a:pt x="1395056" y="2393625"/>
                        <a:pt x="1413130" y="2391055"/>
                        <a:pt x="1426625" y="2388967"/>
                      </a:cubicBezTo>
                      <a:lnTo>
                        <a:pt x="1413451" y="2390895"/>
                      </a:lnTo>
                      <a:cubicBezTo>
                        <a:pt x="1409595" y="2391135"/>
                        <a:pt x="1404454" y="2391537"/>
                        <a:pt x="1400679" y="2391778"/>
                      </a:cubicBezTo>
                      <a:cubicBezTo>
                        <a:pt x="1459881" y="2357237"/>
                        <a:pt x="1528400" y="2348401"/>
                        <a:pt x="1591137" y="2323660"/>
                      </a:cubicBezTo>
                      <a:cubicBezTo>
                        <a:pt x="1588566" y="2324142"/>
                        <a:pt x="1585112" y="2324704"/>
                        <a:pt x="1582541" y="2325186"/>
                      </a:cubicBezTo>
                      <a:cubicBezTo>
                        <a:pt x="1583023" y="2324463"/>
                        <a:pt x="1658210" y="2269519"/>
                        <a:pt x="1675722" y="2279560"/>
                      </a:cubicBezTo>
                      <a:cubicBezTo>
                        <a:pt x="1778542" y="2222929"/>
                        <a:pt x="1891724" y="2188950"/>
                        <a:pt x="1994463" y="2132158"/>
                      </a:cubicBezTo>
                      <a:cubicBezTo>
                        <a:pt x="2004022" y="2126857"/>
                        <a:pt x="2032860" y="2108140"/>
                        <a:pt x="2093829" y="2048456"/>
                      </a:cubicBezTo>
                      <a:cubicBezTo>
                        <a:pt x="2092223" y="2050063"/>
                        <a:pt x="2090054" y="2052312"/>
                        <a:pt x="2088447" y="2053919"/>
                      </a:cubicBezTo>
                      <a:cubicBezTo>
                        <a:pt x="2097604" y="2044601"/>
                        <a:pt x="2109895" y="2032149"/>
                        <a:pt x="2119052" y="2022832"/>
                      </a:cubicBezTo>
                      <a:cubicBezTo>
                        <a:pt x="2189259" y="1943628"/>
                        <a:pt x="2200023" y="1931418"/>
                        <a:pt x="2250710" y="1857998"/>
                      </a:cubicBezTo>
                      <a:cubicBezTo>
                        <a:pt x="2307742" y="1765059"/>
                        <a:pt x="2319631" y="1745780"/>
                        <a:pt x="2350156" y="1677823"/>
                      </a:cubicBezTo>
                      <a:moveTo>
                        <a:pt x="991247" y="2131756"/>
                      </a:moveTo>
                      <a:cubicBezTo>
                        <a:pt x="965382" y="2075848"/>
                        <a:pt x="941283" y="2012148"/>
                        <a:pt x="919434" y="1941218"/>
                      </a:cubicBezTo>
                      <a:cubicBezTo>
                        <a:pt x="889632" y="1966923"/>
                        <a:pt x="860634" y="1965799"/>
                        <a:pt x="819586" y="1937363"/>
                      </a:cubicBezTo>
                      <a:cubicBezTo>
                        <a:pt x="821996" y="1939612"/>
                        <a:pt x="825129" y="1942664"/>
                        <a:pt x="827539" y="1944994"/>
                      </a:cubicBezTo>
                      <a:cubicBezTo>
                        <a:pt x="886419" y="2009417"/>
                        <a:pt x="782154" y="2011345"/>
                        <a:pt x="777735" y="2011345"/>
                      </a:cubicBezTo>
                      <a:cubicBezTo>
                        <a:pt x="781431" y="2018654"/>
                        <a:pt x="790026" y="2035764"/>
                        <a:pt x="739901" y="2025483"/>
                      </a:cubicBezTo>
                      <a:cubicBezTo>
                        <a:pt x="739499" y="2029338"/>
                        <a:pt x="738294" y="2040905"/>
                        <a:pt x="760144" y="2041789"/>
                      </a:cubicBezTo>
                      <a:cubicBezTo>
                        <a:pt x="760063" y="2041789"/>
                        <a:pt x="759903" y="2041789"/>
                        <a:pt x="759822" y="2041789"/>
                      </a:cubicBezTo>
                      <a:cubicBezTo>
                        <a:pt x="759742" y="2041789"/>
                        <a:pt x="759581" y="2041789"/>
                        <a:pt x="759501" y="2041789"/>
                      </a:cubicBezTo>
                      <a:cubicBezTo>
                        <a:pt x="759421" y="2041789"/>
                        <a:pt x="759260" y="2041789"/>
                        <a:pt x="759180" y="2041789"/>
                      </a:cubicBezTo>
                      <a:cubicBezTo>
                        <a:pt x="759099" y="2041789"/>
                        <a:pt x="758939" y="2041789"/>
                        <a:pt x="758858" y="2041789"/>
                      </a:cubicBezTo>
                      <a:cubicBezTo>
                        <a:pt x="758778" y="2041789"/>
                        <a:pt x="758617" y="2041789"/>
                        <a:pt x="758537" y="2041789"/>
                      </a:cubicBezTo>
                      <a:cubicBezTo>
                        <a:pt x="758457" y="2041789"/>
                        <a:pt x="758296" y="2041789"/>
                        <a:pt x="758216" y="2041789"/>
                      </a:cubicBezTo>
                      <a:cubicBezTo>
                        <a:pt x="758135" y="2041789"/>
                        <a:pt x="757975" y="2041789"/>
                        <a:pt x="757894" y="2041789"/>
                      </a:cubicBezTo>
                      <a:cubicBezTo>
                        <a:pt x="757814" y="2041789"/>
                        <a:pt x="757653" y="2041789"/>
                        <a:pt x="757573" y="2041789"/>
                      </a:cubicBezTo>
                      <a:cubicBezTo>
                        <a:pt x="760545" y="2042592"/>
                        <a:pt x="764481" y="2043717"/>
                        <a:pt x="767293" y="2044841"/>
                      </a:cubicBezTo>
                      <a:cubicBezTo>
                        <a:pt x="765686" y="2046689"/>
                        <a:pt x="765365" y="2047091"/>
                        <a:pt x="746890" y="2046689"/>
                      </a:cubicBezTo>
                      <a:cubicBezTo>
                        <a:pt x="751790" y="2048135"/>
                        <a:pt x="754762" y="2048858"/>
                        <a:pt x="759662" y="2049581"/>
                      </a:cubicBezTo>
                      <a:cubicBezTo>
                        <a:pt x="707047" y="2083479"/>
                        <a:pt x="756850" y="2101553"/>
                        <a:pt x="757332" y="2101714"/>
                      </a:cubicBezTo>
                      <a:cubicBezTo>
                        <a:pt x="759501" y="2102437"/>
                        <a:pt x="761831" y="2102115"/>
                        <a:pt x="763999" y="2102999"/>
                      </a:cubicBezTo>
                      <a:cubicBezTo>
                        <a:pt x="756609" y="2111915"/>
                        <a:pt x="743194" y="2119546"/>
                        <a:pt x="732752" y="2120752"/>
                      </a:cubicBezTo>
                      <a:cubicBezTo>
                        <a:pt x="733073" y="2121073"/>
                        <a:pt x="733475" y="2121555"/>
                        <a:pt x="733796" y="2121956"/>
                      </a:cubicBezTo>
                      <a:cubicBezTo>
                        <a:pt x="732832" y="2122679"/>
                        <a:pt x="731065" y="2123161"/>
                        <a:pt x="729860" y="2123161"/>
                      </a:cubicBezTo>
                      <a:cubicBezTo>
                        <a:pt x="735162" y="2124527"/>
                        <a:pt x="736045" y="2125250"/>
                        <a:pt x="737250" y="2127178"/>
                      </a:cubicBezTo>
                      <a:cubicBezTo>
                        <a:pt x="816775" y="2133765"/>
                        <a:pt x="902324" y="2134970"/>
                        <a:pt x="991247" y="2131756"/>
                      </a:cubicBezTo>
                      <a:moveTo>
                        <a:pt x="376096" y="1458768"/>
                      </a:moveTo>
                      <a:cubicBezTo>
                        <a:pt x="374650" y="1459411"/>
                        <a:pt x="373445" y="1458688"/>
                        <a:pt x="372882" y="1458367"/>
                      </a:cubicBezTo>
                      <a:cubicBezTo>
                        <a:pt x="374007" y="1458447"/>
                        <a:pt x="375132" y="1458608"/>
                        <a:pt x="376176" y="1458688"/>
                      </a:cubicBezTo>
                      <a:cubicBezTo>
                        <a:pt x="376176" y="1458688"/>
                        <a:pt x="376096" y="1458768"/>
                        <a:pt x="376096" y="1458768"/>
                      </a:cubicBezTo>
                      <a:moveTo>
                        <a:pt x="376738" y="1458768"/>
                      </a:moveTo>
                      <a:cubicBezTo>
                        <a:pt x="376738" y="1458768"/>
                        <a:pt x="376738" y="1458768"/>
                        <a:pt x="376738" y="1458768"/>
                      </a:cubicBezTo>
                      <a:cubicBezTo>
                        <a:pt x="376738" y="1458768"/>
                        <a:pt x="376738" y="1458768"/>
                        <a:pt x="376738" y="1458768"/>
                      </a:cubicBezTo>
                      <a:cubicBezTo>
                        <a:pt x="376738" y="1458768"/>
                        <a:pt x="376738" y="1458768"/>
                        <a:pt x="376738" y="1458768"/>
                      </a:cubicBezTo>
                      <a:cubicBezTo>
                        <a:pt x="376738" y="1458768"/>
                        <a:pt x="376658" y="1458768"/>
                        <a:pt x="376738" y="1458768"/>
                      </a:cubicBezTo>
                      <a:cubicBezTo>
                        <a:pt x="376658" y="1458768"/>
                        <a:pt x="376658" y="1458768"/>
                        <a:pt x="37673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cubicBezTo>
                        <a:pt x="376658" y="1458768"/>
                        <a:pt x="376658" y="1458768"/>
                        <a:pt x="376658" y="1458768"/>
                      </a:cubicBezTo>
                      <a:lnTo>
                        <a:pt x="376658" y="1458768"/>
                      </a:lnTo>
                      <a:cubicBezTo>
                        <a:pt x="376819" y="1458688"/>
                        <a:pt x="376899" y="1458608"/>
                        <a:pt x="377060" y="1458528"/>
                      </a:cubicBezTo>
                      <a:cubicBezTo>
                        <a:pt x="376578" y="1458608"/>
                        <a:pt x="376738" y="1458688"/>
                        <a:pt x="376738" y="1458768"/>
                      </a:cubicBezTo>
                      <a:lnTo>
                        <a:pt x="376738" y="1458768"/>
                      </a:lnTo>
                      <a:moveTo>
                        <a:pt x="372481" y="1458286"/>
                      </a:moveTo>
                      <a:cubicBezTo>
                        <a:pt x="363966" y="1457082"/>
                        <a:pt x="356415" y="1454832"/>
                        <a:pt x="350873" y="1453065"/>
                      </a:cubicBezTo>
                      <a:cubicBezTo>
                        <a:pt x="350953" y="1452985"/>
                        <a:pt x="350953" y="1452985"/>
                        <a:pt x="350953" y="1452904"/>
                      </a:cubicBezTo>
                      <a:cubicBezTo>
                        <a:pt x="350632" y="1452664"/>
                        <a:pt x="350230" y="1452423"/>
                        <a:pt x="349989" y="1452182"/>
                      </a:cubicBezTo>
                      <a:cubicBezTo>
                        <a:pt x="362761" y="1449531"/>
                        <a:pt x="369348" y="1455314"/>
                        <a:pt x="372882" y="1458367"/>
                      </a:cubicBezTo>
                      <a:cubicBezTo>
                        <a:pt x="372802" y="1458367"/>
                        <a:pt x="372641" y="1458286"/>
                        <a:pt x="372481" y="1458286"/>
                      </a:cubicBezTo>
                      <a:moveTo>
                        <a:pt x="351515" y="1446719"/>
                      </a:moveTo>
                      <a:cubicBezTo>
                        <a:pt x="349587" y="1447603"/>
                        <a:pt x="349266" y="1447442"/>
                        <a:pt x="349427" y="1447121"/>
                      </a:cubicBezTo>
                      <a:cubicBezTo>
                        <a:pt x="349507" y="1446960"/>
                        <a:pt x="349587" y="1446880"/>
                        <a:pt x="349668" y="1446719"/>
                      </a:cubicBezTo>
                      <a:cubicBezTo>
                        <a:pt x="349266" y="1446478"/>
                        <a:pt x="348704" y="1446077"/>
                        <a:pt x="348302" y="1445836"/>
                      </a:cubicBezTo>
                      <a:cubicBezTo>
                        <a:pt x="347820" y="1446960"/>
                        <a:pt x="347258" y="1447201"/>
                        <a:pt x="345812" y="1446960"/>
                      </a:cubicBezTo>
                      <a:cubicBezTo>
                        <a:pt x="346053" y="1446398"/>
                        <a:pt x="347097" y="1444711"/>
                        <a:pt x="348463" y="1444631"/>
                      </a:cubicBezTo>
                      <a:cubicBezTo>
                        <a:pt x="349748" y="1444551"/>
                        <a:pt x="350873" y="1445514"/>
                        <a:pt x="351837" y="1446559"/>
                      </a:cubicBezTo>
                      <a:cubicBezTo>
                        <a:pt x="351676" y="1446639"/>
                        <a:pt x="351596" y="1446719"/>
                        <a:pt x="351515" y="1446719"/>
                      </a:cubicBezTo>
                      <a:moveTo>
                        <a:pt x="291189" y="1392819"/>
                      </a:moveTo>
                      <a:cubicBezTo>
                        <a:pt x="290707" y="1393863"/>
                        <a:pt x="290466" y="1394506"/>
                        <a:pt x="290305" y="1394104"/>
                      </a:cubicBezTo>
                      <a:cubicBezTo>
                        <a:pt x="290305" y="1394104"/>
                        <a:pt x="290305" y="1394104"/>
                        <a:pt x="290305" y="1394104"/>
                      </a:cubicBezTo>
                      <a:cubicBezTo>
                        <a:pt x="290627" y="1393462"/>
                        <a:pt x="291028" y="1392980"/>
                        <a:pt x="291269" y="1392739"/>
                      </a:cubicBezTo>
                      <a:cubicBezTo>
                        <a:pt x="291269" y="1392819"/>
                        <a:pt x="291189" y="1392819"/>
                        <a:pt x="291189" y="1392819"/>
                      </a:cubicBezTo>
                      <a:moveTo>
                        <a:pt x="526952" y="1358840"/>
                      </a:moveTo>
                      <a:cubicBezTo>
                        <a:pt x="526470" y="1359724"/>
                        <a:pt x="525506" y="1360608"/>
                        <a:pt x="524863" y="1361411"/>
                      </a:cubicBezTo>
                      <a:cubicBezTo>
                        <a:pt x="495383" y="1361090"/>
                        <a:pt x="478594" y="1360688"/>
                        <a:pt x="462930" y="1359162"/>
                      </a:cubicBezTo>
                      <a:cubicBezTo>
                        <a:pt x="450560" y="1357716"/>
                        <a:pt x="438751" y="1355467"/>
                        <a:pt x="444937" y="1350004"/>
                      </a:cubicBezTo>
                      <a:cubicBezTo>
                        <a:pt x="447266" y="1347996"/>
                        <a:pt x="451202" y="1346309"/>
                        <a:pt x="455379" y="1344462"/>
                      </a:cubicBezTo>
                      <a:cubicBezTo>
                        <a:pt x="457468" y="1332091"/>
                        <a:pt x="472569" y="1332894"/>
                        <a:pt x="515143" y="1347755"/>
                      </a:cubicBezTo>
                      <a:cubicBezTo>
                        <a:pt x="512332" y="1347836"/>
                        <a:pt x="510163" y="1348318"/>
                        <a:pt x="508556" y="1349201"/>
                      </a:cubicBezTo>
                      <a:cubicBezTo>
                        <a:pt x="517232" y="1350326"/>
                        <a:pt x="530325" y="1352173"/>
                        <a:pt x="526952" y="1358840"/>
                      </a:cubicBezTo>
                      <a:moveTo>
                        <a:pt x="130131" y="1233368"/>
                      </a:moveTo>
                      <a:cubicBezTo>
                        <a:pt x="130131" y="1233690"/>
                        <a:pt x="130051" y="1234091"/>
                        <a:pt x="129971" y="1234412"/>
                      </a:cubicBezTo>
                      <a:cubicBezTo>
                        <a:pt x="130051" y="1233448"/>
                        <a:pt x="130051" y="1232484"/>
                        <a:pt x="130051" y="1231521"/>
                      </a:cubicBezTo>
                      <a:cubicBezTo>
                        <a:pt x="130212" y="1232002"/>
                        <a:pt x="130212" y="1232565"/>
                        <a:pt x="130131" y="1233368"/>
                      </a:cubicBezTo>
                      <a:moveTo>
                        <a:pt x="429514" y="1326227"/>
                      </a:moveTo>
                      <a:cubicBezTo>
                        <a:pt x="426220" y="1327754"/>
                        <a:pt x="421401" y="1328878"/>
                        <a:pt x="417866" y="1329521"/>
                      </a:cubicBezTo>
                      <a:cubicBezTo>
                        <a:pt x="417705" y="1329119"/>
                        <a:pt x="417545" y="1328637"/>
                        <a:pt x="417465" y="1328236"/>
                      </a:cubicBezTo>
                      <a:cubicBezTo>
                        <a:pt x="404050" y="1326870"/>
                        <a:pt x="390635" y="1325504"/>
                        <a:pt x="377220" y="1324139"/>
                      </a:cubicBezTo>
                      <a:cubicBezTo>
                        <a:pt x="381558" y="1300522"/>
                        <a:pt x="335128" y="1288955"/>
                        <a:pt x="334566" y="1289035"/>
                      </a:cubicBezTo>
                      <a:cubicBezTo>
                        <a:pt x="333200" y="1289357"/>
                        <a:pt x="328461" y="1289839"/>
                        <a:pt x="325489" y="1284858"/>
                      </a:cubicBezTo>
                      <a:cubicBezTo>
                        <a:pt x="321794" y="1286706"/>
                        <a:pt x="317456" y="1285340"/>
                        <a:pt x="312556" y="1280762"/>
                      </a:cubicBezTo>
                      <a:cubicBezTo>
                        <a:pt x="310227" y="1278593"/>
                        <a:pt x="300105" y="1275701"/>
                        <a:pt x="278176" y="1280521"/>
                      </a:cubicBezTo>
                      <a:cubicBezTo>
                        <a:pt x="279140" y="1276826"/>
                        <a:pt x="280425" y="1271845"/>
                        <a:pt x="305728" y="1272086"/>
                      </a:cubicBezTo>
                      <a:cubicBezTo>
                        <a:pt x="318179" y="1272166"/>
                        <a:pt x="318179" y="1272166"/>
                        <a:pt x="345812" y="1281163"/>
                      </a:cubicBezTo>
                      <a:cubicBezTo>
                        <a:pt x="345651" y="1281324"/>
                        <a:pt x="345491" y="1281645"/>
                        <a:pt x="345410" y="1281806"/>
                      </a:cubicBezTo>
                      <a:cubicBezTo>
                        <a:pt x="358182" y="1289839"/>
                        <a:pt x="366697" y="1294498"/>
                        <a:pt x="380755" y="1300924"/>
                      </a:cubicBezTo>
                      <a:cubicBezTo>
                        <a:pt x="380353" y="1300522"/>
                        <a:pt x="379791" y="1299880"/>
                        <a:pt x="379389" y="1299478"/>
                      </a:cubicBezTo>
                      <a:cubicBezTo>
                        <a:pt x="381638" y="1300844"/>
                        <a:pt x="383887" y="1302209"/>
                        <a:pt x="386056" y="1303655"/>
                      </a:cubicBezTo>
                      <a:cubicBezTo>
                        <a:pt x="384851" y="1304137"/>
                        <a:pt x="384450" y="1304218"/>
                        <a:pt x="382763" y="1303414"/>
                      </a:cubicBezTo>
                      <a:cubicBezTo>
                        <a:pt x="384128" y="1305422"/>
                        <a:pt x="384932" y="1305663"/>
                        <a:pt x="386538" y="1304619"/>
                      </a:cubicBezTo>
                      <a:cubicBezTo>
                        <a:pt x="388386" y="1304940"/>
                        <a:pt x="389430" y="1306467"/>
                        <a:pt x="390876" y="1307350"/>
                      </a:cubicBezTo>
                      <a:cubicBezTo>
                        <a:pt x="390715" y="1307591"/>
                        <a:pt x="390474" y="1307832"/>
                        <a:pt x="390314" y="1308073"/>
                      </a:cubicBezTo>
                      <a:cubicBezTo>
                        <a:pt x="395374" y="1309117"/>
                        <a:pt x="396820" y="1309519"/>
                        <a:pt x="402042" y="1311688"/>
                      </a:cubicBezTo>
                      <a:cubicBezTo>
                        <a:pt x="405174" y="1312973"/>
                        <a:pt x="407263" y="1315785"/>
                        <a:pt x="410315" y="1317150"/>
                      </a:cubicBezTo>
                      <a:cubicBezTo>
                        <a:pt x="416581" y="1320042"/>
                        <a:pt x="423971" y="1320122"/>
                        <a:pt x="429674" y="1324460"/>
                      </a:cubicBezTo>
                      <a:cubicBezTo>
                        <a:pt x="429674" y="1325022"/>
                        <a:pt x="429594" y="1325745"/>
                        <a:pt x="429514" y="1326227"/>
                      </a:cubicBezTo>
                      <a:moveTo>
                        <a:pt x="830109" y="1517810"/>
                      </a:moveTo>
                      <a:cubicBezTo>
                        <a:pt x="805770" y="1334260"/>
                        <a:pt x="796854" y="1146775"/>
                        <a:pt x="801914" y="968125"/>
                      </a:cubicBezTo>
                      <a:cubicBezTo>
                        <a:pt x="734599" y="970615"/>
                        <a:pt x="669132" y="970455"/>
                        <a:pt x="606798" y="967643"/>
                      </a:cubicBezTo>
                      <a:cubicBezTo>
                        <a:pt x="607761" y="972704"/>
                        <a:pt x="607761" y="972704"/>
                        <a:pt x="617401" y="982665"/>
                      </a:cubicBezTo>
                      <a:cubicBezTo>
                        <a:pt x="623988" y="985396"/>
                        <a:pt x="630976" y="986842"/>
                        <a:pt x="637643" y="989412"/>
                      </a:cubicBezTo>
                      <a:cubicBezTo>
                        <a:pt x="642222" y="988609"/>
                        <a:pt x="648488" y="988127"/>
                        <a:pt x="653147" y="988287"/>
                      </a:cubicBezTo>
                      <a:cubicBezTo>
                        <a:pt x="654593" y="990135"/>
                        <a:pt x="656521" y="992625"/>
                        <a:pt x="657966" y="994473"/>
                      </a:cubicBezTo>
                      <a:cubicBezTo>
                        <a:pt x="644632" y="1003229"/>
                        <a:pt x="628566" y="1002425"/>
                        <a:pt x="614107" y="1007164"/>
                      </a:cubicBezTo>
                      <a:lnTo>
                        <a:pt x="613224" y="1005638"/>
                      </a:lnTo>
                      <a:cubicBezTo>
                        <a:pt x="594106" y="1024033"/>
                        <a:pt x="590571" y="1022105"/>
                        <a:pt x="581976" y="1017527"/>
                      </a:cubicBezTo>
                      <a:cubicBezTo>
                        <a:pt x="581816" y="1014956"/>
                        <a:pt x="581494" y="1011582"/>
                        <a:pt x="581334" y="1009092"/>
                      </a:cubicBezTo>
                      <a:cubicBezTo>
                        <a:pt x="583422" y="1007084"/>
                        <a:pt x="586073" y="1004192"/>
                        <a:pt x="588563" y="1002827"/>
                      </a:cubicBezTo>
                      <a:cubicBezTo>
                        <a:pt x="605753" y="995437"/>
                        <a:pt x="605753" y="995437"/>
                        <a:pt x="611858" y="993991"/>
                      </a:cubicBezTo>
                      <a:cubicBezTo>
                        <a:pt x="614429" y="994071"/>
                        <a:pt x="617722" y="994151"/>
                        <a:pt x="620293" y="994232"/>
                      </a:cubicBezTo>
                      <a:cubicBezTo>
                        <a:pt x="615794" y="993348"/>
                        <a:pt x="609609" y="992786"/>
                        <a:pt x="605030" y="992625"/>
                      </a:cubicBezTo>
                      <a:cubicBezTo>
                        <a:pt x="606717" y="991018"/>
                        <a:pt x="608886" y="989010"/>
                        <a:pt x="610573" y="987404"/>
                      </a:cubicBezTo>
                      <a:cubicBezTo>
                        <a:pt x="602058" y="989171"/>
                        <a:pt x="593945" y="992304"/>
                        <a:pt x="585189" y="992706"/>
                      </a:cubicBezTo>
                      <a:cubicBezTo>
                        <a:pt x="585270" y="992223"/>
                        <a:pt x="585350" y="991581"/>
                        <a:pt x="585350" y="991018"/>
                      </a:cubicBezTo>
                      <a:lnTo>
                        <a:pt x="582699" y="992223"/>
                      </a:lnTo>
                      <a:cubicBezTo>
                        <a:pt x="578602" y="994151"/>
                        <a:pt x="572176" y="994955"/>
                        <a:pt x="567758" y="994071"/>
                      </a:cubicBezTo>
                      <a:cubicBezTo>
                        <a:pt x="563340" y="1003710"/>
                        <a:pt x="563340" y="1003710"/>
                        <a:pt x="553299" y="1004353"/>
                      </a:cubicBezTo>
                      <a:lnTo>
                        <a:pt x="551612" y="1005558"/>
                      </a:lnTo>
                      <a:cubicBezTo>
                        <a:pt x="548560" y="1005558"/>
                        <a:pt x="544302" y="1005397"/>
                        <a:pt x="541652" y="1003791"/>
                      </a:cubicBezTo>
                      <a:cubicBezTo>
                        <a:pt x="537796" y="1006442"/>
                        <a:pt x="532253" y="1009494"/>
                        <a:pt x="528076" y="1011422"/>
                      </a:cubicBezTo>
                      <a:cubicBezTo>
                        <a:pt x="527996" y="1011020"/>
                        <a:pt x="527835" y="1010378"/>
                        <a:pt x="527755" y="1009976"/>
                      </a:cubicBezTo>
                      <a:lnTo>
                        <a:pt x="526470" y="1011502"/>
                      </a:lnTo>
                      <a:lnTo>
                        <a:pt x="526309" y="1009735"/>
                      </a:lnTo>
                      <a:lnTo>
                        <a:pt x="524943" y="1011823"/>
                      </a:lnTo>
                      <a:lnTo>
                        <a:pt x="523979" y="1010860"/>
                      </a:lnTo>
                      <a:lnTo>
                        <a:pt x="523578" y="1012948"/>
                      </a:lnTo>
                      <a:lnTo>
                        <a:pt x="521007" y="1012546"/>
                      </a:lnTo>
                      <a:lnTo>
                        <a:pt x="521329" y="1011422"/>
                      </a:lnTo>
                      <a:cubicBezTo>
                        <a:pt x="520525" y="1012064"/>
                        <a:pt x="520525" y="1012064"/>
                        <a:pt x="503897" y="1031263"/>
                      </a:cubicBezTo>
                      <a:cubicBezTo>
                        <a:pt x="504701" y="1033753"/>
                        <a:pt x="505825" y="1037047"/>
                        <a:pt x="506709" y="1039456"/>
                      </a:cubicBezTo>
                      <a:cubicBezTo>
                        <a:pt x="508797" y="1040019"/>
                        <a:pt x="511529" y="1040822"/>
                        <a:pt x="513617" y="1041384"/>
                      </a:cubicBezTo>
                      <a:cubicBezTo>
                        <a:pt x="513938" y="1040581"/>
                        <a:pt x="514260" y="1039617"/>
                        <a:pt x="514581" y="1038814"/>
                      </a:cubicBezTo>
                      <a:cubicBezTo>
                        <a:pt x="514581" y="1038814"/>
                        <a:pt x="514581" y="1038894"/>
                        <a:pt x="514581" y="1038894"/>
                      </a:cubicBezTo>
                      <a:cubicBezTo>
                        <a:pt x="513296" y="1040822"/>
                        <a:pt x="511529" y="1043312"/>
                        <a:pt x="510163" y="1045240"/>
                      </a:cubicBezTo>
                      <a:cubicBezTo>
                        <a:pt x="506227" y="1044517"/>
                        <a:pt x="501006" y="1043553"/>
                        <a:pt x="496989" y="1042991"/>
                      </a:cubicBezTo>
                      <a:lnTo>
                        <a:pt x="495302" y="1041063"/>
                      </a:lnTo>
                      <a:cubicBezTo>
                        <a:pt x="479719" y="1047328"/>
                        <a:pt x="473212" y="1048935"/>
                        <a:pt x="454094" y="1052469"/>
                      </a:cubicBezTo>
                      <a:cubicBezTo>
                        <a:pt x="454496" y="1050220"/>
                        <a:pt x="454978" y="1047248"/>
                        <a:pt x="455379" y="1045079"/>
                      </a:cubicBezTo>
                      <a:cubicBezTo>
                        <a:pt x="452247" y="1051907"/>
                        <a:pt x="453050" y="1059619"/>
                        <a:pt x="450801" y="1066688"/>
                      </a:cubicBezTo>
                      <a:cubicBezTo>
                        <a:pt x="450961" y="1065804"/>
                        <a:pt x="451202" y="1064599"/>
                        <a:pt x="451363" y="1063635"/>
                      </a:cubicBezTo>
                      <a:cubicBezTo>
                        <a:pt x="448230" y="1067089"/>
                        <a:pt x="443812" y="1071587"/>
                        <a:pt x="440438" y="1074801"/>
                      </a:cubicBezTo>
                      <a:cubicBezTo>
                        <a:pt x="438028" y="1074319"/>
                        <a:pt x="434815" y="1073676"/>
                        <a:pt x="432405" y="1073275"/>
                      </a:cubicBezTo>
                      <a:cubicBezTo>
                        <a:pt x="432245" y="1070945"/>
                        <a:pt x="432004" y="1067812"/>
                        <a:pt x="431763" y="1065483"/>
                      </a:cubicBezTo>
                      <a:cubicBezTo>
                        <a:pt x="428389" y="1074158"/>
                        <a:pt x="428389" y="1074158"/>
                        <a:pt x="433128" y="1084520"/>
                      </a:cubicBezTo>
                      <a:cubicBezTo>
                        <a:pt x="429835" y="1088296"/>
                        <a:pt x="425337" y="1093276"/>
                        <a:pt x="422043" y="1096971"/>
                      </a:cubicBezTo>
                      <a:cubicBezTo>
                        <a:pt x="421722" y="1094722"/>
                        <a:pt x="421240" y="1091750"/>
                        <a:pt x="420919" y="1089501"/>
                      </a:cubicBezTo>
                      <a:lnTo>
                        <a:pt x="419794" y="1084681"/>
                      </a:lnTo>
                      <a:lnTo>
                        <a:pt x="419633" y="1084038"/>
                      </a:lnTo>
                      <a:lnTo>
                        <a:pt x="416179" y="1077050"/>
                      </a:lnTo>
                      <a:lnTo>
                        <a:pt x="415135" y="1077853"/>
                      </a:lnTo>
                      <a:lnTo>
                        <a:pt x="419071" y="1072230"/>
                      </a:lnTo>
                      <a:lnTo>
                        <a:pt x="417545" y="1072953"/>
                      </a:lnTo>
                      <a:lnTo>
                        <a:pt x="421401" y="1068294"/>
                      </a:lnTo>
                      <a:lnTo>
                        <a:pt x="423569" y="1067170"/>
                      </a:lnTo>
                      <a:lnTo>
                        <a:pt x="422124" y="1067089"/>
                      </a:lnTo>
                      <a:lnTo>
                        <a:pt x="422445" y="1065884"/>
                      </a:lnTo>
                      <a:lnTo>
                        <a:pt x="417946" y="1067411"/>
                      </a:lnTo>
                      <a:lnTo>
                        <a:pt x="417304" y="1069097"/>
                      </a:lnTo>
                      <a:lnTo>
                        <a:pt x="416581" y="1067732"/>
                      </a:lnTo>
                      <a:lnTo>
                        <a:pt x="414894" y="1070142"/>
                      </a:lnTo>
                      <a:lnTo>
                        <a:pt x="412805" y="1069178"/>
                      </a:lnTo>
                      <a:cubicBezTo>
                        <a:pt x="412725" y="1073837"/>
                        <a:pt x="412805" y="1080102"/>
                        <a:pt x="412966" y="1084761"/>
                      </a:cubicBezTo>
                      <a:cubicBezTo>
                        <a:pt x="410797" y="1085484"/>
                        <a:pt x="407986" y="1086368"/>
                        <a:pt x="405817" y="1087091"/>
                      </a:cubicBezTo>
                      <a:cubicBezTo>
                        <a:pt x="407986" y="1089260"/>
                        <a:pt x="411360" y="1091910"/>
                        <a:pt x="412404" y="1094802"/>
                      </a:cubicBezTo>
                      <a:lnTo>
                        <a:pt x="411761" y="1096811"/>
                      </a:lnTo>
                      <a:cubicBezTo>
                        <a:pt x="414814" y="1105004"/>
                        <a:pt x="419714" y="1112394"/>
                        <a:pt x="422043" y="1120909"/>
                      </a:cubicBezTo>
                      <a:cubicBezTo>
                        <a:pt x="420919" y="1118579"/>
                        <a:pt x="419473" y="1115366"/>
                        <a:pt x="418348" y="1113037"/>
                      </a:cubicBezTo>
                      <a:cubicBezTo>
                        <a:pt x="413528" y="1113760"/>
                        <a:pt x="413448" y="1114402"/>
                        <a:pt x="413368" y="1115045"/>
                      </a:cubicBezTo>
                      <a:lnTo>
                        <a:pt x="411601" y="1114081"/>
                      </a:lnTo>
                      <a:lnTo>
                        <a:pt x="412163" y="1115206"/>
                      </a:lnTo>
                      <a:cubicBezTo>
                        <a:pt x="410074" y="1114563"/>
                        <a:pt x="407263" y="1113760"/>
                        <a:pt x="405094" y="1113198"/>
                      </a:cubicBezTo>
                      <a:cubicBezTo>
                        <a:pt x="408869" y="1115527"/>
                        <a:pt x="413368" y="1119543"/>
                        <a:pt x="416099" y="1123078"/>
                      </a:cubicBezTo>
                      <a:cubicBezTo>
                        <a:pt x="411360" y="1123078"/>
                        <a:pt x="405014" y="1122596"/>
                        <a:pt x="400355" y="1121792"/>
                      </a:cubicBezTo>
                      <a:cubicBezTo>
                        <a:pt x="401881" y="1123480"/>
                        <a:pt x="403809" y="1125729"/>
                        <a:pt x="405335" y="1127416"/>
                      </a:cubicBezTo>
                      <a:cubicBezTo>
                        <a:pt x="403166" y="1127175"/>
                        <a:pt x="400355" y="1126934"/>
                        <a:pt x="398186" y="1126693"/>
                      </a:cubicBezTo>
                      <a:cubicBezTo>
                        <a:pt x="399953" y="1127978"/>
                        <a:pt x="402363" y="1129665"/>
                        <a:pt x="404210" y="1130950"/>
                      </a:cubicBezTo>
                      <a:cubicBezTo>
                        <a:pt x="400756" y="1132074"/>
                        <a:pt x="396097" y="1133601"/>
                        <a:pt x="392643" y="1134725"/>
                      </a:cubicBezTo>
                      <a:cubicBezTo>
                        <a:pt x="377541" y="1142356"/>
                        <a:pt x="364127" y="1145650"/>
                        <a:pt x="363966" y="1145650"/>
                      </a:cubicBezTo>
                      <a:cubicBezTo>
                        <a:pt x="357620" y="1151755"/>
                        <a:pt x="348141" y="1151193"/>
                        <a:pt x="341153" y="1156093"/>
                      </a:cubicBezTo>
                      <a:lnTo>
                        <a:pt x="339948" y="1154406"/>
                      </a:lnTo>
                      <a:cubicBezTo>
                        <a:pt x="338181" y="1157940"/>
                        <a:pt x="335771" y="1162519"/>
                        <a:pt x="333361" y="1165652"/>
                      </a:cubicBezTo>
                      <a:cubicBezTo>
                        <a:pt x="323963" y="1184850"/>
                        <a:pt x="337859" y="1206780"/>
                        <a:pt x="338020" y="1206940"/>
                      </a:cubicBezTo>
                      <a:cubicBezTo>
                        <a:pt x="343884" y="1229111"/>
                        <a:pt x="343884" y="1229111"/>
                        <a:pt x="342840" y="1243007"/>
                      </a:cubicBezTo>
                      <a:cubicBezTo>
                        <a:pt x="342679" y="1242847"/>
                        <a:pt x="342518" y="1242606"/>
                        <a:pt x="342358" y="1242365"/>
                      </a:cubicBezTo>
                      <a:cubicBezTo>
                        <a:pt x="340269" y="1243972"/>
                        <a:pt x="337458" y="1246140"/>
                        <a:pt x="335369" y="1247827"/>
                      </a:cubicBezTo>
                      <a:cubicBezTo>
                        <a:pt x="320509" y="1244052"/>
                        <a:pt x="321553" y="1225898"/>
                        <a:pt x="309664" y="1219471"/>
                      </a:cubicBezTo>
                      <a:cubicBezTo>
                        <a:pt x="309905" y="1216017"/>
                        <a:pt x="309584" y="1211117"/>
                        <a:pt x="307977" y="1208065"/>
                      </a:cubicBezTo>
                      <a:cubicBezTo>
                        <a:pt x="304925" y="1194088"/>
                        <a:pt x="301069" y="1176737"/>
                        <a:pt x="273115" y="1174729"/>
                      </a:cubicBezTo>
                      <a:cubicBezTo>
                        <a:pt x="272312" y="1172720"/>
                        <a:pt x="271268" y="1170070"/>
                        <a:pt x="270464" y="1168061"/>
                      </a:cubicBezTo>
                      <a:cubicBezTo>
                        <a:pt x="255443" y="1162037"/>
                        <a:pt x="255443" y="1162037"/>
                        <a:pt x="252953" y="1160350"/>
                      </a:cubicBezTo>
                      <a:lnTo>
                        <a:pt x="251828" y="1159386"/>
                      </a:lnTo>
                      <a:lnTo>
                        <a:pt x="248213" y="1160350"/>
                      </a:lnTo>
                      <a:lnTo>
                        <a:pt x="243876" y="1160511"/>
                      </a:lnTo>
                      <a:cubicBezTo>
                        <a:pt x="242269" y="1158743"/>
                        <a:pt x="240181" y="1156414"/>
                        <a:pt x="238654" y="1154727"/>
                      </a:cubicBezTo>
                      <a:cubicBezTo>
                        <a:pt x="229095" y="1154968"/>
                        <a:pt x="226364" y="1154888"/>
                        <a:pt x="215841" y="1153281"/>
                      </a:cubicBezTo>
                      <a:cubicBezTo>
                        <a:pt x="218733" y="1155048"/>
                        <a:pt x="222589" y="1157940"/>
                        <a:pt x="224356" y="1160832"/>
                      </a:cubicBezTo>
                      <a:lnTo>
                        <a:pt x="221786" y="1161555"/>
                      </a:lnTo>
                      <a:lnTo>
                        <a:pt x="225561" y="1171997"/>
                      </a:lnTo>
                      <a:lnTo>
                        <a:pt x="224677" y="1170873"/>
                      </a:lnTo>
                      <a:lnTo>
                        <a:pt x="222830" y="1171676"/>
                      </a:lnTo>
                      <a:cubicBezTo>
                        <a:pt x="221625" y="1169588"/>
                        <a:pt x="219938" y="1166776"/>
                        <a:pt x="218733" y="1164688"/>
                      </a:cubicBezTo>
                      <a:cubicBezTo>
                        <a:pt x="210941" y="1165491"/>
                        <a:pt x="205720" y="1166053"/>
                        <a:pt x="203069" y="1160430"/>
                      </a:cubicBezTo>
                      <a:cubicBezTo>
                        <a:pt x="201945" y="1158422"/>
                        <a:pt x="200418" y="1155771"/>
                        <a:pt x="199294" y="1153763"/>
                      </a:cubicBezTo>
                      <a:cubicBezTo>
                        <a:pt x="189092" y="1151112"/>
                        <a:pt x="180417" y="1144124"/>
                        <a:pt x="169492" y="1143562"/>
                      </a:cubicBezTo>
                      <a:cubicBezTo>
                        <a:pt x="166922" y="1143079"/>
                        <a:pt x="166118" y="1142678"/>
                        <a:pt x="165235" y="1142356"/>
                      </a:cubicBezTo>
                      <a:cubicBezTo>
                        <a:pt x="161218" y="1145730"/>
                        <a:pt x="154551" y="1148622"/>
                        <a:pt x="149410" y="1149666"/>
                      </a:cubicBezTo>
                      <a:cubicBezTo>
                        <a:pt x="150133" y="1149425"/>
                        <a:pt x="151017" y="1149104"/>
                        <a:pt x="151740" y="1148863"/>
                      </a:cubicBezTo>
                      <a:lnTo>
                        <a:pt x="145956" y="1145088"/>
                      </a:lnTo>
                      <a:lnTo>
                        <a:pt x="142422" y="1149907"/>
                      </a:lnTo>
                      <a:lnTo>
                        <a:pt x="141217" y="1151112"/>
                      </a:lnTo>
                      <a:cubicBezTo>
                        <a:pt x="133103" y="1164366"/>
                        <a:pt x="133103" y="1164366"/>
                        <a:pt x="130051" y="1231601"/>
                      </a:cubicBezTo>
                      <a:cubicBezTo>
                        <a:pt x="129408" y="1229512"/>
                        <a:pt x="128605" y="1226781"/>
                        <a:pt x="127962" y="1224693"/>
                      </a:cubicBezTo>
                      <a:cubicBezTo>
                        <a:pt x="131095" y="1240035"/>
                        <a:pt x="132541" y="1247104"/>
                        <a:pt x="144108" y="1271845"/>
                      </a:cubicBezTo>
                      <a:cubicBezTo>
                        <a:pt x="143707" y="1271444"/>
                        <a:pt x="143064" y="1270962"/>
                        <a:pt x="142662" y="1270560"/>
                      </a:cubicBezTo>
                      <a:lnTo>
                        <a:pt x="144751" y="1272568"/>
                      </a:lnTo>
                      <a:cubicBezTo>
                        <a:pt x="161379" y="1285903"/>
                        <a:pt x="168608" y="1287911"/>
                        <a:pt x="185959" y="1292570"/>
                      </a:cubicBezTo>
                      <a:cubicBezTo>
                        <a:pt x="187164" y="1291847"/>
                        <a:pt x="188690" y="1290883"/>
                        <a:pt x="189895" y="1290160"/>
                      </a:cubicBezTo>
                      <a:cubicBezTo>
                        <a:pt x="209656" y="1263732"/>
                        <a:pt x="238253" y="1266142"/>
                        <a:pt x="242269" y="1279476"/>
                      </a:cubicBezTo>
                      <a:cubicBezTo>
                        <a:pt x="242430" y="1280039"/>
                        <a:pt x="242430" y="1280039"/>
                        <a:pt x="237289" y="1304539"/>
                      </a:cubicBezTo>
                      <a:cubicBezTo>
                        <a:pt x="235040" y="1304539"/>
                        <a:pt x="231987" y="1304539"/>
                        <a:pt x="229658" y="1304539"/>
                      </a:cubicBezTo>
                      <a:cubicBezTo>
                        <a:pt x="226123" y="1312330"/>
                        <a:pt x="225320" y="1314178"/>
                        <a:pt x="223472" y="1336670"/>
                      </a:cubicBezTo>
                      <a:cubicBezTo>
                        <a:pt x="238172" y="1343016"/>
                        <a:pt x="240823" y="1344141"/>
                        <a:pt x="258013" y="1346229"/>
                      </a:cubicBezTo>
                      <a:cubicBezTo>
                        <a:pt x="257772" y="1345908"/>
                        <a:pt x="257532" y="1345426"/>
                        <a:pt x="257291" y="1345104"/>
                      </a:cubicBezTo>
                      <a:cubicBezTo>
                        <a:pt x="263958" y="1347434"/>
                        <a:pt x="270464" y="1350004"/>
                        <a:pt x="277212" y="1352093"/>
                      </a:cubicBezTo>
                      <a:cubicBezTo>
                        <a:pt x="281550" y="1354824"/>
                        <a:pt x="286851" y="1359081"/>
                        <a:pt x="290466" y="1362776"/>
                      </a:cubicBezTo>
                      <a:cubicBezTo>
                        <a:pt x="290064" y="1362214"/>
                        <a:pt x="289582" y="1361572"/>
                        <a:pt x="289181" y="1361009"/>
                      </a:cubicBezTo>
                      <a:cubicBezTo>
                        <a:pt x="290948" y="1362294"/>
                        <a:pt x="293277" y="1364062"/>
                        <a:pt x="295045" y="1365347"/>
                      </a:cubicBezTo>
                      <a:cubicBezTo>
                        <a:pt x="294964" y="1366472"/>
                        <a:pt x="294804" y="1367918"/>
                        <a:pt x="294643" y="1368962"/>
                      </a:cubicBezTo>
                      <a:cubicBezTo>
                        <a:pt x="293438" y="1374103"/>
                        <a:pt x="293438" y="1374103"/>
                        <a:pt x="289181" y="1399808"/>
                      </a:cubicBezTo>
                      <a:cubicBezTo>
                        <a:pt x="294000" y="1417882"/>
                        <a:pt x="299864" y="1428967"/>
                        <a:pt x="320187" y="1442542"/>
                      </a:cubicBezTo>
                      <a:cubicBezTo>
                        <a:pt x="319625" y="1441819"/>
                        <a:pt x="318902" y="1440775"/>
                        <a:pt x="318340" y="1440052"/>
                      </a:cubicBezTo>
                      <a:cubicBezTo>
                        <a:pt x="333843" y="1446960"/>
                        <a:pt x="337458" y="1448406"/>
                        <a:pt x="350873" y="1452985"/>
                      </a:cubicBezTo>
                      <a:cubicBezTo>
                        <a:pt x="348784" y="1457162"/>
                        <a:pt x="344286" y="1462142"/>
                        <a:pt x="340028" y="1463909"/>
                      </a:cubicBezTo>
                      <a:cubicBezTo>
                        <a:pt x="322276" y="1450093"/>
                        <a:pt x="299141" y="1444631"/>
                        <a:pt x="283317" y="1427762"/>
                      </a:cubicBezTo>
                      <a:lnTo>
                        <a:pt x="225400" y="1368078"/>
                      </a:lnTo>
                      <a:cubicBezTo>
                        <a:pt x="225481" y="1368400"/>
                        <a:pt x="225561" y="1368881"/>
                        <a:pt x="225641" y="1369203"/>
                      </a:cubicBezTo>
                      <a:cubicBezTo>
                        <a:pt x="200338" y="1355306"/>
                        <a:pt x="200338" y="1355306"/>
                        <a:pt x="155595" y="1306949"/>
                      </a:cubicBezTo>
                      <a:lnTo>
                        <a:pt x="153507" y="1306306"/>
                      </a:lnTo>
                      <a:cubicBezTo>
                        <a:pt x="130212" y="1295301"/>
                        <a:pt x="95028" y="1278593"/>
                        <a:pt x="70367" y="1215134"/>
                      </a:cubicBezTo>
                      <a:cubicBezTo>
                        <a:pt x="45305" y="1150550"/>
                        <a:pt x="54462" y="1080745"/>
                        <a:pt x="40244" y="1014474"/>
                      </a:cubicBezTo>
                      <a:cubicBezTo>
                        <a:pt x="25143" y="1059940"/>
                        <a:pt x="53177" y="1104602"/>
                        <a:pt x="42654" y="1149907"/>
                      </a:cubicBezTo>
                      <a:cubicBezTo>
                        <a:pt x="36549" y="1120909"/>
                        <a:pt x="22171" y="1052952"/>
                        <a:pt x="43538" y="881612"/>
                      </a:cubicBezTo>
                      <a:cubicBezTo>
                        <a:pt x="43457" y="881531"/>
                        <a:pt x="43377" y="881451"/>
                        <a:pt x="43377" y="881371"/>
                      </a:cubicBezTo>
                      <a:lnTo>
                        <a:pt x="44020" y="880166"/>
                      </a:lnTo>
                      <a:cubicBezTo>
                        <a:pt x="47474" y="861931"/>
                        <a:pt x="48759" y="856228"/>
                        <a:pt x="54221" y="837190"/>
                      </a:cubicBezTo>
                      <a:cubicBezTo>
                        <a:pt x="54221" y="837190"/>
                        <a:pt x="54221" y="837190"/>
                        <a:pt x="54221" y="837110"/>
                      </a:cubicBezTo>
                      <a:cubicBezTo>
                        <a:pt x="54302" y="836949"/>
                        <a:pt x="54302" y="836789"/>
                        <a:pt x="54382" y="836628"/>
                      </a:cubicBezTo>
                      <a:lnTo>
                        <a:pt x="54221" y="837431"/>
                      </a:lnTo>
                      <a:lnTo>
                        <a:pt x="54543" y="836548"/>
                      </a:lnTo>
                      <a:lnTo>
                        <a:pt x="54543" y="836227"/>
                      </a:lnTo>
                      <a:cubicBezTo>
                        <a:pt x="58479" y="823856"/>
                        <a:pt x="70528" y="814297"/>
                        <a:pt x="67154" y="799436"/>
                      </a:cubicBezTo>
                      <a:cubicBezTo>
                        <a:pt x="75267" y="779917"/>
                        <a:pt x="77035" y="775418"/>
                        <a:pt x="85630" y="753730"/>
                      </a:cubicBezTo>
                      <a:cubicBezTo>
                        <a:pt x="86112" y="732684"/>
                        <a:pt x="90048" y="713325"/>
                        <a:pt x="98643" y="693484"/>
                      </a:cubicBezTo>
                      <a:lnTo>
                        <a:pt x="72376" y="760236"/>
                      </a:lnTo>
                      <a:cubicBezTo>
                        <a:pt x="35505" y="876391"/>
                        <a:pt x="33256" y="883299"/>
                        <a:pt x="19359" y="957682"/>
                      </a:cubicBezTo>
                      <a:cubicBezTo>
                        <a:pt x="2169" y="1080584"/>
                        <a:pt x="1125" y="1087894"/>
                        <a:pt x="0" y="1163242"/>
                      </a:cubicBezTo>
                      <a:cubicBezTo>
                        <a:pt x="3936" y="1290240"/>
                        <a:pt x="4177" y="1297791"/>
                        <a:pt x="16066" y="1373701"/>
                      </a:cubicBezTo>
                      <a:cubicBezTo>
                        <a:pt x="27151" y="1428083"/>
                        <a:pt x="44180" y="1500137"/>
                        <a:pt x="59282" y="1553475"/>
                      </a:cubicBezTo>
                      <a:cubicBezTo>
                        <a:pt x="103141" y="1673244"/>
                        <a:pt x="104828" y="1677984"/>
                        <a:pt x="138967" y="1744335"/>
                      </a:cubicBezTo>
                      <a:cubicBezTo>
                        <a:pt x="200981" y="1852857"/>
                        <a:pt x="203471" y="1857115"/>
                        <a:pt x="248213" y="1917040"/>
                      </a:cubicBezTo>
                      <a:cubicBezTo>
                        <a:pt x="266528" y="1939451"/>
                        <a:pt x="290305" y="1970056"/>
                        <a:pt x="309504" y="1991664"/>
                      </a:cubicBezTo>
                      <a:cubicBezTo>
                        <a:pt x="349507" y="2036407"/>
                        <a:pt x="425497" y="2073679"/>
                        <a:pt x="538278" y="2099063"/>
                      </a:cubicBezTo>
                      <a:cubicBezTo>
                        <a:pt x="574586" y="2107256"/>
                        <a:pt x="613465" y="2113923"/>
                        <a:pt x="654432" y="2119145"/>
                      </a:cubicBezTo>
                      <a:lnTo>
                        <a:pt x="654994" y="2114486"/>
                      </a:lnTo>
                      <a:cubicBezTo>
                        <a:pt x="652906" y="2111594"/>
                        <a:pt x="646480" y="2102839"/>
                        <a:pt x="632663" y="2093038"/>
                      </a:cubicBezTo>
                      <a:cubicBezTo>
                        <a:pt x="637483" y="2093359"/>
                        <a:pt x="643909" y="2094243"/>
                        <a:pt x="648568" y="2095368"/>
                      </a:cubicBezTo>
                      <a:cubicBezTo>
                        <a:pt x="638527" y="2086773"/>
                        <a:pt x="625193" y="2083238"/>
                        <a:pt x="615312" y="2074402"/>
                      </a:cubicBezTo>
                      <a:cubicBezTo>
                        <a:pt x="613224" y="2074964"/>
                        <a:pt x="610412" y="2075688"/>
                        <a:pt x="608324" y="2076170"/>
                      </a:cubicBezTo>
                      <a:cubicBezTo>
                        <a:pt x="611457" y="2072956"/>
                        <a:pt x="616035" y="2068940"/>
                        <a:pt x="619650" y="2066369"/>
                      </a:cubicBezTo>
                      <a:cubicBezTo>
                        <a:pt x="621658" y="2067494"/>
                        <a:pt x="624309" y="2068940"/>
                        <a:pt x="626237" y="2070065"/>
                      </a:cubicBezTo>
                      <a:cubicBezTo>
                        <a:pt x="628566" y="2068940"/>
                        <a:pt x="631699" y="2067414"/>
                        <a:pt x="634029" y="2066289"/>
                      </a:cubicBezTo>
                      <a:cubicBezTo>
                        <a:pt x="623988" y="2052473"/>
                        <a:pt x="624068" y="2030141"/>
                        <a:pt x="624148" y="2029901"/>
                      </a:cubicBezTo>
                      <a:cubicBezTo>
                        <a:pt x="622462" y="2028133"/>
                        <a:pt x="620293" y="2025804"/>
                        <a:pt x="618686" y="2024037"/>
                      </a:cubicBezTo>
                      <a:cubicBezTo>
                        <a:pt x="614107" y="2024117"/>
                        <a:pt x="607842" y="2023715"/>
                        <a:pt x="603504" y="2022269"/>
                      </a:cubicBezTo>
                      <a:cubicBezTo>
                        <a:pt x="572658" y="1958730"/>
                        <a:pt x="604548" y="1885230"/>
                        <a:pt x="571855" y="1822012"/>
                      </a:cubicBezTo>
                      <a:cubicBezTo>
                        <a:pt x="544302" y="1768674"/>
                        <a:pt x="500524" y="1745299"/>
                        <a:pt x="445097" y="1715657"/>
                      </a:cubicBezTo>
                      <a:cubicBezTo>
                        <a:pt x="444214" y="1715176"/>
                        <a:pt x="359387" y="1655733"/>
                        <a:pt x="362922" y="1579983"/>
                      </a:cubicBezTo>
                      <a:cubicBezTo>
                        <a:pt x="357781" y="1577734"/>
                        <a:pt x="351435" y="1573557"/>
                        <a:pt x="347659" y="1569460"/>
                      </a:cubicBezTo>
                      <a:cubicBezTo>
                        <a:pt x="348302" y="1566569"/>
                        <a:pt x="349186" y="1562793"/>
                        <a:pt x="349828" y="1559901"/>
                      </a:cubicBezTo>
                      <a:cubicBezTo>
                        <a:pt x="351274" y="1559098"/>
                        <a:pt x="353282" y="1557974"/>
                        <a:pt x="354728" y="1557090"/>
                      </a:cubicBezTo>
                      <a:cubicBezTo>
                        <a:pt x="359628" y="1533232"/>
                        <a:pt x="384851" y="1529618"/>
                        <a:pt x="397864" y="1513874"/>
                      </a:cubicBezTo>
                      <a:cubicBezTo>
                        <a:pt x="396499" y="1513552"/>
                        <a:pt x="394651" y="1513070"/>
                        <a:pt x="393286" y="1512749"/>
                      </a:cubicBezTo>
                      <a:lnTo>
                        <a:pt x="390394" y="1509295"/>
                      </a:lnTo>
                      <a:cubicBezTo>
                        <a:pt x="391117" y="1507206"/>
                        <a:pt x="392081" y="1504395"/>
                        <a:pt x="392804" y="1502306"/>
                      </a:cubicBezTo>
                      <a:cubicBezTo>
                        <a:pt x="386619" y="1490177"/>
                        <a:pt x="384128" y="1476200"/>
                        <a:pt x="374891" y="1465516"/>
                      </a:cubicBezTo>
                      <a:cubicBezTo>
                        <a:pt x="386217" y="1456118"/>
                        <a:pt x="406781" y="1463749"/>
                        <a:pt x="412966" y="1444952"/>
                      </a:cubicBezTo>
                      <a:cubicBezTo>
                        <a:pt x="421561" y="1435232"/>
                        <a:pt x="478996" y="1430332"/>
                        <a:pt x="479076" y="1439249"/>
                      </a:cubicBezTo>
                      <a:cubicBezTo>
                        <a:pt x="479076" y="1440373"/>
                        <a:pt x="478192" y="1441819"/>
                        <a:pt x="477791" y="1442863"/>
                      </a:cubicBezTo>
                      <a:cubicBezTo>
                        <a:pt x="478755" y="1447924"/>
                        <a:pt x="480120" y="1454672"/>
                        <a:pt x="481245" y="1459733"/>
                      </a:cubicBezTo>
                      <a:cubicBezTo>
                        <a:pt x="482129" y="1454993"/>
                        <a:pt x="482450" y="1448406"/>
                        <a:pt x="482209" y="1443587"/>
                      </a:cubicBezTo>
                      <a:cubicBezTo>
                        <a:pt x="539643" y="1436437"/>
                        <a:pt x="595150" y="1455877"/>
                        <a:pt x="652022" y="1456359"/>
                      </a:cubicBezTo>
                      <a:cubicBezTo>
                        <a:pt x="646801" y="1457322"/>
                        <a:pt x="639652" y="1458126"/>
                        <a:pt x="634270" y="1458367"/>
                      </a:cubicBezTo>
                      <a:cubicBezTo>
                        <a:pt x="637884" y="1461580"/>
                        <a:pt x="643507" y="1465034"/>
                        <a:pt x="647925" y="1466962"/>
                      </a:cubicBezTo>
                      <a:lnTo>
                        <a:pt x="647604" y="1465114"/>
                      </a:lnTo>
                      <a:cubicBezTo>
                        <a:pt x="649612" y="1465998"/>
                        <a:pt x="652344" y="1467123"/>
                        <a:pt x="654352" y="1467926"/>
                      </a:cubicBezTo>
                      <a:cubicBezTo>
                        <a:pt x="654593" y="1467685"/>
                        <a:pt x="654834" y="1467444"/>
                        <a:pt x="655075" y="1467203"/>
                      </a:cubicBezTo>
                      <a:cubicBezTo>
                        <a:pt x="659814" y="1467926"/>
                        <a:pt x="665999" y="1470095"/>
                        <a:pt x="669935" y="1472746"/>
                      </a:cubicBezTo>
                      <a:cubicBezTo>
                        <a:pt x="668248" y="1474914"/>
                        <a:pt x="665999" y="1477806"/>
                        <a:pt x="664312" y="1479895"/>
                      </a:cubicBezTo>
                      <a:cubicBezTo>
                        <a:pt x="674273" y="1481983"/>
                        <a:pt x="684475" y="1482947"/>
                        <a:pt x="694516" y="1485036"/>
                      </a:cubicBezTo>
                      <a:cubicBezTo>
                        <a:pt x="694516" y="1484875"/>
                        <a:pt x="694516" y="1484715"/>
                        <a:pt x="694435" y="1484554"/>
                      </a:cubicBezTo>
                      <a:cubicBezTo>
                        <a:pt x="717168" y="1491703"/>
                        <a:pt x="719739" y="1494354"/>
                        <a:pt x="717248" y="1507769"/>
                      </a:cubicBezTo>
                      <a:cubicBezTo>
                        <a:pt x="734680" y="1500861"/>
                        <a:pt x="738696" y="1505519"/>
                        <a:pt x="746729" y="1517649"/>
                      </a:cubicBezTo>
                      <a:cubicBezTo>
                        <a:pt x="760304" y="1505680"/>
                        <a:pt x="806252" y="1517649"/>
                        <a:pt x="806573" y="1517810"/>
                      </a:cubicBezTo>
                      <a:cubicBezTo>
                        <a:pt x="816052" y="1515400"/>
                        <a:pt x="818703" y="1515159"/>
                        <a:pt x="830109" y="1517810"/>
                      </a:cubicBezTo>
                      <a:moveTo>
                        <a:pt x="2131181" y="548251"/>
                      </a:moveTo>
                      <a:cubicBezTo>
                        <a:pt x="2130619" y="547046"/>
                        <a:pt x="2128852" y="549536"/>
                        <a:pt x="2127245" y="552106"/>
                      </a:cubicBezTo>
                      <a:cubicBezTo>
                        <a:pt x="2127245" y="551303"/>
                        <a:pt x="2127245" y="550178"/>
                        <a:pt x="2127326" y="549295"/>
                      </a:cubicBezTo>
                      <a:lnTo>
                        <a:pt x="2126924" y="550098"/>
                      </a:lnTo>
                      <a:cubicBezTo>
                        <a:pt x="2124916" y="554436"/>
                        <a:pt x="2123631" y="558131"/>
                        <a:pt x="2122506" y="563192"/>
                      </a:cubicBezTo>
                      <a:cubicBezTo>
                        <a:pt x="2125398" y="560059"/>
                        <a:pt x="2128129" y="556926"/>
                        <a:pt x="2130780" y="553874"/>
                      </a:cubicBezTo>
                      <a:cubicBezTo>
                        <a:pt x="2131021" y="552588"/>
                        <a:pt x="2131664" y="549215"/>
                        <a:pt x="2131181" y="548251"/>
                      </a:cubicBezTo>
                      <a:moveTo>
                        <a:pt x="858867" y="568815"/>
                      </a:moveTo>
                      <a:cubicBezTo>
                        <a:pt x="859108" y="568654"/>
                        <a:pt x="859349" y="568413"/>
                        <a:pt x="859509" y="568252"/>
                      </a:cubicBezTo>
                      <a:cubicBezTo>
                        <a:pt x="859268" y="568413"/>
                        <a:pt x="858867" y="568654"/>
                        <a:pt x="858626" y="568815"/>
                      </a:cubicBezTo>
                      <a:cubicBezTo>
                        <a:pt x="849227" y="574438"/>
                        <a:pt x="842159" y="578534"/>
                        <a:pt x="836857" y="581105"/>
                      </a:cubicBezTo>
                      <a:cubicBezTo>
                        <a:pt x="836616" y="582551"/>
                        <a:pt x="836375" y="583997"/>
                        <a:pt x="836134" y="585443"/>
                      </a:cubicBezTo>
                      <a:cubicBezTo>
                        <a:pt x="839267" y="583434"/>
                        <a:pt x="848504" y="577410"/>
                        <a:pt x="858867" y="568815"/>
                      </a:cubicBezTo>
                      <a:moveTo>
                        <a:pt x="844488" y="569297"/>
                      </a:moveTo>
                      <a:cubicBezTo>
                        <a:pt x="844649" y="569136"/>
                        <a:pt x="844809" y="568975"/>
                        <a:pt x="844970" y="568895"/>
                      </a:cubicBezTo>
                      <a:cubicBezTo>
                        <a:pt x="842560" y="566164"/>
                        <a:pt x="841114" y="564156"/>
                        <a:pt x="840070" y="561826"/>
                      </a:cubicBezTo>
                      <a:cubicBezTo>
                        <a:pt x="839347" y="566164"/>
                        <a:pt x="838624" y="570501"/>
                        <a:pt x="837901" y="574839"/>
                      </a:cubicBezTo>
                      <a:cubicBezTo>
                        <a:pt x="840070" y="572992"/>
                        <a:pt x="842239" y="571144"/>
                        <a:pt x="844488" y="569297"/>
                      </a:cubicBezTo>
                      <a:moveTo>
                        <a:pt x="866418" y="545359"/>
                      </a:moveTo>
                      <a:cubicBezTo>
                        <a:pt x="866578" y="545359"/>
                        <a:pt x="866819" y="545359"/>
                        <a:pt x="867060" y="545279"/>
                      </a:cubicBezTo>
                      <a:cubicBezTo>
                        <a:pt x="863445" y="544877"/>
                        <a:pt x="860554" y="544716"/>
                        <a:pt x="856216" y="544957"/>
                      </a:cubicBezTo>
                      <a:cubicBezTo>
                        <a:pt x="851236" y="545279"/>
                        <a:pt x="847219" y="546082"/>
                        <a:pt x="842480" y="547528"/>
                      </a:cubicBezTo>
                      <a:cubicBezTo>
                        <a:pt x="842239" y="548974"/>
                        <a:pt x="841998" y="550339"/>
                        <a:pt x="841757" y="551785"/>
                      </a:cubicBezTo>
                      <a:cubicBezTo>
                        <a:pt x="846577" y="547769"/>
                        <a:pt x="854770" y="546323"/>
                        <a:pt x="866418" y="545359"/>
                      </a:cubicBezTo>
                      <a:moveTo>
                        <a:pt x="861357" y="533792"/>
                      </a:moveTo>
                      <a:cubicBezTo>
                        <a:pt x="862481" y="530900"/>
                        <a:pt x="855975" y="531221"/>
                        <a:pt x="853485" y="531382"/>
                      </a:cubicBezTo>
                      <a:cubicBezTo>
                        <a:pt x="850834" y="531543"/>
                        <a:pt x="848826" y="531784"/>
                        <a:pt x="845131" y="532265"/>
                      </a:cubicBezTo>
                      <a:cubicBezTo>
                        <a:pt x="844247" y="537085"/>
                        <a:pt x="843444" y="541825"/>
                        <a:pt x="842560" y="546724"/>
                      </a:cubicBezTo>
                      <a:cubicBezTo>
                        <a:pt x="847380" y="544154"/>
                        <a:pt x="859991" y="537406"/>
                        <a:pt x="861357" y="533792"/>
                      </a:cubicBezTo>
                      <a:moveTo>
                        <a:pt x="877101" y="509693"/>
                      </a:moveTo>
                      <a:cubicBezTo>
                        <a:pt x="878145" y="507283"/>
                        <a:pt x="876057" y="506801"/>
                        <a:pt x="870514" y="508006"/>
                      </a:cubicBezTo>
                      <a:cubicBezTo>
                        <a:pt x="868426" y="503106"/>
                        <a:pt x="868345" y="499973"/>
                        <a:pt x="869309" y="493146"/>
                      </a:cubicBezTo>
                      <a:cubicBezTo>
                        <a:pt x="870595" y="483828"/>
                        <a:pt x="869791" y="479169"/>
                        <a:pt x="856698" y="473706"/>
                      </a:cubicBezTo>
                      <a:cubicBezTo>
                        <a:pt x="855413" y="479650"/>
                        <a:pt x="854208" y="485675"/>
                        <a:pt x="853003" y="491780"/>
                      </a:cubicBezTo>
                      <a:cubicBezTo>
                        <a:pt x="855252" y="493226"/>
                        <a:pt x="855011" y="494511"/>
                        <a:pt x="851959" y="497082"/>
                      </a:cubicBezTo>
                      <a:cubicBezTo>
                        <a:pt x="849870" y="507685"/>
                        <a:pt x="847781" y="518369"/>
                        <a:pt x="845854" y="529213"/>
                      </a:cubicBezTo>
                      <a:cubicBezTo>
                        <a:pt x="850031" y="526803"/>
                        <a:pt x="855734" y="523510"/>
                        <a:pt x="865936" y="520296"/>
                      </a:cubicBezTo>
                      <a:cubicBezTo>
                        <a:pt x="866418" y="520136"/>
                        <a:pt x="867060" y="520055"/>
                        <a:pt x="867462" y="519814"/>
                      </a:cubicBezTo>
                      <a:cubicBezTo>
                        <a:pt x="867542" y="519654"/>
                        <a:pt x="875655" y="512746"/>
                        <a:pt x="877101" y="509693"/>
                      </a:cubicBezTo>
                      <a:moveTo>
                        <a:pt x="875173" y="463424"/>
                      </a:moveTo>
                      <a:cubicBezTo>
                        <a:pt x="876780" y="460372"/>
                        <a:pt x="875254" y="458123"/>
                        <a:pt x="871960" y="458765"/>
                      </a:cubicBezTo>
                      <a:cubicBezTo>
                        <a:pt x="871800" y="458765"/>
                        <a:pt x="857742" y="458203"/>
                        <a:pt x="875575" y="439647"/>
                      </a:cubicBezTo>
                      <a:cubicBezTo>
                        <a:pt x="875334" y="439727"/>
                        <a:pt x="875013" y="439888"/>
                        <a:pt x="874691" y="439968"/>
                      </a:cubicBezTo>
                      <a:cubicBezTo>
                        <a:pt x="869068" y="442218"/>
                        <a:pt x="865936" y="443182"/>
                        <a:pt x="863124" y="443664"/>
                      </a:cubicBezTo>
                      <a:cubicBezTo>
                        <a:pt x="861116" y="452741"/>
                        <a:pt x="859108" y="461898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57100" y="471136"/>
                        <a:pt x="857100" y="471136"/>
                        <a:pt x="857100" y="471136"/>
                      </a:cubicBezTo>
                      <a:cubicBezTo>
                        <a:pt x="870514" y="470413"/>
                        <a:pt x="874290" y="465031"/>
                        <a:pt x="875173" y="463424"/>
                      </a:cubicBezTo>
                      <a:moveTo>
                        <a:pt x="1502695" y="731238"/>
                      </a:moveTo>
                      <a:cubicBezTo>
                        <a:pt x="1502615" y="731238"/>
                        <a:pt x="1502535" y="731318"/>
                        <a:pt x="1502454" y="731318"/>
                      </a:cubicBezTo>
                      <a:cubicBezTo>
                        <a:pt x="1502374" y="731318"/>
                        <a:pt x="1502294" y="731398"/>
                        <a:pt x="1502213" y="731398"/>
                      </a:cubicBezTo>
                      <a:cubicBezTo>
                        <a:pt x="1502133" y="731398"/>
                        <a:pt x="1502053" y="731479"/>
                        <a:pt x="1501973" y="731479"/>
                      </a:cubicBezTo>
                      <a:cubicBezTo>
                        <a:pt x="1501892" y="731479"/>
                        <a:pt x="1501812" y="731559"/>
                        <a:pt x="1501732" y="731559"/>
                      </a:cubicBezTo>
                      <a:cubicBezTo>
                        <a:pt x="1501651" y="731559"/>
                        <a:pt x="1501571" y="731640"/>
                        <a:pt x="1501491" y="731640"/>
                      </a:cubicBezTo>
                      <a:cubicBezTo>
                        <a:pt x="1501410" y="731640"/>
                        <a:pt x="1501330" y="731720"/>
                        <a:pt x="1501250" y="731720"/>
                      </a:cubicBezTo>
                      <a:cubicBezTo>
                        <a:pt x="1501169" y="731720"/>
                        <a:pt x="1501089" y="731800"/>
                        <a:pt x="1501009" y="731800"/>
                      </a:cubicBezTo>
                      <a:lnTo>
                        <a:pt x="1502615" y="730756"/>
                      </a:lnTo>
                      <a:cubicBezTo>
                        <a:pt x="1502695" y="730916"/>
                        <a:pt x="1502856" y="731077"/>
                        <a:pt x="1502936" y="731238"/>
                      </a:cubicBezTo>
                      <a:cubicBezTo>
                        <a:pt x="1502856" y="731157"/>
                        <a:pt x="1502776" y="731238"/>
                        <a:pt x="1502695" y="731238"/>
                      </a:cubicBezTo>
                      <a:moveTo>
                        <a:pt x="1569287" y="705533"/>
                      </a:moveTo>
                      <a:cubicBezTo>
                        <a:pt x="1568243" y="705292"/>
                        <a:pt x="1566797" y="704890"/>
                        <a:pt x="1565673" y="704649"/>
                      </a:cubicBezTo>
                      <a:cubicBezTo>
                        <a:pt x="1566074" y="706979"/>
                        <a:pt x="1567038" y="707300"/>
                        <a:pt x="1568805" y="707139"/>
                      </a:cubicBezTo>
                      <a:cubicBezTo>
                        <a:pt x="1567279" y="711156"/>
                        <a:pt x="1565271" y="713244"/>
                        <a:pt x="1560853" y="715172"/>
                      </a:cubicBezTo>
                      <a:cubicBezTo>
                        <a:pt x="1563343" y="716779"/>
                        <a:pt x="1570332" y="727302"/>
                        <a:pt x="1569850" y="745697"/>
                      </a:cubicBezTo>
                      <a:cubicBezTo>
                        <a:pt x="1570653" y="746018"/>
                        <a:pt x="1571778" y="746420"/>
                        <a:pt x="1572581" y="746661"/>
                      </a:cubicBezTo>
                      <a:cubicBezTo>
                        <a:pt x="1569046" y="748267"/>
                        <a:pt x="1567119" y="749231"/>
                        <a:pt x="1564468" y="750838"/>
                      </a:cubicBezTo>
                      <a:cubicBezTo>
                        <a:pt x="1563905" y="750516"/>
                        <a:pt x="1563102" y="750035"/>
                        <a:pt x="1562540" y="749713"/>
                      </a:cubicBezTo>
                      <a:cubicBezTo>
                        <a:pt x="1556837" y="755818"/>
                        <a:pt x="1551053" y="759513"/>
                        <a:pt x="1542538" y="762486"/>
                      </a:cubicBezTo>
                      <a:cubicBezTo>
                        <a:pt x="1540369" y="769795"/>
                        <a:pt x="1530489" y="773731"/>
                        <a:pt x="1522536" y="775740"/>
                      </a:cubicBezTo>
                      <a:cubicBezTo>
                        <a:pt x="1523259" y="773731"/>
                        <a:pt x="1524143" y="772687"/>
                        <a:pt x="1526232" y="771080"/>
                      </a:cubicBezTo>
                      <a:cubicBezTo>
                        <a:pt x="1522697" y="772286"/>
                        <a:pt x="1520368" y="773330"/>
                        <a:pt x="1517235" y="775097"/>
                      </a:cubicBezTo>
                      <a:cubicBezTo>
                        <a:pt x="1519082" y="772286"/>
                        <a:pt x="1520689" y="770598"/>
                        <a:pt x="1523741" y="768189"/>
                      </a:cubicBezTo>
                      <a:cubicBezTo>
                        <a:pt x="1520769" y="770357"/>
                        <a:pt x="1517877" y="772205"/>
                        <a:pt x="1512495" y="772848"/>
                      </a:cubicBezTo>
                      <a:cubicBezTo>
                        <a:pt x="1512736" y="770117"/>
                        <a:pt x="1514022" y="768189"/>
                        <a:pt x="1517395" y="765458"/>
                      </a:cubicBezTo>
                      <a:cubicBezTo>
                        <a:pt x="1514664" y="765618"/>
                        <a:pt x="1512335" y="767064"/>
                        <a:pt x="1509684" y="767466"/>
                      </a:cubicBezTo>
                      <a:cubicBezTo>
                        <a:pt x="1510407" y="766020"/>
                        <a:pt x="1511612" y="763289"/>
                        <a:pt x="1518681" y="762726"/>
                      </a:cubicBezTo>
                      <a:cubicBezTo>
                        <a:pt x="1517717" y="762164"/>
                        <a:pt x="1516512" y="761361"/>
                        <a:pt x="1515548" y="760798"/>
                      </a:cubicBezTo>
                      <a:cubicBezTo>
                        <a:pt x="1520127" y="756220"/>
                        <a:pt x="1523982" y="753890"/>
                        <a:pt x="1531373" y="750998"/>
                      </a:cubicBezTo>
                      <a:cubicBezTo>
                        <a:pt x="1529766" y="751320"/>
                        <a:pt x="1528802" y="751239"/>
                        <a:pt x="1527677" y="750677"/>
                      </a:cubicBezTo>
                      <a:cubicBezTo>
                        <a:pt x="1523420" y="754051"/>
                        <a:pt x="1520528" y="755658"/>
                        <a:pt x="1514343" y="757987"/>
                      </a:cubicBezTo>
                      <a:cubicBezTo>
                        <a:pt x="1519002" y="754533"/>
                        <a:pt x="1520287" y="752123"/>
                        <a:pt x="1519002" y="749553"/>
                      </a:cubicBezTo>
                      <a:cubicBezTo>
                        <a:pt x="1520769" y="746500"/>
                        <a:pt x="1522055" y="745135"/>
                        <a:pt x="1525509" y="742805"/>
                      </a:cubicBezTo>
                      <a:cubicBezTo>
                        <a:pt x="1518681" y="744090"/>
                        <a:pt x="1515709" y="744492"/>
                        <a:pt x="1509845" y="744733"/>
                      </a:cubicBezTo>
                      <a:cubicBezTo>
                        <a:pt x="1510086" y="744412"/>
                        <a:pt x="1510487" y="743930"/>
                        <a:pt x="1510809" y="743528"/>
                      </a:cubicBezTo>
                      <a:cubicBezTo>
                        <a:pt x="1506712" y="743769"/>
                        <a:pt x="1506150" y="743689"/>
                        <a:pt x="1505587" y="742966"/>
                      </a:cubicBezTo>
                      <a:cubicBezTo>
                        <a:pt x="1506230" y="741922"/>
                        <a:pt x="1506792" y="741520"/>
                        <a:pt x="1510648" y="739512"/>
                      </a:cubicBezTo>
                      <a:cubicBezTo>
                        <a:pt x="1508559" y="739351"/>
                        <a:pt x="1508077" y="739351"/>
                        <a:pt x="1507274" y="738708"/>
                      </a:cubicBezTo>
                      <a:cubicBezTo>
                        <a:pt x="1507274" y="737744"/>
                        <a:pt x="1508077" y="737102"/>
                        <a:pt x="1511451" y="735415"/>
                      </a:cubicBezTo>
                      <a:cubicBezTo>
                        <a:pt x="1511291" y="735013"/>
                        <a:pt x="1511130" y="734531"/>
                        <a:pt x="1510969" y="734130"/>
                      </a:cubicBezTo>
                      <a:cubicBezTo>
                        <a:pt x="1508800" y="734371"/>
                        <a:pt x="1507435" y="734853"/>
                        <a:pt x="1505828" y="735897"/>
                      </a:cubicBezTo>
                      <a:cubicBezTo>
                        <a:pt x="1505989" y="734290"/>
                        <a:pt x="1505828" y="733246"/>
                        <a:pt x="1505186" y="731640"/>
                      </a:cubicBezTo>
                      <a:lnTo>
                        <a:pt x="1504061" y="732363"/>
                      </a:lnTo>
                      <a:cubicBezTo>
                        <a:pt x="1503740" y="731961"/>
                        <a:pt x="1503258" y="731479"/>
                        <a:pt x="1502936" y="731077"/>
                      </a:cubicBezTo>
                      <a:cubicBezTo>
                        <a:pt x="1516030" y="726900"/>
                        <a:pt x="1521573" y="723205"/>
                        <a:pt x="1527758" y="714449"/>
                      </a:cubicBezTo>
                      <a:cubicBezTo>
                        <a:pt x="1524625" y="716457"/>
                        <a:pt x="1521733" y="717100"/>
                        <a:pt x="1517797" y="716618"/>
                      </a:cubicBezTo>
                      <a:cubicBezTo>
                        <a:pt x="1519645" y="709871"/>
                        <a:pt x="1522135" y="706979"/>
                        <a:pt x="1529525" y="703203"/>
                      </a:cubicBezTo>
                      <a:cubicBezTo>
                        <a:pt x="1529284" y="702882"/>
                        <a:pt x="1528963" y="702480"/>
                        <a:pt x="1528722" y="702159"/>
                      </a:cubicBezTo>
                      <a:cubicBezTo>
                        <a:pt x="1531935" y="701677"/>
                        <a:pt x="1532899" y="702480"/>
                        <a:pt x="1532176" y="704890"/>
                      </a:cubicBezTo>
                      <a:lnTo>
                        <a:pt x="1532417" y="706497"/>
                      </a:lnTo>
                      <a:cubicBezTo>
                        <a:pt x="1532658" y="703203"/>
                        <a:pt x="1533300" y="701677"/>
                        <a:pt x="1535309" y="699107"/>
                      </a:cubicBezTo>
                      <a:cubicBezTo>
                        <a:pt x="1534907" y="698866"/>
                        <a:pt x="1534345" y="698544"/>
                        <a:pt x="1533943" y="698303"/>
                      </a:cubicBezTo>
                      <a:cubicBezTo>
                        <a:pt x="1536433" y="697982"/>
                        <a:pt x="1538361" y="698062"/>
                        <a:pt x="1540932" y="698625"/>
                      </a:cubicBezTo>
                      <a:lnTo>
                        <a:pt x="1540932" y="698625"/>
                      </a:lnTo>
                      <a:cubicBezTo>
                        <a:pt x="1540932" y="698625"/>
                        <a:pt x="1540932" y="698625"/>
                        <a:pt x="1540932" y="698625"/>
                      </a:cubicBezTo>
                      <a:lnTo>
                        <a:pt x="1540932" y="698625"/>
                      </a:lnTo>
                      <a:cubicBezTo>
                        <a:pt x="1540932" y="698625"/>
                        <a:pt x="1540932" y="698625"/>
                        <a:pt x="1540932" y="698625"/>
                      </a:cubicBezTo>
                      <a:lnTo>
                        <a:pt x="1540932" y="698625"/>
                      </a:lnTo>
                      <a:cubicBezTo>
                        <a:pt x="1540932" y="698625"/>
                        <a:pt x="1540932" y="698625"/>
                        <a:pt x="1540932" y="698625"/>
                      </a:cubicBezTo>
                      <a:lnTo>
                        <a:pt x="1540932" y="698625"/>
                      </a:lnTo>
                      <a:lnTo>
                        <a:pt x="1540932" y="698625"/>
                      </a:lnTo>
                      <a:cubicBezTo>
                        <a:pt x="1544386" y="698303"/>
                        <a:pt x="1551696" y="698544"/>
                        <a:pt x="1561897" y="703926"/>
                      </a:cubicBezTo>
                      <a:cubicBezTo>
                        <a:pt x="1567440" y="700633"/>
                        <a:pt x="1568725" y="704087"/>
                        <a:pt x="1569287" y="705533"/>
                      </a:cubicBezTo>
                      <a:moveTo>
                        <a:pt x="1689619" y="707862"/>
                      </a:moveTo>
                      <a:cubicBezTo>
                        <a:pt x="1688815" y="711477"/>
                        <a:pt x="1685683" y="715654"/>
                        <a:pt x="1683594" y="718787"/>
                      </a:cubicBezTo>
                      <a:cubicBezTo>
                        <a:pt x="1684397" y="719028"/>
                        <a:pt x="1685442" y="719430"/>
                        <a:pt x="1686084" y="719912"/>
                      </a:cubicBezTo>
                      <a:cubicBezTo>
                        <a:pt x="1685924" y="721759"/>
                        <a:pt x="1685924" y="722081"/>
                        <a:pt x="1680783" y="724812"/>
                      </a:cubicBezTo>
                      <a:cubicBezTo>
                        <a:pt x="1688655" y="725695"/>
                        <a:pt x="1690502" y="725856"/>
                        <a:pt x="1693555" y="727864"/>
                      </a:cubicBezTo>
                      <a:cubicBezTo>
                        <a:pt x="1693555" y="728346"/>
                        <a:pt x="1693555" y="728908"/>
                        <a:pt x="1693555" y="729390"/>
                      </a:cubicBezTo>
                      <a:cubicBezTo>
                        <a:pt x="1690422" y="732523"/>
                        <a:pt x="1686004" y="735415"/>
                        <a:pt x="1657648" y="743769"/>
                      </a:cubicBezTo>
                      <a:cubicBezTo>
                        <a:pt x="1658210" y="744010"/>
                        <a:pt x="1658853" y="744251"/>
                        <a:pt x="1659415" y="744492"/>
                      </a:cubicBezTo>
                      <a:cubicBezTo>
                        <a:pt x="1656684" y="747303"/>
                        <a:pt x="1653873" y="748830"/>
                        <a:pt x="1649615" y="749794"/>
                      </a:cubicBezTo>
                      <a:cubicBezTo>
                        <a:pt x="1650178" y="750115"/>
                        <a:pt x="1650901" y="750597"/>
                        <a:pt x="1651383" y="750918"/>
                      </a:cubicBezTo>
                      <a:cubicBezTo>
                        <a:pt x="1628891" y="760638"/>
                        <a:pt x="1619492" y="765538"/>
                        <a:pt x="1598607" y="778872"/>
                      </a:cubicBezTo>
                      <a:cubicBezTo>
                        <a:pt x="1608568" y="763208"/>
                        <a:pt x="1614512" y="755738"/>
                        <a:pt x="1627846" y="742805"/>
                      </a:cubicBezTo>
                      <a:cubicBezTo>
                        <a:pt x="1622545" y="745938"/>
                        <a:pt x="1617323" y="747303"/>
                        <a:pt x="1609692" y="747464"/>
                      </a:cubicBezTo>
                      <a:cubicBezTo>
                        <a:pt x="1610174" y="746821"/>
                        <a:pt x="1610737" y="745858"/>
                        <a:pt x="1611219" y="745215"/>
                      </a:cubicBezTo>
                      <a:cubicBezTo>
                        <a:pt x="1601740" y="748749"/>
                        <a:pt x="1597161" y="748749"/>
                        <a:pt x="1591699" y="747464"/>
                      </a:cubicBezTo>
                      <a:cubicBezTo>
                        <a:pt x="1599892" y="741681"/>
                        <a:pt x="1603587" y="737343"/>
                        <a:pt x="1606399" y="730274"/>
                      </a:cubicBezTo>
                      <a:cubicBezTo>
                        <a:pt x="1604150" y="728908"/>
                        <a:pt x="1602864" y="727302"/>
                        <a:pt x="1601820" y="724651"/>
                      </a:cubicBezTo>
                      <a:cubicBezTo>
                        <a:pt x="1598366" y="726097"/>
                        <a:pt x="1596358" y="727221"/>
                        <a:pt x="1593868" y="729310"/>
                      </a:cubicBezTo>
                      <a:cubicBezTo>
                        <a:pt x="1595073" y="725695"/>
                        <a:pt x="1598205" y="716217"/>
                        <a:pt x="1614271" y="713967"/>
                      </a:cubicBezTo>
                      <a:cubicBezTo>
                        <a:pt x="1613628" y="713726"/>
                        <a:pt x="1612905" y="713325"/>
                        <a:pt x="1612343" y="712923"/>
                      </a:cubicBezTo>
                      <a:cubicBezTo>
                        <a:pt x="1612343" y="712602"/>
                        <a:pt x="1612343" y="712120"/>
                        <a:pt x="1612343" y="711799"/>
                      </a:cubicBezTo>
                      <a:cubicBezTo>
                        <a:pt x="1612664" y="711558"/>
                        <a:pt x="1613146" y="711236"/>
                        <a:pt x="1613468" y="710915"/>
                      </a:cubicBezTo>
                      <a:cubicBezTo>
                        <a:pt x="1614833" y="712040"/>
                        <a:pt x="1616279" y="713164"/>
                        <a:pt x="1619010" y="711316"/>
                      </a:cubicBezTo>
                      <a:cubicBezTo>
                        <a:pt x="1613227" y="711236"/>
                        <a:pt x="1611701" y="709549"/>
                        <a:pt x="1613146" y="705131"/>
                      </a:cubicBezTo>
                      <a:cubicBezTo>
                        <a:pt x="1603587" y="699428"/>
                        <a:pt x="1601178" y="695251"/>
                        <a:pt x="1601499" y="684969"/>
                      </a:cubicBezTo>
                      <a:cubicBezTo>
                        <a:pt x="1589932" y="690431"/>
                        <a:pt x="1582782" y="694287"/>
                        <a:pt x="1575955" y="698625"/>
                      </a:cubicBezTo>
                      <a:cubicBezTo>
                        <a:pt x="1571537" y="697420"/>
                        <a:pt x="1571296" y="697018"/>
                        <a:pt x="1570492" y="695492"/>
                      </a:cubicBezTo>
                      <a:cubicBezTo>
                        <a:pt x="1571215" y="694448"/>
                        <a:pt x="1571296" y="692600"/>
                        <a:pt x="1571135" y="691395"/>
                      </a:cubicBezTo>
                      <a:cubicBezTo>
                        <a:pt x="1570814" y="688503"/>
                        <a:pt x="1570171" y="681193"/>
                        <a:pt x="1570653" y="675410"/>
                      </a:cubicBezTo>
                      <a:cubicBezTo>
                        <a:pt x="1566556" y="675731"/>
                        <a:pt x="1565833" y="675008"/>
                        <a:pt x="1565592" y="672598"/>
                      </a:cubicBezTo>
                      <a:cubicBezTo>
                        <a:pt x="1564548" y="675490"/>
                        <a:pt x="1563584" y="677097"/>
                        <a:pt x="1561576" y="679426"/>
                      </a:cubicBezTo>
                      <a:cubicBezTo>
                        <a:pt x="1561415" y="679185"/>
                        <a:pt x="1561255" y="678944"/>
                        <a:pt x="1561094" y="678703"/>
                      </a:cubicBezTo>
                      <a:cubicBezTo>
                        <a:pt x="1558845" y="689307"/>
                        <a:pt x="1558845" y="689307"/>
                        <a:pt x="1558604" y="689949"/>
                      </a:cubicBezTo>
                      <a:cubicBezTo>
                        <a:pt x="1558443" y="689789"/>
                        <a:pt x="1558122" y="689628"/>
                        <a:pt x="1558041" y="689387"/>
                      </a:cubicBezTo>
                      <a:cubicBezTo>
                        <a:pt x="1557399" y="686977"/>
                        <a:pt x="1558684" y="684567"/>
                        <a:pt x="1558122" y="682158"/>
                      </a:cubicBezTo>
                      <a:cubicBezTo>
                        <a:pt x="1557399" y="679266"/>
                        <a:pt x="1554909" y="677177"/>
                        <a:pt x="1554427" y="674125"/>
                      </a:cubicBezTo>
                      <a:cubicBezTo>
                        <a:pt x="1553784" y="669225"/>
                        <a:pt x="1554186" y="667216"/>
                        <a:pt x="1554909" y="663843"/>
                      </a:cubicBezTo>
                      <a:cubicBezTo>
                        <a:pt x="1547679" y="669707"/>
                        <a:pt x="1546394" y="669787"/>
                        <a:pt x="1544868" y="669867"/>
                      </a:cubicBezTo>
                      <a:cubicBezTo>
                        <a:pt x="1544466" y="669144"/>
                        <a:pt x="1544145" y="668582"/>
                        <a:pt x="1545430" y="666172"/>
                      </a:cubicBezTo>
                      <a:cubicBezTo>
                        <a:pt x="1546394" y="664244"/>
                        <a:pt x="1546394" y="664244"/>
                        <a:pt x="1543341" y="655649"/>
                      </a:cubicBezTo>
                      <a:cubicBezTo>
                        <a:pt x="1541173" y="655248"/>
                        <a:pt x="1541173" y="655248"/>
                        <a:pt x="1540128" y="654123"/>
                      </a:cubicBezTo>
                      <a:cubicBezTo>
                        <a:pt x="1540771" y="652677"/>
                        <a:pt x="1540771" y="652677"/>
                        <a:pt x="1542538" y="651472"/>
                      </a:cubicBezTo>
                      <a:cubicBezTo>
                        <a:pt x="1540128" y="649866"/>
                        <a:pt x="1535068" y="646652"/>
                        <a:pt x="1545591" y="643439"/>
                      </a:cubicBezTo>
                      <a:cubicBezTo>
                        <a:pt x="1538763" y="640788"/>
                        <a:pt x="1538441" y="638861"/>
                        <a:pt x="1544386" y="635728"/>
                      </a:cubicBezTo>
                      <a:cubicBezTo>
                        <a:pt x="1542699" y="633559"/>
                        <a:pt x="1538843" y="628498"/>
                        <a:pt x="1550330" y="628498"/>
                      </a:cubicBezTo>
                      <a:cubicBezTo>
                        <a:pt x="1557399" y="624643"/>
                        <a:pt x="1572179" y="616770"/>
                        <a:pt x="1568484" y="627454"/>
                      </a:cubicBezTo>
                      <a:cubicBezTo>
                        <a:pt x="1567359" y="630587"/>
                        <a:pt x="1564146" y="635567"/>
                        <a:pt x="1561978" y="638780"/>
                      </a:cubicBezTo>
                      <a:cubicBezTo>
                        <a:pt x="1562861" y="638700"/>
                        <a:pt x="1563986" y="638620"/>
                        <a:pt x="1564789" y="638539"/>
                      </a:cubicBezTo>
                      <a:cubicBezTo>
                        <a:pt x="1563102" y="641029"/>
                        <a:pt x="1563102" y="642154"/>
                        <a:pt x="1563022" y="644162"/>
                      </a:cubicBezTo>
                      <a:cubicBezTo>
                        <a:pt x="1574027" y="639343"/>
                        <a:pt x="1603186" y="626570"/>
                        <a:pt x="1594189" y="647857"/>
                      </a:cubicBezTo>
                      <a:cubicBezTo>
                        <a:pt x="1592261" y="652356"/>
                        <a:pt x="1588405" y="657818"/>
                        <a:pt x="1585674" y="661835"/>
                      </a:cubicBezTo>
                      <a:cubicBezTo>
                        <a:pt x="1591779" y="661433"/>
                        <a:pt x="1593064" y="661353"/>
                        <a:pt x="1594350" y="662236"/>
                      </a:cubicBezTo>
                      <a:cubicBezTo>
                        <a:pt x="1592984" y="663923"/>
                        <a:pt x="1590976" y="664887"/>
                        <a:pt x="1581015" y="668823"/>
                      </a:cubicBezTo>
                      <a:cubicBezTo>
                        <a:pt x="1609130" y="666012"/>
                        <a:pt x="1628248" y="670108"/>
                        <a:pt x="1651624" y="684085"/>
                      </a:cubicBezTo>
                      <a:cubicBezTo>
                        <a:pt x="1651543" y="687700"/>
                        <a:pt x="1653391" y="689628"/>
                        <a:pt x="1658853" y="691556"/>
                      </a:cubicBezTo>
                      <a:cubicBezTo>
                        <a:pt x="1655399" y="691556"/>
                        <a:pt x="1652025" y="691636"/>
                        <a:pt x="1646563" y="693644"/>
                      </a:cubicBezTo>
                      <a:cubicBezTo>
                        <a:pt x="1661343" y="691797"/>
                        <a:pt x="1665842" y="694367"/>
                        <a:pt x="1663833" y="703444"/>
                      </a:cubicBezTo>
                      <a:cubicBezTo>
                        <a:pt x="1675722" y="700392"/>
                        <a:pt x="1692270" y="696215"/>
                        <a:pt x="1689619" y="707862"/>
                      </a:cubicBezTo>
                      <a:moveTo>
                        <a:pt x="1665520" y="432498"/>
                      </a:moveTo>
                      <a:cubicBezTo>
                        <a:pt x="1665761" y="432980"/>
                        <a:pt x="1664958" y="433382"/>
                        <a:pt x="1664556" y="433542"/>
                      </a:cubicBezTo>
                      <a:cubicBezTo>
                        <a:pt x="1663512" y="434024"/>
                        <a:pt x="1662307" y="434346"/>
                        <a:pt x="1660620" y="434747"/>
                      </a:cubicBezTo>
                      <a:cubicBezTo>
                        <a:pt x="1660379" y="433382"/>
                        <a:pt x="1660701" y="432337"/>
                        <a:pt x="1661825" y="431213"/>
                      </a:cubicBezTo>
                      <a:cubicBezTo>
                        <a:pt x="1662950" y="431534"/>
                        <a:pt x="1665199" y="431855"/>
                        <a:pt x="1665520" y="432498"/>
                      </a:cubicBezTo>
                      <a:moveTo>
                        <a:pt x="1784807" y="362372"/>
                      </a:moveTo>
                      <a:cubicBezTo>
                        <a:pt x="1783442" y="362693"/>
                        <a:pt x="1781835" y="363014"/>
                        <a:pt x="1782076" y="362613"/>
                      </a:cubicBezTo>
                      <a:cubicBezTo>
                        <a:pt x="1782237" y="362211"/>
                        <a:pt x="1783683" y="361408"/>
                        <a:pt x="1784968" y="360765"/>
                      </a:cubicBezTo>
                      <a:lnTo>
                        <a:pt x="1784807" y="362372"/>
                      </a:lnTo>
                      <a:moveTo>
                        <a:pt x="1850435" y="305901"/>
                      </a:moveTo>
                      <a:cubicBezTo>
                        <a:pt x="1851560" y="306865"/>
                        <a:pt x="1851962" y="307588"/>
                        <a:pt x="1852122" y="307909"/>
                      </a:cubicBezTo>
                      <a:cubicBezTo>
                        <a:pt x="1849953" y="307588"/>
                        <a:pt x="1848266" y="306865"/>
                        <a:pt x="1847142" y="305660"/>
                      </a:cubicBezTo>
                      <a:lnTo>
                        <a:pt x="1847463" y="305740"/>
                      </a:lnTo>
                      <a:cubicBezTo>
                        <a:pt x="1847222" y="305258"/>
                        <a:pt x="1846740" y="303893"/>
                        <a:pt x="1848347" y="304536"/>
                      </a:cubicBezTo>
                      <a:cubicBezTo>
                        <a:pt x="1849230" y="304937"/>
                        <a:pt x="1850194" y="305660"/>
                        <a:pt x="1850435" y="305901"/>
                      </a:cubicBezTo>
                      <a:moveTo>
                        <a:pt x="1660138" y="414264"/>
                      </a:moveTo>
                      <a:cubicBezTo>
                        <a:pt x="1659415" y="414103"/>
                        <a:pt x="1658612" y="414023"/>
                        <a:pt x="1657889" y="413942"/>
                      </a:cubicBezTo>
                      <a:cubicBezTo>
                        <a:pt x="1659496" y="414023"/>
                        <a:pt x="1660138" y="414264"/>
                        <a:pt x="1660138" y="414264"/>
                      </a:cubicBezTo>
                      <a:lnTo>
                        <a:pt x="1660138" y="414264"/>
                      </a:lnTo>
                      <a:moveTo>
                        <a:pt x="1658130" y="400849"/>
                      </a:moveTo>
                      <a:cubicBezTo>
                        <a:pt x="1658291" y="401090"/>
                        <a:pt x="1659737" y="403018"/>
                        <a:pt x="1657006" y="404464"/>
                      </a:cubicBezTo>
                      <a:cubicBezTo>
                        <a:pt x="1656363" y="402937"/>
                        <a:pt x="1655961" y="401572"/>
                        <a:pt x="1655961" y="400126"/>
                      </a:cubicBezTo>
                      <a:cubicBezTo>
                        <a:pt x="1656443" y="400045"/>
                        <a:pt x="1657487" y="399965"/>
                        <a:pt x="1658130" y="400849"/>
                      </a:cubicBezTo>
                      <a:moveTo>
                        <a:pt x="1359631" y="528570"/>
                      </a:moveTo>
                      <a:cubicBezTo>
                        <a:pt x="1363326" y="539495"/>
                        <a:pt x="1361158" y="540780"/>
                        <a:pt x="1355936" y="543913"/>
                      </a:cubicBezTo>
                      <a:cubicBezTo>
                        <a:pt x="1357382" y="547447"/>
                        <a:pt x="1357382" y="550339"/>
                        <a:pt x="1353125" y="554436"/>
                      </a:cubicBezTo>
                      <a:cubicBezTo>
                        <a:pt x="1352643" y="554918"/>
                        <a:pt x="1351840" y="555400"/>
                        <a:pt x="1351358" y="555882"/>
                      </a:cubicBezTo>
                      <a:cubicBezTo>
                        <a:pt x="1344530" y="561103"/>
                        <a:pt x="1337139" y="565602"/>
                        <a:pt x="1330312" y="570823"/>
                      </a:cubicBezTo>
                      <a:cubicBezTo>
                        <a:pt x="1324769" y="575080"/>
                        <a:pt x="1320271" y="580542"/>
                        <a:pt x="1314246" y="584157"/>
                      </a:cubicBezTo>
                      <a:cubicBezTo>
                        <a:pt x="1312559" y="585202"/>
                        <a:pt x="1295128" y="590905"/>
                        <a:pt x="1285328" y="586728"/>
                      </a:cubicBezTo>
                      <a:cubicBezTo>
                        <a:pt x="1284043" y="586165"/>
                        <a:pt x="1282516" y="584961"/>
                        <a:pt x="1281472" y="583997"/>
                      </a:cubicBezTo>
                      <a:cubicBezTo>
                        <a:pt x="1277375" y="586406"/>
                        <a:pt x="1274002" y="586165"/>
                        <a:pt x="1271190" y="583193"/>
                      </a:cubicBezTo>
                      <a:cubicBezTo>
                        <a:pt x="1268700" y="584479"/>
                        <a:pt x="1262033" y="588013"/>
                        <a:pt x="1250144" y="590101"/>
                      </a:cubicBezTo>
                      <a:cubicBezTo>
                        <a:pt x="1248297" y="588254"/>
                        <a:pt x="1247735" y="586888"/>
                        <a:pt x="1247976" y="584639"/>
                      </a:cubicBezTo>
                      <a:cubicBezTo>
                        <a:pt x="1257936" y="584238"/>
                        <a:pt x="1261390" y="577651"/>
                        <a:pt x="1263077" y="574438"/>
                      </a:cubicBezTo>
                      <a:cubicBezTo>
                        <a:pt x="1261149" y="574598"/>
                        <a:pt x="1258498" y="575080"/>
                        <a:pt x="1255366" y="577651"/>
                      </a:cubicBezTo>
                      <a:cubicBezTo>
                        <a:pt x="1255848" y="577008"/>
                        <a:pt x="1256490" y="576124"/>
                        <a:pt x="1256972" y="575482"/>
                      </a:cubicBezTo>
                      <a:cubicBezTo>
                        <a:pt x="1254482" y="573795"/>
                        <a:pt x="1255125" y="572188"/>
                        <a:pt x="1259703" y="569377"/>
                      </a:cubicBezTo>
                      <a:cubicBezTo>
                        <a:pt x="1237211" y="573474"/>
                        <a:pt x="1233757" y="574036"/>
                        <a:pt x="1230062" y="572188"/>
                      </a:cubicBezTo>
                      <a:cubicBezTo>
                        <a:pt x="1235364" y="563272"/>
                        <a:pt x="1246208" y="563272"/>
                        <a:pt x="1253438" y="557328"/>
                      </a:cubicBezTo>
                      <a:cubicBezTo>
                        <a:pt x="1243477" y="555721"/>
                        <a:pt x="1233356" y="557247"/>
                        <a:pt x="1223395" y="555400"/>
                      </a:cubicBezTo>
                      <a:cubicBezTo>
                        <a:pt x="1223395" y="555400"/>
                        <a:pt x="1220102" y="553392"/>
                        <a:pt x="1219620" y="551062"/>
                      </a:cubicBezTo>
                      <a:cubicBezTo>
                        <a:pt x="1220664" y="549697"/>
                        <a:pt x="1220985" y="549375"/>
                        <a:pt x="1224680" y="548893"/>
                      </a:cubicBezTo>
                      <a:cubicBezTo>
                        <a:pt x="1223957" y="548813"/>
                        <a:pt x="1222993" y="548652"/>
                        <a:pt x="1222351" y="548331"/>
                      </a:cubicBezTo>
                      <a:cubicBezTo>
                        <a:pt x="1222993" y="547367"/>
                        <a:pt x="1222993" y="547367"/>
                        <a:pt x="1225484" y="546323"/>
                      </a:cubicBezTo>
                      <a:cubicBezTo>
                        <a:pt x="1222029" y="544636"/>
                        <a:pt x="1221869" y="544395"/>
                        <a:pt x="1221387" y="543431"/>
                      </a:cubicBezTo>
                      <a:cubicBezTo>
                        <a:pt x="1222672" y="542788"/>
                        <a:pt x="1222672" y="542788"/>
                        <a:pt x="1225323" y="542788"/>
                      </a:cubicBezTo>
                      <a:cubicBezTo>
                        <a:pt x="1225564" y="541664"/>
                        <a:pt x="1224761" y="540700"/>
                        <a:pt x="1225002" y="539575"/>
                      </a:cubicBezTo>
                      <a:cubicBezTo>
                        <a:pt x="1227974" y="539736"/>
                        <a:pt x="1229741" y="542949"/>
                        <a:pt x="1232954" y="542467"/>
                      </a:cubicBezTo>
                      <a:cubicBezTo>
                        <a:pt x="1234239" y="542065"/>
                        <a:pt x="1234400" y="541905"/>
                        <a:pt x="1235043" y="540941"/>
                      </a:cubicBezTo>
                      <a:cubicBezTo>
                        <a:pt x="1233115" y="538129"/>
                        <a:pt x="1233516" y="536764"/>
                        <a:pt x="1236810" y="534515"/>
                      </a:cubicBezTo>
                      <a:cubicBezTo>
                        <a:pt x="1231669" y="534193"/>
                        <a:pt x="1233356" y="531061"/>
                        <a:pt x="1233436" y="531061"/>
                      </a:cubicBezTo>
                      <a:cubicBezTo>
                        <a:pt x="1237372" y="530980"/>
                        <a:pt x="1256892" y="539736"/>
                        <a:pt x="1255205" y="542788"/>
                      </a:cubicBezTo>
                      <a:cubicBezTo>
                        <a:pt x="1254723" y="543672"/>
                        <a:pt x="1252876" y="544315"/>
                        <a:pt x="1251430" y="544797"/>
                      </a:cubicBezTo>
                      <a:cubicBezTo>
                        <a:pt x="1253197" y="546082"/>
                        <a:pt x="1254482" y="546724"/>
                        <a:pt x="1256008" y="547046"/>
                      </a:cubicBezTo>
                      <a:cubicBezTo>
                        <a:pt x="1256812" y="550098"/>
                        <a:pt x="1257776" y="551223"/>
                        <a:pt x="1261712" y="553713"/>
                      </a:cubicBezTo>
                      <a:cubicBezTo>
                        <a:pt x="1270387" y="538531"/>
                        <a:pt x="1281472" y="524875"/>
                        <a:pt x="1303803" y="527044"/>
                      </a:cubicBezTo>
                      <a:cubicBezTo>
                        <a:pt x="1311836" y="515477"/>
                        <a:pt x="1316897" y="510818"/>
                        <a:pt x="1338184" y="508087"/>
                      </a:cubicBezTo>
                      <a:cubicBezTo>
                        <a:pt x="1337541" y="516842"/>
                        <a:pt x="1339630" y="520779"/>
                        <a:pt x="1347421" y="525759"/>
                      </a:cubicBezTo>
                      <a:cubicBezTo>
                        <a:pt x="1352562" y="520537"/>
                        <a:pt x="1358266" y="524634"/>
                        <a:pt x="1359631" y="528570"/>
                      </a:cubicBezTo>
                      <a:moveTo>
                        <a:pt x="1841438" y="247021"/>
                      </a:moveTo>
                      <a:cubicBezTo>
                        <a:pt x="1840555" y="246780"/>
                        <a:pt x="1839671" y="246619"/>
                        <a:pt x="1838788" y="246298"/>
                      </a:cubicBezTo>
                      <a:cubicBezTo>
                        <a:pt x="1839752" y="246539"/>
                        <a:pt x="1840635" y="246780"/>
                        <a:pt x="1841599" y="247021"/>
                      </a:cubicBezTo>
                      <a:cubicBezTo>
                        <a:pt x="1841519" y="247101"/>
                        <a:pt x="1841519" y="247021"/>
                        <a:pt x="1841438" y="247021"/>
                      </a:cubicBezTo>
                      <a:moveTo>
                        <a:pt x="1627686" y="361890"/>
                      </a:moveTo>
                      <a:cubicBezTo>
                        <a:pt x="1629453" y="363898"/>
                        <a:pt x="1628730" y="365906"/>
                        <a:pt x="1628489" y="366629"/>
                      </a:cubicBezTo>
                      <a:cubicBezTo>
                        <a:pt x="1627846" y="365665"/>
                        <a:pt x="1627204" y="364701"/>
                        <a:pt x="1626642" y="363737"/>
                      </a:cubicBezTo>
                      <a:cubicBezTo>
                        <a:pt x="1626481" y="363496"/>
                        <a:pt x="1626401" y="363255"/>
                        <a:pt x="1626240" y="363014"/>
                      </a:cubicBezTo>
                      <a:cubicBezTo>
                        <a:pt x="1625758" y="361890"/>
                        <a:pt x="1625758" y="361006"/>
                        <a:pt x="1625838" y="360524"/>
                      </a:cubicBezTo>
                      <a:cubicBezTo>
                        <a:pt x="1626160" y="360685"/>
                        <a:pt x="1626963" y="361167"/>
                        <a:pt x="1627686" y="361890"/>
                      </a:cubicBezTo>
                      <a:moveTo>
                        <a:pt x="1631943" y="353616"/>
                      </a:moveTo>
                      <a:cubicBezTo>
                        <a:pt x="1632907" y="354821"/>
                        <a:pt x="1631220" y="357311"/>
                        <a:pt x="1630096" y="358998"/>
                      </a:cubicBezTo>
                      <a:cubicBezTo>
                        <a:pt x="1629694" y="358918"/>
                        <a:pt x="1629212" y="358757"/>
                        <a:pt x="1628891" y="358596"/>
                      </a:cubicBezTo>
                      <a:cubicBezTo>
                        <a:pt x="1630015" y="359801"/>
                        <a:pt x="1629935" y="360444"/>
                        <a:pt x="1628730" y="361247"/>
                      </a:cubicBezTo>
                      <a:cubicBezTo>
                        <a:pt x="1628007" y="360524"/>
                        <a:pt x="1626160" y="358596"/>
                        <a:pt x="1626401" y="356668"/>
                      </a:cubicBezTo>
                      <a:cubicBezTo>
                        <a:pt x="1626642" y="354259"/>
                        <a:pt x="1628810" y="352813"/>
                        <a:pt x="1629614" y="352893"/>
                      </a:cubicBezTo>
                      <a:cubicBezTo>
                        <a:pt x="1630819" y="352893"/>
                        <a:pt x="1631622" y="353134"/>
                        <a:pt x="1631943" y="353616"/>
                      </a:cubicBezTo>
                      <a:moveTo>
                        <a:pt x="1641984" y="331767"/>
                      </a:moveTo>
                      <a:cubicBezTo>
                        <a:pt x="1642225" y="332409"/>
                        <a:pt x="1639574" y="345824"/>
                        <a:pt x="1639333" y="346547"/>
                      </a:cubicBezTo>
                      <a:cubicBezTo>
                        <a:pt x="1638209" y="349439"/>
                        <a:pt x="1636843" y="350805"/>
                        <a:pt x="1634192" y="352732"/>
                      </a:cubicBezTo>
                      <a:cubicBezTo>
                        <a:pt x="1632746" y="348475"/>
                        <a:pt x="1631220" y="344218"/>
                        <a:pt x="1629774" y="339880"/>
                      </a:cubicBezTo>
                      <a:cubicBezTo>
                        <a:pt x="1628891" y="339719"/>
                        <a:pt x="1627927" y="339398"/>
                        <a:pt x="1625437" y="338273"/>
                      </a:cubicBezTo>
                      <a:cubicBezTo>
                        <a:pt x="1625678" y="338193"/>
                        <a:pt x="1626079" y="338193"/>
                        <a:pt x="1626320" y="338113"/>
                      </a:cubicBezTo>
                      <a:cubicBezTo>
                        <a:pt x="1625678" y="337149"/>
                        <a:pt x="1624955" y="336265"/>
                        <a:pt x="1624312" y="335301"/>
                      </a:cubicBezTo>
                      <a:cubicBezTo>
                        <a:pt x="1624874" y="335221"/>
                        <a:pt x="1625597" y="335060"/>
                        <a:pt x="1626079" y="334980"/>
                      </a:cubicBezTo>
                      <a:cubicBezTo>
                        <a:pt x="1626963" y="335703"/>
                        <a:pt x="1627766" y="336426"/>
                        <a:pt x="1628569" y="337229"/>
                      </a:cubicBezTo>
                      <a:cubicBezTo>
                        <a:pt x="1628569" y="337229"/>
                        <a:pt x="1628569" y="337229"/>
                        <a:pt x="1628650" y="337309"/>
                      </a:cubicBezTo>
                      <a:cubicBezTo>
                        <a:pt x="1628650" y="337309"/>
                        <a:pt x="1628650" y="337309"/>
                        <a:pt x="1628730" y="337390"/>
                      </a:cubicBezTo>
                      <a:cubicBezTo>
                        <a:pt x="1628730" y="337390"/>
                        <a:pt x="1628730" y="337390"/>
                        <a:pt x="1628810" y="337470"/>
                      </a:cubicBezTo>
                      <a:cubicBezTo>
                        <a:pt x="1628810" y="337470"/>
                        <a:pt x="1628810" y="337470"/>
                        <a:pt x="1628891" y="337550"/>
                      </a:cubicBezTo>
                      <a:cubicBezTo>
                        <a:pt x="1628891" y="337550"/>
                        <a:pt x="1628891" y="337550"/>
                        <a:pt x="1628971" y="337631"/>
                      </a:cubicBezTo>
                      <a:cubicBezTo>
                        <a:pt x="1628971" y="337631"/>
                        <a:pt x="1628971" y="337631"/>
                        <a:pt x="1629051" y="337711"/>
                      </a:cubicBezTo>
                      <a:cubicBezTo>
                        <a:pt x="1629051" y="337711"/>
                        <a:pt x="1629051" y="337711"/>
                        <a:pt x="1629132" y="337791"/>
                      </a:cubicBezTo>
                      <a:cubicBezTo>
                        <a:pt x="1629132" y="337791"/>
                        <a:pt x="1629132" y="337791"/>
                        <a:pt x="1629212" y="337872"/>
                      </a:cubicBezTo>
                      <a:cubicBezTo>
                        <a:pt x="1626963" y="330803"/>
                        <a:pt x="1625196" y="324618"/>
                        <a:pt x="1628650" y="326465"/>
                      </a:cubicBezTo>
                      <a:cubicBezTo>
                        <a:pt x="1631542" y="327991"/>
                        <a:pt x="1637004" y="335060"/>
                        <a:pt x="1639896" y="338836"/>
                      </a:cubicBezTo>
                      <a:cubicBezTo>
                        <a:pt x="1641261" y="333454"/>
                        <a:pt x="1641663" y="332088"/>
                        <a:pt x="1641984" y="331767"/>
                      </a:cubicBezTo>
                      <a:cubicBezTo>
                        <a:pt x="1641904" y="331767"/>
                        <a:pt x="1641984" y="331767"/>
                        <a:pt x="1641984" y="331767"/>
                      </a:cubicBezTo>
                      <a:moveTo>
                        <a:pt x="1796937" y="176734"/>
                      </a:moveTo>
                      <a:cubicBezTo>
                        <a:pt x="1797339" y="176975"/>
                        <a:pt x="1797820" y="177296"/>
                        <a:pt x="1798222" y="177537"/>
                      </a:cubicBezTo>
                      <a:cubicBezTo>
                        <a:pt x="1797258" y="176975"/>
                        <a:pt x="1796696" y="176734"/>
                        <a:pt x="1795732" y="176573"/>
                      </a:cubicBezTo>
                      <a:cubicBezTo>
                        <a:pt x="1798061" y="179867"/>
                        <a:pt x="1801114" y="184445"/>
                        <a:pt x="1800552" y="186293"/>
                      </a:cubicBezTo>
                      <a:cubicBezTo>
                        <a:pt x="1799266" y="187980"/>
                        <a:pt x="1793724" y="183963"/>
                        <a:pt x="1783040" y="175529"/>
                      </a:cubicBezTo>
                      <a:cubicBezTo>
                        <a:pt x="1787137" y="172075"/>
                        <a:pt x="1792840" y="174244"/>
                        <a:pt x="1796937" y="176734"/>
                      </a:cubicBezTo>
                      <a:moveTo>
                        <a:pt x="1639655" y="311685"/>
                      </a:moveTo>
                      <a:cubicBezTo>
                        <a:pt x="1644796" y="316665"/>
                        <a:pt x="1642386" y="317709"/>
                        <a:pt x="1639735" y="318031"/>
                      </a:cubicBezTo>
                      <a:cubicBezTo>
                        <a:pt x="1640217" y="319959"/>
                        <a:pt x="1640378" y="321404"/>
                        <a:pt x="1640619" y="323573"/>
                      </a:cubicBezTo>
                      <a:cubicBezTo>
                        <a:pt x="1640056" y="323172"/>
                        <a:pt x="1638771" y="322288"/>
                        <a:pt x="1637165" y="323573"/>
                      </a:cubicBezTo>
                      <a:cubicBezTo>
                        <a:pt x="1633309" y="319476"/>
                        <a:pt x="1632586" y="317067"/>
                        <a:pt x="1634594" y="314898"/>
                      </a:cubicBezTo>
                      <a:cubicBezTo>
                        <a:pt x="1631381" y="313452"/>
                        <a:pt x="1630658" y="312488"/>
                        <a:pt x="1630738" y="309918"/>
                      </a:cubicBezTo>
                      <a:cubicBezTo>
                        <a:pt x="1631381" y="310078"/>
                        <a:pt x="1632265" y="310319"/>
                        <a:pt x="1632907" y="310560"/>
                      </a:cubicBezTo>
                      <a:cubicBezTo>
                        <a:pt x="1635558" y="308632"/>
                        <a:pt x="1637968" y="310078"/>
                        <a:pt x="1639655" y="311685"/>
                      </a:cubicBezTo>
                      <a:moveTo>
                        <a:pt x="1642145" y="286944"/>
                      </a:move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42145" y="286944"/>
                      </a:moveTo>
                      <a:lnTo>
                        <a:pt x="1642145" y="286944"/>
                      </a:lnTo>
                      <a:lnTo>
                        <a:pt x="1642145" y="286944"/>
                      </a:lnTo>
                      <a:lnTo>
                        <a:pt x="1642145" y="286944"/>
                      </a:lnTo>
                      <a:moveTo>
                        <a:pt x="1636040" y="293772"/>
                      </a:moveTo>
                      <a:cubicBezTo>
                        <a:pt x="1642225" y="299234"/>
                        <a:pt x="1639173" y="305740"/>
                        <a:pt x="1638209" y="307829"/>
                      </a:cubicBezTo>
                      <a:cubicBezTo>
                        <a:pt x="1635719" y="306945"/>
                        <a:pt x="1632586" y="305258"/>
                        <a:pt x="1634273" y="300760"/>
                      </a:cubicBezTo>
                      <a:lnTo>
                        <a:pt x="1635397" y="301162"/>
                      </a:lnTo>
                      <a:cubicBezTo>
                        <a:pt x="1632425" y="298672"/>
                        <a:pt x="1631542" y="296744"/>
                        <a:pt x="1632104" y="294414"/>
                      </a:cubicBezTo>
                      <a:cubicBezTo>
                        <a:pt x="1629614" y="292567"/>
                        <a:pt x="1628569" y="291281"/>
                        <a:pt x="1628087" y="289434"/>
                      </a:cubicBezTo>
                      <a:cubicBezTo>
                        <a:pt x="1629774" y="290077"/>
                        <a:pt x="1633309" y="291362"/>
                        <a:pt x="1636040" y="293772"/>
                      </a:cubicBezTo>
                      <a:moveTo>
                        <a:pt x="1637405" y="288791"/>
                      </a:moveTo>
                      <a:cubicBezTo>
                        <a:pt x="1637405" y="288871"/>
                        <a:pt x="1637405" y="288871"/>
                        <a:pt x="1637325" y="288871"/>
                      </a:cubicBezTo>
                      <a:cubicBezTo>
                        <a:pt x="1636843" y="289112"/>
                        <a:pt x="1633871" y="289032"/>
                        <a:pt x="1633871" y="289032"/>
                      </a:cubicBezTo>
                      <a:cubicBezTo>
                        <a:pt x="1632104" y="288631"/>
                        <a:pt x="1631301" y="288068"/>
                        <a:pt x="1630578" y="287426"/>
                      </a:cubicBezTo>
                      <a:cubicBezTo>
                        <a:pt x="1636201" y="288309"/>
                        <a:pt x="1637245" y="288470"/>
                        <a:pt x="1637405" y="288791"/>
                      </a:cubicBezTo>
                      <a:moveTo>
                        <a:pt x="1781996" y="129260"/>
                      </a:moveTo>
                      <a:cubicBezTo>
                        <a:pt x="1776694" y="127332"/>
                        <a:pt x="1771392" y="125565"/>
                        <a:pt x="1766171" y="123476"/>
                      </a:cubicBezTo>
                      <a:cubicBezTo>
                        <a:pt x="1771875" y="125484"/>
                        <a:pt x="1777497" y="127573"/>
                        <a:pt x="1783120" y="129662"/>
                      </a:cubicBezTo>
                      <a:cubicBezTo>
                        <a:pt x="1782799" y="129581"/>
                        <a:pt x="1782398" y="129421"/>
                        <a:pt x="1781996" y="129260"/>
                      </a:cubicBezTo>
                      <a:moveTo>
                        <a:pt x="1653471" y="266781"/>
                      </a:moveTo>
                      <a:cubicBezTo>
                        <a:pt x="1655640" y="270236"/>
                        <a:pt x="1655801" y="271681"/>
                        <a:pt x="1653873" y="271199"/>
                      </a:cubicBezTo>
                      <a:cubicBezTo>
                        <a:pt x="1653230" y="271039"/>
                        <a:pt x="1652507" y="270718"/>
                        <a:pt x="1651865" y="270396"/>
                      </a:cubicBezTo>
                      <a:lnTo>
                        <a:pt x="1651945" y="271199"/>
                      </a:lnTo>
                      <a:cubicBezTo>
                        <a:pt x="1647687" y="268870"/>
                        <a:pt x="1647768" y="265898"/>
                        <a:pt x="1648571" y="263809"/>
                      </a:cubicBezTo>
                      <a:cubicBezTo>
                        <a:pt x="1649535" y="264211"/>
                        <a:pt x="1652748" y="265657"/>
                        <a:pt x="1653471" y="266781"/>
                      </a:cubicBezTo>
                      <a:moveTo>
                        <a:pt x="1648491" y="260998"/>
                      </a:moveTo>
                      <a:cubicBezTo>
                        <a:pt x="1651383" y="263086"/>
                        <a:pt x="1651865" y="263488"/>
                        <a:pt x="1651865" y="263568"/>
                      </a:cubicBezTo>
                      <a:cubicBezTo>
                        <a:pt x="1651624" y="263568"/>
                        <a:pt x="1650901" y="263086"/>
                        <a:pt x="1646563" y="260275"/>
                      </a:cubicBezTo>
                      <a:cubicBezTo>
                        <a:pt x="1647125" y="260436"/>
                        <a:pt x="1647928" y="260596"/>
                        <a:pt x="1648491" y="260998"/>
                      </a:cubicBezTo>
                      <a:moveTo>
                        <a:pt x="1643269" y="261319"/>
                      </a:moveTo>
                      <a:cubicBezTo>
                        <a:pt x="1645599" y="263488"/>
                        <a:pt x="1647527" y="267585"/>
                        <a:pt x="1644555" y="269754"/>
                      </a:cubicBezTo>
                      <a:cubicBezTo>
                        <a:pt x="1642787" y="270637"/>
                        <a:pt x="1641101" y="270637"/>
                        <a:pt x="1637245" y="269512"/>
                      </a:cubicBezTo>
                      <a:cubicBezTo>
                        <a:pt x="1640619" y="266942"/>
                        <a:pt x="1641984" y="264050"/>
                        <a:pt x="1641502" y="260034"/>
                      </a:cubicBezTo>
                      <a:cubicBezTo>
                        <a:pt x="1642065" y="260436"/>
                        <a:pt x="1642787" y="260918"/>
                        <a:pt x="1643269" y="261319"/>
                      </a:cubicBezTo>
                      <a:moveTo>
                        <a:pt x="1168210" y="430972"/>
                      </a:moveTo>
                      <a:cubicBezTo>
                        <a:pt x="1165318" y="436032"/>
                        <a:pt x="1160498" y="439326"/>
                        <a:pt x="1153992" y="440692"/>
                      </a:cubicBezTo>
                      <a:cubicBezTo>
                        <a:pt x="1149172" y="441415"/>
                        <a:pt x="1145959" y="441093"/>
                        <a:pt x="1141541" y="439406"/>
                      </a:cubicBezTo>
                      <a:cubicBezTo>
                        <a:pt x="1145798" y="432498"/>
                        <a:pt x="1155036" y="422055"/>
                        <a:pt x="1168852" y="429847"/>
                      </a:cubicBezTo>
                      <a:cubicBezTo>
                        <a:pt x="1168611" y="430249"/>
                        <a:pt x="1168370" y="430651"/>
                        <a:pt x="1168210" y="430972"/>
                      </a:cubicBezTo>
                      <a:moveTo>
                        <a:pt x="1652828" y="245093"/>
                      </a:moveTo>
                      <a:cubicBezTo>
                        <a:pt x="1651383" y="247422"/>
                        <a:pt x="1650740" y="247985"/>
                        <a:pt x="1650419" y="248145"/>
                      </a:cubicBezTo>
                      <a:cubicBezTo>
                        <a:pt x="1649214" y="248868"/>
                        <a:pt x="1649294" y="246699"/>
                        <a:pt x="1649455" y="244771"/>
                      </a:cubicBezTo>
                      <a:cubicBezTo>
                        <a:pt x="1650499" y="244771"/>
                        <a:pt x="1651865" y="244771"/>
                        <a:pt x="1652909" y="244771"/>
                      </a:cubicBezTo>
                      <a:cubicBezTo>
                        <a:pt x="1652989" y="244852"/>
                        <a:pt x="1652909" y="244932"/>
                        <a:pt x="1652828" y="245093"/>
                      </a:cubicBezTo>
                      <a:moveTo>
                        <a:pt x="1173993" y="244209"/>
                      </a:moveTo>
                      <a:cubicBezTo>
                        <a:pt x="1173993" y="244290"/>
                        <a:pt x="1173993" y="244290"/>
                        <a:pt x="1173993" y="244370"/>
                      </a:cubicBezTo>
                      <a:cubicBezTo>
                        <a:pt x="1173993" y="244370"/>
                        <a:pt x="1173993" y="244370"/>
                        <a:pt x="1173993" y="244370"/>
                      </a:cubicBezTo>
                      <a:cubicBezTo>
                        <a:pt x="1173993" y="244370"/>
                        <a:pt x="1173993" y="244370"/>
                        <a:pt x="1173993" y="244370"/>
                      </a:cubicBezTo>
                      <a:cubicBezTo>
                        <a:pt x="1173993" y="244370"/>
                        <a:pt x="1173993" y="244370"/>
                        <a:pt x="1173993" y="244370"/>
                      </a:cubicBezTo>
                      <a:cubicBezTo>
                        <a:pt x="1173993" y="244370"/>
                        <a:pt x="1173993" y="244370"/>
                        <a:pt x="1173993" y="244370"/>
                      </a:cubicBezTo>
                      <a:lnTo>
                        <a:pt x="1173993" y="244370"/>
                      </a:lnTo>
                      <a:cubicBezTo>
                        <a:pt x="1173993" y="244370"/>
                        <a:pt x="1173993" y="244370"/>
                        <a:pt x="1173993" y="244370"/>
                      </a:cubicBezTo>
                      <a:lnTo>
                        <a:pt x="1173993" y="244370"/>
                      </a:lnTo>
                      <a:lnTo>
                        <a:pt x="1173993" y="244370"/>
                      </a:lnTo>
                      <a:cubicBezTo>
                        <a:pt x="1173993" y="244370"/>
                        <a:pt x="1173993" y="244370"/>
                        <a:pt x="1173993" y="244370"/>
                      </a:cubicBezTo>
                      <a:lnTo>
                        <a:pt x="1173993" y="244370"/>
                      </a:lnTo>
                      <a:cubicBezTo>
                        <a:pt x="1173993" y="244370"/>
                        <a:pt x="1173993" y="244370"/>
                        <a:pt x="1173993" y="244370"/>
                      </a:cubicBezTo>
                      <a:lnTo>
                        <a:pt x="1173993" y="244209"/>
                      </a:lnTo>
                      <a:cubicBezTo>
                        <a:pt x="1173913" y="244290"/>
                        <a:pt x="1173913" y="244290"/>
                        <a:pt x="1173993" y="244209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lnTo>
                        <a:pt x="1173913" y="244290"/>
                      </a:lnTo>
                      <a:cubicBezTo>
                        <a:pt x="1173913" y="244290"/>
                        <a:pt x="1173913" y="244290"/>
                        <a:pt x="1173913" y="244290"/>
                      </a:cubicBezTo>
                      <a:lnTo>
                        <a:pt x="1173913" y="244290"/>
                      </a:lnTo>
                      <a:lnTo>
                        <a:pt x="1173913" y="244290"/>
                      </a:ln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290"/>
                        <a:pt x="1173913" y="244290"/>
                        <a:pt x="1173913" y="244290"/>
                      </a:cubicBezTo>
                      <a:cubicBezTo>
                        <a:pt x="1173913" y="244129"/>
                        <a:pt x="1173993" y="244129"/>
                        <a:pt x="1173993" y="244209"/>
                      </a:cubicBezTo>
                      <a:moveTo>
                        <a:pt x="1510487" y="19452"/>
                      </a:moveTo>
                      <a:cubicBezTo>
                        <a:pt x="1537156" y="26360"/>
                        <a:pt x="1560532" y="35838"/>
                        <a:pt x="1583987" y="49414"/>
                      </a:cubicBezTo>
                      <a:cubicBezTo>
                        <a:pt x="1605033" y="61624"/>
                        <a:pt x="1605033" y="61624"/>
                        <a:pt x="1613789" y="64676"/>
                      </a:cubicBezTo>
                      <a:cubicBezTo>
                        <a:pt x="1613387" y="64917"/>
                        <a:pt x="1612905" y="65238"/>
                        <a:pt x="1612504" y="65479"/>
                      </a:cubicBezTo>
                      <a:cubicBezTo>
                        <a:pt x="1612986" y="65640"/>
                        <a:pt x="1664315" y="86606"/>
                        <a:pt x="1666002" y="95442"/>
                      </a:cubicBezTo>
                      <a:cubicBezTo>
                        <a:pt x="1666966" y="94879"/>
                        <a:pt x="1668251" y="93594"/>
                        <a:pt x="1669296" y="93996"/>
                      </a:cubicBezTo>
                      <a:cubicBezTo>
                        <a:pt x="1699178" y="105161"/>
                        <a:pt x="1727132" y="120906"/>
                        <a:pt x="1757978" y="129742"/>
                      </a:cubicBezTo>
                      <a:cubicBezTo>
                        <a:pt x="1757255" y="129903"/>
                        <a:pt x="1756291" y="130063"/>
                        <a:pt x="1755568" y="130144"/>
                      </a:cubicBezTo>
                      <a:lnTo>
                        <a:pt x="1756773" y="130866"/>
                      </a:lnTo>
                      <a:cubicBezTo>
                        <a:pt x="1753801" y="133999"/>
                        <a:pt x="1753801" y="133999"/>
                        <a:pt x="1752435" y="134642"/>
                      </a:cubicBezTo>
                      <a:cubicBezTo>
                        <a:pt x="1752997" y="134963"/>
                        <a:pt x="1753801" y="135365"/>
                        <a:pt x="1754363" y="135686"/>
                      </a:cubicBezTo>
                      <a:cubicBezTo>
                        <a:pt x="1750989" y="136248"/>
                        <a:pt x="1750266" y="136409"/>
                        <a:pt x="1747615" y="137614"/>
                      </a:cubicBezTo>
                      <a:cubicBezTo>
                        <a:pt x="1741430" y="133276"/>
                        <a:pt x="1739583" y="131188"/>
                        <a:pt x="1739583" y="131107"/>
                      </a:cubicBezTo>
                      <a:cubicBezTo>
                        <a:pt x="1733237" y="131107"/>
                        <a:pt x="1733237" y="131107"/>
                        <a:pt x="1730666" y="132393"/>
                      </a:cubicBezTo>
                      <a:cubicBezTo>
                        <a:pt x="1735486" y="132955"/>
                        <a:pt x="1739583" y="135606"/>
                        <a:pt x="1744081" y="136971"/>
                      </a:cubicBezTo>
                      <a:lnTo>
                        <a:pt x="1744483" y="137614"/>
                      </a:lnTo>
                      <a:cubicBezTo>
                        <a:pt x="1734040" y="136409"/>
                        <a:pt x="1733719" y="135847"/>
                        <a:pt x="1731952" y="133116"/>
                      </a:cubicBezTo>
                      <a:cubicBezTo>
                        <a:pt x="1731470" y="132875"/>
                        <a:pt x="1731068" y="132714"/>
                        <a:pt x="1730586" y="132473"/>
                      </a:cubicBezTo>
                      <a:cubicBezTo>
                        <a:pt x="1714360" y="135766"/>
                        <a:pt x="1665601" y="98093"/>
                        <a:pt x="1665360" y="97691"/>
                      </a:cubicBezTo>
                      <a:cubicBezTo>
                        <a:pt x="1665038" y="98012"/>
                        <a:pt x="1664717" y="98414"/>
                        <a:pt x="1664396" y="98655"/>
                      </a:cubicBezTo>
                      <a:cubicBezTo>
                        <a:pt x="1647045" y="94397"/>
                        <a:pt x="1633951" y="80501"/>
                        <a:pt x="1616038" y="77448"/>
                      </a:cubicBezTo>
                      <a:cubicBezTo>
                        <a:pt x="1612423" y="76806"/>
                        <a:pt x="1592823" y="68934"/>
                        <a:pt x="1592743" y="68853"/>
                      </a:cubicBezTo>
                      <a:cubicBezTo>
                        <a:pt x="1582702" y="64274"/>
                        <a:pt x="1573946" y="57447"/>
                        <a:pt x="1564066" y="52547"/>
                      </a:cubicBezTo>
                      <a:cubicBezTo>
                        <a:pt x="1559166" y="50137"/>
                        <a:pt x="1552820" y="46763"/>
                        <a:pt x="1548081" y="44112"/>
                      </a:cubicBezTo>
                      <a:cubicBezTo>
                        <a:pt x="1539968" y="39614"/>
                        <a:pt x="1533863" y="32384"/>
                        <a:pt x="1525830" y="27725"/>
                      </a:cubicBezTo>
                      <a:cubicBezTo>
                        <a:pt x="1518761" y="23709"/>
                        <a:pt x="1509845" y="24271"/>
                        <a:pt x="1503418" y="18568"/>
                      </a:cubicBezTo>
                      <a:cubicBezTo>
                        <a:pt x="1505427" y="18809"/>
                        <a:pt x="1508318" y="18970"/>
                        <a:pt x="1510487" y="19452"/>
                      </a:cubicBezTo>
                      <a:moveTo>
                        <a:pt x="1409515" y="117612"/>
                      </a:moveTo>
                      <a:cubicBezTo>
                        <a:pt x="1413210" y="121950"/>
                        <a:pt x="1416986" y="127493"/>
                        <a:pt x="1414335" y="129662"/>
                      </a:cubicBezTo>
                      <a:cubicBezTo>
                        <a:pt x="1413612" y="129903"/>
                        <a:pt x="1411604" y="130545"/>
                        <a:pt x="1408390" y="129662"/>
                      </a:cubicBezTo>
                      <a:cubicBezTo>
                        <a:pt x="1407507" y="129421"/>
                        <a:pt x="1406222" y="129019"/>
                        <a:pt x="1405338" y="128778"/>
                      </a:cubicBezTo>
                      <a:cubicBezTo>
                        <a:pt x="1399313" y="126770"/>
                        <a:pt x="1394092" y="123155"/>
                        <a:pt x="1388068" y="121147"/>
                      </a:cubicBezTo>
                      <a:cubicBezTo>
                        <a:pt x="1387103" y="120825"/>
                        <a:pt x="1385738" y="120825"/>
                        <a:pt x="1384694" y="120665"/>
                      </a:cubicBezTo>
                      <a:cubicBezTo>
                        <a:pt x="1384613" y="120665"/>
                        <a:pt x="1377223" y="119540"/>
                        <a:pt x="1367584" y="116086"/>
                      </a:cubicBezTo>
                      <a:cubicBezTo>
                        <a:pt x="1356499" y="112150"/>
                        <a:pt x="1354651" y="111025"/>
                        <a:pt x="1355936" y="108937"/>
                      </a:cubicBezTo>
                      <a:cubicBezTo>
                        <a:pt x="1357623" y="106286"/>
                        <a:pt x="1358426" y="106527"/>
                        <a:pt x="1362764" y="107893"/>
                      </a:cubicBezTo>
                      <a:cubicBezTo>
                        <a:pt x="1384935" y="115042"/>
                        <a:pt x="1396984" y="115925"/>
                        <a:pt x="1408310" y="116247"/>
                      </a:cubicBezTo>
                      <a:cubicBezTo>
                        <a:pt x="1408631" y="116648"/>
                        <a:pt x="1409113" y="117130"/>
                        <a:pt x="1409515" y="117612"/>
                      </a:cubicBezTo>
                      <a:moveTo>
                        <a:pt x="1331436" y="138016"/>
                      </a:moveTo>
                      <a:cubicBezTo>
                        <a:pt x="1320030" y="134963"/>
                        <a:pt x="1303482" y="129099"/>
                        <a:pt x="1296654" y="125002"/>
                      </a:cubicBezTo>
                      <a:cubicBezTo>
                        <a:pt x="1298823" y="125404"/>
                        <a:pt x="1301072" y="125966"/>
                        <a:pt x="1304767" y="127252"/>
                      </a:cubicBezTo>
                      <a:cubicBezTo>
                        <a:pt x="1305651" y="127573"/>
                        <a:pt x="1307418" y="128296"/>
                        <a:pt x="1308221" y="128617"/>
                      </a:cubicBezTo>
                      <a:cubicBezTo>
                        <a:pt x="1310792" y="129742"/>
                        <a:pt x="1312961" y="131830"/>
                        <a:pt x="1315853" y="132152"/>
                      </a:cubicBezTo>
                      <a:cubicBezTo>
                        <a:pt x="1319949" y="132553"/>
                        <a:pt x="1324287" y="134160"/>
                        <a:pt x="1325090" y="134481"/>
                      </a:cubicBezTo>
                      <a:cubicBezTo>
                        <a:pt x="1327902" y="135525"/>
                        <a:pt x="1329428" y="136248"/>
                        <a:pt x="1331838" y="137453"/>
                      </a:cubicBezTo>
                      <a:lnTo>
                        <a:pt x="1331436" y="138016"/>
                      </a:lnTo>
                      <a:moveTo>
                        <a:pt x="1324528" y="99298"/>
                      </a:moveTo>
                      <a:cubicBezTo>
                        <a:pt x="1325010" y="99458"/>
                        <a:pt x="1325412" y="99699"/>
                        <a:pt x="1325894" y="99860"/>
                      </a:cubicBezTo>
                      <a:cubicBezTo>
                        <a:pt x="1325412" y="99619"/>
                        <a:pt x="1324930" y="99458"/>
                        <a:pt x="1324528" y="99298"/>
                      </a:cubicBezTo>
                      <a:cubicBezTo>
                        <a:pt x="1324448" y="99217"/>
                        <a:pt x="1324448" y="99217"/>
                        <a:pt x="1324528" y="99298"/>
                      </a:cubicBezTo>
                      <a:moveTo>
                        <a:pt x="1330633" y="102029"/>
                      </a:moveTo>
                      <a:cubicBezTo>
                        <a:pt x="1352482" y="112150"/>
                        <a:pt x="1385818" y="131107"/>
                        <a:pt x="1420199" y="163480"/>
                      </a:cubicBezTo>
                      <a:cubicBezTo>
                        <a:pt x="1403892" y="160427"/>
                        <a:pt x="1359792" y="148057"/>
                        <a:pt x="1369913" y="137293"/>
                      </a:cubicBezTo>
                      <a:cubicBezTo>
                        <a:pt x="1347743" y="148458"/>
                        <a:pt x="1348466" y="130224"/>
                        <a:pt x="1348546" y="129983"/>
                      </a:cubicBezTo>
                      <a:cubicBezTo>
                        <a:pt x="1348626" y="129742"/>
                        <a:pt x="1348867" y="129421"/>
                        <a:pt x="1349028" y="129099"/>
                      </a:cubicBezTo>
                      <a:cubicBezTo>
                        <a:pt x="1345092" y="125886"/>
                        <a:pt x="1344610" y="123878"/>
                        <a:pt x="1347261" y="121388"/>
                      </a:cubicBezTo>
                      <a:cubicBezTo>
                        <a:pt x="1344931" y="122432"/>
                        <a:pt x="1342682" y="123476"/>
                        <a:pt x="1334489" y="116889"/>
                      </a:cubicBezTo>
                      <a:cubicBezTo>
                        <a:pt x="1337059" y="120263"/>
                        <a:pt x="1337782" y="121629"/>
                        <a:pt x="1336899" y="122994"/>
                      </a:cubicBezTo>
                      <a:cubicBezTo>
                        <a:pt x="1334569" y="123075"/>
                        <a:pt x="1333364" y="123155"/>
                        <a:pt x="1323002" y="117532"/>
                      </a:cubicBezTo>
                      <a:cubicBezTo>
                        <a:pt x="1332882" y="124761"/>
                        <a:pt x="1334649" y="127252"/>
                        <a:pt x="1334730" y="129662"/>
                      </a:cubicBezTo>
                      <a:cubicBezTo>
                        <a:pt x="1331517" y="132955"/>
                        <a:pt x="1307981" y="125806"/>
                        <a:pt x="1304205" y="122753"/>
                      </a:cubicBezTo>
                      <a:cubicBezTo>
                        <a:pt x="1293923" y="114399"/>
                        <a:pt x="1292316" y="117050"/>
                        <a:pt x="1291433" y="118496"/>
                      </a:cubicBezTo>
                      <a:cubicBezTo>
                        <a:pt x="1274966" y="112471"/>
                        <a:pt x="1263238" y="106286"/>
                        <a:pt x="1258980" y="103876"/>
                      </a:cubicBezTo>
                      <a:cubicBezTo>
                        <a:pt x="1260025" y="103555"/>
                        <a:pt x="1260025" y="103555"/>
                        <a:pt x="1263238" y="104519"/>
                      </a:cubicBezTo>
                      <a:cubicBezTo>
                        <a:pt x="1260828" y="102832"/>
                        <a:pt x="1260748" y="102671"/>
                        <a:pt x="1260426" y="101627"/>
                      </a:cubicBezTo>
                      <a:cubicBezTo>
                        <a:pt x="1261712" y="101306"/>
                        <a:pt x="1262274" y="101145"/>
                        <a:pt x="1267817" y="102430"/>
                      </a:cubicBezTo>
                      <a:cubicBezTo>
                        <a:pt x="1265166" y="101386"/>
                        <a:pt x="1264603" y="101145"/>
                        <a:pt x="1262917" y="100101"/>
                      </a:cubicBezTo>
                      <a:cubicBezTo>
                        <a:pt x="1269744" y="94558"/>
                        <a:pt x="1273279" y="99940"/>
                        <a:pt x="1275689" y="105242"/>
                      </a:cubicBezTo>
                      <a:cubicBezTo>
                        <a:pt x="1285569" y="107330"/>
                        <a:pt x="1286292" y="106848"/>
                        <a:pt x="1287497" y="105965"/>
                      </a:cubicBezTo>
                      <a:cubicBezTo>
                        <a:pt x="1286131" y="103957"/>
                        <a:pt x="1285328" y="102671"/>
                        <a:pt x="1272234" y="96165"/>
                      </a:cubicBezTo>
                      <a:cubicBezTo>
                        <a:pt x="1287658" y="101065"/>
                        <a:pt x="1303000" y="105965"/>
                        <a:pt x="1318343" y="110865"/>
                      </a:cubicBezTo>
                      <a:cubicBezTo>
                        <a:pt x="1282999" y="97530"/>
                        <a:pt x="1275367" y="93514"/>
                        <a:pt x="1271753" y="89658"/>
                      </a:cubicBezTo>
                      <a:cubicBezTo>
                        <a:pt x="1271913" y="89257"/>
                        <a:pt x="1272074" y="88774"/>
                        <a:pt x="1272234" y="88453"/>
                      </a:cubicBezTo>
                      <a:cubicBezTo>
                        <a:pt x="1284605" y="90301"/>
                        <a:pt x="1292557" y="93032"/>
                        <a:pt x="1303723" y="99298"/>
                      </a:cubicBezTo>
                      <a:cubicBezTo>
                        <a:pt x="1298341" y="95281"/>
                        <a:pt x="1298100" y="94879"/>
                        <a:pt x="1297457" y="93916"/>
                      </a:cubicBezTo>
                      <a:cubicBezTo>
                        <a:pt x="1304125" y="94157"/>
                        <a:pt x="1309105" y="99378"/>
                        <a:pt x="1315612" y="100181"/>
                      </a:cubicBezTo>
                      <a:cubicBezTo>
                        <a:pt x="1319789" y="100663"/>
                        <a:pt x="1323966" y="101145"/>
                        <a:pt x="1328063" y="101707"/>
                      </a:cubicBezTo>
                      <a:cubicBezTo>
                        <a:pt x="1327741" y="101145"/>
                        <a:pt x="1327018" y="100502"/>
                        <a:pt x="1326456" y="100101"/>
                      </a:cubicBezTo>
                      <a:cubicBezTo>
                        <a:pt x="1327580" y="100663"/>
                        <a:pt x="1329348" y="101386"/>
                        <a:pt x="1330633" y="102029"/>
                      </a:cubicBezTo>
                      <a:moveTo>
                        <a:pt x="1333605" y="13989"/>
                      </a:moveTo>
                      <a:cubicBezTo>
                        <a:pt x="1334489" y="14471"/>
                        <a:pt x="1335292" y="14953"/>
                        <a:pt x="1336176" y="15435"/>
                      </a:cubicBezTo>
                      <a:cubicBezTo>
                        <a:pt x="1335292" y="14873"/>
                        <a:pt x="1334408" y="14471"/>
                        <a:pt x="1333605" y="13989"/>
                      </a:cubicBezTo>
                      <a:moveTo>
                        <a:pt x="1338264" y="28528"/>
                      </a:moveTo>
                      <a:cubicBezTo>
                        <a:pt x="1338907" y="28850"/>
                        <a:pt x="1339148" y="29091"/>
                        <a:pt x="1339067" y="29332"/>
                      </a:cubicBezTo>
                      <a:cubicBezTo>
                        <a:pt x="1338505" y="30055"/>
                        <a:pt x="1334569" y="29814"/>
                        <a:pt x="1334489" y="29814"/>
                      </a:cubicBezTo>
                      <a:cubicBezTo>
                        <a:pt x="1334328" y="29814"/>
                        <a:pt x="1334167" y="29734"/>
                        <a:pt x="1334087" y="29653"/>
                      </a:cubicBezTo>
                      <a:cubicBezTo>
                        <a:pt x="1331276" y="28689"/>
                        <a:pt x="1328544" y="27886"/>
                        <a:pt x="1327339" y="27484"/>
                      </a:cubicBezTo>
                      <a:cubicBezTo>
                        <a:pt x="1331035" y="27484"/>
                        <a:pt x="1334167" y="27565"/>
                        <a:pt x="1339228" y="27966"/>
                      </a:cubicBezTo>
                      <a:cubicBezTo>
                        <a:pt x="1338987" y="28207"/>
                        <a:pt x="1338585" y="28448"/>
                        <a:pt x="1338264" y="28528"/>
                      </a:cubicBezTo>
                      <a:moveTo>
                        <a:pt x="1329107" y="29412"/>
                      </a:moveTo>
                      <a:cubicBezTo>
                        <a:pt x="1325813" y="29011"/>
                        <a:pt x="1322520" y="28770"/>
                        <a:pt x="1319226" y="28287"/>
                      </a:cubicBezTo>
                      <a:cubicBezTo>
                        <a:pt x="1319467" y="28287"/>
                        <a:pt x="1323162" y="28609"/>
                        <a:pt x="1328223" y="29171"/>
                      </a:cubicBezTo>
                      <a:lnTo>
                        <a:pt x="1329107" y="29412"/>
                      </a:lnTo>
                      <a:moveTo>
                        <a:pt x="1313925" y="19371"/>
                      </a:moveTo>
                      <a:cubicBezTo>
                        <a:pt x="1315853" y="19532"/>
                        <a:pt x="1317781" y="19773"/>
                        <a:pt x="1319708" y="19934"/>
                      </a:cubicBezTo>
                      <a:cubicBezTo>
                        <a:pt x="1317781" y="19773"/>
                        <a:pt x="1315853" y="19612"/>
                        <a:pt x="1313925" y="19371"/>
                      </a:cubicBezTo>
                      <a:lnTo>
                        <a:pt x="1313925" y="19371"/>
                      </a:lnTo>
                      <a:moveTo>
                        <a:pt x="1261631" y="79939"/>
                      </a:moveTo>
                      <a:cubicBezTo>
                        <a:pt x="1256571" y="78975"/>
                        <a:pt x="1255848" y="78653"/>
                        <a:pt x="1255848" y="78492"/>
                      </a:cubicBezTo>
                      <a:cubicBezTo>
                        <a:pt x="1256008" y="78332"/>
                        <a:pt x="1256571" y="78332"/>
                        <a:pt x="1259221" y="78412"/>
                      </a:cubicBezTo>
                      <a:lnTo>
                        <a:pt x="1261631" y="79939"/>
                      </a:lnTo>
                      <a:moveTo>
                        <a:pt x="1311515" y="22183"/>
                      </a:moveTo>
                      <a:cubicBezTo>
                        <a:pt x="1314648" y="22825"/>
                        <a:pt x="1317700" y="23548"/>
                        <a:pt x="1320753" y="24271"/>
                      </a:cubicBezTo>
                      <a:cubicBezTo>
                        <a:pt x="1317700" y="23468"/>
                        <a:pt x="1314648" y="22825"/>
                        <a:pt x="1311515" y="22183"/>
                      </a:cubicBezTo>
                      <a:lnTo>
                        <a:pt x="1311515" y="22183"/>
                      </a:lnTo>
                      <a:moveTo>
                        <a:pt x="1321957" y="17202"/>
                      </a:moveTo>
                      <a:cubicBezTo>
                        <a:pt x="1327580" y="17684"/>
                        <a:pt x="1327982" y="19291"/>
                        <a:pt x="1328063" y="19853"/>
                      </a:cubicBezTo>
                      <a:cubicBezTo>
                        <a:pt x="1323162" y="18970"/>
                        <a:pt x="1318343" y="18487"/>
                        <a:pt x="1311836" y="18166"/>
                      </a:cubicBezTo>
                      <a:cubicBezTo>
                        <a:pt x="1312077" y="17925"/>
                        <a:pt x="1312318" y="17283"/>
                        <a:pt x="1312720" y="17283"/>
                      </a:cubicBezTo>
                      <a:cubicBezTo>
                        <a:pt x="1312800" y="17202"/>
                        <a:pt x="1317781" y="16801"/>
                        <a:pt x="1321957" y="17202"/>
                      </a:cubicBezTo>
                      <a:moveTo>
                        <a:pt x="1315371" y="77609"/>
                      </a:moveTo>
                      <a:cubicBezTo>
                        <a:pt x="1326135" y="81947"/>
                        <a:pt x="1326135" y="86445"/>
                        <a:pt x="1315451" y="91024"/>
                      </a:cubicBezTo>
                      <a:cubicBezTo>
                        <a:pt x="1306776" y="94799"/>
                        <a:pt x="1300108" y="89658"/>
                        <a:pt x="1295289" y="85883"/>
                      </a:cubicBezTo>
                      <a:cubicBezTo>
                        <a:pt x="1290871" y="92711"/>
                        <a:pt x="1280267" y="87007"/>
                        <a:pt x="1273921" y="83634"/>
                      </a:cubicBezTo>
                      <a:cubicBezTo>
                        <a:pt x="1265246" y="84919"/>
                        <a:pt x="1263961" y="81866"/>
                        <a:pt x="1264684" y="81143"/>
                      </a:cubicBezTo>
                      <a:cubicBezTo>
                        <a:pt x="1265487" y="80260"/>
                        <a:pt x="1269262" y="80902"/>
                        <a:pt x="1271110" y="81143"/>
                      </a:cubicBezTo>
                      <a:cubicBezTo>
                        <a:pt x="1267656" y="78975"/>
                        <a:pt x="1263559" y="78894"/>
                        <a:pt x="1259784" y="77529"/>
                      </a:cubicBezTo>
                      <a:cubicBezTo>
                        <a:pt x="1260266" y="77368"/>
                        <a:pt x="1260346" y="77368"/>
                        <a:pt x="1266130" y="78251"/>
                      </a:cubicBezTo>
                      <a:cubicBezTo>
                        <a:pt x="1259382" y="75681"/>
                        <a:pt x="1257374" y="74717"/>
                        <a:pt x="1256812" y="73914"/>
                      </a:cubicBezTo>
                      <a:cubicBezTo>
                        <a:pt x="1258820" y="73271"/>
                        <a:pt x="1260185" y="73271"/>
                        <a:pt x="1283239" y="77288"/>
                      </a:cubicBezTo>
                      <a:cubicBezTo>
                        <a:pt x="1262756" y="69657"/>
                        <a:pt x="1262756" y="69657"/>
                        <a:pt x="1262274" y="69255"/>
                      </a:cubicBezTo>
                      <a:cubicBezTo>
                        <a:pt x="1263479" y="69416"/>
                        <a:pt x="1264844" y="69576"/>
                        <a:pt x="1277617" y="73352"/>
                      </a:cubicBezTo>
                      <a:cubicBezTo>
                        <a:pt x="1277536" y="71745"/>
                        <a:pt x="1275689" y="70380"/>
                        <a:pt x="1270387" y="68291"/>
                      </a:cubicBezTo>
                      <a:cubicBezTo>
                        <a:pt x="1282918" y="69978"/>
                        <a:pt x="1303723" y="72870"/>
                        <a:pt x="1315371" y="77609"/>
                      </a:cubicBezTo>
                      <a:moveTo>
                        <a:pt x="1313121" y="13588"/>
                      </a:moveTo>
                      <a:cubicBezTo>
                        <a:pt x="1316977" y="14230"/>
                        <a:pt x="1323403" y="15435"/>
                        <a:pt x="1323805" y="16238"/>
                      </a:cubicBezTo>
                      <a:cubicBezTo>
                        <a:pt x="1323323" y="17042"/>
                        <a:pt x="1316174" y="16720"/>
                        <a:pt x="1301233" y="15917"/>
                      </a:cubicBezTo>
                      <a:cubicBezTo>
                        <a:pt x="1300189" y="13909"/>
                        <a:pt x="1309346" y="12945"/>
                        <a:pt x="1313121" y="13588"/>
                      </a:cubicBezTo>
                      <a:moveTo>
                        <a:pt x="1302116" y="19773"/>
                      </a:moveTo>
                      <a:lnTo>
                        <a:pt x="1302518" y="19773"/>
                      </a:lnTo>
                      <a:lnTo>
                        <a:pt x="1306133" y="20255"/>
                      </a:lnTo>
                      <a:cubicBezTo>
                        <a:pt x="1303080" y="20576"/>
                        <a:pt x="1299466" y="20496"/>
                        <a:pt x="1292879" y="19853"/>
                      </a:cubicBezTo>
                      <a:cubicBezTo>
                        <a:pt x="1294967" y="19532"/>
                        <a:pt x="1298100" y="19452"/>
                        <a:pt x="1302116" y="19773"/>
                      </a:cubicBezTo>
                      <a:moveTo>
                        <a:pt x="1276090" y="26360"/>
                      </a:moveTo>
                      <a:cubicBezTo>
                        <a:pt x="1276813" y="26601"/>
                        <a:pt x="1277456" y="27002"/>
                        <a:pt x="1278098" y="27324"/>
                      </a:cubicBezTo>
                      <a:cubicBezTo>
                        <a:pt x="1278821" y="27645"/>
                        <a:pt x="1279143" y="27806"/>
                        <a:pt x="1288380" y="29171"/>
                      </a:cubicBezTo>
                      <a:cubicBezTo>
                        <a:pt x="1288862" y="29252"/>
                        <a:pt x="1289425" y="29252"/>
                        <a:pt x="1289907" y="29412"/>
                      </a:cubicBezTo>
                      <a:cubicBezTo>
                        <a:pt x="1293361" y="30296"/>
                        <a:pt x="1296735" y="31501"/>
                        <a:pt x="1300108" y="32384"/>
                      </a:cubicBezTo>
                      <a:cubicBezTo>
                        <a:pt x="1297216" y="32143"/>
                        <a:pt x="1294325" y="31902"/>
                        <a:pt x="1291433" y="31661"/>
                      </a:cubicBezTo>
                      <a:cubicBezTo>
                        <a:pt x="1293280" y="32063"/>
                        <a:pt x="1293361" y="32224"/>
                        <a:pt x="1293441" y="32384"/>
                      </a:cubicBezTo>
                      <a:cubicBezTo>
                        <a:pt x="1291594" y="33509"/>
                        <a:pt x="1289505" y="32063"/>
                        <a:pt x="1287577" y="32866"/>
                      </a:cubicBezTo>
                      <a:cubicBezTo>
                        <a:pt x="1283882" y="30537"/>
                        <a:pt x="1279866" y="28609"/>
                        <a:pt x="1276090" y="26360"/>
                      </a:cubicBezTo>
                      <a:cubicBezTo>
                        <a:pt x="1276090" y="26440"/>
                        <a:pt x="1276090" y="26360"/>
                        <a:pt x="1276090" y="26360"/>
                      </a:cubicBezTo>
                      <a:moveTo>
                        <a:pt x="1282918" y="8527"/>
                      </a:moveTo>
                      <a:cubicBezTo>
                        <a:pt x="1283159" y="8527"/>
                        <a:pt x="1307900" y="9491"/>
                        <a:pt x="1306213" y="11499"/>
                      </a:cubicBezTo>
                      <a:cubicBezTo>
                        <a:pt x="1304767" y="13266"/>
                        <a:pt x="1279303" y="12383"/>
                        <a:pt x="1277295" y="11258"/>
                      </a:cubicBezTo>
                      <a:cubicBezTo>
                        <a:pt x="1277536" y="11017"/>
                        <a:pt x="1277617" y="11017"/>
                        <a:pt x="1278741" y="10776"/>
                      </a:cubicBezTo>
                      <a:cubicBezTo>
                        <a:pt x="1277617" y="10294"/>
                        <a:pt x="1275448" y="9330"/>
                        <a:pt x="1276894" y="8848"/>
                      </a:cubicBezTo>
                      <a:cubicBezTo>
                        <a:pt x="1277697" y="8527"/>
                        <a:pt x="1279785" y="8446"/>
                        <a:pt x="1282918" y="8527"/>
                      </a:cubicBezTo>
                      <a:moveTo>
                        <a:pt x="1284926" y="22906"/>
                      </a:moveTo>
                      <a:cubicBezTo>
                        <a:pt x="1298582" y="25637"/>
                        <a:pt x="1312077" y="28850"/>
                        <a:pt x="1325733" y="31661"/>
                      </a:cubicBezTo>
                      <a:cubicBezTo>
                        <a:pt x="1312318" y="31983"/>
                        <a:pt x="1312318" y="31983"/>
                        <a:pt x="1310872" y="31742"/>
                      </a:cubicBezTo>
                      <a:cubicBezTo>
                        <a:pt x="1310390" y="31661"/>
                        <a:pt x="1309748" y="31581"/>
                        <a:pt x="1309185" y="31420"/>
                      </a:cubicBezTo>
                      <a:cubicBezTo>
                        <a:pt x="1303803" y="30296"/>
                        <a:pt x="1298984" y="27484"/>
                        <a:pt x="1293521" y="26520"/>
                      </a:cubicBezTo>
                      <a:cubicBezTo>
                        <a:pt x="1292156" y="26279"/>
                        <a:pt x="1287979" y="25637"/>
                        <a:pt x="1279866" y="24673"/>
                      </a:cubicBezTo>
                      <a:cubicBezTo>
                        <a:pt x="1271190" y="23709"/>
                        <a:pt x="1270628" y="23629"/>
                        <a:pt x="1269503" y="23227"/>
                      </a:cubicBezTo>
                      <a:cubicBezTo>
                        <a:pt x="1269584" y="23307"/>
                        <a:pt x="1278580" y="21620"/>
                        <a:pt x="1284926" y="22906"/>
                      </a:cubicBezTo>
                      <a:moveTo>
                        <a:pt x="1270949" y="15194"/>
                      </a:moveTo>
                      <a:cubicBezTo>
                        <a:pt x="1271030" y="15194"/>
                        <a:pt x="1273841" y="15515"/>
                        <a:pt x="1283480" y="18246"/>
                      </a:cubicBezTo>
                      <a:cubicBezTo>
                        <a:pt x="1281071" y="18166"/>
                        <a:pt x="1280187" y="18166"/>
                        <a:pt x="1279946" y="18487"/>
                      </a:cubicBezTo>
                      <a:cubicBezTo>
                        <a:pt x="1270628" y="15274"/>
                        <a:pt x="1270628" y="15274"/>
                        <a:pt x="1270548" y="15194"/>
                      </a:cubicBezTo>
                      <a:cubicBezTo>
                        <a:pt x="1270708" y="15194"/>
                        <a:pt x="1270869" y="15194"/>
                        <a:pt x="1270949" y="15194"/>
                      </a:cubicBezTo>
                      <a:moveTo>
                        <a:pt x="1268539" y="9973"/>
                      </a:moveTo>
                      <a:cubicBezTo>
                        <a:pt x="1265326" y="9973"/>
                        <a:pt x="1262193" y="9973"/>
                        <a:pt x="1258980" y="9973"/>
                      </a:cubicBezTo>
                      <a:cubicBezTo>
                        <a:pt x="1262354" y="9973"/>
                        <a:pt x="1265808" y="9973"/>
                        <a:pt x="1269182" y="9973"/>
                      </a:cubicBezTo>
                      <a:cubicBezTo>
                        <a:pt x="1269021" y="9973"/>
                        <a:pt x="1268700" y="9973"/>
                        <a:pt x="1268539" y="9973"/>
                      </a:cubicBezTo>
                      <a:moveTo>
                        <a:pt x="1277054" y="13266"/>
                      </a:moveTo>
                      <a:cubicBezTo>
                        <a:pt x="1277215" y="13266"/>
                        <a:pt x="1277456" y="13266"/>
                        <a:pt x="1277617" y="13266"/>
                      </a:cubicBezTo>
                      <a:cubicBezTo>
                        <a:pt x="1270146" y="13427"/>
                        <a:pt x="1262756" y="13106"/>
                        <a:pt x="1255285" y="13025"/>
                      </a:cubicBezTo>
                      <a:cubicBezTo>
                        <a:pt x="1259302" y="12784"/>
                        <a:pt x="1276894" y="13266"/>
                        <a:pt x="1277054" y="13266"/>
                      </a:cubicBezTo>
                      <a:moveTo>
                        <a:pt x="1254643" y="21701"/>
                      </a:moveTo>
                      <a:cubicBezTo>
                        <a:pt x="1255366" y="21781"/>
                        <a:pt x="1256249" y="22183"/>
                        <a:pt x="1256571" y="22343"/>
                      </a:cubicBezTo>
                      <a:cubicBezTo>
                        <a:pt x="1255687" y="22343"/>
                        <a:pt x="1254482" y="22263"/>
                        <a:pt x="1253598" y="22263"/>
                      </a:cubicBezTo>
                      <a:cubicBezTo>
                        <a:pt x="1253598" y="22263"/>
                        <a:pt x="1253598" y="22263"/>
                        <a:pt x="1253598" y="22263"/>
                      </a:cubicBezTo>
                      <a:lnTo>
                        <a:pt x="1253598" y="22263"/>
                      </a:lnTo>
                      <a:cubicBezTo>
                        <a:pt x="1253598" y="22263"/>
                        <a:pt x="1253598" y="22263"/>
                        <a:pt x="1253598" y="22263"/>
                      </a:cubicBezTo>
                      <a:cubicBezTo>
                        <a:pt x="1253598" y="22263"/>
                        <a:pt x="1253598" y="22263"/>
                        <a:pt x="1253598" y="22263"/>
                      </a:cubicBezTo>
                      <a:cubicBezTo>
                        <a:pt x="1253598" y="22263"/>
                        <a:pt x="1253598" y="22263"/>
                        <a:pt x="1253598" y="22263"/>
                      </a:cubicBezTo>
                      <a:lnTo>
                        <a:pt x="1253598" y="22263"/>
                      </a:lnTo>
                      <a:lnTo>
                        <a:pt x="1253598" y="22263"/>
                      </a:lnTo>
                      <a:cubicBezTo>
                        <a:pt x="1253598" y="22263"/>
                        <a:pt x="1253598" y="22263"/>
                        <a:pt x="1253598" y="22263"/>
                      </a:cubicBezTo>
                      <a:cubicBezTo>
                        <a:pt x="1253759" y="21942"/>
                        <a:pt x="1253920" y="21620"/>
                        <a:pt x="1254643" y="21701"/>
                      </a:cubicBezTo>
                      <a:moveTo>
                        <a:pt x="1269343" y="4671"/>
                      </a:moveTo>
                      <a:cubicBezTo>
                        <a:pt x="1272074" y="4912"/>
                        <a:pt x="1280910" y="5876"/>
                        <a:pt x="1282436" y="6760"/>
                      </a:cubicBezTo>
                      <a:cubicBezTo>
                        <a:pt x="1282436" y="6840"/>
                        <a:pt x="1282356" y="6920"/>
                        <a:pt x="1282356" y="7001"/>
                      </a:cubicBezTo>
                      <a:cubicBezTo>
                        <a:pt x="1280428" y="7483"/>
                        <a:pt x="1275207" y="7402"/>
                        <a:pt x="1265648" y="7242"/>
                      </a:cubicBezTo>
                      <a:cubicBezTo>
                        <a:pt x="1265648" y="7161"/>
                        <a:pt x="1265728" y="7161"/>
                        <a:pt x="1265728" y="7081"/>
                      </a:cubicBezTo>
                      <a:cubicBezTo>
                        <a:pt x="1265246" y="6679"/>
                        <a:pt x="1264041" y="6278"/>
                        <a:pt x="1254964" y="5796"/>
                      </a:cubicBezTo>
                      <a:cubicBezTo>
                        <a:pt x="1250948" y="5555"/>
                        <a:pt x="1250385" y="5555"/>
                        <a:pt x="1250064" y="5394"/>
                      </a:cubicBezTo>
                      <a:cubicBezTo>
                        <a:pt x="1250064" y="5394"/>
                        <a:pt x="1263479" y="4109"/>
                        <a:pt x="1269343" y="4671"/>
                      </a:cubicBezTo>
                      <a:moveTo>
                        <a:pt x="1241630" y="11820"/>
                      </a:moveTo>
                      <a:cubicBezTo>
                        <a:pt x="1239541" y="11901"/>
                        <a:pt x="1237533" y="11981"/>
                        <a:pt x="1235444" y="12061"/>
                      </a:cubicBezTo>
                      <a:cubicBezTo>
                        <a:pt x="1237613" y="11981"/>
                        <a:pt x="1239702" y="11901"/>
                        <a:pt x="1241870" y="11820"/>
                      </a:cubicBezTo>
                      <a:cubicBezTo>
                        <a:pt x="1241790" y="11820"/>
                        <a:pt x="1241710" y="11820"/>
                        <a:pt x="1241630" y="11820"/>
                      </a:cubicBezTo>
                      <a:moveTo>
                        <a:pt x="1230785" y="12543"/>
                      </a:moveTo>
                      <a:cubicBezTo>
                        <a:pt x="1231107" y="12543"/>
                        <a:pt x="1231428" y="12543"/>
                        <a:pt x="1231749" y="12543"/>
                      </a:cubicBezTo>
                      <a:cubicBezTo>
                        <a:pt x="1233195" y="12624"/>
                        <a:pt x="1234561" y="13025"/>
                        <a:pt x="1236007" y="13106"/>
                      </a:cubicBezTo>
                      <a:cubicBezTo>
                        <a:pt x="1240344" y="13266"/>
                        <a:pt x="1244762" y="12945"/>
                        <a:pt x="1249100" y="13186"/>
                      </a:cubicBezTo>
                      <a:cubicBezTo>
                        <a:pt x="1250948" y="13266"/>
                        <a:pt x="1251269" y="13427"/>
                        <a:pt x="1251510" y="13507"/>
                      </a:cubicBezTo>
                      <a:cubicBezTo>
                        <a:pt x="1251108" y="13748"/>
                        <a:pt x="1250787" y="13909"/>
                        <a:pt x="1246289" y="14310"/>
                      </a:cubicBezTo>
                      <a:cubicBezTo>
                        <a:pt x="1249020" y="14471"/>
                        <a:pt x="1250144" y="14551"/>
                        <a:pt x="1250707" y="14712"/>
                      </a:cubicBezTo>
                      <a:cubicBezTo>
                        <a:pt x="1250546" y="14873"/>
                        <a:pt x="1250466" y="14953"/>
                        <a:pt x="1247333" y="15033"/>
                      </a:cubicBezTo>
                      <a:cubicBezTo>
                        <a:pt x="1248136" y="15194"/>
                        <a:pt x="1249261" y="15435"/>
                        <a:pt x="1250064" y="15596"/>
                      </a:cubicBezTo>
                      <a:cubicBezTo>
                        <a:pt x="1240344" y="15997"/>
                        <a:pt x="1239461" y="15515"/>
                        <a:pt x="1239220" y="15355"/>
                      </a:cubicBezTo>
                      <a:cubicBezTo>
                        <a:pt x="1239380" y="15194"/>
                        <a:pt x="1239461" y="15114"/>
                        <a:pt x="1241308" y="14953"/>
                      </a:cubicBezTo>
                      <a:cubicBezTo>
                        <a:pt x="1229500" y="14471"/>
                        <a:pt x="1223877" y="13989"/>
                        <a:pt x="1220584" y="13266"/>
                      </a:cubicBezTo>
                      <a:cubicBezTo>
                        <a:pt x="1223395" y="13025"/>
                        <a:pt x="1227412" y="12543"/>
                        <a:pt x="1230785" y="12543"/>
                      </a:cubicBezTo>
                      <a:moveTo>
                        <a:pt x="1198654" y="12543"/>
                      </a:moveTo>
                      <a:cubicBezTo>
                        <a:pt x="1202349" y="12784"/>
                        <a:pt x="1206044" y="12945"/>
                        <a:pt x="1209739" y="13266"/>
                      </a:cubicBezTo>
                      <a:cubicBezTo>
                        <a:pt x="1206044" y="13025"/>
                        <a:pt x="1202349" y="12784"/>
                        <a:pt x="1198654" y="12543"/>
                      </a:cubicBezTo>
                      <a:cubicBezTo>
                        <a:pt x="1198654" y="12543"/>
                        <a:pt x="1198654" y="12543"/>
                        <a:pt x="1198654" y="12543"/>
                      </a:cubicBezTo>
                      <a:moveTo>
                        <a:pt x="1198654" y="12543"/>
                      </a:moveTo>
                      <a:lnTo>
                        <a:pt x="1198654" y="12543"/>
                      </a:lnTo>
                      <a:lnTo>
                        <a:pt x="1198654" y="12543"/>
                      </a:lnTo>
                      <a:moveTo>
                        <a:pt x="1010365" y="593395"/>
                      </a:moveTo>
                      <a:lnTo>
                        <a:pt x="1010365" y="593395"/>
                      </a:lnTo>
                      <a:lnTo>
                        <a:pt x="1010365" y="593395"/>
                      </a:lnTo>
                      <a:moveTo>
                        <a:pt x="1041452" y="27645"/>
                      </a:moveTo>
                      <a:cubicBezTo>
                        <a:pt x="1029242" y="41461"/>
                        <a:pt x="1017354" y="56804"/>
                        <a:pt x="1005947" y="73593"/>
                      </a:cubicBezTo>
                      <a:cubicBezTo>
                        <a:pt x="1005867" y="75520"/>
                        <a:pt x="1005867" y="76243"/>
                        <a:pt x="1004341" y="79858"/>
                      </a:cubicBezTo>
                      <a:cubicBezTo>
                        <a:pt x="1001288" y="87007"/>
                        <a:pt x="1001208" y="87811"/>
                        <a:pt x="1003216" y="89498"/>
                      </a:cubicBezTo>
                      <a:cubicBezTo>
                        <a:pt x="1006269" y="81625"/>
                        <a:pt x="1008678" y="76163"/>
                        <a:pt x="1013016" y="67729"/>
                      </a:cubicBezTo>
                      <a:cubicBezTo>
                        <a:pt x="1015587" y="76163"/>
                        <a:pt x="1010687" y="84758"/>
                        <a:pt x="1013819" y="93193"/>
                      </a:cubicBezTo>
                      <a:cubicBezTo>
                        <a:pt x="1018559" y="83393"/>
                        <a:pt x="1018559" y="83393"/>
                        <a:pt x="1026993" y="56161"/>
                      </a:cubicBezTo>
                      <a:cubicBezTo>
                        <a:pt x="1028600" y="56563"/>
                        <a:pt x="1030367" y="56001"/>
                        <a:pt x="1031813" y="57286"/>
                      </a:cubicBezTo>
                      <a:cubicBezTo>
                        <a:pt x="1029965" y="53591"/>
                        <a:pt x="1029965" y="47486"/>
                        <a:pt x="1031733" y="45558"/>
                      </a:cubicBezTo>
                      <a:cubicBezTo>
                        <a:pt x="1031813" y="45638"/>
                        <a:pt x="1031974" y="45719"/>
                        <a:pt x="1032054" y="45799"/>
                      </a:cubicBezTo>
                      <a:cubicBezTo>
                        <a:pt x="1033741" y="43148"/>
                        <a:pt x="1035187" y="40257"/>
                        <a:pt x="1037115" y="37686"/>
                      </a:cubicBezTo>
                      <a:cubicBezTo>
                        <a:pt x="1037356" y="38248"/>
                        <a:pt x="1037356" y="38248"/>
                        <a:pt x="1036472" y="42425"/>
                      </a:cubicBezTo>
                      <a:cubicBezTo>
                        <a:pt x="1041292" y="29252"/>
                        <a:pt x="1041292" y="29252"/>
                        <a:pt x="1041452" y="27645"/>
                      </a:cubicBezTo>
                      <a:moveTo>
                        <a:pt x="1688173" y="63953"/>
                      </a:moveTo>
                      <a:cubicBezTo>
                        <a:pt x="1490405" y="-4085"/>
                        <a:pt x="1268379" y="-20471"/>
                        <a:pt x="1041532" y="27565"/>
                      </a:cubicBezTo>
                      <a:lnTo>
                        <a:pt x="1041532" y="27565"/>
                      </a:lnTo>
                      <a:cubicBezTo>
                        <a:pt x="1042737" y="30858"/>
                        <a:pt x="1043782" y="35597"/>
                        <a:pt x="1044023" y="39132"/>
                      </a:cubicBezTo>
                      <a:cubicBezTo>
                        <a:pt x="1058723" y="51342"/>
                        <a:pt x="1053341" y="73030"/>
                        <a:pt x="1066354" y="86043"/>
                      </a:cubicBezTo>
                      <a:cubicBezTo>
                        <a:pt x="1068201" y="83152"/>
                        <a:pt x="1069647" y="78653"/>
                        <a:pt x="1069888" y="75199"/>
                      </a:cubicBezTo>
                      <a:cubicBezTo>
                        <a:pt x="1075351" y="80501"/>
                        <a:pt x="1082259" y="90381"/>
                        <a:pt x="1087480" y="119058"/>
                      </a:cubicBezTo>
                      <a:cubicBezTo>
                        <a:pt x="1087320" y="102832"/>
                        <a:pt x="1086998" y="99378"/>
                        <a:pt x="1085151" y="87088"/>
                      </a:cubicBezTo>
                      <a:cubicBezTo>
                        <a:pt x="1093344" y="94397"/>
                        <a:pt x="1093344" y="94397"/>
                        <a:pt x="1104670" y="91827"/>
                      </a:cubicBezTo>
                      <a:cubicBezTo>
                        <a:pt x="1120093" y="110543"/>
                        <a:pt x="1120093" y="110543"/>
                        <a:pt x="1139854" y="221316"/>
                      </a:cubicBezTo>
                      <a:cubicBezTo>
                        <a:pt x="1143147" y="219950"/>
                        <a:pt x="1147405" y="217862"/>
                        <a:pt x="1150457" y="216014"/>
                      </a:cubicBezTo>
                      <a:cubicBezTo>
                        <a:pt x="1149333" y="217540"/>
                        <a:pt x="1147726" y="219468"/>
                        <a:pt x="1146602" y="220994"/>
                      </a:cubicBezTo>
                      <a:cubicBezTo>
                        <a:pt x="1153992" y="230714"/>
                        <a:pt x="1166041" y="234891"/>
                        <a:pt x="1173913" y="244049"/>
                      </a:cubicBezTo>
                      <a:cubicBezTo>
                        <a:pt x="1150377" y="247101"/>
                        <a:pt x="1148610" y="248707"/>
                        <a:pt x="1143870" y="252965"/>
                      </a:cubicBezTo>
                      <a:cubicBezTo>
                        <a:pt x="1162908" y="262926"/>
                        <a:pt x="1167407" y="265335"/>
                        <a:pt x="1174234" y="274573"/>
                      </a:cubicBezTo>
                      <a:cubicBezTo>
                        <a:pt x="1172548" y="283891"/>
                        <a:pt x="1166523" y="291603"/>
                        <a:pt x="1164595" y="300760"/>
                      </a:cubicBezTo>
                      <a:cubicBezTo>
                        <a:pt x="1208775" y="305499"/>
                        <a:pt x="1187730" y="325742"/>
                        <a:pt x="1187328" y="325903"/>
                      </a:cubicBezTo>
                      <a:cubicBezTo>
                        <a:pt x="1185561" y="326706"/>
                        <a:pt x="1182830" y="326465"/>
                        <a:pt x="1180902" y="326706"/>
                      </a:cubicBezTo>
                      <a:cubicBezTo>
                        <a:pt x="1179536" y="325581"/>
                        <a:pt x="1177689" y="324136"/>
                        <a:pt x="1176323" y="323011"/>
                      </a:cubicBezTo>
                      <a:cubicBezTo>
                        <a:pt x="1176243" y="325180"/>
                        <a:pt x="1176162" y="327991"/>
                        <a:pt x="1176002" y="330080"/>
                      </a:cubicBezTo>
                      <a:cubicBezTo>
                        <a:pt x="1182830" y="335462"/>
                        <a:pt x="1182830" y="335462"/>
                        <a:pt x="1196164" y="334900"/>
                      </a:cubicBezTo>
                      <a:cubicBezTo>
                        <a:pt x="1199618" y="356026"/>
                        <a:pt x="1167166" y="343575"/>
                        <a:pt x="1153028" y="349198"/>
                      </a:cubicBezTo>
                      <a:cubicBezTo>
                        <a:pt x="1151582" y="348395"/>
                        <a:pt x="1149574" y="347350"/>
                        <a:pt x="1148128" y="346627"/>
                      </a:cubicBezTo>
                      <a:cubicBezTo>
                        <a:pt x="1149092" y="348475"/>
                        <a:pt x="1150377" y="351046"/>
                        <a:pt x="1151341" y="352893"/>
                      </a:cubicBezTo>
                      <a:cubicBezTo>
                        <a:pt x="1150457" y="354821"/>
                        <a:pt x="1149333" y="357311"/>
                        <a:pt x="1148529" y="359239"/>
                      </a:cubicBezTo>
                      <a:cubicBezTo>
                        <a:pt x="1163310" y="368557"/>
                        <a:pt x="1179697" y="375304"/>
                        <a:pt x="1193272" y="386631"/>
                      </a:cubicBezTo>
                      <a:cubicBezTo>
                        <a:pt x="1176403" y="373296"/>
                        <a:pt x="1165157" y="365665"/>
                        <a:pt x="1146361" y="376268"/>
                      </a:cubicBezTo>
                      <a:cubicBezTo>
                        <a:pt x="1150216" y="374903"/>
                        <a:pt x="1155598" y="373698"/>
                        <a:pt x="1159695" y="373216"/>
                      </a:cubicBezTo>
                      <a:cubicBezTo>
                        <a:pt x="1161382" y="376831"/>
                        <a:pt x="1162185" y="382534"/>
                        <a:pt x="1161462" y="386470"/>
                      </a:cubicBezTo>
                      <a:cubicBezTo>
                        <a:pt x="1176885" y="387514"/>
                        <a:pt x="1183793" y="389201"/>
                        <a:pt x="1200341" y="396109"/>
                      </a:cubicBezTo>
                      <a:cubicBezTo>
                        <a:pt x="1198413" y="399403"/>
                        <a:pt x="1197771" y="404865"/>
                        <a:pt x="1198333" y="408641"/>
                      </a:cubicBezTo>
                      <a:cubicBezTo>
                        <a:pt x="1202430" y="409203"/>
                        <a:pt x="1207651" y="412175"/>
                        <a:pt x="1210462" y="415228"/>
                      </a:cubicBezTo>
                      <a:cubicBezTo>
                        <a:pt x="1209900" y="420127"/>
                        <a:pt x="1208213" y="426554"/>
                        <a:pt x="1206526" y="431133"/>
                      </a:cubicBezTo>
                      <a:cubicBezTo>
                        <a:pt x="1205803" y="429285"/>
                        <a:pt x="1204920" y="426875"/>
                        <a:pt x="1204197" y="425108"/>
                      </a:cubicBezTo>
                      <a:cubicBezTo>
                        <a:pt x="1188774" y="420369"/>
                        <a:pt x="1172628" y="418521"/>
                        <a:pt x="1157044" y="414424"/>
                      </a:cubicBezTo>
                      <a:cubicBezTo>
                        <a:pt x="1156482" y="416352"/>
                        <a:pt x="1155759" y="418923"/>
                        <a:pt x="1155197" y="420931"/>
                      </a:cubicBezTo>
                      <a:cubicBezTo>
                        <a:pt x="1141380" y="425670"/>
                        <a:pt x="1141059" y="425750"/>
                        <a:pt x="1134311" y="430249"/>
                      </a:cubicBezTo>
                      <a:cubicBezTo>
                        <a:pt x="1135597" y="431374"/>
                        <a:pt x="1137364" y="432900"/>
                        <a:pt x="1138729" y="434105"/>
                      </a:cubicBezTo>
                      <a:cubicBezTo>
                        <a:pt x="1138247" y="437559"/>
                        <a:pt x="1135757" y="442057"/>
                        <a:pt x="1133106" y="444387"/>
                      </a:cubicBezTo>
                      <a:cubicBezTo>
                        <a:pt x="1141059" y="444226"/>
                        <a:pt x="1148931" y="443182"/>
                        <a:pt x="1156883" y="443905"/>
                      </a:cubicBezTo>
                      <a:cubicBezTo>
                        <a:pt x="1156080" y="447439"/>
                        <a:pt x="1153911" y="451937"/>
                        <a:pt x="1151823" y="454910"/>
                      </a:cubicBezTo>
                      <a:cubicBezTo>
                        <a:pt x="1175359" y="445351"/>
                        <a:pt x="1177689" y="444869"/>
                        <a:pt x="1188613" y="442700"/>
                      </a:cubicBezTo>
                      <a:cubicBezTo>
                        <a:pt x="1223877" y="473867"/>
                        <a:pt x="1137525" y="485514"/>
                        <a:pt x="1115836" y="511059"/>
                      </a:cubicBezTo>
                      <a:cubicBezTo>
                        <a:pt x="1111980" y="510738"/>
                        <a:pt x="1106839" y="509372"/>
                        <a:pt x="1103385" y="507685"/>
                      </a:cubicBezTo>
                      <a:cubicBezTo>
                        <a:pt x="1087079" y="524233"/>
                        <a:pt x="1081295" y="549616"/>
                        <a:pt x="1058723" y="560943"/>
                      </a:cubicBezTo>
                      <a:cubicBezTo>
                        <a:pt x="1059446" y="562710"/>
                        <a:pt x="1060410" y="565120"/>
                        <a:pt x="1061133" y="566967"/>
                      </a:cubicBezTo>
                      <a:cubicBezTo>
                        <a:pt x="1056313" y="576124"/>
                        <a:pt x="1054465" y="578374"/>
                        <a:pt x="1035669" y="579257"/>
                      </a:cubicBezTo>
                      <a:cubicBezTo>
                        <a:pt x="1034464" y="577731"/>
                        <a:pt x="1032777" y="575723"/>
                        <a:pt x="1031491" y="574197"/>
                      </a:cubicBezTo>
                      <a:cubicBezTo>
                        <a:pt x="1022093" y="577972"/>
                        <a:pt x="1022093" y="577972"/>
                        <a:pt x="1009241" y="595162"/>
                      </a:cubicBezTo>
                      <a:cubicBezTo>
                        <a:pt x="1003457" y="600223"/>
                        <a:pt x="1001931" y="601026"/>
                        <a:pt x="992854" y="601669"/>
                      </a:cubicBezTo>
                      <a:cubicBezTo>
                        <a:pt x="995826" y="604561"/>
                        <a:pt x="999521" y="608738"/>
                        <a:pt x="1001770" y="612272"/>
                      </a:cubicBezTo>
                      <a:cubicBezTo>
                        <a:pt x="996629" y="620144"/>
                        <a:pt x="994621" y="620385"/>
                        <a:pt x="987231" y="621349"/>
                      </a:cubicBezTo>
                      <a:cubicBezTo>
                        <a:pt x="990605" y="623277"/>
                        <a:pt x="994782" y="626570"/>
                        <a:pt x="997111" y="629703"/>
                      </a:cubicBezTo>
                      <a:cubicBezTo>
                        <a:pt x="989400" y="643841"/>
                        <a:pt x="989400" y="643841"/>
                        <a:pt x="987070" y="647134"/>
                      </a:cubicBezTo>
                      <a:cubicBezTo>
                        <a:pt x="983616" y="647697"/>
                        <a:pt x="978796" y="647375"/>
                        <a:pt x="975423" y="646492"/>
                      </a:cubicBezTo>
                      <a:cubicBezTo>
                        <a:pt x="976788" y="647857"/>
                        <a:pt x="978716" y="649625"/>
                        <a:pt x="980082" y="650990"/>
                      </a:cubicBezTo>
                      <a:cubicBezTo>
                        <a:pt x="979118" y="652677"/>
                        <a:pt x="977913" y="655007"/>
                        <a:pt x="976949" y="656774"/>
                      </a:cubicBezTo>
                      <a:cubicBezTo>
                        <a:pt x="974780" y="657175"/>
                        <a:pt x="971968" y="657738"/>
                        <a:pt x="969800" y="658139"/>
                      </a:cubicBezTo>
                      <a:cubicBezTo>
                        <a:pt x="971567" y="658943"/>
                        <a:pt x="973977" y="659987"/>
                        <a:pt x="975824" y="660710"/>
                      </a:cubicBezTo>
                      <a:cubicBezTo>
                        <a:pt x="976708" y="671152"/>
                        <a:pt x="975905" y="672197"/>
                        <a:pt x="969639" y="679989"/>
                      </a:cubicBezTo>
                      <a:cubicBezTo>
                        <a:pt x="970844" y="680149"/>
                        <a:pt x="972370" y="680310"/>
                        <a:pt x="973575" y="680470"/>
                      </a:cubicBezTo>
                      <a:cubicBezTo>
                        <a:pt x="961124" y="707300"/>
                        <a:pt x="961124" y="707300"/>
                        <a:pt x="953413" y="715092"/>
                      </a:cubicBezTo>
                      <a:cubicBezTo>
                        <a:pt x="953573" y="716859"/>
                        <a:pt x="953895" y="719189"/>
                        <a:pt x="954055" y="720956"/>
                      </a:cubicBezTo>
                      <a:cubicBezTo>
                        <a:pt x="952369" y="721357"/>
                        <a:pt x="950119" y="721840"/>
                        <a:pt x="948432" y="722161"/>
                      </a:cubicBezTo>
                      <a:cubicBezTo>
                        <a:pt x="948352" y="721599"/>
                        <a:pt x="948191" y="720795"/>
                        <a:pt x="948031" y="720233"/>
                      </a:cubicBezTo>
                      <a:cubicBezTo>
                        <a:pt x="946344" y="719671"/>
                        <a:pt x="944175" y="718948"/>
                        <a:pt x="942568" y="718385"/>
                      </a:cubicBezTo>
                      <a:cubicBezTo>
                        <a:pt x="943532" y="716779"/>
                        <a:pt x="944737" y="714690"/>
                        <a:pt x="945701" y="713084"/>
                      </a:cubicBezTo>
                      <a:cubicBezTo>
                        <a:pt x="943050" y="715574"/>
                        <a:pt x="938472" y="717662"/>
                        <a:pt x="934937" y="718385"/>
                      </a:cubicBezTo>
                      <a:cubicBezTo>
                        <a:pt x="933331" y="717100"/>
                        <a:pt x="931162" y="715333"/>
                        <a:pt x="929555" y="713967"/>
                      </a:cubicBezTo>
                      <a:cubicBezTo>
                        <a:pt x="931082" y="712762"/>
                        <a:pt x="933170" y="711156"/>
                        <a:pt x="934777" y="709951"/>
                      </a:cubicBezTo>
                      <a:cubicBezTo>
                        <a:pt x="930921" y="709389"/>
                        <a:pt x="925780" y="708826"/>
                        <a:pt x="921844" y="708666"/>
                      </a:cubicBezTo>
                      <a:cubicBezTo>
                        <a:pt x="920719" y="704730"/>
                        <a:pt x="920559" y="698946"/>
                        <a:pt x="921683" y="695010"/>
                      </a:cubicBezTo>
                      <a:cubicBezTo>
                        <a:pt x="913570" y="701597"/>
                        <a:pt x="902967" y="702561"/>
                        <a:pt x="894131" y="707461"/>
                      </a:cubicBezTo>
                      <a:cubicBezTo>
                        <a:pt x="892283" y="707300"/>
                        <a:pt x="889793" y="707059"/>
                        <a:pt x="887945" y="706898"/>
                      </a:cubicBezTo>
                      <a:cubicBezTo>
                        <a:pt x="889713" y="705372"/>
                        <a:pt x="892042" y="703364"/>
                        <a:pt x="893729" y="701838"/>
                      </a:cubicBezTo>
                      <a:cubicBezTo>
                        <a:pt x="890195" y="701918"/>
                        <a:pt x="890195" y="701918"/>
                        <a:pt x="872603" y="690351"/>
                      </a:cubicBezTo>
                      <a:cubicBezTo>
                        <a:pt x="872683" y="688503"/>
                        <a:pt x="872844" y="686094"/>
                        <a:pt x="872924" y="684246"/>
                      </a:cubicBezTo>
                      <a:cubicBezTo>
                        <a:pt x="874290" y="683121"/>
                        <a:pt x="876137" y="681515"/>
                        <a:pt x="877503" y="680390"/>
                      </a:cubicBezTo>
                      <a:cubicBezTo>
                        <a:pt x="875816" y="680631"/>
                        <a:pt x="873567" y="680952"/>
                        <a:pt x="871880" y="681193"/>
                      </a:cubicBezTo>
                      <a:cubicBezTo>
                        <a:pt x="868586" y="676213"/>
                        <a:pt x="862883" y="673482"/>
                        <a:pt x="860232" y="668020"/>
                      </a:cubicBezTo>
                      <a:cubicBezTo>
                        <a:pt x="862000" y="664726"/>
                        <a:pt x="865373" y="660951"/>
                        <a:pt x="868185" y="658461"/>
                      </a:cubicBezTo>
                      <a:cubicBezTo>
                        <a:pt x="865052" y="660147"/>
                        <a:pt x="860152" y="661353"/>
                        <a:pt x="856618" y="661031"/>
                      </a:cubicBezTo>
                      <a:cubicBezTo>
                        <a:pt x="850352" y="652757"/>
                        <a:pt x="849308" y="650508"/>
                        <a:pt x="846818" y="641190"/>
                      </a:cubicBezTo>
                      <a:cubicBezTo>
                        <a:pt x="850914" y="636451"/>
                        <a:pt x="850914" y="636451"/>
                        <a:pt x="864409" y="632033"/>
                      </a:cubicBezTo>
                      <a:cubicBezTo>
                        <a:pt x="860554" y="631792"/>
                        <a:pt x="855332" y="632194"/>
                        <a:pt x="851637" y="633318"/>
                      </a:cubicBezTo>
                      <a:cubicBezTo>
                        <a:pt x="855975" y="623036"/>
                        <a:pt x="858063" y="622634"/>
                        <a:pt x="865373" y="622795"/>
                      </a:cubicBezTo>
                      <a:cubicBezTo>
                        <a:pt x="863285" y="618618"/>
                        <a:pt x="860152" y="613236"/>
                        <a:pt x="857742" y="609300"/>
                      </a:cubicBezTo>
                      <a:cubicBezTo>
                        <a:pt x="858385" y="611067"/>
                        <a:pt x="859188" y="613477"/>
                        <a:pt x="859831" y="615244"/>
                      </a:cubicBezTo>
                      <a:cubicBezTo>
                        <a:pt x="859108" y="616770"/>
                        <a:pt x="858063" y="618779"/>
                        <a:pt x="857260" y="620305"/>
                      </a:cubicBezTo>
                      <a:cubicBezTo>
                        <a:pt x="850513" y="620064"/>
                        <a:pt x="844086" y="622072"/>
                        <a:pt x="837419" y="622554"/>
                      </a:cubicBezTo>
                      <a:cubicBezTo>
                        <a:pt x="840391" y="612834"/>
                        <a:pt x="840391" y="612834"/>
                        <a:pt x="857581" y="596206"/>
                      </a:cubicBezTo>
                      <a:cubicBezTo>
                        <a:pt x="846014" y="601749"/>
                        <a:pt x="845131" y="601830"/>
                        <a:pt x="838142" y="602472"/>
                      </a:cubicBezTo>
                      <a:cubicBezTo>
                        <a:pt x="817096" y="711397"/>
                        <a:pt x="806413" y="831246"/>
                        <a:pt x="802396" y="955514"/>
                      </a:cubicBezTo>
                      <a:cubicBezTo>
                        <a:pt x="802557" y="957200"/>
                        <a:pt x="802878" y="959450"/>
                        <a:pt x="803039" y="961136"/>
                      </a:cubicBezTo>
                      <a:cubicBezTo>
                        <a:pt x="802075" y="963948"/>
                        <a:pt x="802075" y="966117"/>
                        <a:pt x="801995" y="968366"/>
                      </a:cubicBezTo>
                      <a:cubicBezTo>
                        <a:pt x="1088846" y="957843"/>
                        <a:pt x="1410640" y="900810"/>
                        <a:pt x="1677971" y="808353"/>
                      </a:cubicBezTo>
                      <a:cubicBezTo>
                        <a:pt x="1677088" y="806907"/>
                        <a:pt x="1675963" y="805059"/>
                        <a:pt x="1675079" y="803613"/>
                      </a:cubicBezTo>
                      <a:cubicBezTo>
                        <a:pt x="1673071" y="803854"/>
                        <a:pt x="1673071" y="803854"/>
                        <a:pt x="1630738" y="805863"/>
                      </a:cubicBezTo>
                      <a:cubicBezTo>
                        <a:pt x="1629533" y="804497"/>
                        <a:pt x="1628007" y="802730"/>
                        <a:pt x="1626883" y="801444"/>
                      </a:cubicBezTo>
                      <a:cubicBezTo>
                        <a:pt x="1636522" y="788110"/>
                        <a:pt x="1653873" y="789717"/>
                        <a:pt x="1666002" y="781121"/>
                      </a:cubicBezTo>
                      <a:cubicBezTo>
                        <a:pt x="1667769" y="780961"/>
                        <a:pt x="1670099" y="780800"/>
                        <a:pt x="1671866" y="780639"/>
                      </a:cubicBezTo>
                      <a:cubicBezTo>
                        <a:pt x="1669135" y="776623"/>
                        <a:pt x="1666083" y="770759"/>
                        <a:pt x="1664958" y="766100"/>
                      </a:cubicBezTo>
                      <a:cubicBezTo>
                        <a:pt x="1674999" y="759835"/>
                        <a:pt x="1674999" y="759835"/>
                        <a:pt x="1692912" y="756862"/>
                      </a:cubicBezTo>
                      <a:cubicBezTo>
                        <a:pt x="1692992" y="756541"/>
                        <a:pt x="1712833" y="715654"/>
                        <a:pt x="1732353" y="706898"/>
                      </a:cubicBezTo>
                      <a:cubicBezTo>
                        <a:pt x="1730345" y="706979"/>
                        <a:pt x="1727694" y="707139"/>
                        <a:pt x="1725686" y="707300"/>
                      </a:cubicBezTo>
                      <a:cubicBezTo>
                        <a:pt x="1728658" y="705372"/>
                        <a:pt x="1733317" y="703926"/>
                        <a:pt x="1736852" y="703525"/>
                      </a:cubicBezTo>
                      <a:cubicBezTo>
                        <a:pt x="1736048" y="703043"/>
                        <a:pt x="1735084" y="702400"/>
                        <a:pt x="1734281" y="701918"/>
                      </a:cubicBezTo>
                      <a:cubicBezTo>
                        <a:pt x="1730345" y="692841"/>
                        <a:pt x="1719902" y="668662"/>
                        <a:pt x="1758219" y="658541"/>
                      </a:cubicBezTo>
                      <a:cubicBezTo>
                        <a:pt x="1758540" y="657015"/>
                        <a:pt x="1758540" y="657015"/>
                        <a:pt x="1775329" y="646251"/>
                      </a:cubicBezTo>
                      <a:cubicBezTo>
                        <a:pt x="1775650" y="644564"/>
                        <a:pt x="1776132" y="642395"/>
                        <a:pt x="1776533" y="640708"/>
                      </a:cubicBezTo>
                      <a:cubicBezTo>
                        <a:pt x="1779586" y="639021"/>
                        <a:pt x="1784406" y="637816"/>
                        <a:pt x="1787940" y="637736"/>
                      </a:cubicBezTo>
                      <a:cubicBezTo>
                        <a:pt x="1768179" y="632997"/>
                        <a:pt x="1743358" y="607292"/>
                        <a:pt x="1748258" y="596769"/>
                      </a:cubicBezTo>
                      <a:cubicBezTo>
                        <a:pt x="1741189" y="587451"/>
                        <a:pt x="1741189" y="587451"/>
                        <a:pt x="1758219" y="564959"/>
                      </a:cubicBezTo>
                      <a:cubicBezTo>
                        <a:pt x="1768822" y="582390"/>
                        <a:pt x="1759986" y="608818"/>
                        <a:pt x="1783843" y="619983"/>
                      </a:cubicBezTo>
                      <a:cubicBezTo>
                        <a:pt x="1808906" y="631792"/>
                        <a:pt x="1828586" y="611469"/>
                        <a:pt x="1851239" y="608657"/>
                      </a:cubicBezTo>
                      <a:cubicBezTo>
                        <a:pt x="1846981" y="608095"/>
                        <a:pt x="1841358" y="606810"/>
                        <a:pt x="1837262" y="605525"/>
                      </a:cubicBezTo>
                      <a:cubicBezTo>
                        <a:pt x="1857504" y="590101"/>
                        <a:pt x="1886262" y="568333"/>
                        <a:pt x="1886502" y="56817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86663" y="568092"/>
                        <a:pt x="1886663" y="568092"/>
                        <a:pt x="1886663" y="568092"/>
                      </a:cubicBezTo>
                      <a:cubicBezTo>
                        <a:pt x="1893009" y="566083"/>
                        <a:pt x="1893009" y="566083"/>
                        <a:pt x="1884414" y="497242"/>
                      </a:cubicBezTo>
                      <a:cubicBezTo>
                        <a:pt x="1894937" y="495315"/>
                        <a:pt x="1894937" y="495315"/>
                        <a:pt x="1902167" y="490575"/>
                      </a:cubicBezTo>
                      <a:cubicBezTo>
                        <a:pt x="1897668" y="482623"/>
                        <a:pt x="1897668" y="482623"/>
                        <a:pt x="1874453" y="471377"/>
                      </a:cubicBezTo>
                      <a:cubicBezTo>
                        <a:pt x="1874373" y="468646"/>
                        <a:pt x="1874293" y="464951"/>
                        <a:pt x="1874052" y="462139"/>
                      </a:cubicBezTo>
                      <a:cubicBezTo>
                        <a:pt x="1882888" y="450492"/>
                        <a:pt x="1897588" y="431052"/>
                        <a:pt x="1909155" y="422055"/>
                      </a:cubicBezTo>
                      <a:cubicBezTo>
                        <a:pt x="1901122" y="418360"/>
                        <a:pt x="1901122" y="418360"/>
                        <a:pt x="1890519" y="418601"/>
                      </a:cubicBezTo>
                      <a:cubicBezTo>
                        <a:pt x="1891001" y="418601"/>
                        <a:pt x="1891724" y="418601"/>
                        <a:pt x="1892286" y="418682"/>
                      </a:cubicBezTo>
                      <a:cubicBezTo>
                        <a:pt x="1884735" y="422377"/>
                        <a:pt x="1880558" y="430490"/>
                        <a:pt x="1872686" y="433623"/>
                      </a:cubicBezTo>
                      <a:cubicBezTo>
                        <a:pt x="1870758" y="442137"/>
                        <a:pt x="1870357" y="443905"/>
                        <a:pt x="1860235" y="458123"/>
                      </a:cubicBezTo>
                      <a:cubicBezTo>
                        <a:pt x="1858468" y="457319"/>
                        <a:pt x="1856139" y="456195"/>
                        <a:pt x="1854371" y="455311"/>
                      </a:cubicBezTo>
                      <a:cubicBezTo>
                        <a:pt x="1853006" y="456355"/>
                        <a:pt x="1851239" y="457801"/>
                        <a:pt x="1849873" y="458846"/>
                      </a:cubicBezTo>
                      <a:cubicBezTo>
                        <a:pt x="1848829" y="457319"/>
                        <a:pt x="1847463" y="455231"/>
                        <a:pt x="1846419" y="453705"/>
                      </a:cubicBezTo>
                      <a:cubicBezTo>
                        <a:pt x="1843206" y="454588"/>
                        <a:pt x="1838948" y="455713"/>
                        <a:pt x="1835735" y="456516"/>
                      </a:cubicBezTo>
                      <a:cubicBezTo>
                        <a:pt x="1826738" y="450492"/>
                        <a:pt x="1826738" y="450492"/>
                        <a:pt x="1821276" y="443342"/>
                      </a:cubicBezTo>
                      <a:cubicBezTo>
                        <a:pt x="1819991" y="440852"/>
                        <a:pt x="1820232" y="440692"/>
                        <a:pt x="1820393" y="440611"/>
                      </a:cubicBezTo>
                      <a:cubicBezTo>
                        <a:pt x="1805773" y="430811"/>
                        <a:pt x="1802560" y="427116"/>
                        <a:pt x="1794125" y="414344"/>
                      </a:cubicBezTo>
                      <a:cubicBezTo>
                        <a:pt x="1794527" y="414023"/>
                        <a:pt x="1795170" y="413621"/>
                        <a:pt x="1795571" y="413300"/>
                      </a:cubicBezTo>
                      <a:cubicBezTo>
                        <a:pt x="1794929" y="409765"/>
                        <a:pt x="1793965" y="405106"/>
                        <a:pt x="1793001" y="401732"/>
                      </a:cubicBezTo>
                      <a:cubicBezTo>
                        <a:pt x="1790993" y="383498"/>
                        <a:pt x="1790752" y="376349"/>
                        <a:pt x="1790912" y="362773"/>
                      </a:cubicBezTo>
                      <a:cubicBezTo>
                        <a:pt x="1782076" y="354500"/>
                        <a:pt x="1779265" y="352572"/>
                        <a:pt x="1766252" y="348234"/>
                      </a:cubicBezTo>
                      <a:cubicBezTo>
                        <a:pt x="1763922" y="351206"/>
                        <a:pt x="1763922" y="351206"/>
                        <a:pt x="1752114" y="359399"/>
                      </a:cubicBezTo>
                      <a:cubicBezTo>
                        <a:pt x="1752114" y="361167"/>
                        <a:pt x="1752114" y="363496"/>
                        <a:pt x="1752034" y="365183"/>
                      </a:cubicBezTo>
                      <a:cubicBezTo>
                        <a:pt x="1755006" y="383016"/>
                        <a:pt x="1775971" y="394985"/>
                        <a:pt x="1768902" y="416191"/>
                      </a:cubicBezTo>
                      <a:cubicBezTo>
                        <a:pt x="1769304" y="416673"/>
                        <a:pt x="1769866" y="417236"/>
                        <a:pt x="1770268" y="417718"/>
                      </a:cubicBezTo>
                      <a:lnTo>
                        <a:pt x="1768019" y="417477"/>
                      </a:lnTo>
                      <a:cubicBezTo>
                        <a:pt x="1768340" y="421092"/>
                        <a:pt x="1767858" y="426072"/>
                        <a:pt x="1766975" y="429606"/>
                      </a:cubicBezTo>
                      <a:cubicBezTo>
                        <a:pt x="1767456" y="429927"/>
                        <a:pt x="1768099" y="430329"/>
                        <a:pt x="1768581" y="430651"/>
                      </a:cubicBezTo>
                      <a:cubicBezTo>
                        <a:pt x="1768340" y="432418"/>
                        <a:pt x="1768099" y="434667"/>
                        <a:pt x="1767858" y="436434"/>
                      </a:cubicBezTo>
                      <a:cubicBezTo>
                        <a:pt x="1767697" y="436193"/>
                        <a:pt x="1767456" y="435791"/>
                        <a:pt x="1767296" y="435550"/>
                      </a:cubicBezTo>
                      <a:cubicBezTo>
                        <a:pt x="1768260" y="437077"/>
                        <a:pt x="1769625" y="439165"/>
                        <a:pt x="1770589" y="440772"/>
                      </a:cubicBezTo>
                      <a:cubicBezTo>
                        <a:pt x="1769465" y="442057"/>
                        <a:pt x="1768019" y="443744"/>
                        <a:pt x="1766894" y="444949"/>
                      </a:cubicBezTo>
                      <a:cubicBezTo>
                        <a:pt x="1784406" y="458846"/>
                        <a:pt x="1803122" y="471216"/>
                        <a:pt x="1820152" y="485755"/>
                      </a:cubicBezTo>
                      <a:cubicBezTo>
                        <a:pt x="1817983" y="490495"/>
                        <a:pt x="1812761" y="492664"/>
                        <a:pt x="1810593" y="497323"/>
                      </a:cubicBezTo>
                      <a:cubicBezTo>
                        <a:pt x="1807219" y="498287"/>
                        <a:pt x="1802801" y="500455"/>
                        <a:pt x="1800150" y="502865"/>
                      </a:cubicBezTo>
                      <a:cubicBezTo>
                        <a:pt x="1815493" y="499010"/>
                        <a:pt x="1815493" y="499010"/>
                        <a:pt x="1822240" y="494672"/>
                      </a:cubicBezTo>
                      <a:cubicBezTo>
                        <a:pt x="1824007" y="499973"/>
                        <a:pt x="1825694" y="505034"/>
                        <a:pt x="1810271" y="518288"/>
                      </a:cubicBezTo>
                      <a:cubicBezTo>
                        <a:pt x="1811958" y="517806"/>
                        <a:pt x="1814288" y="517083"/>
                        <a:pt x="1815975" y="516521"/>
                      </a:cubicBezTo>
                      <a:cubicBezTo>
                        <a:pt x="1829550" y="532024"/>
                        <a:pt x="1844973" y="549536"/>
                        <a:pt x="1826738" y="569538"/>
                      </a:cubicBezTo>
                      <a:cubicBezTo>
                        <a:pt x="1827702" y="582390"/>
                        <a:pt x="1823365" y="584720"/>
                        <a:pt x="1813966" y="589700"/>
                      </a:cubicBezTo>
                      <a:cubicBezTo>
                        <a:pt x="1805612" y="581266"/>
                        <a:pt x="1803363" y="580542"/>
                        <a:pt x="1797579" y="578534"/>
                      </a:cubicBezTo>
                      <a:cubicBezTo>
                        <a:pt x="1795732" y="569216"/>
                        <a:pt x="1789225" y="563834"/>
                        <a:pt x="1778301" y="562549"/>
                      </a:cubicBezTo>
                      <a:cubicBezTo>
                        <a:pt x="1751391" y="542788"/>
                        <a:pt x="1751391" y="542788"/>
                        <a:pt x="1748901" y="538531"/>
                      </a:cubicBezTo>
                      <a:cubicBezTo>
                        <a:pt x="1744402" y="537647"/>
                        <a:pt x="1738538" y="534997"/>
                        <a:pt x="1734924" y="532185"/>
                      </a:cubicBezTo>
                      <a:cubicBezTo>
                        <a:pt x="1735807" y="536121"/>
                        <a:pt x="1737093" y="541423"/>
                        <a:pt x="1737976" y="545359"/>
                      </a:cubicBezTo>
                      <a:cubicBezTo>
                        <a:pt x="1736209" y="545761"/>
                        <a:pt x="1733799" y="546323"/>
                        <a:pt x="1732032" y="546805"/>
                      </a:cubicBezTo>
                      <a:cubicBezTo>
                        <a:pt x="1716770" y="580542"/>
                        <a:pt x="1716770" y="580542"/>
                        <a:pt x="1687771" y="576928"/>
                      </a:cubicBezTo>
                      <a:cubicBezTo>
                        <a:pt x="1686727" y="575402"/>
                        <a:pt x="1685361" y="573474"/>
                        <a:pt x="1684317" y="571948"/>
                      </a:cubicBezTo>
                      <a:cubicBezTo>
                        <a:pt x="1686245" y="570260"/>
                        <a:pt x="1688815" y="567931"/>
                        <a:pt x="1690824" y="566164"/>
                      </a:cubicBezTo>
                      <a:cubicBezTo>
                        <a:pt x="1688735" y="566083"/>
                        <a:pt x="1686004" y="566083"/>
                        <a:pt x="1683915" y="566003"/>
                      </a:cubicBezTo>
                      <a:cubicBezTo>
                        <a:pt x="1683835" y="563834"/>
                        <a:pt x="1683674" y="560943"/>
                        <a:pt x="1683594" y="558774"/>
                      </a:cubicBezTo>
                      <a:cubicBezTo>
                        <a:pt x="1680301" y="560862"/>
                        <a:pt x="1675883" y="563593"/>
                        <a:pt x="1672589" y="565521"/>
                      </a:cubicBezTo>
                      <a:cubicBezTo>
                        <a:pt x="1674196" y="561344"/>
                        <a:pt x="1676766" y="555882"/>
                        <a:pt x="1679096" y="552106"/>
                      </a:cubicBezTo>
                      <a:cubicBezTo>
                        <a:pt x="1675802" y="552106"/>
                        <a:pt x="1671384" y="553713"/>
                        <a:pt x="1668814" y="555802"/>
                      </a:cubicBezTo>
                      <a:cubicBezTo>
                        <a:pt x="1668894" y="553954"/>
                        <a:pt x="1668894" y="551464"/>
                        <a:pt x="1668974" y="549616"/>
                      </a:cubicBezTo>
                      <a:cubicBezTo>
                        <a:pt x="1667207" y="549616"/>
                        <a:pt x="1664878" y="549536"/>
                        <a:pt x="1663110" y="549456"/>
                      </a:cubicBezTo>
                      <a:cubicBezTo>
                        <a:pt x="1661022" y="546564"/>
                        <a:pt x="1658853" y="542226"/>
                        <a:pt x="1657969" y="538772"/>
                      </a:cubicBezTo>
                      <a:cubicBezTo>
                        <a:pt x="1656443" y="538049"/>
                        <a:pt x="1654355" y="537085"/>
                        <a:pt x="1652828" y="536282"/>
                      </a:cubicBezTo>
                      <a:cubicBezTo>
                        <a:pt x="1659335" y="531543"/>
                        <a:pt x="1659335" y="531543"/>
                        <a:pt x="1672669" y="528169"/>
                      </a:cubicBezTo>
                      <a:cubicBezTo>
                        <a:pt x="1673473" y="526482"/>
                        <a:pt x="1674597" y="524313"/>
                        <a:pt x="1675401" y="522626"/>
                      </a:cubicBezTo>
                      <a:cubicBezTo>
                        <a:pt x="1666886" y="524795"/>
                        <a:pt x="1659576" y="529855"/>
                        <a:pt x="1651222" y="532265"/>
                      </a:cubicBezTo>
                      <a:cubicBezTo>
                        <a:pt x="1649374" y="529133"/>
                        <a:pt x="1645760" y="525518"/>
                        <a:pt x="1642386" y="523992"/>
                      </a:cubicBezTo>
                      <a:cubicBezTo>
                        <a:pt x="1642787" y="522064"/>
                        <a:pt x="1643350" y="519413"/>
                        <a:pt x="1643751" y="517485"/>
                      </a:cubicBezTo>
                      <a:cubicBezTo>
                        <a:pt x="1642065" y="516601"/>
                        <a:pt x="1639735" y="515397"/>
                        <a:pt x="1638048" y="514513"/>
                      </a:cubicBezTo>
                      <a:cubicBezTo>
                        <a:pt x="1644233" y="503428"/>
                        <a:pt x="1656684" y="498769"/>
                        <a:pt x="1664155" y="489049"/>
                      </a:cubicBezTo>
                      <a:cubicBezTo>
                        <a:pt x="1659656" y="489772"/>
                        <a:pt x="1653632" y="490575"/>
                        <a:pt x="1649053" y="490977"/>
                      </a:cubicBezTo>
                      <a:cubicBezTo>
                        <a:pt x="1655319" y="488085"/>
                        <a:pt x="1655319" y="488085"/>
                        <a:pt x="1668653" y="484229"/>
                      </a:cubicBezTo>
                      <a:cubicBezTo>
                        <a:pt x="1665119" y="481097"/>
                        <a:pt x="1661263" y="475795"/>
                        <a:pt x="1659897" y="471297"/>
                      </a:cubicBezTo>
                      <a:cubicBezTo>
                        <a:pt x="1660781" y="470493"/>
                        <a:pt x="1660781" y="470493"/>
                        <a:pt x="1683433" y="460452"/>
                      </a:cubicBezTo>
                      <a:cubicBezTo>
                        <a:pt x="1682791" y="457078"/>
                        <a:pt x="1682229" y="452419"/>
                        <a:pt x="1682148" y="448965"/>
                      </a:cubicBezTo>
                      <a:cubicBezTo>
                        <a:pt x="1680140" y="451937"/>
                        <a:pt x="1678292" y="456677"/>
                        <a:pt x="1677971" y="460291"/>
                      </a:cubicBezTo>
                      <a:cubicBezTo>
                        <a:pt x="1676365" y="461336"/>
                        <a:pt x="1674196" y="462701"/>
                        <a:pt x="1672589" y="463665"/>
                      </a:cubicBezTo>
                      <a:cubicBezTo>
                        <a:pt x="1670822" y="462460"/>
                        <a:pt x="1668492" y="460854"/>
                        <a:pt x="1666725" y="459649"/>
                      </a:cubicBezTo>
                      <a:cubicBezTo>
                        <a:pt x="1666324" y="449688"/>
                        <a:pt x="1671786" y="439808"/>
                        <a:pt x="1666966" y="429847"/>
                      </a:cubicBezTo>
                      <a:cubicBezTo>
                        <a:pt x="1667689" y="428000"/>
                        <a:pt x="1668573" y="425509"/>
                        <a:pt x="1669296" y="423662"/>
                      </a:cubicBezTo>
                      <a:cubicBezTo>
                        <a:pt x="1670902" y="423180"/>
                        <a:pt x="1673071" y="422618"/>
                        <a:pt x="1674678" y="422136"/>
                      </a:cubicBezTo>
                      <a:cubicBezTo>
                        <a:pt x="1674999" y="420449"/>
                        <a:pt x="1675481" y="418280"/>
                        <a:pt x="1675802" y="416593"/>
                      </a:cubicBezTo>
                      <a:cubicBezTo>
                        <a:pt x="1664315" y="419244"/>
                        <a:pt x="1663673" y="415870"/>
                        <a:pt x="1661183" y="403178"/>
                      </a:cubicBezTo>
                      <a:cubicBezTo>
                        <a:pt x="1663512" y="400126"/>
                        <a:pt x="1666484" y="396029"/>
                        <a:pt x="1668733" y="392977"/>
                      </a:cubicBezTo>
                      <a:cubicBezTo>
                        <a:pt x="1667207" y="393780"/>
                        <a:pt x="1665199" y="394905"/>
                        <a:pt x="1663673" y="395788"/>
                      </a:cubicBezTo>
                      <a:cubicBezTo>
                        <a:pt x="1661906" y="395146"/>
                        <a:pt x="1659496" y="394342"/>
                        <a:pt x="1657728" y="393700"/>
                      </a:cubicBezTo>
                      <a:cubicBezTo>
                        <a:pt x="1657487" y="392896"/>
                        <a:pt x="1657086" y="391772"/>
                        <a:pt x="1656845" y="390969"/>
                      </a:cubicBezTo>
                      <a:cubicBezTo>
                        <a:pt x="1654917" y="374180"/>
                        <a:pt x="1655720" y="373377"/>
                        <a:pt x="1661022" y="368396"/>
                      </a:cubicBezTo>
                      <a:cubicBezTo>
                        <a:pt x="1659094" y="368075"/>
                        <a:pt x="1656604" y="367673"/>
                        <a:pt x="1654676" y="367352"/>
                      </a:cubicBezTo>
                      <a:cubicBezTo>
                        <a:pt x="1656443" y="366468"/>
                        <a:pt x="1658692" y="365344"/>
                        <a:pt x="1660460" y="364460"/>
                      </a:cubicBezTo>
                      <a:cubicBezTo>
                        <a:pt x="1647768" y="351688"/>
                        <a:pt x="1647768" y="351688"/>
                        <a:pt x="1648973" y="344298"/>
                      </a:cubicBezTo>
                      <a:cubicBezTo>
                        <a:pt x="1651865" y="346065"/>
                        <a:pt x="1655801" y="348314"/>
                        <a:pt x="1658773" y="349760"/>
                      </a:cubicBezTo>
                      <a:cubicBezTo>
                        <a:pt x="1647687" y="336185"/>
                        <a:pt x="1647366" y="324377"/>
                        <a:pt x="1648009" y="309275"/>
                      </a:cubicBezTo>
                      <a:cubicBezTo>
                        <a:pt x="1646402" y="308231"/>
                        <a:pt x="1644233" y="306785"/>
                        <a:pt x="1642627" y="305660"/>
                      </a:cubicBezTo>
                      <a:cubicBezTo>
                        <a:pt x="1642386" y="303572"/>
                        <a:pt x="1642145" y="300760"/>
                        <a:pt x="1641904" y="298591"/>
                      </a:cubicBezTo>
                      <a:cubicBezTo>
                        <a:pt x="1643510" y="299153"/>
                        <a:pt x="1645760" y="299877"/>
                        <a:pt x="1647366" y="300439"/>
                      </a:cubicBezTo>
                      <a:cubicBezTo>
                        <a:pt x="1646563" y="298832"/>
                        <a:pt x="1645438" y="296663"/>
                        <a:pt x="1644555" y="294977"/>
                      </a:cubicBezTo>
                      <a:cubicBezTo>
                        <a:pt x="1648089" y="295780"/>
                        <a:pt x="1652587" y="298431"/>
                        <a:pt x="1654837" y="301162"/>
                      </a:cubicBezTo>
                      <a:cubicBezTo>
                        <a:pt x="1653551" y="297306"/>
                        <a:pt x="1651142" y="292326"/>
                        <a:pt x="1648651" y="289032"/>
                      </a:cubicBezTo>
                      <a:cubicBezTo>
                        <a:pt x="1650258" y="288309"/>
                        <a:pt x="1652427" y="287265"/>
                        <a:pt x="1654033" y="286542"/>
                      </a:cubicBezTo>
                      <a:cubicBezTo>
                        <a:pt x="1652106" y="285337"/>
                        <a:pt x="1649615" y="283731"/>
                        <a:pt x="1647687" y="282526"/>
                      </a:cubicBezTo>
                      <a:cubicBezTo>
                        <a:pt x="1647446" y="280839"/>
                        <a:pt x="1647045" y="278590"/>
                        <a:pt x="1646804" y="276903"/>
                      </a:cubicBezTo>
                      <a:cubicBezTo>
                        <a:pt x="1647687" y="276662"/>
                        <a:pt x="1648892" y="276340"/>
                        <a:pt x="1649776" y="276099"/>
                      </a:cubicBezTo>
                      <a:cubicBezTo>
                        <a:pt x="1653150" y="274814"/>
                        <a:pt x="1658451" y="274654"/>
                        <a:pt x="1661745" y="276099"/>
                      </a:cubicBezTo>
                      <a:cubicBezTo>
                        <a:pt x="1658210" y="268870"/>
                        <a:pt x="1653953" y="262122"/>
                        <a:pt x="1650258" y="254973"/>
                      </a:cubicBezTo>
                      <a:cubicBezTo>
                        <a:pt x="1657006" y="255053"/>
                        <a:pt x="1657006" y="255053"/>
                        <a:pt x="1671465" y="267504"/>
                      </a:cubicBezTo>
                      <a:cubicBezTo>
                        <a:pt x="1667288" y="259954"/>
                        <a:pt x="1663110" y="252403"/>
                        <a:pt x="1658933" y="244852"/>
                      </a:cubicBezTo>
                      <a:cubicBezTo>
                        <a:pt x="1662066" y="247101"/>
                        <a:pt x="1666243" y="250073"/>
                        <a:pt x="1669376" y="252403"/>
                      </a:cubicBezTo>
                      <a:cubicBezTo>
                        <a:pt x="1668894" y="248868"/>
                        <a:pt x="1667448" y="244290"/>
                        <a:pt x="1665601" y="241237"/>
                      </a:cubicBezTo>
                      <a:cubicBezTo>
                        <a:pt x="1676525" y="244531"/>
                        <a:pt x="1676525" y="244531"/>
                        <a:pt x="1686486" y="251358"/>
                      </a:cubicBezTo>
                      <a:cubicBezTo>
                        <a:pt x="1683433" y="248226"/>
                        <a:pt x="1679578" y="243808"/>
                        <a:pt x="1677088" y="240193"/>
                      </a:cubicBezTo>
                      <a:cubicBezTo>
                        <a:pt x="1678453" y="238988"/>
                        <a:pt x="1680301" y="237381"/>
                        <a:pt x="1681747" y="236176"/>
                      </a:cubicBezTo>
                      <a:cubicBezTo>
                        <a:pt x="1686406" y="236899"/>
                        <a:pt x="1692591" y="237944"/>
                        <a:pt x="1697170" y="238907"/>
                      </a:cubicBezTo>
                      <a:cubicBezTo>
                        <a:pt x="1697973" y="240595"/>
                        <a:pt x="1699097" y="242763"/>
                        <a:pt x="1699981" y="244450"/>
                      </a:cubicBezTo>
                      <a:cubicBezTo>
                        <a:pt x="1698696" y="245735"/>
                        <a:pt x="1697009" y="247422"/>
                        <a:pt x="1695643" y="248627"/>
                      </a:cubicBezTo>
                      <a:cubicBezTo>
                        <a:pt x="1700383" y="252001"/>
                        <a:pt x="1702953" y="253849"/>
                        <a:pt x="1712191" y="251037"/>
                      </a:cubicBezTo>
                      <a:cubicBezTo>
                        <a:pt x="1711870" y="250716"/>
                        <a:pt x="1711468" y="250234"/>
                        <a:pt x="1711147" y="249832"/>
                      </a:cubicBezTo>
                      <a:cubicBezTo>
                        <a:pt x="1712753" y="249189"/>
                        <a:pt x="1715002" y="248386"/>
                        <a:pt x="1716609" y="247824"/>
                      </a:cubicBezTo>
                      <a:cubicBezTo>
                        <a:pt x="1716770" y="246057"/>
                        <a:pt x="1716930" y="243808"/>
                        <a:pt x="1717091" y="242040"/>
                      </a:cubicBezTo>
                      <a:cubicBezTo>
                        <a:pt x="1724963" y="240595"/>
                        <a:pt x="1731791" y="245655"/>
                        <a:pt x="1739422" y="245816"/>
                      </a:cubicBezTo>
                      <a:cubicBezTo>
                        <a:pt x="1740707" y="247422"/>
                        <a:pt x="1742474" y="249511"/>
                        <a:pt x="1743760" y="251117"/>
                      </a:cubicBezTo>
                      <a:cubicBezTo>
                        <a:pt x="1759986" y="214247"/>
                        <a:pt x="1830996" y="250796"/>
                        <a:pt x="1835494" y="261881"/>
                      </a:cubicBezTo>
                      <a:cubicBezTo>
                        <a:pt x="1835575" y="262122"/>
                        <a:pt x="1841198" y="288871"/>
                        <a:pt x="1787699" y="287506"/>
                      </a:cubicBezTo>
                      <a:lnTo>
                        <a:pt x="1876863" y="317388"/>
                      </a:lnTo>
                      <a:cubicBezTo>
                        <a:pt x="1872124" y="310480"/>
                        <a:pt x="1872124" y="310480"/>
                        <a:pt x="1856701" y="304937"/>
                      </a:cubicBezTo>
                      <a:cubicBezTo>
                        <a:pt x="1859753" y="302206"/>
                        <a:pt x="1859753" y="302206"/>
                        <a:pt x="1877185" y="288711"/>
                      </a:cubicBezTo>
                      <a:cubicBezTo>
                        <a:pt x="1853006" y="271119"/>
                        <a:pt x="1850837" y="267263"/>
                        <a:pt x="1857906" y="254491"/>
                      </a:cubicBezTo>
                      <a:cubicBezTo>
                        <a:pt x="1850596" y="237381"/>
                        <a:pt x="1818947" y="222360"/>
                        <a:pt x="1793724" y="212801"/>
                      </a:cubicBezTo>
                      <a:cubicBezTo>
                        <a:pt x="1814529" y="208704"/>
                        <a:pt x="1822883" y="210953"/>
                        <a:pt x="1849552" y="227903"/>
                      </a:cubicBezTo>
                      <a:cubicBezTo>
                        <a:pt x="1834691" y="205330"/>
                        <a:pt x="1812681" y="187578"/>
                        <a:pt x="1803925" y="160829"/>
                      </a:cubicBezTo>
                      <a:cubicBezTo>
                        <a:pt x="1813243" y="168781"/>
                        <a:pt x="1813243" y="168781"/>
                        <a:pt x="1820071" y="174003"/>
                      </a:cubicBezTo>
                      <a:cubicBezTo>
                        <a:pt x="1821116" y="164845"/>
                        <a:pt x="1821276" y="163158"/>
                        <a:pt x="1807460" y="147012"/>
                      </a:cubicBezTo>
                      <a:cubicBezTo>
                        <a:pt x="1807942" y="147173"/>
                        <a:pt x="1808504" y="147334"/>
                        <a:pt x="1808986" y="147494"/>
                      </a:cubicBezTo>
                      <a:cubicBezTo>
                        <a:pt x="1807781" y="146370"/>
                        <a:pt x="1806094" y="144843"/>
                        <a:pt x="1804889" y="143719"/>
                      </a:cubicBezTo>
                      <a:cubicBezTo>
                        <a:pt x="1809147" y="144763"/>
                        <a:pt x="1814689" y="146450"/>
                        <a:pt x="1818706" y="148057"/>
                      </a:cubicBezTo>
                      <a:cubicBezTo>
                        <a:pt x="1804086" y="135284"/>
                        <a:pt x="1804086" y="135284"/>
                        <a:pt x="1798945" y="132875"/>
                      </a:cubicBezTo>
                      <a:cubicBezTo>
                        <a:pt x="1799347" y="133276"/>
                        <a:pt x="1799829" y="133758"/>
                        <a:pt x="1800150" y="134160"/>
                      </a:cubicBezTo>
                      <a:cubicBezTo>
                        <a:pt x="1782960" y="125806"/>
                        <a:pt x="1782558" y="125163"/>
                        <a:pt x="1778542" y="119058"/>
                      </a:cubicBezTo>
                      <a:cubicBezTo>
                        <a:pt x="1790189" y="113516"/>
                        <a:pt x="1806415" y="114560"/>
                        <a:pt x="1806576" y="114560"/>
                      </a:cubicBezTo>
                      <a:cubicBezTo>
                        <a:pt x="1805211" y="113275"/>
                        <a:pt x="1803443" y="111588"/>
                        <a:pt x="1802078" y="110383"/>
                      </a:cubicBezTo>
                      <a:cubicBezTo>
                        <a:pt x="1796776" y="107812"/>
                        <a:pt x="1792679" y="105884"/>
                        <a:pt x="1788502" y="104037"/>
                      </a:cubicBezTo>
                      <a:cubicBezTo>
                        <a:pt x="1779907" y="103635"/>
                        <a:pt x="1779907" y="103635"/>
                        <a:pt x="1735084" y="87007"/>
                      </a:cubicBezTo>
                      <a:cubicBezTo>
                        <a:pt x="1722553" y="80501"/>
                        <a:pt x="1696688" y="67327"/>
                        <a:pt x="1688173" y="63953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4" name="Freeform: Shape 423">
                  <a:extLst>
                    <a:ext uri="{FF2B5EF4-FFF2-40B4-BE49-F238E27FC236}">
                      <a16:creationId xmlns:a16="http://schemas.microsoft.com/office/drawing/2014/main" id="{F05FD0D2-162B-3738-4442-CA6C75B1E13D}"/>
                    </a:ext>
                  </a:extLst>
                </p:cNvPr>
                <p:cNvSpPr/>
                <p:nvPr/>
              </p:nvSpPr>
              <p:spPr>
                <a:xfrm>
                  <a:off x="-5335418" y="1921823"/>
                  <a:ext cx="2328854" cy="2163071"/>
                </a:xfrm>
                <a:custGeom>
                  <a:avLst/>
                  <a:gdLst>
                    <a:gd name="connsiteX0" fmla="*/ 623024 w 2328854"/>
                    <a:gd name="connsiteY0" fmla="*/ 2160180 h 2163071"/>
                    <a:gd name="connsiteX1" fmla="*/ 623184 w 2328854"/>
                    <a:gd name="connsiteY1" fmla="*/ 2160180 h 2163071"/>
                    <a:gd name="connsiteX2" fmla="*/ 621417 w 2328854"/>
                    <a:gd name="connsiteY2" fmla="*/ 2158333 h 2163071"/>
                    <a:gd name="connsiteX3" fmla="*/ 621337 w 2328854"/>
                    <a:gd name="connsiteY3" fmla="*/ 2158413 h 2163071"/>
                    <a:gd name="connsiteX4" fmla="*/ 619489 w 2328854"/>
                    <a:gd name="connsiteY4" fmla="*/ 2161225 h 2163071"/>
                    <a:gd name="connsiteX5" fmla="*/ 622702 w 2328854"/>
                    <a:gd name="connsiteY5" fmla="*/ 2163072 h 2163071"/>
                    <a:gd name="connsiteX6" fmla="*/ 623024 w 2328854"/>
                    <a:gd name="connsiteY6" fmla="*/ 2160180 h 2163071"/>
                    <a:gd name="connsiteX7" fmla="*/ 641580 w 2328854"/>
                    <a:gd name="connsiteY7" fmla="*/ 2158011 h 2163071"/>
                    <a:gd name="connsiteX8" fmla="*/ 642222 w 2328854"/>
                    <a:gd name="connsiteY8" fmla="*/ 2158092 h 2163071"/>
                    <a:gd name="connsiteX9" fmla="*/ 624068 w 2328854"/>
                    <a:gd name="connsiteY9" fmla="*/ 2153353 h 2163071"/>
                    <a:gd name="connsiteX10" fmla="*/ 623827 w 2328854"/>
                    <a:gd name="connsiteY10" fmla="*/ 2153593 h 2163071"/>
                    <a:gd name="connsiteX11" fmla="*/ 624389 w 2328854"/>
                    <a:gd name="connsiteY11" fmla="*/ 2155843 h 2163071"/>
                    <a:gd name="connsiteX12" fmla="*/ 628325 w 2328854"/>
                    <a:gd name="connsiteY12" fmla="*/ 2156485 h 2163071"/>
                    <a:gd name="connsiteX13" fmla="*/ 625675 w 2328854"/>
                    <a:gd name="connsiteY13" fmla="*/ 2157369 h 2163071"/>
                    <a:gd name="connsiteX14" fmla="*/ 632502 w 2328854"/>
                    <a:gd name="connsiteY14" fmla="*/ 2161064 h 2163071"/>
                    <a:gd name="connsiteX15" fmla="*/ 633547 w 2328854"/>
                    <a:gd name="connsiteY15" fmla="*/ 2159458 h 2163071"/>
                    <a:gd name="connsiteX16" fmla="*/ 632342 w 2328854"/>
                    <a:gd name="connsiteY16" fmla="*/ 2157771 h 2163071"/>
                    <a:gd name="connsiteX17" fmla="*/ 641580 w 2328854"/>
                    <a:gd name="connsiteY17" fmla="*/ 2158011 h 2163071"/>
                    <a:gd name="connsiteX18" fmla="*/ 635314 w 2328854"/>
                    <a:gd name="connsiteY18" fmla="*/ 2151023 h 2163071"/>
                    <a:gd name="connsiteX19" fmla="*/ 634993 w 2328854"/>
                    <a:gd name="connsiteY19" fmla="*/ 2150943 h 2163071"/>
                    <a:gd name="connsiteX20" fmla="*/ 623988 w 2328854"/>
                    <a:gd name="connsiteY20" fmla="*/ 2149978 h 2163071"/>
                    <a:gd name="connsiteX21" fmla="*/ 624068 w 2328854"/>
                    <a:gd name="connsiteY21" fmla="*/ 2150139 h 2163071"/>
                    <a:gd name="connsiteX22" fmla="*/ 635314 w 2328854"/>
                    <a:gd name="connsiteY22" fmla="*/ 2151023 h 2163071"/>
                    <a:gd name="connsiteX23" fmla="*/ 627763 w 2328854"/>
                    <a:gd name="connsiteY23" fmla="*/ 2118008 h 2163071"/>
                    <a:gd name="connsiteX24" fmla="*/ 628647 w 2328854"/>
                    <a:gd name="connsiteY24" fmla="*/ 2118169 h 2163071"/>
                    <a:gd name="connsiteX25" fmla="*/ 614429 w 2328854"/>
                    <a:gd name="connsiteY25" fmla="*/ 2114715 h 2163071"/>
                    <a:gd name="connsiteX26" fmla="*/ 605753 w 2328854"/>
                    <a:gd name="connsiteY26" fmla="*/ 2115197 h 2163071"/>
                    <a:gd name="connsiteX27" fmla="*/ 606235 w 2328854"/>
                    <a:gd name="connsiteY27" fmla="*/ 2120579 h 2163071"/>
                    <a:gd name="connsiteX28" fmla="*/ 627763 w 2328854"/>
                    <a:gd name="connsiteY28" fmla="*/ 2118008 h 2163071"/>
                    <a:gd name="connsiteX29" fmla="*/ 570570 w 2328854"/>
                    <a:gd name="connsiteY29" fmla="*/ 2050693 h 2163071"/>
                    <a:gd name="connsiteX30" fmla="*/ 574345 w 2328854"/>
                    <a:gd name="connsiteY30" fmla="*/ 2051175 h 2163071"/>
                    <a:gd name="connsiteX31" fmla="*/ 572257 w 2328854"/>
                    <a:gd name="connsiteY31" fmla="*/ 2050372 h 2163071"/>
                    <a:gd name="connsiteX32" fmla="*/ 570570 w 2328854"/>
                    <a:gd name="connsiteY32" fmla="*/ 2050693 h 2163071"/>
                    <a:gd name="connsiteX33" fmla="*/ 572738 w 2328854"/>
                    <a:gd name="connsiteY33" fmla="*/ 2047159 h 2163071"/>
                    <a:gd name="connsiteX34" fmla="*/ 572899 w 2328854"/>
                    <a:gd name="connsiteY34" fmla="*/ 2047239 h 2163071"/>
                    <a:gd name="connsiteX35" fmla="*/ 570811 w 2328854"/>
                    <a:gd name="connsiteY35" fmla="*/ 2045552 h 2163071"/>
                    <a:gd name="connsiteX36" fmla="*/ 572738 w 2328854"/>
                    <a:gd name="connsiteY36" fmla="*/ 2047159 h 2163071"/>
                    <a:gd name="connsiteX37" fmla="*/ 869791 w 2328854"/>
                    <a:gd name="connsiteY37" fmla="*/ 1976631 h 2163071"/>
                    <a:gd name="connsiteX38" fmla="*/ 870193 w 2328854"/>
                    <a:gd name="connsiteY38" fmla="*/ 1976470 h 2163071"/>
                    <a:gd name="connsiteX39" fmla="*/ 869791 w 2328854"/>
                    <a:gd name="connsiteY39" fmla="*/ 1976631 h 2163071"/>
                    <a:gd name="connsiteX40" fmla="*/ 862321 w 2328854"/>
                    <a:gd name="connsiteY40" fmla="*/ 1979201 h 2163071"/>
                    <a:gd name="connsiteX41" fmla="*/ 869791 w 2328854"/>
                    <a:gd name="connsiteY41" fmla="*/ 1976631 h 2163071"/>
                    <a:gd name="connsiteX42" fmla="*/ 879270 w 2328854"/>
                    <a:gd name="connsiteY42" fmla="*/ 1973337 h 2163071"/>
                    <a:gd name="connsiteX43" fmla="*/ 879270 w 2328854"/>
                    <a:gd name="connsiteY43" fmla="*/ 1973337 h 2163071"/>
                    <a:gd name="connsiteX44" fmla="*/ 872442 w 2328854"/>
                    <a:gd name="connsiteY44" fmla="*/ 1975747 h 2163071"/>
                    <a:gd name="connsiteX45" fmla="*/ 879270 w 2328854"/>
                    <a:gd name="connsiteY45" fmla="*/ 1973337 h 2163071"/>
                    <a:gd name="connsiteX46" fmla="*/ 694998 w 2328854"/>
                    <a:gd name="connsiteY46" fmla="*/ 1953978 h 2163071"/>
                    <a:gd name="connsiteX47" fmla="*/ 694757 w 2328854"/>
                    <a:gd name="connsiteY47" fmla="*/ 1953978 h 2163071"/>
                    <a:gd name="connsiteX48" fmla="*/ 694757 w 2328854"/>
                    <a:gd name="connsiteY48" fmla="*/ 1953978 h 2163071"/>
                    <a:gd name="connsiteX49" fmla="*/ 694998 w 2328854"/>
                    <a:gd name="connsiteY49" fmla="*/ 1953978 h 2163071"/>
                    <a:gd name="connsiteX50" fmla="*/ 686242 w 2328854"/>
                    <a:gd name="connsiteY50" fmla="*/ 1953255 h 2163071"/>
                    <a:gd name="connsiteX51" fmla="*/ 686242 w 2328854"/>
                    <a:gd name="connsiteY51" fmla="*/ 1953255 h 2163071"/>
                    <a:gd name="connsiteX52" fmla="*/ 685037 w 2328854"/>
                    <a:gd name="connsiteY52" fmla="*/ 1953175 h 2163071"/>
                    <a:gd name="connsiteX53" fmla="*/ 685037 w 2328854"/>
                    <a:gd name="connsiteY53" fmla="*/ 1953175 h 2163071"/>
                    <a:gd name="connsiteX54" fmla="*/ 686242 w 2328854"/>
                    <a:gd name="connsiteY54" fmla="*/ 1953255 h 2163071"/>
                    <a:gd name="connsiteX55" fmla="*/ 825129 w 2328854"/>
                    <a:gd name="connsiteY55" fmla="*/ 1889555 h 2163071"/>
                    <a:gd name="connsiteX56" fmla="*/ 826013 w 2328854"/>
                    <a:gd name="connsiteY56" fmla="*/ 1889314 h 2163071"/>
                    <a:gd name="connsiteX57" fmla="*/ 822639 w 2328854"/>
                    <a:gd name="connsiteY57" fmla="*/ 1882486 h 2163071"/>
                    <a:gd name="connsiteX58" fmla="*/ 822639 w 2328854"/>
                    <a:gd name="connsiteY58" fmla="*/ 1882968 h 2163071"/>
                    <a:gd name="connsiteX59" fmla="*/ 819747 w 2328854"/>
                    <a:gd name="connsiteY59" fmla="*/ 1889957 h 2163071"/>
                    <a:gd name="connsiteX60" fmla="*/ 817418 w 2328854"/>
                    <a:gd name="connsiteY60" fmla="*/ 1891483 h 2163071"/>
                    <a:gd name="connsiteX61" fmla="*/ 815088 w 2328854"/>
                    <a:gd name="connsiteY61" fmla="*/ 1891483 h 2163071"/>
                    <a:gd name="connsiteX62" fmla="*/ 820470 w 2328854"/>
                    <a:gd name="connsiteY62" fmla="*/ 1892608 h 2163071"/>
                    <a:gd name="connsiteX63" fmla="*/ 816293 w 2328854"/>
                    <a:gd name="connsiteY63" fmla="*/ 1893491 h 2163071"/>
                    <a:gd name="connsiteX64" fmla="*/ 819827 w 2328854"/>
                    <a:gd name="connsiteY64" fmla="*/ 1893893 h 2163071"/>
                    <a:gd name="connsiteX65" fmla="*/ 823924 w 2328854"/>
                    <a:gd name="connsiteY65" fmla="*/ 1896544 h 2163071"/>
                    <a:gd name="connsiteX66" fmla="*/ 823040 w 2328854"/>
                    <a:gd name="connsiteY66" fmla="*/ 1895901 h 2163071"/>
                    <a:gd name="connsiteX67" fmla="*/ 827217 w 2328854"/>
                    <a:gd name="connsiteY67" fmla="*/ 1895098 h 2163071"/>
                    <a:gd name="connsiteX68" fmla="*/ 824165 w 2328854"/>
                    <a:gd name="connsiteY68" fmla="*/ 1892126 h 2163071"/>
                    <a:gd name="connsiteX69" fmla="*/ 825932 w 2328854"/>
                    <a:gd name="connsiteY69" fmla="*/ 1891644 h 2163071"/>
                    <a:gd name="connsiteX70" fmla="*/ 824567 w 2328854"/>
                    <a:gd name="connsiteY70" fmla="*/ 1889796 h 2163071"/>
                    <a:gd name="connsiteX71" fmla="*/ 825129 w 2328854"/>
                    <a:gd name="connsiteY71" fmla="*/ 1889555 h 2163071"/>
                    <a:gd name="connsiteX72" fmla="*/ 881600 w 2328854"/>
                    <a:gd name="connsiteY72" fmla="*/ 1834129 h 2163071"/>
                    <a:gd name="connsiteX73" fmla="*/ 882403 w 2328854"/>
                    <a:gd name="connsiteY73" fmla="*/ 1833808 h 2163071"/>
                    <a:gd name="connsiteX74" fmla="*/ 875655 w 2328854"/>
                    <a:gd name="connsiteY74" fmla="*/ 1835977 h 2163071"/>
                    <a:gd name="connsiteX75" fmla="*/ 873968 w 2328854"/>
                    <a:gd name="connsiteY75" fmla="*/ 1832603 h 2163071"/>
                    <a:gd name="connsiteX76" fmla="*/ 874049 w 2328854"/>
                    <a:gd name="connsiteY76" fmla="*/ 1833406 h 2163071"/>
                    <a:gd name="connsiteX77" fmla="*/ 872041 w 2328854"/>
                    <a:gd name="connsiteY77" fmla="*/ 1837904 h 2163071"/>
                    <a:gd name="connsiteX78" fmla="*/ 866980 w 2328854"/>
                    <a:gd name="connsiteY78" fmla="*/ 1839350 h 2163071"/>
                    <a:gd name="connsiteX79" fmla="*/ 874772 w 2328854"/>
                    <a:gd name="connsiteY79" fmla="*/ 1842001 h 2163071"/>
                    <a:gd name="connsiteX80" fmla="*/ 870996 w 2328854"/>
                    <a:gd name="connsiteY80" fmla="*/ 1840716 h 2163071"/>
                    <a:gd name="connsiteX81" fmla="*/ 877262 w 2328854"/>
                    <a:gd name="connsiteY81" fmla="*/ 1839591 h 2163071"/>
                    <a:gd name="connsiteX82" fmla="*/ 881600 w 2328854"/>
                    <a:gd name="connsiteY82" fmla="*/ 1834129 h 2163071"/>
                    <a:gd name="connsiteX83" fmla="*/ 991809 w 2328854"/>
                    <a:gd name="connsiteY83" fmla="*/ 1815734 h 2163071"/>
                    <a:gd name="connsiteX84" fmla="*/ 992131 w 2328854"/>
                    <a:gd name="connsiteY84" fmla="*/ 1815734 h 2163071"/>
                    <a:gd name="connsiteX85" fmla="*/ 989560 w 2328854"/>
                    <a:gd name="connsiteY85" fmla="*/ 1814609 h 2163071"/>
                    <a:gd name="connsiteX86" fmla="*/ 985785 w 2328854"/>
                    <a:gd name="connsiteY86" fmla="*/ 1813244 h 2163071"/>
                    <a:gd name="connsiteX87" fmla="*/ 982090 w 2328854"/>
                    <a:gd name="connsiteY87" fmla="*/ 1810111 h 2163071"/>
                    <a:gd name="connsiteX88" fmla="*/ 981287 w 2328854"/>
                    <a:gd name="connsiteY88" fmla="*/ 1810272 h 2163071"/>
                    <a:gd name="connsiteX89" fmla="*/ 979439 w 2328854"/>
                    <a:gd name="connsiteY89" fmla="*/ 1813485 h 2163071"/>
                    <a:gd name="connsiteX90" fmla="*/ 979359 w 2328854"/>
                    <a:gd name="connsiteY90" fmla="*/ 1813967 h 2163071"/>
                    <a:gd name="connsiteX91" fmla="*/ 982893 w 2328854"/>
                    <a:gd name="connsiteY91" fmla="*/ 1813806 h 2163071"/>
                    <a:gd name="connsiteX92" fmla="*/ 982491 w 2328854"/>
                    <a:gd name="connsiteY92" fmla="*/ 1814529 h 2163071"/>
                    <a:gd name="connsiteX93" fmla="*/ 984500 w 2328854"/>
                    <a:gd name="connsiteY93" fmla="*/ 1813886 h 2163071"/>
                    <a:gd name="connsiteX94" fmla="*/ 983857 w 2328854"/>
                    <a:gd name="connsiteY94" fmla="*/ 1816216 h 2163071"/>
                    <a:gd name="connsiteX95" fmla="*/ 985705 w 2328854"/>
                    <a:gd name="connsiteY95" fmla="*/ 1815252 h 2163071"/>
                    <a:gd name="connsiteX96" fmla="*/ 982572 w 2328854"/>
                    <a:gd name="connsiteY96" fmla="*/ 1818304 h 2163071"/>
                    <a:gd name="connsiteX97" fmla="*/ 988837 w 2328854"/>
                    <a:gd name="connsiteY97" fmla="*/ 1818224 h 2163071"/>
                    <a:gd name="connsiteX98" fmla="*/ 991167 w 2328854"/>
                    <a:gd name="connsiteY98" fmla="*/ 1815573 h 2163071"/>
                    <a:gd name="connsiteX99" fmla="*/ 991809 w 2328854"/>
                    <a:gd name="connsiteY99" fmla="*/ 1815734 h 2163071"/>
                    <a:gd name="connsiteX100" fmla="*/ 2279467 w 2328854"/>
                    <a:gd name="connsiteY100" fmla="*/ 1397305 h 2163071"/>
                    <a:gd name="connsiteX101" fmla="*/ 2279628 w 2328854"/>
                    <a:gd name="connsiteY101" fmla="*/ 1396984 h 2163071"/>
                    <a:gd name="connsiteX102" fmla="*/ 2274969 w 2328854"/>
                    <a:gd name="connsiteY102" fmla="*/ 1399635 h 2163071"/>
                    <a:gd name="connsiteX103" fmla="*/ 2271836 w 2328854"/>
                    <a:gd name="connsiteY103" fmla="*/ 1403571 h 2163071"/>
                    <a:gd name="connsiteX104" fmla="*/ 2261072 w 2328854"/>
                    <a:gd name="connsiteY104" fmla="*/ 1425099 h 2163071"/>
                    <a:gd name="connsiteX105" fmla="*/ 2265088 w 2328854"/>
                    <a:gd name="connsiteY105" fmla="*/ 1419235 h 2163071"/>
                    <a:gd name="connsiteX106" fmla="*/ 2264847 w 2328854"/>
                    <a:gd name="connsiteY106" fmla="*/ 1419315 h 2163071"/>
                    <a:gd name="connsiteX107" fmla="*/ 2270149 w 2328854"/>
                    <a:gd name="connsiteY107" fmla="*/ 1409194 h 2163071"/>
                    <a:gd name="connsiteX108" fmla="*/ 2271434 w 2328854"/>
                    <a:gd name="connsiteY108" fmla="*/ 1407427 h 2163071"/>
                    <a:gd name="connsiteX109" fmla="*/ 2272077 w 2328854"/>
                    <a:gd name="connsiteY109" fmla="*/ 1406623 h 2163071"/>
                    <a:gd name="connsiteX110" fmla="*/ 2274728 w 2328854"/>
                    <a:gd name="connsiteY110" fmla="*/ 1403892 h 2163071"/>
                    <a:gd name="connsiteX111" fmla="*/ 2277539 w 2328854"/>
                    <a:gd name="connsiteY111" fmla="*/ 1399876 h 2163071"/>
                    <a:gd name="connsiteX112" fmla="*/ 2279226 w 2328854"/>
                    <a:gd name="connsiteY112" fmla="*/ 1398430 h 2163071"/>
                    <a:gd name="connsiteX113" fmla="*/ 2279467 w 2328854"/>
                    <a:gd name="connsiteY113" fmla="*/ 1397305 h 2163071"/>
                    <a:gd name="connsiteX114" fmla="*/ 533137 w 2328854"/>
                    <a:gd name="connsiteY114" fmla="*/ 1793644 h 2163071"/>
                    <a:gd name="connsiteX115" fmla="*/ 532976 w 2328854"/>
                    <a:gd name="connsiteY115" fmla="*/ 1793001 h 2163071"/>
                    <a:gd name="connsiteX116" fmla="*/ 532896 w 2328854"/>
                    <a:gd name="connsiteY116" fmla="*/ 1793081 h 2163071"/>
                    <a:gd name="connsiteX117" fmla="*/ 532253 w 2328854"/>
                    <a:gd name="connsiteY117" fmla="*/ 1795009 h 2163071"/>
                    <a:gd name="connsiteX118" fmla="*/ 533297 w 2328854"/>
                    <a:gd name="connsiteY118" fmla="*/ 1794367 h 2163071"/>
                    <a:gd name="connsiteX119" fmla="*/ 533137 w 2328854"/>
                    <a:gd name="connsiteY119" fmla="*/ 1793644 h 2163071"/>
                    <a:gd name="connsiteX120" fmla="*/ 532012 w 2328854"/>
                    <a:gd name="connsiteY120" fmla="*/ 1791957 h 2163071"/>
                    <a:gd name="connsiteX121" fmla="*/ 532655 w 2328854"/>
                    <a:gd name="connsiteY121" fmla="*/ 1792037 h 2163071"/>
                    <a:gd name="connsiteX122" fmla="*/ 520284 w 2328854"/>
                    <a:gd name="connsiteY122" fmla="*/ 1784727 h 2163071"/>
                    <a:gd name="connsiteX123" fmla="*/ 519160 w 2328854"/>
                    <a:gd name="connsiteY123" fmla="*/ 1784727 h 2163071"/>
                    <a:gd name="connsiteX124" fmla="*/ 516027 w 2328854"/>
                    <a:gd name="connsiteY124" fmla="*/ 1784808 h 2163071"/>
                    <a:gd name="connsiteX125" fmla="*/ 514019 w 2328854"/>
                    <a:gd name="connsiteY125" fmla="*/ 1784326 h 2163071"/>
                    <a:gd name="connsiteX126" fmla="*/ 512653 w 2328854"/>
                    <a:gd name="connsiteY126" fmla="*/ 1785129 h 2163071"/>
                    <a:gd name="connsiteX127" fmla="*/ 532012 w 2328854"/>
                    <a:gd name="connsiteY127" fmla="*/ 1791957 h 2163071"/>
                    <a:gd name="connsiteX128" fmla="*/ 2285090 w 2328854"/>
                    <a:gd name="connsiteY128" fmla="*/ 1327099 h 2163071"/>
                    <a:gd name="connsiteX129" fmla="*/ 2285331 w 2328854"/>
                    <a:gd name="connsiteY129" fmla="*/ 1326777 h 2163071"/>
                    <a:gd name="connsiteX130" fmla="*/ 2285251 w 2328854"/>
                    <a:gd name="connsiteY130" fmla="*/ 1326858 h 2163071"/>
                    <a:gd name="connsiteX131" fmla="*/ 2281636 w 2328854"/>
                    <a:gd name="connsiteY131" fmla="*/ 1331276 h 2163071"/>
                    <a:gd name="connsiteX132" fmla="*/ 2285090 w 2328854"/>
                    <a:gd name="connsiteY132" fmla="*/ 1327099 h 2163071"/>
                    <a:gd name="connsiteX133" fmla="*/ 2327503 w 2328854"/>
                    <a:gd name="connsiteY133" fmla="*/ 1284927 h 2163071"/>
                    <a:gd name="connsiteX134" fmla="*/ 2327182 w 2328854"/>
                    <a:gd name="connsiteY134" fmla="*/ 1282758 h 2163071"/>
                    <a:gd name="connsiteX135" fmla="*/ 2326780 w 2328854"/>
                    <a:gd name="connsiteY135" fmla="*/ 1282999 h 2163071"/>
                    <a:gd name="connsiteX136" fmla="*/ 2327584 w 2328854"/>
                    <a:gd name="connsiteY136" fmla="*/ 1327741 h 2163071"/>
                    <a:gd name="connsiteX137" fmla="*/ 2327102 w 2328854"/>
                    <a:gd name="connsiteY137" fmla="*/ 1314166 h 2163071"/>
                    <a:gd name="connsiteX138" fmla="*/ 2327503 w 2328854"/>
                    <a:gd name="connsiteY138" fmla="*/ 1284927 h 2163071"/>
                    <a:gd name="connsiteX139" fmla="*/ 1044505 w 2328854"/>
                    <a:gd name="connsiteY139" fmla="*/ 1706648 h 2163071"/>
                    <a:gd name="connsiteX140" fmla="*/ 1046111 w 2328854"/>
                    <a:gd name="connsiteY140" fmla="*/ 1704801 h 2163071"/>
                    <a:gd name="connsiteX141" fmla="*/ 1045308 w 2328854"/>
                    <a:gd name="connsiteY141" fmla="*/ 1705363 h 2163071"/>
                    <a:gd name="connsiteX142" fmla="*/ 1024101 w 2328854"/>
                    <a:gd name="connsiteY142" fmla="*/ 1711147 h 2163071"/>
                    <a:gd name="connsiteX143" fmla="*/ 1021932 w 2328854"/>
                    <a:gd name="connsiteY143" fmla="*/ 1714199 h 2163071"/>
                    <a:gd name="connsiteX144" fmla="*/ 1021531 w 2328854"/>
                    <a:gd name="connsiteY144" fmla="*/ 1714199 h 2163071"/>
                    <a:gd name="connsiteX145" fmla="*/ 1016952 w 2328854"/>
                    <a:gd name="connsiteY145" fmla="*/ 1714279 h 2163071"/>
                    <a:gd name="connsiteX146" fmla="*/ 1016631 w 2328854"/>
                    <a:gd name="connsiteY146" fmla="*/ 1714681 h 2163071"/>
                    <a:gd name="connsiteX147" fmla="*/ 1015346 w 2328854"/>
                    <a:gd name="connsiteY147" fmla="*/ 1714922 h 2163071"/>
                    <a:gd name="connsiteX148" fmla="*/ 1022093 w 2328854"/>
                    <a:gd name="connsiteY148" fmla="*/ 1717573 h 2163071"/>
                    <a:gd name="connsiteX149" fmla="*/ 1018880 w 2328854"/>
                    <a:gd name="connsiteY149" fmla="*/ 1718215 h 2163071"/>
                    <a:gd name="connsiteX150" fmla="*/ 1017515 w 2328854"/>
                    <a:gd name="connsiteY150" fmla="*/ 1720786 h 2163071"/>
                    <a:gd name="connsiteX151" fmla="*/ 1015587 w 2328854"/>
                    <a:gd name="connsiteY151" fmla="*/ 1720545 h 2163071"/>
                    <a:gd name="connsiteX152" fmla="*/ 1017354 w 2328854"/>
                    <a:gd name="connsiteY152" fmla="*/ 1723196 h 2163071"/>
                    <a:gd name="connsiteX153" fmla="*/ 1013739 w 2328854"/>
                    <a:gd name="connsiteY153" fmla="*/ 1722232 h 2163071"/>
                    <a:gd name="connsiteX154" fmla="*/ 1012454 w 2328854"/>
                    <a:gd name="connsiteY154" fmla="*/ 1726248 h 2163071"/>
                    <a:gd name="connsiteX155" fmla="*/ 1010928 w 2328854"/>
                    <a:gd name="connsiteY155" fmla="*/ 1728658 h 2163071"/>
                    <a:gd name="connsiteX156" fmla="*/ 1017836 w 2328854"/>
                    <a:gd name="connsiteY156" fmla="*/ 1729221 h 2163071"/>
                    <a:gd name="connsiteX157" fmla="*/ 1025869 w 2328854"/>
                    <a:gd name="connsiteY157" fmla="*/ 1722072 h 2163071"/>
                    <a:gd name="connsiteX158" fmla="*/ 1026913 w 2328854"/>
                    <a:gd name="connsiteY158" fmla="*/ 1725606 h 2163071"/>
                    <a:gd name="connsiteX159" fmla="*/ 1025467 w 2328854"/>
                    <a:gd name="connsiteY159" fmla="*/ 1715565 h 2163071"/>
                    <a:gd name="connsiteX160" fmla="*/ 1035106 w 2328854"/>
                    <a:gd name="connsiteY160" fmla="*/ 1716850 h 2163071"/>
                    <a:gd name="connsiteX161" fmla="*/ 1044505 w 2328854"/>
                    <a:gd name="connsiteY161" fmla="*/ 1706648 h 2163071"/>
                    <a:gd name="connsiteX162" fmla="*/ 2303887 w 2328854"/>
                    <a:gd name="connsiteY162" fmla="*/ 1274002 h 2163071"/>
                    <a:gd name="connsiteX163" fmla="*/ 2304208 w 2328854"/>
                    <a:gd name="connsiteY163" fmla="*/ 1273922 h 2163071"/>
                    <a:gd name="connsiteX164" fmla="*/ 2299710 w 2328854"/>
                    <a:gd name="connsiteY164" fmla="*/ 1274645 h 2163071"/>
                    <a:gd name="connsiteX165" fmla="*/ 2298585 w 2328854"/>
                    <a:gd name="connsiteY165" fmla="*/ 1274805 h 2163071"/>
                    <a:gd name="connsiteX166" fmla="*/ 2298264 w 2328854"/>
                    <a:gd name="connsiteY166" fmla="*/ 1274886 h 2163071"/>
                    <a:gd name="connsiteX167" fmla="*/ 2303887 w 2328854"/>
                    <a:gd name="connsiteY167" fmla="*/ 1274002 h 2163071"/>
                    <a:gd name="connsiteX168" fmla="*/ 882483 w 2328854"/>
                    <a:gd name="connsiteY168" fmla="*/ 1672589 h 2163071"/>
                    <a:gd name="connsiteX169" fmla="*/ 883126 w 2328854"/>
                    <a:gd name="connsiteY169" fmla="*/ 1672589 h 2163071"/>
                    <a:gd name="connsiteX170" fmla="*/ 866659 w 2328854"/>
                    <a:gd name="connsiteY170" fmla="*/ 1660781 h 2163071"/>
                    <a:gd name="connsiteX171" fmla="*/ 862963 w 2328854"/>
                    <a:gd name="connsiteY171" fmla="*/ 1662307 h 2163071"/>
                    <a:gd name="connsiteX172" fmla="*/ 866337 w 2328854"/>
                    <a:gd name="connsiteY172" fmla="*/ 1665440 h 2163071"/>
                    <a:gd name="connsiteX173" fmla="*/ 882483 w 2328854"/>
                    <a:gd name="connsiteY173" fmla="*/ 1672589 h 2163071"/>
                    <a:gd name="connsiteX174" fmla="*/ 2292962 w 2328854"/>
                    <a:gd name="connsiteY174" fmla="*/ 1291192 h 2163071"/>
                    <a:gd name="connsiteX175" fmla="*/ 2293525 w 2328854"/>
                    <a:gd name="connsiteY175" fmla="*/ 1290951 h 2163071"/>
                    <a:gd name="connsiteX176" fmla="*/ 2268382 w 2328854"/>
                    <a:gd name="connsiteY176" fmla="*/ 1250707 h 2163071"/>
                    <a:gd name="connsiteX177" fmla="*/ 2268221 w 2328854"/>
                    <a:gd name="connsiteY177" fmla="*/ 1250707 h 2163071"/>
                    <a:gd name="connsiteX178" fmla="*/ 2271033 w 2328854"/>
                    <a:gd name="connsiteY178" fmla="*/ 1269584 h 2163071"/>
                    <a:gd name="connsiteX179" fmla="*/ 2276093 w 2328854"/>
                    <a:gd name="connsiteY179" fmla="*/ 1279223 h 2163071"/>
                    <a:gd name="connsiteX180" fmla="*/ 2287500 w 2328854"/>
                    <a:gd name="connsiteY180" fmla="*/ 1294084 h 2163071"/>
                    <a:gd name="connsiteX181" fmla="*/ 2292962 w 2328854"/>
                    <a:gd name="connsiteY181" fmla="*/ 1291192 h 2163071"/>
                    <a:gd name="connsiteX182" fmla="*/ 2323648 w 2328854"/>
                    <a:gd name="connsiteY182" fmla="*/ 1196646 h 2163071"/>
                    <a:gd name="connsiteX183" fmla="*/ 2323648 w 2328854"/>
                    <a:gd name="connsiteY183" fmla="*/ 1196646 h 2163071"/>
                    <a:gd name="connsiteX184" fmla="*/ 2322603 w 2328854"/>
                    <a:gd name="connsiteY184" fmla="*/ 1199779 h 2163071"/>
                    <a:gd name="connsiteX185" fmla="*/ 2323648 w 2328854"/>
                    <a:gd name="connsiteY185" fmla="*/ 1196646 h 2163071"/>
                    <a:gd name="connsiteX186" fmla="*/ 2264767 w 2328854"/>
                    <a:gd name="connsiteY186" fmla="*/ 1227412 h 2163071"/>
                    <a:gd name="connsiteX187" fmla="*/ 2264767 w 2328854"/>
                    <a:gd name="connsiteY187" fmla="*/ 1227412 h 2163071"/>
                    <a:gd name="connsiteX188" fmla="*/ 2262277 w 2328854"/>
                    <a:gd name="connsiteY188" fmla="*/ 1236087 h 2163071"/>
                    <a:gd name="connsiteX189" fmla="*/ 2262357 w 2328854"/>
                    <a:gd name="connsiteY189" fmla="*/ 1236971 h 2163071"/>
                    <a:gd name="connsiteX190" fmla="*/ 2264767 w 2328854"/>
                    <a:gd name="connsiteY190" fmla="*/ 1227412 h 2163071"/>
                    <a:gd name="connsiteX191" fmla="*/ 2136644 w 2328854"/>
                    <a:gd name="connsiteY191" fmla="*/ 1299064 h 2163071"/>
                    <a:gd name="connsiteX192" fmla="*/ 2133270 w 2328854"/>
                    <a:gd name="connsiteY192" fmla="*/ 1298422 h 2163071"/>
                    <a:gd name="connsiteX193" fmla="*/ 2131985 w 2328854"/>
                    <a:gd name="connsiteY193" fmla="*/ 1299225 h 2163071"/>
                    <a:gd name="connsiteX194" fmla="*/ 2136564 w 2328854"/>
                    <a:gd name="connsiteY194" fmla="*/ 1300671 h 2163071"/>
                    <a:gd name="connsiteX195" fmla="*/ 2136644 w 2328854"/>
                    <a:gd name="connsiteY195" fmla="*/ 1299064 h 2163071"/>
                    <a:gd name="connsiteX196" fmla="*/ 2307180 w 2328854"/>
                    <a:gd name="connsiteY196" fmla="*/ 1172628 h 2163071"/>
                    <a:gd name="connsiteX197" fmla="*/ 2299951 w 2328854"/>
                    <a:gd name="connsiteY197" fmla="*/ 1170861 h 2163071"/>
                    <a:gd name="connsiteX198" fmla="*/ 2297380 w 2328854"/>
                    <a:gd name="connsiteY198" fmla="*/ 1171905 h 2163071"/>
                    <a:gd name="connsiteX199" fmla="*/ 2296336 w 2328854"/>
                    <a:gd name="connsiteY199" fmla="*/ 1170218 h 2163071"/>
                    <a:gd name="connsiteX200" fmla="*/ 2294970 w 2328854"/>
                    <a:gd name="connsiteY200" fmla="*/ 1172066 h 2163071"/>
                    <a:gd name="connsiteX201" fmla="*/ 2291356 w 2328854"/>
                    <a:gd name="connsiteY201" fmla="*/ 1179456 h 2163071"/>
                    <a:gd name="connsiteX202" fmla="*/ 2291597 w 2328854"/>
                    <a:gd name="connsiteY202" fmla="*/ 1178412 h 2163071"/>
                    <a:gd name="connsiteX203" fmla="*/ 2290793 w 2328854"/>
                    <a:gd name="connsiteY203" fmla="*/ 1178010 h 2163071"/>
                    <a:gd name="connsiteX204" fmla="*/ 2289508 w 2328854"/>
                    <a:gd name="connsiteY204" fmla="*/ 1216889 h 2163071"/>
                    <a:gd name="connsiteX205" fmla="*/ 2289588 w 2328854"/>
                    <a:gd name="connsiteY205" fmla="*/ 1217290 h 2163071"/>
                    <a:gd name="connsiteX206" fmla="*/ 2289829 w 2328854"/>
                    <a:gd name="connsiteY206" fmla="*/ 1218897 h 2163071"/>
                    <a:gd name="connsiteX207" fmla="*/ 2291356 w 2328854"/>
                    <a:gd name="connsiteY207" fmla="*/ 1216969 h 2163071"/>
                    <a:gd name="connsiteX208" fmla="*/ 2295533 w 2328854"/>
                    <a:gd name="connsiteY208" fmla="*/ 1210061 h 2163071"/>
                    <a:gd name="connsiteX209" fmla="*/ 2298344 w 2328854"/>
                    <a:gd name="connsiteY209" fmla="*/ 1211266 h 2163071"/>
                    <a:gd name="connsiteX210" fmla="*/ 2298183 w 2328854"/>
                    <a:gd name="connsiteY210" fmla="*/ 1213917 h 2163071"/>
                    <a:gd name="connsiteX211" fmla="*/ 2299629 w 2328854"/>
                    <a:gd name="connsiteY211" fmla="*/ 1210784 h 2163071"/>
                    <a:gd name="connsiteX212" fmla="*/ 2302360 w 2328854"/>
                    <a:gd name="connsiteY212" fmla="*/ 1203072 h 2163071"/>
                    <a:gd name="connsiteX213" fmla="*/ 2304770 w 2328854"/>
                    <a:gd name="connsiteY213" fmla="*/ 1197128 h 2163071"/>
                    <a:gd name="connsiteX214" fmla="*/ 2304449 w 2328854"/>
                    <a:gd name="connsiteY214" fmla="*/ 1196967 h 2163071"/>
                    <a:gd name="connsiteX215" fmla="*/ 2300352 w 2328854"/>
                    <a:gd name="connsiteY215" fmla="*/ 1200261 h 2163071"/>
                    <a:gd name="connsiteX216" fmla="*/ 2302521 w 2328854"/>
                    <a:gd name="connsiteY216" fmla="*/ 1196967 h 2163071"/>
                    <a:gd name="connsiteX217" fmla="*/ 2300593 w 2328854"/>
                    <a:gd name="connsiteY217" fmla="*/ 1197690 h 2163071"/>
                    <a:gd name="connsiteX218" fmla="*/ 2304851 w 2328854"/>
                    <a:gd name="connsiteY218" fmla="*/ 1188453 h 2163071"/>
                    <a:gd name="connsiteX219" fmla="*/ 2304369 w 2328854"/>
                    <a:gd name="connsiteY219" fmla="*/ 1186525 h 2163071"/>
                    <a:gd name="connsiteX220" fmla="*/ 2307180 w 2328854"/>
                    <a:gd name="connsiteY220" fmla="*/ 1172628 h 2163071"/>
                    <a:gd name="connsiteX221" fmla="*/ 2294488 w 2328854"/>
                    <a:gd name="connsiteY221" fmla="*/ 1156482 h 2163071"/>
                    <a:gd name="connsiteX222" fmla="*/ 2294729 w 2328854"/>
                    <a:gd name="connsiteY222" fmla="*/ 1156161 h 2163071"/>
                    <a:gd name="connsiteX223" fmla="*/ 2293123 w 2328854"/>
                    <a:gd name="connsiteY223" fmla="*/ 1157044 h 2163071"/>
                    <a:gd name="connsiteX224" fmla="*/ 2291356 w 2328854"/>
                    <a:gd name="connsiteY224" fmla="*/ 1159695 h 2163071"/>
                    <a:gd name="connsiteX225" fmla="*/ 2289267 w 2328854"/>
                    <a:gd name="connsiteY225" fmla="*/ 1161944 h 2163071"/>
                    <a:gd name="connsiteX226" fmla="*/ 2287259 w 2328854"/>
                    <a:gd name="connsiteY226" fmla="*/ 1164435 h 2163071"/>
                    <a:gd name="connsiteX227" fmla="*/ 2289347 w 2328854"/>
                    <a:gd name="connsiteY227" fmla="*/ 1165077 h 2163071"/>
                    <a:gd name="connsiteX228" fmla="*/ 2290633 w 2328854"/>
                    <a:gd name="connsiteY228" fmla="*/ 1164274 h 2163071"/>
                    <a:gd name="connsiteX229" fmla="*/ 2293846 w 2328854"/>
                    <a:gd name="connsiteY229" fmla="*/ 1162587 h 2163071"/>
                    <a:gd name="connsiteX230" fmla="*/ 2293926 w 2328854"/>
                    <a:gd name="connsiteY230" fmla="*/ 1159936 h 2163071"/>
                    <a:gd name="connsiteX231" fmla="*/ 2292962 w 2328854"/>
                    <a:gd name="connsiteY231" fmla="*/ 1161061 h 2163071"/>
                    <a:gd name="connsiteX232" fmla="*/ 2293284 w 2328854"/>
                    <a:gd name="connsiteY232" fmla="*/ 1159776 h 2163071"/>
                    <a:gd name="connsiteX233" fmla="*/ 2292641 w 2328854"/>
                    <a:gd name="connsiteY233" fmla="*/ 1158811 h 2163071"/>
                    <a:gd name="connsiteX234" fmla="*/ 2294488 w 2328854"/>
                    <a:gd name="connsiteY234" fmla="*/ 1156482 h 2163071"/>
                    <a:gd name="connsiteX235" fmla="*/ 2276093 w 2328854"/>
                    <a:gd name="connsiteY235" fmla="*/ 1162667 h 2163071"/>
                    <a:gd name="connsiteX236" fmla="*/ 2276013 w 2328854"/>
                    <a:gd name="connsiteY236" fmla="*/ 1162426 h 2163071"/>
                    <a:gd name="connsiteX237" fmla="*/ 2275692 w 2328854"/>
                    <a:gd name="connsiteY237" fmla="*/ 1163069 h 2163071"/>
                    <a:gd name="connsiteX238" fmla="*/ 2270069 w 2328854"/>
                    <a:gd name="connsiteY238" fmla="*/ 1183151 h 2163071"/>
                    <a:gd name="connsiteX239" fmla="*/ 2276093 w 2328854"/>
                    <a:gd name="connsiteY239" fmla="*/ 1162667 h 2163071"/>
                    <a:gd name="connsiteX240" fmla="*/ 2316016 w 2328854"/>
                    <a:gd name="connsiteY240" fmla="*/ 1116800 h 2163071"/>
                    <a:gd name="connsiteX241" fmla="*/ 2314811 w 2328854"/>
                    <a:gd name="connsiteY241" fmla="*/ 1116318 h 2163071"/>
                    <a:gd name="connsiteX242" fmla="*/ 2314892 w 2328854"/>
                    <a:gd name="connsiteY242" fmla="*/ 1116318 h 2163071"/>
                    <a:gd name="connsiteX243" fmla="*/ 2316016 w 2328854"/>
                    <a:gd name="connsiteY243" fmla="*/ 1116800 h 2163071"/>
                    <a:gd name="connsiteX244" fmla="*/ 748898 w 2328854"/>
                    <a:gd name="connsiteY244" fmla="*/ 1562138 h 2163071"/>
                    <a:gd name="connsiteX245" fmla="*/ 748898 w 2328854"/>
                    <a:gd name="connsiteY245" fmla="*/ 1562138 h 2163071"/>
                    <a:gd name="connsiteX246" fmla="*/ 740463 w 2328854"/>
                    <a:gd name="connsiteY246" fmla="*/ 1564950 h 2163071"/>
                    <a:gd name="connsiteX247" fmla="*/ 740383 w 2328854"/>
                    <a:gd name="connsiteY247" fmla="*/ 1565432 h 2163071"/>
                    <a:gd name="connsiteX248" fmla="*/ 748898 w 2328854"/>
                    <a:gd name="connsiteY248" fmla="*/ 1562138 h 2163071"/>
                    <a:gd name="connsiteX249" fmla="*/ 2315936 w 2328854"/>
                    <a:gd name="connsiteY249" fmla="*/ 1066756 h 2163071"/>
                    <a:gd name="connsiteX250" fmla="*/ 2315936 w 2328854"/>
                    <a:gd name="connsiteY250" fmla="*/ 1066434 h 2163071"/>
                    <a:gd name="connsiteX251" fmla="*/ 2315775 w 2328854"/>
                    <a:gd name="connsiteY251" fmla="*/ 1066675 h 2163071"/>
                    <a:gd name="connsiteX252" fmla="*/ 2314490 w 2328854"/>
                    <a:gd name="connsiteY252" fmla="*/ 1075029 h 2163071"/>
                    <a:gd name="connsiteX253" fmla="*/ 2315936 w 2328854"/>
                    <a:gd name="connsiteY253" fmla="*/ 1066756 h 2163071"/>
                    <a:gd name="connsiteX254" fmla="*/ 1834530 w 2328854"/>
                    <a:gd name="connsiteY254" fmla="*/ 1333284 h 2163071"/>
                    <a:gd name="connsiteX255" fmla="*/ 1834450 w 2328854"/>
                    <a:gd name="connsiteY255" fmla="*/ 1330392 h 2163071"/>
                    <a:gd name="connsiteX256" fmla="*/ 1833325 w 2328854"/>
                    <a:gd name="connsiteY256" fmla="*/ 1331436 h 2163071"/>
                    <a:gd name="connsiteX257" fmla="*/ 1833727 w 2328854"/>
                    <a:gd name="connsiteY257" fmla="*/ 1330231 h 2163071"/>
                    <a:gd name="connsiteX258" fmla="*/ 1832442 w 2328854"/>
                    <a:gd name="connsiteY258" fmla="*/ 1326697 h 2163071"/>
                    <a:gd name="connsiteX259" fmla="*/ 1830755 w 2328854"/>
                    <a:gd name="connsiteY259" fmla="*/ 1322199 h 2163071"/>
                    <a:gd name="connsiteX260" fmla="*/ 1831960 w 2328854"/>
                    <a:gd name="connsiteY260" fmla="*/ 1321556 h 2163071"/>
                    <a:gd name="connsiteX261" fmla="*/ 1829309 w 2328854"/>
                    <a:gd name="connsiteY261" fmla="*/ 1317459 h 2163071"/>
                    <a:gd name="connsiteX262" fmla="*/ 1830594 w 2328854"/>
                    <a:gd name="connsiteY262" fmla="*/ 1321717 h 2163071"/>
                    <a:gd name="connsiteX263" fmla="*/ 1828827 w 2328854"/>
                    <a:gd name="connsiteY263" fmla="*/ 1323886 h 2163071"/>
                    <a:gd name="connsiteX264" fmla="*/ 1821196 w 2328854"/>
                    <a:gd name="connsiteY264" fmla="*/ 1327581 h 2163071"/>
                    <a:gd name="connsiteX265" fmla="*/ 1823686 w 2328854"/>
                    <a:gd name="connsiteY265" fmla="*/ 1326376 h 2163071"/>
                    <a:gd name="connsiteX266" fmla="*/ 1813243 w 2328854"/>
                    <a:gd name="connsiteY266" fmla="*/ 1324448 h 2163071"/>
                    <a:gd name="connsiteX267" fmla="*/ 1804006 w 2328854"/>
                    <a:gd name="connsiteY267" fmla="*/ 1321797 h 2163071"/>
                    <a:gd name="connsiteX268" fmla="*/ 1803925 w 2328854"/>
                    <a:gd name="connsiteY268" fmla="*/ 1322520 h 2163071"/>
                    <a:gd name="connsiteX269" fmla="*/ 1806657 w 2328854"/>
                    <a:gd name="connsiteY269" fmla="*/ 1325813 h 2163071"/>
                    <a:gd name="connsiteX270" fmla="*/ 1795089 w 2328854"/>
                    <a:gd name="connsiteY270" fmla="*/ 1330955 h 2163071"/>
                    <a:gd name="connsiteX271" fmla="*/ 1802721 w 2328854"/>
                    <a:gd name="connsiteY271" fmla="*/ 1327822 h 2163071"/>
                    <a:gd name="connsiteX272" fmla="*/ 1804166 w 2328854"/>
                    <a:gd name="connsiteY272" fmla="*/ 1327982 h 2163071"/>
                    <a:gd name="connsiteX273" fmla="*/ 1805532 w 2328854"/>
                    <a:gd name="connsiteY273" fmla="*/ 1328464 h 2163071"/>
                    <a:gd name="connsiteX274" fmla="*/ 1815975 w 2328854"/>
                    <a:gd name="connsiteY274" fmla="*/ 1330231 h 2163071"/>
                    <a:gd name="connsiteX275" fmla="*/ 1816055 w 2328854"/>
                    <a:gd name="connsiteY275" fmla="*/ 1330392 h 2163071"/>
                    <a:gd name="connsiteX276" fmla="*/ 1817661 w 2328854"/>
                    <a:gd name="connsiteY276" fmla="*/ 1328946 h 2163071"/>
                    <a:gd name="connsiteX277" fmla="*/ 1820393 w 2328854"/>
                    <a:gd name="connsiteY277" fmla="*/ 1330231 h 2163071"/>
                    <a:gd name="connsiteX278" fmla="*/ 1826738 w 2328854"/>
                    <a:gd name="connsiteY278" fmla="*/ 1330794 h 2163071"/>
                    <a:gd name="connsiteX279" fmla="*/ 1823927 w 2328854"/>
                    <a:gd name="connsiteY279" fmla="*/ 1332159 h 2163071"/>
                    <a:gd name="connsiteX280" fmla="*/ 1819509 w 2328854"/>
                    <a:gd name="connsiteY280" fmla="*/ 1335212 h 2163071"/>
                    <a:gd name="connsiteX281" fmla="*/ 1829229 w 2328854"/>
                    <a:gd name="connsiteY281" fmla="*/ 1332481 h 2163071"/>
                    <a:gd name="connsiteX282" fmla="*/ 1824650 w 2328854"/>
                    <a:gd name="connsiteY282" fmla="*/ 1334489 h 2163071"/>
                    <a:gd name="connsiteX283" fmla="*/ 1828024 w 2328854"/>
                    <a:gd name="connsiteY283" fmla="*/ 1334168 h 2163071"/>
                    <a:gd name="connsiteX284" fmla="*/ 1828024 w 2328854"/>
                    <a:gd name="connsiteY284" fmla="*/ 1333364 h 2163071"/>
                    <a:gd name="connsiteX285" fmla="*/ 1832281 w 2328854"/>
                    <a:gd name="connsiteY285" fmla="*/ 1334409 h 2163071"/>
                    <a:gd name="connsiteX286" fmla="*/ 1829871 w 2328854"/>
                    <a:gd name="connsiteY286" fmla="*/ 1336336 h 2163071"/>
                    <a:gd name="connsiteX287" fmla="*/ 1831478 w 2328854"/>
                    <a:gd name="connsiteY287" fmla="*/ 1336497 h 2163071"/>
                    <a:gd name="connsiteX288" fmla="*/ 1831157 w 2328854"/>
                    <a:gd name="connsiteY288" fmla="*/ 1339148 h 2163071"/>
                    <a:gd name="connsiteX289" fmla="*/ 1832602 w 2328854"/>
                    <a:gd name="connsiteY289" fmla="*/ 1339308 h 2163071"/>
                    <a:gd name="connsiteX290" fmla="*/ 1823847 w 2328854"/>
                    <a:gd name="connsiteY290" fmla="*/ 1343325 h 2163071"/>
                    <a:gd name="connsiteX291" fmla="*/ 1818545 w 2328854"/>
                    <a:gd name="connsiteY291" fmla="*/ 1345092 h 2163071"/>
                    <a:gd name="connsiteX292" fmla="*/ 1836699 w 2328854"/>
                    <a:gd name="connsiteY292" fmla="*/ 1339790 h 2163071"/>
                    <a:gd name="connsiteX293" fmla="*/ 1835735 w 2328854"/>
                    <a:gd name="connsiteY293" fmla="*/ 1340915 h 2163071"/>
                    <a:gd name="connsiteX294" fmla="*/ 1834530 w 2328854"/>
                    <a:gd name="connsiteY294" fmla="*/ 1333284 h 2163071"/>
                    <a:gd name="connsiteX295" fmla="*/ 574988 w 2328854"/>
                    <a:gd name="connsiteY295" fmla="*/ 1494823 h 2163071"/>
                    <a:gd name="connsiteX296" fmla="*/ 575148 w 2328854"/>
                    <a:gd name="connsiteY296" fmla="*/ 1494823 h 2163071"/>
                    <a:gd name="connsiteX297" fmla="*/ 569525 w 2328854"/>
                    <a:gd name="connsiteY297" fmla="*/ 1493699 h 2163071"/>
                    <a:gd name="connsiteX298" fmla="*/ 569525 w 2328854"/>
                    <a:gd name="connsiteY298" fmla="*/ 1493699 h 2163071"/>
                    <a:gd name="connsiteX299" fmla="*/ 569525 w 2328854"/>
                    <a:gd name="connsiteY299" fmla="*/ 1493699 h 2163071"/>
                    <a:gd name="connsiteX300" fmla="*/ 569525 w 2328854"/>
                    <a:gd name="connsiteY300" fmla="*/ 1493699 h 2163071"/>
                    <a:gd name="connsiteX301" fmla="*/ 569525 w 2328854"/>
                    <a:gd name="connsiteY301" fmla="*/ 1493699 h 2163071"/>
                    <a:gd name="connsiteX302" fmla="*/ 569525 w 2328854"/>
                    <a:gd name="connsiteY302" fmla="*/ 1493699 h 2163071"/>
                    <a:gd name="connsiteX303" fmla="*/ 569525 w 2328854"/>
                    <a:gd name="connsiteY303" fmla="*/ 1493699 h 2163071"/>
                    <a:gd name="connsiteX304" fmla="*/ 569525 w 2328854"/>
                    <a:gd name="connsiteY304" fmla="*/ 1493699 h 2163071"/>
                    <a:gd name="connsiteX305" fmla="*/ 569525 w 2328854"/>
                    <a:gd name="connsiteY305" fmla="*/ 1493699 h 2163071"/>
                    <a:gd name="connsiteX306" fmla="*/ 574988 w 2328854"/>
                    <a:gd name="connsiteY306" fmla="*/ 1494823 h 2163071"/>
                    <a:gd name="connsiteX307" fmla="*/ 2324692 w 2328854"/>
                    <a:gd name="connsiteY307" fmla="*/ 978796 h 2163071"/>
                    <a:gd name="connsiteX308" fmla="*/ 2324370 w 2328854"/>
                    <a:gd name="connsiteY308" fmla="*/ 978234 h 2163071"/>
                    <a:gd name="connsiteX309" fmla="*/ 2324370 w 2328854"/>
                    <a:gd name="connsiteY309" fmla="*/ 978475 h 2163071"/>
                    <a:gd name="connsiteX310" fmla="*/ 2324611 w 2328854"/>
                    <a:gd name="connsiteY310" fmla="*/ 978796 h 2163071"/>
                    <a:gd name="connsiteX311" fmla="*/ 2324692 w 2328854"/>
                    <a:gd name="connsiteY311" fmla="*/ 978796 h 2163071"/>
                    <a:gd name="connsiteX312" fmla="*/ 2324692 w 2328854"/>
                    <a:gd name="connsiteY312" fmla="*/ 978796 h 2163071"/>
                    <a:gd name="connsiteX313" fmla="*/ 2294569 w 2328854"/>
                    <a:gd name="connsiteY313" fmla="*/ 1010847 h 2163071"/>
                    <a:gd name="connsiteX314" fmla="*/ 2294569 w 2328854"/>
                    <a:gd name="connsiteY314" fmla="*/ 1010847 h 2163071"/>
                    <a:gd name="connsiteX315" fmla="*/ 2291516 w 2328854"/>
                    <a:gd name="connsiteY315" fmla="*/ 1014542 h 2163071"/>
                    <a:gd name="connsiteX316" fmla="*/ 2293203 w 2328854"/>
                    <a:gd name="connsiteY316" fmla="*/ 1012534 h 2163071"/>
                    <a:gd name="connsiteX317" fmla="*/ 2294087 w 2328854"/>
                    <a:gd name="connsiteY317" fmla="*/ 1011490 h 2163071"/>
                    <a:gd name="connsiteX318" fmla="*/ 2294569 w 2328854"/>
                    <a:gd name="connsiteY318" fmla="*/ 1010847 h 2163071"/>
                    <a:gd name="connsiteX319" fmla="*/ 212869 w 2328854"/>
                    <a:gd name="connsiteY319" fmla="*/ 1424858 h 2163071"/>
                    <a:gd name="connsiteX320" fmla="*/ 209415 w 2328854"/>
                    <a:gd name="connsiteY320" fmla="*/ 1423010 h 2163071"/>
                    <a:gd name="connsiteX321" fmla="*/ 207166 w 2328854"/>
                    <a:gd name="connsiteY321" fmla="*/ 1422448 h 2163071"/>
                    <a:gd name="connsiteX322" fmla="*/ 210781 w 2328854"/>
                    <a:gd name="connsiteY322" fmla="*/ 1426063 h 2163071"/>
                    <a:gd name="connsiteX323" fmla="*/ 212869 w 2328854"/>
                    <a:gd name="connsiteY323" fmla="*/ 1424858 h 2163071"/>
                    <a:gd name="connsiteX324" fmla="*/ 2053183 w 2328854"/>
                    <a:gd name="connsiteY324" fmla="*/ 1166443 h 2163071"/>
                    <a:gd name="connsiteX325" fmla="*/ 2053906 w 2328854"/>
                    <a:gd name="connsiteY325" fmla="*/ 1166041 h 2163071"/>
                    <a:gd name="connsiteX326" fmla="*/ 2053585 w 2328854"/>
                    <a:gd name="connsiteY326" fmla="*/ 1166202 h 2163071"/>
                    <a:gd name="connsiteX327" fmla="*/ 2048042 w 2328854"/>
                    <a:gd name="connsiteY327" fmla="*/ 1169174 h 2163071"/>
                    <a:gd name="connsiteX328" fmla="*/ 2053183 w 2328854"/>
                    <a:gd name="connsiteY328" fmla="*/ 1166443 h 2163071"/>
                    <a:gd name="connsiteX329" fmla="*/ 177204 w 2328854"/>
                    <a:gd name="connsiteY329" fmla="*/ 1374492 h 2163071"/>
                    <a:gd name="connsiteX330" fmla="*/ 177444 w 2328854"/>
                    <a:gd name="connsiteY330" fmla="*/ 1374171 h 2163071"/>
                    <a:gd name="connsiteX331" fmla="*/ 177284 w 2328854"/>
                    <a:gd name="connsiteY331" fmla="*/ 1374251 h 2163071"/>
                    <a:gd name="connsiteX332" fmla="*/ 171018 w 2328854"/>
                    <a:gd name="connsiteY332" fmla="*/ 1375215 h 2163071"/>
                    <a:gd name="connsiteX333" fmla="*/ 177204 w 2328854"/>
                    <a:gd name="connsiteY333" fmla="*/ 1374492 h 2163071"/>
                    <a:gd name="connsiteX334" fmla="*/ 115271 w 2328854"/>
                    <a:gd name="connsiteY334" fmla="*/ 1346297 h 2163071"/>
                    <a:gd name="connsiteX335" fmla="*/ 115271 w 2328854"/>
                    <a:gd name="connsiteY335" fmla="*/ 1346297 h 2163071"/>
                    <a:gd name="connsiteX336" fmla="*/ 114226 w 2328854"/>
                    <a:gd name="connsiteY336" fmla="*/ 1344771 h 2163071"/>
                    <a:gd name="connsiteX337" fmla="*/ 114226 w 2328854"/>
                    <a:gd name="connsiteY337" fmla="*/ 1344851 h 2163071"/>
                    <a:gd name="connsiteX338" fmla="*/ 115271 w 2328854"/>
                    <a:gd name="connsiteY338" fmla="*/ 1346297 h 2163071"/>
                    <a:gd name="connsiteX339" fmla="*/ 433450 w 2328854"/>
                    <a:gd name="connsiteY339" fmla="*/ 1391040 h 2163071"/>
                    <a:gd name="connsiteX340" fmla="*/ 433851 w 2328854"/>
                    <a:gd name="connsiteY340" fmla="*/ 1390558 h 2163071"/>
                    <a:gd name="connsiteX341" fmla="*/ 430799 w 2328854"/>
                    <a:gd name="connsiteY341" fmla="*/ 1389353 h 2163071"/>
                    <a:gd name="connsiteX342" fmla="*/ 429112 w 2328854"/>
                    <a:gd name="connsiteY342" fmla="*/ 1389754 h 2163071"/>
                    <a:gd name="connsiteX343" fmla="*/ 433450 w 2328854"/>
                    <a:gd name="connsiteY343" fmla="*/ 1391040 h 2163071"/>
                    <a:gd name="connsiteX344" fmla="*/ 41690 w 2328854"/>
                    <a:gd name="connsiteY344" fmla="*/ 1258418 h 2163071"/>
                    <a:gd name="connsiteX345" fmla="*/ 41771 w 2328854"/>
                    <a:gd name="connsiteY345" fmla="*/ 1258258 h 2163071"/>
                    <a:gd name="connsiteX346" fmla="*/ 38879 w 2328854"/>
                    <a:gd name="connsiteY346" fmla="*/ 1254482 h 2163071"/>
                    <a:gd name="connsiteX347" fmla="*/ 36951 w 2328854"/>
                    <a:gd name="connsiteY347" fmla="*/ 1253840 h 2163071"/>
                    <a:gd name="connsiteX348" fmla="*/ 41690 w 2328854"/>
                    <a:gd name="connsiteY348" fmla="*/ 1258418 h 2163071"/>
                    <a:gd name="connsiteX349" fmla="*/ 2213357 w 2328854"/>
                    <a:gd name="connsiteY349" fmla="*/ 927547 h 2163071"/>
                    <a:gd name="connsiteX350" fmla="*/ 2213438 w 2328854"/>
                    <a:gd name="connsiteY350" fmla="*/ 927226 h 2163071"/>
                    <a:gd name="connsiteX351" fmla="*/ 2211108 w 2328854"/>
                    <a:gd name="connsiteY351" fmla="*/ 929074 h 2163071"/>
                    <a:gd name="connsiteX352" fmla="*/ 2207814 w 2328854"/>
                    <a:gd name="connsiteY352" fmla="*/ 933251 h 2163071"/>
                    <a:gd name="connsiteX353" fmla="*/ 2209421 w 2328854"/>
                    <a:gd name="connsiteY353" fmla="*/ 934054 h 2163071"/>
                    <a:gd name="connsiteX354" fmla="*/ 2207493 w 2328854"/>
                    <a:gd name="connsiteY354" fmla="*/ 949075 h 2163071"/>
                    <a:gd name="connsiteX355" fmla="*/ 2208939 w 2328854"/>
                    <a:gd name="connsiteY355" fmla="*/ 939195 h 2163071"/>
                    <a:gd name="connsiteX356" fmla="*/ 2210305 w 2328854"/>
                    <a:gd name="connsiteY356" fmla="*/ 935339 h 2163071"/>
                    <a:gd name="connsiteX357" fmla="*/ 2210947 w 2328854"/>
                    <a:gd name="connsiteY357" fmla="*/ 930439 h 2163071"/>
                    <a:gd name="connsiteX358" fmla="*/ 2212956 w 2328854"/>
                    <a:gd name="connsiteY358" fmla="*/ 929957 h 2163071"/>
                    <a:gd name="connsiteX359" fmla="*/ 2213357 w 2328854"/>
                    <a:gd name="connsiteY359" fmla="*/ 927547 h 2163071"/>
                    <a:gd name="connsiteX360" fmla="*/ 2215124 w 2328854"/>
                    <a:gd name="connsiteY360" fmla="*/ 917105 h 2163071"/>
                    <a:gd name="connsiteX361" fmla="*/ 2214482 w 2328854"/>
                    <a:gd name="connsiteY361" fmla="*/ 913490 h 2163071"/>
                    <a:gd name="connsiteX362" fmla="*/ 2211269 w 2328854"/>
                    <a:gd name="connsiteY362" fmla="*/ 908911 h 2163071"/>
                    <a:gd name="connsiteX363" fmla="*/ 2211510 w 2328854"/>
                    <a:gd name="connsiteY363" fmla="*/ 909474 h 2163071"/>
                    <a:gd name="connsiteX364" fmla="*/ 2212554 w 2328854"/>
                    <a:gd name="connsiteY364" fmla="*/ 914132 h 2163071"/>
                    <a:gd name="connsiteX365" fmla="*/ 2211429 w 2328854"/>
                    <a:gd name="connsiteY365" fmla="*/ 915418 h 2163071"/>
                    <a:gd name="connsiteX366" fmla="*/ 2211911 w 2328854"/>
                    <a:gd name="connsiteY366" fmla="*/ 914855 h 2163071"/>
                    <a:gd name="connsiteX367" fmla="*/ 2211429 w 2328854"/>
                    <a:gd name="connsiteY367" fmla="*/ 916542 h 2163071"/>
                    <a:gd name="connsiteX368" fmla="*/ 2214160 w 2328854"/>
                    <a:gd name="connsiteY368" fmla="*/ 924575 h 2163071"/>
                    <a:gd name="connsiteX369" fmla="*/ 2217213 w 2328854"/>
                    <a:gd name="connsiteY369" fmla="*/ 919916 h 2163071"/>
                    <a:gd name="connsiteX370" fmla="*/ 2215124 w 2328854"/>
                    <a:gd name="connsiteY370" fmla="*/ 917105 h 2163071"/>
                    <a:gd name="connsiteX371" fmla="*/ 88361 w 2328854"/>
                    <a:gd name="connsiteY371" fmla="*/ 1230786 h 2163071"/>
                    <a:gd name="connsiteX372" fmla="*/ 89003 w 2328854"/>
                    <a:gd name="connsiteY372" fmla="*/ 1220263 h 2163071"/>
                    <a:gd name="connsiteX373" fmla="*/ 88843 w 2328854"/>
                    <a:gd name="connsiteY373" fmla="*/ 1220263 h 2163071"/>
                    <a:gd name="connsiteX374" fmla="*/ 87477 w 2328854"/>
                    <a:gd name="connsiteY374" fmla="*/ 1220263 h 2163071"/>
                    <a:gd name="connsiteX375" fmla="*/ 86835 w 2328854"/>
                    <a:gd name="connsiteY375" fmla="*/ 1229741 h 2163071"/>
                    <a:gd name="connsiteX376" fmla="*/ 85871 w 2328854"/>
                    <a:gd name="connsiteY376" fmla="*/ 1236810 h 2163071"/>
                    <a:gd name="connsiteX377" fmla="*/ 88361 w 2328854"/>
                    <a:gd name="connsiteY377" fmla="*/ 1230786 h 2163071"/>
                    <a:gd name="connsiteX378" fmla="*/ 77115 w 2328854"/>
                    <a:gd name="connsiteY378" fmla="*/ 1196164 h 2163071"/>
                    <a:gd name="connsiteX379" fmla="*/ 75187 w 2328854"/>
                    <a:gd name="connsiteY379" fmla="*/ 1189577 h 2163071"/>
                    <a:gd name="connsiteX380" fmla="*/ 75267 w 2328854"/>
                    <a:gd name="connsiteY380" fmla="*/ 1189818 h 2163071"/>
                    <a:gd name="connsiteX381" fmla="*/ 75589 w 2328854"/>
                    <a:gd name="connsiteY381" fmla="*/ 1192228 h 2163071"/>
                    <a:gd name="connsiteX382" fmla="*/ 75348 w 2328854"/>
                    <a:gd name="connsiteY382" fmla="*/ 1193192 h 2163071"/>
                    <a:gd name="connsiteX383" fmla="*/ 75589 w 2328854"/>
                    <a:gd name="connsiteY383" fmla="*/ 1194076 h 2163071"/>
                    <a:gd name="connsiteX384" fmla="*/ 75830 w 2328854"/>
                    <a:gd name="connsiteY384" fmla="*/ 1195120 h 2163071"/>
                    <a:gd name="connsiteX385" fmla="*/ 77115 w 2328854"/>
                    <a:gd name="connsiteY385" fmla="*/ 1196164 h 2163071"/>
                    <a:gd name="connsiteX386" fmla="*/ 294322 w 2328854"/>
                    <a:gd name="connsiteY386" fmla="*/ 1247172 h 2163071"/>
                    <a:gd name="connsiteX387" fmla="*/ 294402 w 2328854"/>
                    <a:gd name="connsiteY387" fmla="*/ 1247253 h 2163071"/>
                    <a:gd name="connsiteX388" fmla="*/ 294402 w 2328854"/>
                    <a:gd name="connsiteY388" fmla="*/ 1245485 h 2163071"/>
                    <a:gd name="connsiteX389" fmla="*/ 294402 w 2328854"/>
                    <a:gd name="connsiteY389" fmla="*/ 1245405 h 2163071"/>
                    <a:gd name="connsiteX390" fmla="*/ 294081 w 2328854"/>
                    <a:gd name="connsiteY390" fmla="*/ 1244682 h 2163071"/>
                    <a:gd name="connsiteX391" fmla="*/ 293679 w 2328854"/>
                    <a:gd name="connsiteY391" fmla="*/ 1245405 h 2163071"/>
                    <a:gd name="connsiteX392" fmla="*/ 294322 w 2328854"/>
                    <a:gd name="connsiteY392" fmla="*/ 1247172 h 2163071"/>
                    <a:gd name="connsiteX393" fmla="*/ 282032 w 2328854"/>
                    <a:gd name="connsiteY393" fmla="*/ 1230866 h 2163071"/>
                    <a:gd name="connsiteX394" fmla="*/ 280505 w 2328854"/>
                    <a:gd name="connsiteY394" fmla="*/ 1227572 h 2163071"/>
                    <a:gd name="connsiteX395" fmla="*/ 280425 w 2328854"/>
                    <a:gd name="connsiteY395" fmla="*/ 1227733 h 2163071"/>
                    <a:gd name="connsiteX396" fmla="*/ 281228 w 2328854"/>
                    <a:gd name="connsiteY396" fmla="*/ 1231910 h 2163071"/>
                    <a:gd name="connsiteX397" fmla="*/ 282032 w 2328854"/>
                    <a:gd name="connsiteY397" fmla="*/ 1230866 h 2163071"/>
                    <a:gd name="connsiteX398" fmla="*/ 67395 w 2328854"/>
                    <a:gd name="connsiteY398" fmla="*/ 1151502 h 2163071"/>
                    <a:gd name="connsiteX399" fmla="*/ 67395 w 2328854"/>
                    <a:gd name="connsiteY399" fmla="*/ 1151421 h 2163071"/>
                    <a:gd name="connsiteX400" fmla="*/ 67315 w 2328854"/>
                    <a:gd name="connsiteY400" fmla="*/ 1149815 h 2163071"/>
                    <a:gd name="connsiteX401" fmla="*/ 66913 w 2328854"/>
                    <a:gd name="connsiteY401" fmla="*/ 1150618 h 2163071"/>
                    <a:gd name="connsiteX402" fmla="*/ 66833 w 2328854"/>
                    <a:gd name="connsiteY402" fmla="*/ 1150377 h 2163071"/>
                    <a:gd name="connsiteX403" fmla="*/ 65066 w 2328854"/>
                    <a:gd name="connsiteY403" fmla="*/ 1148289 h 2163071"/>
                    <a:gd name="connsiteX404" fmla="*/ 64664 w 2328854"/>
                    <a:gd name="connsiteY404" fmla="*/ 1149735 h 2163071"/>
                    <a:gd name="connsiteX405" fmla="*/ 67395 w 2328854"/>
                    <a:gd name="connsiteY405" fmla="*/ 1151502 h 2163071"/>
                    <a:gd name="connsiteX406" fmla="*/ 168930 w 2328854"/>
                    <a:gd name="connsiteY406" fmla="*/ 1188131 h 2163071"/>
                    <a:gd name="connsiteX407" fmla="*/ 168930 w 2328854"/>
                    <a:gd name="connsiteY407" fmla="*/ 1188131 h 2163071"/>
                    <a:gd name="connsiteX408" fmla="*/ 168367 w 2328854"/>
                    <a:gd name="connsiteY408" fmla="*/ 1186685 h 2163071"/>
                    <a:gd name="connsiteX409" fmla="*/ 168367 w 2328854"/>
                    <a:gd name="connsiteY409" fmla="*/ 1186685 h 2163071"/>
                    <a:gd name="connsiteX410" fmla="*/ 168930 w 2328854"/>
                    <a:gd name="connsiteY410" fmla="*/ 1188131 h 2163071"/>
                    <a:gd name="connsiteX411" fmla="*/ 2296416 w 2328854"/>
                    <a:gd name="connsiteY411" fmla="*/ 722631 h 2163071"/>
                    <a:gd name="connsiteX412" fmla="*/ 2296336 w 2328854"/>
                    <a:gd name="connsiteY412" fmla="*/ 722068 h 2163071"/>
                    <a:gd name="connsiteX413" fmla="*/ 2261474 w 2328854"/>
                    <a:gd name="connsiteY413" fmla="*/ 723514 h 2163071"/>
                    <a:gd name="connsiteX414" fmla="*/ 2261714 w 2328854"/>
                    <a:gd name="connsiteY414" fmla="*/ 721506 h 2163071"/>
                    <a:gd name="connsiteX415" fmla="*/ 2261393 w 2328854"/>
                    <a:gd name="connsiteY415" fmla="*/ 721426 h 2163071"/>
                    <a:gd name="connsiteX416" fmla="*/ 2260670 w 2328854"/>
                    <a:gd name="connsiteY416" fmla="*/ 722068 h 2163071"/>
                    <a:gd name="connsiteX417" fmla="*/ 2261072 w 2328854"/>
                    <a:gd name="connsiteY417" fmla="*/ 722470 h 2163071"/>
                    <a:gd name="connsiteX418" fmla="*/ 2263964 w 2328854"/>
                    <a:gd name="connsiteY418" fmla="*/ 738455 h 2163071"/>
                    <a:gd name="connsiteX419" fmla="*/ 2265410 w 2328854"/>
                    <a:gd name="connsiteY419" fmla="*/ 744399 h 2163071"/>
                    <a:gd name="connsiteX420" fmla="*/ 2279306 w 2328854"/>
                    <a:gd name="connsiteY420" fmla="*/ 755645 h 2163071"/>
                    <a:gd name="connsiteX421" fmla="*/ 2286054 w 2328854"/>
                    <a:gd name="connsiteY421" fmla="*/ 757814 h 2163071"/>
                    <a:gd name="connsiteX422" fmla="*/ 2297621 w 2328854"/>
                    <a:gd name="connsiteY422" fmla="*/ 774281 h 2163071"/>
                    <a:gd name="connsiteX423" fmla="*/ 2293042 w 2328854"/>
                    <a:gd name="connsiteY423" fmla="*/ 759180 h 2163071"/>
                    <a:gd name="connsiteX424" fmla="*/ 2299469 w 2328854"/>
                    <a:gd name="connsiteY424" fmla="*/ 773157 h 2163071"/>
                    <a:gd name="connsiteX425" fmla="*/ 2299951 w 2328854"/>
                    <a:gd name="connsiteY425" fmla="*/ 772675 h 2163071"/>
                    <a:gd name="connsiteX426" fmla="*/ 2300915 w 2328854"/>
                    <a:gd name="connsiteY426" fmla="*/ 775888 h 2163071"/>
                    <a:gd name="connsiteX427" fmla="*/ 2301477 w 2328854"/>
                    <a:gd name="connsiteY427" fmla="*/ 774844 h 2163071"/>
                    <a:gd name="connsiteX428" fmla="*/ 2303325 w 2328854"/>
                    <a:gd name="connsiteY428" fmla="*/ 750344 h 2163071"/>
                    <a:gd name="connsiteX429" fmla="*/ 2296416 w 2328854"/>
                    <a:gd name="connsiteY429" fmla="*/ 722631 h 2163071"/>
                    <a:gd name="connsiteX430" fmla="*/ 2255529 w 2328854"/>
                    <a:gd name="connsiteY430" fmla="*/ 729699 h 2163071"/>
                    <a:gd name="connsiteX431" fmla="*/ 2255529 w 2328854"/>
                    <a:gd name="connsiteY431" fmla="*/ 729218 h 2163071"/>
                    <a:gd name="connsiteX432" fmla="*/ 2252798 w 2328854"/>
                    <a:gd name="connsiteY432" fmla="*/ 732029 h 2163071"/>
                    <a:gd name="connsiteX433" fmla="*/ 2252236 w 2328854"/>
                    <a:gd name="connsiteY433" fmla="*/ 732591 h 2163071"/>
                    <a:gd name="connsiteX434" fmla="*/ 2252155 w 2328854"/>
                    <a:gd name="connsiteY434" fmla="*/ 732752 h 2163071"/>
                    <a:gd name="connsiteX435" fmla="*/ 2255529 w 2328854"/>
                    <a:gd name="connsiteY435" fmla="*/ 729699 h 2163071"/>
                    <a:gd name="connsiteX436" fmla="*/ 2191749 w 2328854"/>
                    <a:gd name="connsiteY436" fmla="*/ 806975 h 2163071"/>
                    <a:gd name="connsiteX437" fmla="*/ 2191749 w 2328854"/>
                    <a:gd name="connsiteY437" fmla="*/ 806975 h 2163071"/>
                    <a:gd name="connsiteX438" fmla="*/ 2190865 w 2328854"/>
                    <a:gd name="connsiteY438" fmla="*/ 807537 h 2163071"/>
                    <a:gd name="connsiteX439" fmla="*/ 2190865 w 2328854"/>
                    <a:gd name="connsiteY439" fmla="*/ 807537 h 2163071"/>
                    <a:gd name="connsiteX440" fmla="*/ 2191749 w 2328854"/>
                    <a:gd name="connsiteY440" fmla="*/ 806975 h 2163071"/>
                    <a:gd name="connsiteX441" fmla="*/ 2189500 w 2328854"/>
                    <a:gd name="connsiteY441" fmla="*/ 801834 h 2163071"/>
                    <a:gd name="connsiteX442" fmla="*/ 2189580 w 2328854"/>
                    <a:gd name="connsiteY442" fmla="*/ 801673 h 2163071"/>
                    <a:gd name="connsiteX443" fmla="*/ 2189500 w 2328854"/>
                    <a:gd name="connsiteY443" fmla="*/ 801834 h 2163071"/>
                    <a:gd name="connsiteX444" fmla="*/ 2188696 w 2328854"/>
                    <a:gd name="connsiteY444" fmla="*/ 804163 h 2163071"/>
                    <a:gd name="connsiteX445" fmla="*/ 2189500 w 2328854"/>
                    <a:gd name="connsiteY445" fmla="*/ 801834 h 2163071"/>
                    <a:gd name="connsiteX446" fmla="*/ 2189741 w 2328854"/>
                    <a:gd name="connsiteY446" fmla="*/ 801191 h 2163071"/>
                    <a:gd name="connsiteX447" fmla="*/ 2189741 w 2328854"/>
                    <a:gd name="connsiteY447" fmla="*/ 801191 h 2163071"/>
                    <a:gd name="connsiteX448" fmla="*/ 2189741 w 2328854"/>
                    <a:gd name="connsiteY448" fmla="*/ 801191 h 2163071"/>
                    <a:gd name="connsiteX449" fmla="*/ 2189741 w 2328854"/>
                    <a:gd name="connsiteY449" fmla="*/ 801191 h 2163071"/>
                    <a:gd name="connsiteX450" fmla="*/ 2182431 w 2328854"/>
                    <a:gd name="connsiteY450" fmla="*/ 787937 h 2163071"/>
                    <a:gd name="connsiteX451" fmla="*/ 2182431 w 2328854"/>
                    <a:gd name="connsiteY451" fmla="*/ 786813 h 2163071"/>
                    <a:gd name="connsiteX452" fmla="*/ 2181387 w 2328854"/>
                    <a:gd name="connsiteY452" fmla="*/ 786090 h 2163071"/>
                    <a:gd name="connsiteX453" fmla="*/ 2182431 w 2328854"/>
                    <a:gd name="connsiteY453" fmla="*/ 787937 h 2163071"/>
                    <a:gd name="connsiteX454" fmla="*/ 2229423 w 2328854"/>
                    <a:gd name="connsiteY454" fmla="*/ 732431 h 2163071"/>
                    <a:gd name="connsiteX455" fmla="*/ 2229503 w 2328854"/>
                    <a:gd name="connsiteY455" fmla="*/ 732350 h 2163071"/>
                    <a:gd name="connsiteX456" fmla="*/ 2225005 w 2328854"/>
                    <a:gd name="connsiteY456" fmla="*/ 728977 h 2163071"/>
                    <a:gd name="connsiteX457" fmla="*/ 2225085 w 2328854"/>
                    <a:gd name="connsiteY457" fmla="*/ 729378 h 2163071"/>
                    <a:gd name="connsiteX458" fmla="*/ 2229182 w 2328854"/>
                    <a:gd name="connsiteY458" fmla="*/ 732913 h 2163071"/>
                    <a:gd name="connsiteX459" fmla="*/ 2229423 w 2328854"/>
                    <a:gd name="connsiteY459" fmla="*/ 732431 h 2163071"/>
                    <a:gd name="connsiteX460" fmla="*/ 2223800 w 2328854"/>
                    <a:gd name="connsiteY460" fmla="*/ 727129 h 2163071"/>
                    <a:gd name="connsiteX461" fmla="*/ 2221872 w 2328854"/>
                    <a:gd name="connsiteY461" fmla="*/ 726004 h 2163071"/>
                    <a:gd name="connsiteX462" fmla="*/ 2222354 w 2328854"/>
                    <a:gd name="connsiteY462" fmla="*/ 728013 h 2163071"/>
                    <a:gd name="connsiteX463" fmla="*/ 2223800 w 2328854"/>
                    <a:gd name="connsiteY463" fmla="*/ 727129 h 2163071"/>
                    <a:gd name="connsiteX464" fmla="*/ 278577 w 2328854"/>
                    <a:gd name="connsiteY464" fmla="*/ 1170218 h 2163071"/>
                    <a:gd name="connsiteX465" fmla="*/ 278899 w 2328854"/>
                    <a:gd name="connsiteY465" fmla="*/ 1170299 h 2163071"/>
                    <a:gd name="connsiteX466" fmla="*/ 274320 w 2328854"/>
                    <a:gd name="connsiteY466" fmla="*/ 1164274 h 2163071"/>
                    <a:gd name="connsiteX467" fmla="*/ 274159 w 2328854"/>
                    <a:gd name="connsiteY467" fmla="*/ 1166443 h 2163071"/>
                    <a:gd name="connsiteX468" fmla="*/ 278095 w 2328854"/>
                    <a:gd name="connsiteY468" fmla="*/ 1169254 h 2163071"/>
                    <a:gd name="connsiteX469" fmla="*/ 273758 w 2328854"/>
                    <a:gd name="connsiteY469" fmla="*/ 1169495 h 2163071"/>
                    <a:gd name="connsiteX470" fmla="*/ 278577 w 2328854"/>
                    <a:gd name="connsiteY470" fmla="*/ 1170218 h 2163071"/>
                    <a:gd name="connsiteX471" fmla="*/ 2219221 w 2328854"/>
                    <a:gd name="connsiteY471" fmla="*/ 720301 h 2163071"/>
                    <a:gd name="connsiteX472" fmla="*/ 2214642 w 2328854"/>
                    <a:gd name="connsiteY472" fmla="*/ 717329 h 2163071"/>
                    <a:gd name="connsiteX473" fmla="*/ 2214803 w 2328854"/>
                    <a:gd name="connsiteY473" fmla="*/ 717891 h 2163071"/>
                    <a:gd name="connsiteX474" fmla="*/ 2219301 w 2328854"/>
                    <a:gd name="connsiteY474" fmla="*/ 723434 h 2163071"/>
                    <a:gd name="connsiteX475" fmla="*/ 2219221 w 2328854"/>
                    <a:gd name="connsiteY475" fmla="*/ 720301 h 2163071"/>
                    <a:gd name="connsiteX476" fmla="*/ 4820 w 2328854"/>
                    <a:gd name="connsiteY476" fmla="*/ 1019844 h 2163071"/>
                    <a:gd name="connsiteX477" fmla="*/ 4900 w 2328854"/>
                    <a:gd name="connsiteY477" fmla="*/ 1014462 h 2163071"/>
                    <a:gd name="connsiteX478" fmla="*/ 4900 w 2328854"/>
                    <a:gd name="connsiteY478" fmla="*/ 1014623 h 2163071"/>
                    <a:gd name="connsiteX479" fmla="*/ 4820 w 2328854"/>
                    <a:gd name="connsiteY479" fmla="*/ 1019844 h 2163071"/>
                    <a:gd name="connsiteX480" fmla="*/ 218492 w 2328854"/>
                    <a:gd name="connsiteY480" fmla="*/ 1142585 h 2163071"/>
                    <a:gd name="connsiteX481" fmla="*/ 219295 w 2328854"/>
                    <a:gd name="connsiteY481" fmla="*/ 1142585 h 2163071"/>
                    <a:gd name="connsiteX482" fmla="*/ 213030 w 2328854"/>
                    <a:gd name="connsiteY482" fmla="*/ 1137123 h 2163071"/>
                    <a:gd name="connsiteX483" fmla="*/ 209897 w 2328854"/>
                    <a:gd name="connsiteY483" fmla="*/ 1137123 h 2163071"/>
                    <a:gd name="connsiteX484" fmla="*/ 218492 w 2328854"/>
                    <a:gd name="connsiteY484" fmla="*/ 1142585 h 2163071"/>
                    <a:gd name="connsiteX485" fmla="*/ 10844 w 2328854"/>
                    <a:gd name="connsiteY485" fmla="*/ 996951 h 2163071"/>
                    <a:gd name="connsiteX486" fmla="*/ 10925 w 2328854"/>
                    <a:gd name="connsiteY486" fmla="*/ 997352 h 2163071"/>
                    <a:gd name="connsiteX487" fmla="*/ 11407 w 2328854"/>
                    <a:gd name="connsiteY487" fmla="*/ 988516 h 2163071"/>
                    <a:gd name="connsiteX488" fmla="*/ 11246 w 2328854"/>
                    <a:gd name="connsiteY488" fmla="*/ 988998 h 2163071"/>
                    <a:gd name="connsiteX489" fmla="*/ 8515 w 2328854"/>
                    <a:gd name="connsiteY489" fmla="*/ 991006 h 2163071"/>
                    <a:gd name="connsiteX490" fmla="*/ 10844 w 2328854"/>
                    <a:gd name="connsiteY490" fmla="*/ 996951 h 2163071"/>
                    <a:gd name="connsiteX491" fmla="*/ 209897 w 2328854"/>
                    <a:gd name="connsiteY491" fmla="*/ 1119451 h 2163071"/>
                    <a:gd name="connsiteX492" fmla="*/ 208210 w 2328854"/>
                    <a:gd name="connsiteY492" fmla="*/ 1103787 h 2163071"/>
                    <a:gd name="connsiteX493" fmla="*/ 208451 w 2328854"/>
                    <a:gd name="connsiteY493" fmla="*/ 1104510 h 2163071"/>
                    <a:gd name="connsiteX494" fmla="*/ 208692 w 2328854"/>
                    <a:gd name="connsiteY494" fmla="*/ 1115193 h 2163071"/>
                    <a:gd name="connsiteX495" fmla="*/ 209174 w 2328854"/>
                    <a:gd name="connsiteY495" fmla="*/ 1114471 h 2163071"/>
                    <a:gd name="connsiteX496" fmla="*/ 208612 w 2328854"/>
                    <a:gd name="connsiteY496" fmla="*/ 1119692 h 2163071"/>
                    <a:gd name="connsiteX497" fmla="*/ 209897 w 2328854"/>
                    <a:gd name="connsiteY497" fmla="*/ 1119451 h 2163071"/>
                    <a:gd name="connsiteX498" fmla="*/ 241 w 2328854"/>
                    <a:gd name="connsiteY498" fmla="*/ 951164 h 2163071"/>
                    <a:gd name="connsiteX499" fmla="*/ 321 w 2328854"/>
                    <a:gd name="connsiteY499" fmla="*/ 950762 h 2163071"/>
                    <a:gd name="connsiteX500" fmla="*/ 0 w 2328854"/>
                    <a:gd name="connsiteY500" fmla="*/ 951003 h 2163071"/>
                    <a:gd name="connsiteX501" fmla="*/ 241 w 2328854"/>
                    <a:gd name="connsiteY501" fmla="*/ 951164 h 2163071"/>
                    <a:gd name="connsiteX502" fmla="*/ 30926 w 2328854"/>
                    <a:gd name="connsiteY502" fmla="*/ 993095 h 2163071"/>
                    <a:gd name="connsiteX503" fmla="*/ 31328 w 2328854"/>
                    <a:gd name="connsiteY503" fmla="*/ 992693 h 2163071"/>
                    <a:gd name="connsiteX504" fmla="*/ 31167 w 2328854"/>
                    <a:gd name="connsiteY504" fmla="*/ 992854 h 2163071"/>
                    <a:gd name="connsiteX505" fmla="*/ 25785 w 2328854"/>
                    <a:gd name="connsiteY505" fmla="*/ 997352 h 2163071"/>
                    <a:gd name="connsiteX506" fmla="*/ 25303 w 2328854"/>
                    <a:gd name="connsiteY506" fmla="*/ 997111 h 2163071"/>
                    <a:gd name="connsiteX507" fmla="*/ 23697 w 2328854"/>
                    <a:gd name="connsiteY507" fmla="*/ 997111 h 2163071"/>
                    <a:gd name="connsiteX508" fmla="*/ 23616 w 2328854"/>
                    <a:gd name="connsiteY508" fmla="*/ 999120 h 2163071"/>
                    <a:gd name="connsiteX509" fmla="*/ 28115 w 2328854"/>
                    <a:gd name="connsiteY509" fmla="*/ 999521 h 2163071"/>
                    <a:gd name="connsiteX510" fmla="*/ 30926 w 2328854"/>
                    <a:gd name="connsiteY510" fmla="*/ 993095 h 2163071"/>
                    <a:gd name="connsiteX511" fmla="*/ 2203638 w 2328854"/>
                    <a:gd name="connsiteY511" fmla="*/ 663670 h 2163071"/>
                    <a:gd name="connsiteX512" fmla="*/ 2203638 w 2328854"/>
                    <a:gd name="connsiteY512" fmla="*/ 663670 h 2163071"/>
                    <a:gd name="connsiteX513" fmla="*/ 2194560 w 2328854"/>
                    <a:gd name="connsiteY513" fmla="*/ 659412 h 2163071"/>
                    <a:gd name="connsiteX514" fmla="*/ 2194882 w 2328854"/>
                    <a:gd name="connsiteY514" fmla="*/ 659814 h 2163071"/>
                    <a:gd name="connsiteX515" fmla="*/ 2203638 w 2328854"/>
                    <a:gd name="connsiteY515" fmla="*/ 663670 h 2163071"/>
                    <a:gd name="connsiteX516" fmla="*/ 2182752 w 2328854"/>
                    <a:gd name="connsiteY516" fmla="*/ 659894 h 2163071"/>
                    <a:gd name="connsiteX517" fmla="*/ 2182511 w 2328854"/>
                    <a:gd name="connsiteY517" fmla="*/ 658931 h 2163071"/>
                    <a:gd name="connsiteX518" fmla="*/ 2181226 w 2328854"/>
                    <a:gd name="connsiteY518" fmla="*/ 660216 h 2163071"/>
                    <a:gd name="connsiteX519" fmla="*/ 2180503 w 2328854"/>
                    <a:gd name="connsiteY519" fmla="*/ 672667 h 2163071"/>
                    <a:gd name="connsiteX520" fmla="*/ 2184600 w 2328854"/>
                    <a:gd name="connsiteY520" fmla="*/ 670257 h 2163071"/>
                    <a:gd name="connsiteX521" fmla="*/ 2182752 w 2328854"/>
                    <a:gd name="connsiteY521" fmla="*/ 659894 h 2163071"/>
                    <a:gd name="connsiteX522" fmla="*/ 7310 w 2328854"/>
                    <a:gd name="connsiteY522" fmla="*/ 922487 h 2163071"/>
                    <a:gd name="connsiteX523" fmla="*/ 7551 w 2328854"/>
                    <a:gd name="connsiteY523" fmla="*/ 921041 h 2163071"/>
                    <a:gd name="connsiteX524" fmla="*/ 7551 w 2328854"/>
                    <a:gd name="connsiteY524" fmla="*/ 921121 h 2163071"/>
                    <a:gd name="connsiteX525" fmla="*/ 7310 w 2328854"/>
                    <a:gd name="connsiteY525" fmla="*/ 922487 h 2163071"/>
                    <a:gd name="connsiteX526" fmla="*/ 7310 w 2328854"/>
                    <a:gd name="connsiteY526" fmla="*/ 922487 h 2163071"/>
                    <a:gd name="connsiteX527" fmla="*/ 2127567 w 2328854"/>
                    <a:gd name="connsiteY527" fmla="*/ 730663 h 2163071"/>
                    <a:gd name="connsiteX528" fmla="*/ 2127888 w 2328854"/>
                    <a:gd name="connsiteY528" fmla="*/ 730422 h 2163071"/>
                    <a:gd name="connsiteX529" fmla="*/ 2121462 w 2328854"/>
                    <a:gd name="connsiteY529" fmla="*/ 725683 h 2163071"/>
                    <a:gd name="connsiteX530" fmla="*/ 2121542 w 2328854"/>
                    <a:gd name="connsiteY530" fmla="*/ 726165 h 2163071"/>
                    <a:gd name="connsiteX531" fmla="*/ 2127567 w 2328854"/>
                    <a:gd name="connsiteY531" fmla="*/ 730663 h 2163071"/>
                    <a:gd name="connsiteX532" fmla="*/ 7631 w 2328854"/>
                    <a:gd name="connsiteY532" fmla="*/ 920478 h 2163071"/>
                    <a:gd name="connsiteX533" fmla="*/ 7631 w 2328854"/>
                    <a:gd name="connsiteY533" fmla="*/ 920478 h 2163071"/>
                    <a:gd name="connsiteX534" fmla="*/ 7792 w 2328854"/>
                    <a:gd name="connsiteY534" fmla="*/ 919274 h 2163071"/>
                    <a:gd name="connsiteX535" fmla="*/ 7792 w 2328854"/>
                    <a:gd name="connsiteY535" fmla="*/ 919274 h 2163071"/>
                    <a:gd name="connsiteX536" fmla="*/ 7631 w 2328854"/>
                    <a:gd name="connsiteY536" fmla="*/ 920478 h 2163071"/>
                    <a:gd name="connsiteX537" fmla="*/ 35184 w 2328854"/>
                    <a:gd name="connsiteY537" fmla="*/ 952690 h 2163071"/>
                    <a:gd name="connsiteX538" fmla="*/ 35184 w 2328854"/>
                    <a:gd name="connsiteY538" fmla="*/ 952690 h 2163071"/>
                    <a:gd name="connsiteX539" fmla="*/ 35184 w 2328854"/>
                    <a:gd name="connsiteY539" fmla="*/ 949236 h 2163071"/>
                    <a:gd name="connsiteX540" fmla="*/ 35103 w 2328854"/>
                    <a:gd name="connsiteY540" fmla="*/ 949397 h 2163071"/>
                    <a:gd name="connsiteX541" fmla="*/ 33818 w 2328854"/>
                    <a:gd name="connsiteY541" fmla="*/ 953574 h 2163071"/>
                    <a:gd name="connsiteX542" fmla="*/ 35184 w 2328854"/>
                    <a:gd name="connsiteY542" fmla="*/ 952690 h 2163071"/>
                    <a:gd name="connsiteX543" fmla="*/ 2179700 w 2328854"/>
                    <a:gd name="connsiteY543" fmla="*/ 630976 h 2163071"/>
                    <a:gd name="connsiteX544" fmla="*/ 2174478 w 2328854"/>
                    <a:gd name="connsiteY544" fmla="*/ 629771 h 2163071"/>
                    <a:gd name="connsiteX545" fmla="*/ 2174960 w 2328854"/>
                    <a:gd name="connsiteY545" fmla="*/ 630735 h 2163071"/>
                    <a:gd name="connsiteX546" fmla="*/ 2179700 w 2328854"/>
                    <a:gd name="connsiteY546" fmla="*/ 630976 h 2163071"/>
                    <a:gd name="connsiteX547" fmla="*/ 2179700 w 2328854"/>
                    <a:gd name="connsiteY547" fmla="*/ 630976 h 2163071"/>
                    <a:gd name="connsiteX548" fmla="*/ 12210 w 2328854"/>
                    <a:gd name="connsiteY548" fmla="*/ 885937 h 2163071"/>
                    <a:gd name="connsiteX549" fmla="*/ 12210 w 2328854"/>
                    <a:gd name="connsiteY549" fmla="*/ 885937 h 2163071"/>
                    <a:gd name="connsiteX550" fmla="*/ 12611 w 2328854"/>
                    <a:gd name="connsiteY550" fmla="*/ 883768 h 2163071"/>
                    <a:gd name="connsiteX551" fmla="*/ 12130 w 2328854"/>
                    <a:gd name="connsiteY551" fmla="*/ 884250 h 2163071"/>
                    <a:gd name="connsiteX552" fmla="*/ 12290 w 2328854"/>
                    <a:gd name="connsiteY552" fmla="*/ 883367 h 2163071"/>
                    <a:gd name="connsiteX553" fmla="*/ 12210 w 2328854"/>
                    <a:gd name="connsiteY553" fmla="*/ 885937 h 2163071"/>
                    <a:gd name="connsiteX554" fmla="*/ 2173595 w 2328854"/>
                    <a:gd name="connsiteY554" fmla="*/ 482932 h 2163071"/>
                    <a:gd name="connsiteX555" fmla="*/ 2173193 w 2328854"/>
                    <a:gd name="connsiteY555" fmla="*/ 482369 h 2163071"/>
                    <a:gd name="connsiteX556" fmla="*/ 2173193 w 2328854"/>
                    <a:gd name="connsiteY556" fmla="*/ 482369 h 2163071"/>
                    <a:gd name="connsiteX557" fmla="*/ 2173836 w 2328854"/>
                    <a:gd name="connsiteY557" fmla="*/ 483655 h 2163071"/>
                    <a:gd name="connsiteX558" fmla="*/ 2174800 w 2328854"/>
                    <a:gd name="connsiteY558" fmla="*/ 484779 h 2163071"/>
                    <a:gd name="connsiteX559" fmla="*/ 2173595 w 2328854"/>
                    <a:gd name="connsiteY559" fmla="*/ 482932 h 2163071"/>
                    <a:gd name="connsiteX560" fmla="*/ 36871 w 2328854"/>
                    <a:gd name="connsiteY560" fmla="*/ 941283 h 2163071"/>
                    <a:gd name="connsiteX561" fmla="*/ 37513 w 2328854"/>
                    <a:gd name="connsiteY561" fmla="*/ 934134 h 2163071"/>
                    <a:gd name="connsiteX562" fmla="*/ 37272 w 2328854"/>
                    <a:gd name="connsiteY562" fmla="*/ 928591 h 2163071"/>
                    <a:gd name="connsiteX563" fmla="*/ 34541 w 2328854"/>
                    <a:gd name="connsiteY563" fmla="*/ 939195 h 2163071"/>
                    <a:gd name="connsiteX564" fmla="*/ 35264 w 2328854"/>
                    <a:gd name="connsiteY564" fmla="*/ 937990 h 2163071"/>
                    <a:gd name="connsiteX565" fmla="*/ 36228 w 2328854"/>
                    <a:gd name="connsiteY565" fmla="*/ 941846 h 2163071"/>
                    <a:gd name="connsiteX566" fmla="*/ 36871 w 2328854"/>
                    <a:gd name="connsiteY566" fmla="*/ 941283 h 2163071"/>
                    <a:gd name="connsiteX567" fmla="*/ 19118 w 2328854"/>
                    <a:gd name="connsiteY567" fmla="*/ 879511 h 2163071"/>
                    <a:gd name="connsiteX568" fmla="*/ 19118 w 2328854"/>
                    <a:gd name="connsiteY568" fmla="*/ 879511 h 2163071"/>
                    <a:gd name="connsiteX569" fmla="*/ 19118 w 2328854"/>
                    <a:gd name="connsiteY569" fmla="*/ 879511 h 2163071"/>
                    <a:gd name="connsiteX570" fmla="*/ 19118 w 2328854"/>
                    <a:gd name="connsiteY570" fmla="*/ 879511 h 2163071"/>
                    <a:gd name="connsiteX571" fmla="*/ 19118 w 2328854"/>
                    <a:gd name="connsiteY571" fmla="*/ 879511 h 2163071"/>
                    <a:gd name="connsiteX572" fmla="*/ 19118 w 2328854"/>
                    <a:gd name="connsiteY572" fmla="*/ 879511 h 2163071"/>
                    <a:gd name="connsiteX573" fmla="*/ 19118 w 2328854"/>
                    <a:gd name="connsiteY573" fmla="*/ 879511 h 2163071"/>
                    <a:gd name="connsiteX574" fmla="*/ 19118 w 2328854"/>
                    <a:gd name="connsiteY574" fmla="*/ 879511 h 2163071"/>
                    <a:gd name="connsiteX575" fmla="*/ 19118 w 2328854"/>
                    <a:gd name="connsiteY575" fmla="*/ 879511 h 2163071"/>
                    <a:gd name="connsiteX576" fmla="*/ 19118 w 2328854"/>
                    <a:gd name="connsiteY576" fmla="*/ 879511 h 2163071"/>
                    <a:gd name="connsiteX577" fmla="*/ 19118 w 2328854"/>
                    <a:gd name="connsiteY577" fmla="*/ 879511 h 2163071"/>
                    <a:gd name="connsiteX578" fmla="*/ 19118 w 2328854"/>
                    <a:gd name="connsiteY578" fmla="*/ 879511 h 2163071"/>
                    <a:gd name="connsiteX579" fmla="*/ 19118 w 2328854"/>
                    <a:gd name="connsiteY579" fmla="*/ 879511 h 2163071"/>
                    <a:gd name="connsiteX580" fmla="*/ 19118 w 2328854"/>
                    <a:gd name="connsiteY580" fmla="*/ 879511 h 2163071"/>
                    <a:gd name="connsiteX581" fmla="*/ 19118 w 2328854"/>
                    <a:gd name="connsiteY581" fmla="*/ 879511 h 2163071"/>
                    <a:gd name="connsiteX582" fmla="*/ 19118 w 2328854"/>
                    <a:gd name="connsiteY582" fmla="*/ 879511 h 2163071"/>
                    <a:gd name="connsiteX583" fmla="*/ 19118 w 2328854"/>
                    <a:gd name="connsiteY583" fmla="*/ 879511 h 2163071"/>
                    <a:gd name="connsiteX584" fmla="*/ 19118 w 2328854"/>
                    <a:gd name="connsiteY584" fmla="*/ 879511 h 2163071"/>
                    <a:gd name="connsiteX585" fmla="*/ 19118 w 2328854"/>
                    <a:gd name="connsiteY585" fmla="*/ 879511 h 2163071"/>
                    <a:gd name="connsiteX586" fmla="*/ 19118 w 2328854"/>
                    <a:gd name="connsiteY586" fmla="*/ 879511 h 2163071"/>
                    <a:gd name="connsiteX587" fmla="*/ 19118 w 2328854"/>
                    <a:gd name="connsiteY587" fmla="*/ 879511 h 2163071"/>
                    <a:gd name="connsiteX588" fmla="*/ 19118 w 2328854"/>
                    <a:gd name="connsiteY588" fmla="*/ 879511 h 2163071"/>
                    <a:gd name="connsiteX589" fmla="*/ 19118 w 2328854"/>
                    <a:gd name="connsiteY589" fmla="*/ 879511 h 2163071"/>
                    <a:gd name="connsiteX590" fmla="*/ 19118 w 2328854"/>
                    <a:gd name="connsiteY590" fmla="*/ 879511 h 2163071"/>
                    <a:gd name="connsiteX591" fmla="*/ 19118 w 2328854"/>
                    <a:gd name="connsiteY591" fmla="*/ 879511 h 2163071"/>
                    <a:gd name="connsiteX592" fmla="*/ 19118 w 2328854"/>
                    <a:gd name="connsiteY592" fmla="*/ 879511 h 2163071"/>
                    <a:gd name="connsiteX593" fmla="*/ 19118 w 2328854"/>
                    <a:gd name="connsiteY593" fmla="*/ 879511 h 2163071"/>
                    <a:gd name="connsiteX594" fmla="*/ 19118 w 2328854"/>
                    <a:gd name="connsiteY594" fmla="*/ 879511 h 2163071"/>
                    <a:gd name="connsiteX595" fmla="*/ 19118 w 2328854"/>
                    <a:gd name="connsiteY595" fmla="*/ 879511 h 2163071"/>
                    <a:gd name="connsiteX596" fmla="*/ 19118 w 2328854"/>
                    <a:gd name="connsiteY596" fmla="*/ 879511 h 2163071"/>
                    <a:gd name="connsiteX597" fmla="*/ 19118 w 2328854"/>
                    <a:gd name="connsiteY597" fmla="*/ 879511 h 2163071"/>
                    <a:gd name="connsiteX598" fmla="*/ 19118 w 2328854"/>
                    <a:gd name="connsiteY598" fmla="*/ 879511 h 2163071"/>
                    <a:gd name="connsiteX599" fmla="*/ 19118 w 2328854"/>
                    <a:gd name="connsiteY599" fmla="*/ 879511 h 2163071"/>
                    <a:gd name="connsiteX600" fmla="*/ 19118 w 2328854"/>
                    <a:gd name="connsiteY600" fmla="*/ 879511 h 2163071"/>
                    <a:gd name="connsiteX601" fmla="*/ 19118 w 2328854"/>
                    <a:gd name="connsiteY601" fmla="*/ 879511 h 2163071"/>
                    <a:gd name="connsiteX602" fmla="*/ 19118 w 2328854"/>
                    <a:gd name="connsiteY602" fmla="*/ 879511 h 2163071"/>
                    <a:gd name="connsiteX603" fmla="*/ 19118 w 2328854"/>
                    <a:gd name="connsiteY603" fmla="*/ 879511 h 2163071"/>
                    <a:gd name="connsiteX604" fmla="*/ 19118 w 2328854"/>
                    <a:gd name="connsiteY604" fmla="*/ 879511 h 2163071"/>
                    <a:gd name="connsiteX605" fmla="*/ 19118 w 2328854"/>
                    <a:gd name="connsiteY605" fmla="*/ 879511 h 2163071"/>
                    <a:gd name="connsiteX606" fmla="*/ 19118 w 2328854"/>
                    <a:gd name="connsiteY606" fmla="*/ 879511 h 2163071"/>
                    <a:gd name="connsiteX607" fmla="*/ 19118 w 2328854"/>
                    <a:gd name="connsiteY607" fmla="*/ 879511 h 2163071"/>
                    <a:gd name="connsiteX608" fmla="*/ 19118 w 2328854"/>
                    <a:gd name="connsiteY608" fmla="*/ 879511 h 2163071"/>
                    <a:gd name="connsiteX609" fmla="*/ 19118 w 2328854"/>
                    <a:gd name="connsiteY609" fmla="*/ 879511 h 2163071"/>
                    <a:gd name="connsiteX610" fmla="*/ 19118 w 2328854"/>
                    <a:gd name="connsiteY610" fmla="*/ 879511 h 2163071"/>
                    <a:gd name="connsiteX611" fmla="*/ 19118 w 2328854"/>
                    <a:gd name="connsiteY611" fmla="*/ 879511 h 2163071"/>
                    <a:gd name="connsiteX612" fmla="*/ 19118 w 2328854"/>
                    <a:gd name="connsiteY612" fmla="*/ 879511 h 2163071"/>
                    <a:gd name="connsiteX613" fmla="*/ 19118 w 2328854"/>
                    <a:gd name="connsiteY613" fmla="*/ 879511 h 2163071"/>
                    <a:gd name="connsiteX614" fmla="*/ 19118 w 2328854"/>
                    <a:gd name="connsiteY614" fmla="*/ 879511 h 2163071"/>
                    <a:gd name="connsiteX615" fmla="*/ 19118 w 2328854"/>
                    <a:gd name="connsiteY615" fmla="*/ 879511 h 2163071"/>
                    <a:gd name="connsiteX616" fmla="*/ 19118 w 2328854"/>
                    <a:gd name="connsiteY616" fmla="*/ 879511 h 2163071"/>
                    <a:gd name="connsiteX617" fmla="*/ 19118 w 2328854"/>
                    <a:gd name="connsiteY617" fmla="*/ 879511 h 2163071"/>
                    <a:gd name="connsiteX618" fmla="*/ 19118 w 2328854"/>
                    <a:gd name="connsiteY618" fmla="*/ 879511 h 2163071"/>
                    <a:gd name="connsiteX619" fmla="*/ 19118 w 2328854"/>
                    <a:gd name="connsiteY619" fmla="*/ 879511 h 2163071"/>
                    <a:gd name="connsiteX620" fmla="*/ 19118 w 2328854"/>
                    <a:gd name="connsiteY620" fmla="*/ 879511 h 2163071"/>
                    <a:gd name="connsiteX621" fmla="*/ 19118 w 2328854"/>
                    <a:gd name="connsiteY621" fmla="*/ 879511 h 2163071"/>
                    <a:gd name="connsiteX622" fmla="*/ 19118 w 2328854"/>
                    <a:gd name="connsiteY622" fmla="*/ 879511 h 2163071"/>
                    <a:gd name="connsiteX623" fmla="*/ 19118 w 2328854"/>
                    <a:gd name="connsiteY623" fmla="*/ 879511 h 2163071"/>
                    <a:gd name="connsiteX624" fmla="*/ 19118 w 2328854"/>
                    <a:gd name="connsiteY624" fmla="*/ 879511 h 2163071"/>
                    <a:gd name="connsiteX625" fmla="*/ 19118 w 2328854"/>
                    <a:gd name="connsiteY625" fmla="*/ 879511 h 2163071"/>
                    <a:gd name="connsiteX626" fmla="*/ 19118 w 2328854"/>
                    <a:gd name="connsiteY626" fmla="*/ 879511 h 2163071"/>
                    <a:gd name="connsiteX627" fmla="*/ 19118 w 2328854"/>
                    <a:gd name="connsiteY627" fmla="*/ 879511 h 2163071"/>
                    <a:gd name="connsiteX628" fmla="*/ 19118 w 2328854"/>
                    <a:gd name="connsiteY628" fmla="*/ 879511 h 2163071"/>
                    <a:gd name="connsiteX629" fmla="*/ 19118 w 2328854"/>
                    <a:gd name="connsiteY629" fmla="*/ 879511 h 2163071"/>
                    <a:gd name="connsiteX630" fmla="*/ 19118 w 2328854"/>
                    <a:gd name="connsiteY630" fmla="*/ 879511 h 2163071"/>
                    <a:gd name="connsiteX631" fmla="*/ 19118 w 2328854"/>
                    <a:gd name="connsiteY631" fmla="*/ 879511 h 2163071"/>
                    <a:gd name="connsiteX632" fmla="*/ 19118 w 2328854"/>
                    <a:gd name="connsiteY632" fmla="*/ 879511 h 2163071"/>
                    <a:gd name="connsiteX633" fmla="*/ 19118 w 2328854"/>
                    <a:gd name="connsiteY633" fmla="*/ 879511 h 2163071"/>
                    <a:gd name="connsiteX634" fmla="*/ 19118 w 2328854"/>
                    <a:gd name="connsiteY634" fmla="*/ 879511 h 2163071"/>
                    <a:gd name="connsiteX635" fmla="*/ 19118 w 2328854"/>
                    <a:gd name="connsiteY635" fmla="*/ 879511 h 2163071"/>
                    <a:gd name="connsiteX636" fmla="*/ 19118 w 2328854"/>
                    <a:gd name="connsiteY636" fmla="*/ 879511 h 2163071"/>
                    <a:gd name="connsiteX637" fmla="*/ 19118 w 2328854"/>
                    <a:gd name="connsiteY637" fmla="*/ 879511 h 2163071"/>
                    <a:gd name="connsiteX638" fmla="*/ 19118 w 2328854"/>
                    <a:gd name="connsiteY638" fmla="*/ 879511 h 2163071"/>
                    <a:gd name="connsiteX639" fmla="*/ 19118 w 2328854"/>
                    <a:gd name="connsiteY639" fmla="*/ 879511 h 2163071"/>
                    <a:gd name="connsiteX640" fmla="*/ 19118 w 2328854"/>
                    <a:gd name="connsiteY640" fmla="*/ 879511 h 2163071"/>
                    <a:gd name="connsiteX641" fmla="*/ 19118 w 2328854"/>
                    <a:gd name="connsiteY641" fmla="*/ 879511 h 2163071"/>
                    <a:gd name="connsiteX642" fmla="*/ 19118 w 2328854"/>
                    <a:gd name="connsiteY642" fmla="*/ 879511 h 2163071"/>
                    <a:gd name="connsiteX643" fmla="*/ 19118 w 2328854"/>
                    <a:gd name="connsiteY643" fmla="*/ 879511 h 2163071"/>
                    <a:gd name="connsiteX644" fmla="*/ 19118 w 2328854"/>
                    <a:gd name="connsiteY644" fmla="*/ 879511 h 2163071"/>
                    <a:gd name="connsiteX645" fmla="*/ 19118 w 2328854"/>
                    <a:gd name="connsiteY645" fmla="*/ 879511 h 2163071"/>
                    <a:gd name="connsiteX646" fmla="*/ 19118 w 2328854"/>
                    <a:gd name="connsiteY646" fmla="*/ 879511 h 2163071"/>
                    <a:gd name="connsiteX647" fmla="*/ 19118 w 2328854"/>
                    <a:gd name="connsiteY647" fmla="*/ 879511 h 2163071"/>
                    <a:gd name="connsiteX648" fmla="*/ 19118 w 2328854"/>
                    <a:gd name="connsiteY648" fmla="*/ 879511 h 2163071"/>
                    <a:gd name="connsiteX649" fmla="*/ 19118 w 2328854"/>
                    <a:gd name="connsiteY649" fmla="*/ 879511 h 2163071"/>
                    <a:gd name="connsiteX650" fmla="*/ 19118 w 2328854"/>
                    <a:gd name="connsiteY650" fmla="*/ 879511 h 2163071"/>
                    <a:gd name="connsiteX651" fmla="*/ 19118 w 2328854"/>
                    <a:gd name="connsiteY651" fmla="*/ 879511 h 2163071"/>
                    <a:gd name="connsiteX652" fmla="*/ 19118 w 2328854"/>
                    <a:gd name="connsiteY652" fmla="*/ 879511 h 2163071"/>
                    <a:gd name="connsiteX653" fmla="*/ 19118 w 2328854"/>
                    <a:gd name="connsiteY653" fmla="*/ 879511 h 2163071"/>
                    <a:gd name="connsiteX654" fmla="*/ 19118 w 2328854"/>
                    <a:gd name="connsiteY654" fmla="*/ 879511 h 2163071"/>
                    <a:gd name="connsiteX655" fmla="*/ 19118 w 2328854"/>
                    <a:gd name="connsiteY655" fmla="*/ 879511 h 2163071"/>
                    <a:gd name="connsiteX656" fmla="*/ 19118 w 2328854"/>
                    <a:gd name="connsiteY656" fmla="*/ 879511 h 2163071"/>
                    <a:gd name="connsiteX657" fmla="*/ 19118 w 2328854"/>
                    <a:gd name="connsiteY657" fmla="*/ 879511 h 2163071"/>
                    <a:gd name="connsiteX658" fmla="*/ 19118 w 2328854"/>
                    <a:gd name="connsiteY658" fmla="*/ 879511 h 2163071"/>
                    <a:gd name="connsiteX659" fmla="*/ 19118 w 2328854"/>
                    <a:gd name="connsiteY659" fmla="*/ 879511 h 2163071"/>
                    <a:gd name="connsiteX660" fmla="*/ 19118 w 2328854"/>
                    <a:gd name="connsiteY660" fmla="*/ 879511 h 2163071"/>
                    <a:gd name="connsiteX661" fmla="*/ 19118 w 2328854"/>
                    <a:gd name="connsiteY661" fmla="*/ 879511 h 2163071"/>
                    <a:gd name="connsiteX662" fmla="*/ 19118 w 2328854"/>
                    <a:gd name="connsiteY662" fmla="*/ 879511 h 2163071"/>
                    <a:gd name="connsiteX663" fmla="*/ 19118 w 2328854"/>
                    <a:gd name="connsiteY663" fmla="*/ 879511 h 2163071"/>
                    <a:gd name="connsiteX664" fmla="*/ 19118 w 2328854"/>
                    <a:gd name="connsiteY664" fmla="*/ 879511 h 2163071"/>
                    <a:gd name="connsiteX665" fmla="*/ 19118 w 2328854"/>
                    <a:gd name="connsiteY665" fmla="*/ 879511 h 2163071"/>
                    <a:gd name="connsiteX666" fmla="*/ 19118 w 2328854"/>
                    <a:gd name="connsiteY666" fmla="*/ 879511 h 2163071"/>
                    <a:gd name="connsiteX667" fmla="*/ 19118 w 2328854"/>
                    <a:gd name="connsiteY667" fmla="*/ 879511 h 2163071"/>
                    <a:gd name="connsiteX668" fmla="*/ 19118 w 2328854"/>
                    <a:gd name="connsiteY668" fmla="*/ 879511 h 2163071"/>
                    <a:gd name="connsiteX669" fmla="*/ 19118 w 2328854"/>
                    <a:gd name="connsiteY669" fmla="*/ 879511 h 2163071"/>
                    <a:gd name="connsiteX670" fmla="*/ 19118 w 2328854"/>
                    <a:gd name="connsiteY670" fmla="*/ 879511 h 2163071"/>
                    <a:gd name="connsiteX671" fmla="*/ 19118 w 2328854"/>
                    <a:gd name="connsiteY671" fmla="*/ 879511 h 2163071"/>
                    <a:gd name="connsiteX672" fmla="*/ 19118 w 2328854"/>
                    <a:gd name="connsiteY672" fmla="*/ 879511 h 2163071"/>
                    <a:gd name="connsiteX673" fmla="*/ 19118 w 2328854"/>
                    <a:gd name="connsiteY673" fmla="*/ 879511 h 2163071"/>
                    <a:gd name="connsiteX674" fmla="*/ 19118 w 2328854"/>
                    <a:gd name="connsiteY674" fmla="*/ 879511 h 2163071"/>
                    <a:gd name="connsiteX675" fmla="*/ 19118 w 2328854"/>
                    <a:gd name="connsiteY675" fmla="*/ 879511 h 2163071"/>
                    <a:gd name="connsiteX676" fmla="*/ 19118 w 2328854"/>
                    <a:gd name="connsiteY676" fmla="*/ 879511 h 2163071"/>
                    <a:gd name="connsiteX677" fmla="*/ 19118 w 2328854"/>
                    <a:gd name="connsiteY677" fmla="*/ 879511 h 2163071"/>
                    <a:gd name="connsiteX678" fmla="*/ 19118 w 2328854"/>
                    <a:gd name="connsiteY678" fmla="*/ 879511 h 2163071"/>
                    <a:gd name="connsiteX679" fmla="*/ 19118 w 2328854"/>
                    <a:gd name="connsiteY679" fmla="*/ 879511 h 2163071"/>
                    <a:gd name="connsiteX680" fmla="*/ 19118 w 2328854"/>
                    <a:gd name="connsiteY680" fmla="*/ 879511 h 2163071"/>
                    <a:gd name="connsiteX681" fmla="*/ 19118 w 2328854"/>
                    <a:gd name="connsiteY681" fmla="*/ 879511 h 2163071"/>
                    <a:gd name="connsiteX682" fmla="*/ 19118 w 2328854"/>
                    <a:gd name="connsiteY682" fmla="*/ 879511 h 2163071"/>
                    <a:gd name="connsiteX683" fmla="*/ 19118 w 2328854"/>
                    <a:gd name="connsiteY683" fmla="*/ 879511 h 2163071"/>
                    <a:gd name="connsiteX684" fmla="*/ 19118 w 2328854"/>
                    <a:gd name="connsiteY684" fmla="*/ 879511 h 2163071"/>
                    <a:gd name="connsiteX685" fmla="*/ 19118 w 2328854"/>
                    <a:gd name="connsiteY685" fmla="*/ 879511 h 2163071"/>
                    <a:gd name="connsiteX686" fmla="*/ 19118 w 2328854"/>
                    <a:gd name="connsiteY686" fmla="*/ 879511 h 2163071"/>
                    <a:gd name="connsiteX687" fmla="*/ 19118 w 2328854"/>
                    <a:gd name="connsiteY687" fmla="*/ 879511 h 2163071"/>
                    <a:gd name="connsiteX688" fmla="*/ 19118 w 2328854"/>
                    <a:gd name="connsiteY688" fmla="*/ 879511 h 2163071"/>
                    <a:gd name="connsiteX689" fmla="*/ 19118 w 2328854"/>
                    <a:gd name="connsiteY689" fmla="*/ 879511 h 2163071"/>
                    <a:gd name="connsiteX690" fmla="*/ 19118 w 2328854"/>
                    <a:gd name="connsiteY690" fmla="*/ 879511 h 2163071"/>
                    <a:gd name="connsiteX691" fmla="*/ 19118 w 2328854"/>
                    <a:gd name="connsiteY691" fmla="*/ 879511 h 2163071"/>
                    <a:gd name="connsiteX692" fmla="*/ 19118 w 2328854"/>
                    <a:gd name="connsiteY692" fmla="*/ 879511 h 2163071"/>
                    <a:gd name="connsiteX693" fmla="*/ 19118 w 2328854"/>
                    <a:gd name="connsiteY693" fmla="*/ 879511 h 2163071"/>
                    <a:gd name="connsiteX694" fmla="*/ 19118 w 2328854"/>
                    <a:gd name="connsiteY694" fmla="*/ 879511 h 2163071"/>
                    <a:gd name="connsiteX695" fmla="*/ 19118 w 2328854"/>
                    <a:gd name="connsiteY695" fmla="*/ 879511 h 2163071"/>
                    <a:gd name="connsiteX696" fmla="*/ 19118 w 2328854"/>
                    <a:gd name="connsiteY696" fmla="*/ 879511 h 2163071"/>
                    <a:gd name="connsiteX697" fmla="*/ 19118 w 2328854"/>
                    <a:gd name="connsiteY697" fmla="*/ 879511 h 2163071"/>
                    <a:gd name="connsiteX698" fmla="*/ 19118 w 2328854"/>
                    <a:gd name="connsiteY698" fmla="*/ 879511 h 2163071"/>
                    <a:gd name="connsiteX699" fmla="*/ 19118 w 2328854"/>
                    <a:gd name="connsiteY699" fmla="*/ 879511 h 2163071"/>
                    <a:gd name="connsiteX700" fmla="*/ 19118 w 2328854"/>
                    <a:gd name="connsiteY700" fmla="*/ 879511 h 2163071"/>
                    <a:gd name="connsiteX701" fmla="*/ 19118 w 2328854"/>
                    <a:gd name="connsiteY701" fmla="*/ 879511 h 2163071"/>
                    <a:gd name="connsiteX702" fmla="*/ 19118 w 2328854"/>
                    <a:gd name="connsiteY702" fmla="*/ 879511 h 2163071"/>
                    <a:gd name="connsiteX703" fmla="*/ 19118 w 2328854"/>
                    <a:gd name="connsiteY703" fmla="*/ 879511 h 2163071"/>
                    <a:gd name="connsiteX704" fmla="*/ 19118 w 2328854"/>
                    <a:gd name="connsiteY704" fmla="*/ 879511 h 2163071"/>
                    <a:gd name="connsiteX705" fmla="*/ 19118 w 2328854"/>
                    <a:gd name="connsiteY705" fmla="*/ 879511 h 2163071"/>
                    <a:gd name="connsiteX706" fmla="*/ 19118 w 2328854"/>
                    <a:gd name="connsiteY706" fmla="*/ 879511 h 2163071"/>
                    <a:gd name="connsiteX707" fmla="*/ 19118 w 2328854"/>
                    <a:gd name="connsiteY707" fmla="*/ 879511 h 2163071"/>
                    <a:gd name="connsiteX708" fmla="*/ 19118 w 2328854"/>
                    <a:gd name="connsiteY708" fmla="*/ 879511 h 2163071"/>
                    <a:gd name="connsiteX709" fmla="*/ 19118 w 2328854"/>
                    <a:gd name="connsiteY709" fmla="*/ 879511 h 2163071"/>
                    <a:gd name="connsiteX710" fmla="*/ 19118 w 2328854"/>
                    <a:gd name="connsiteY710" fmla="*/ 879511 h 2163071"/>
                    <a:gd name="connsiteX711" fmla="*/ 19118 w 2328854"/>
                    <a:gd name="connsiteY711" fmla="*/ 879511 h 2163071"/>
                    <a:gd name="connsiteX712" fmla="*/ 19118 w 2328854"/>
                    <a:gd name="connsiteY712" fmla="*/ 879511 h 2163071"/>
                    <a:gd name="connsiteX713" fmla="*/ 19118 w 2328854"/>
                    <a:gd name="connsiteY713" fmla="*/ 879511 h 2163071"/>
                    <a:gd name="connsiteX714" fmla="*/ 19118 w 2328854"/>
                    <a:gd name="connsiteY714" fmla="*/ 879511 h 2163071"/>
                    <a:gd name="connsiteX715" fmla="*/ 19118 w 2328854"/>
                    <a:gd name="connsiteY715" fmla="*/ 879511 h 2163071"/>
                    <a:gd name="connsiteX716" fmla="*/ 19118 w 2328854"/>
                    <a:gd name="connsiteY716" fmla="*/ 879511 h 2163071"/>
                    <a:gd name="connsiteX717" fmla="*/ 19118 w 2328854"/>
                    <a:gd name="connsiteY717" fmla="*/ 879511 h 2163071"/>
                    <a:gd name="connsiteX718" fmla="*/ 19118 w 2328854"/>
                    <a:gd name="connsiteY718" fmla="*/ 879511 h 2163071"/>
                    <a:gd name="connsiteX719" fmla="*/ 19118 w 2328854"/>
                    <a:gd name="connsiteY719" fmla="*/ 879511 h 2163071"/>
                    <a:gd name="connsiteX720" fmla="*/ 19118 w 2328854"/>
                    <a:gd name="connsiteY720" fmla="*/ 879511 h 2163071"/>
                    <a:gd name="connsiteX721" fmla="*/ 19118 w 2328854"/>
                    <a:gd name="connsiteY721" fmla="*/ 879511 h 2163071"/>
                    <a:gd name="connsiteX722" fmla="*/ 19118 w 2328854"/>
                    <a:gd name="connsiteY722" fmla="*/ 879511 h 2163071"/>
                    <a:gd name="connsiteX723" fmla="*/ 19118 w 2328854"/>
                    <a:gd name="connsiteY723" fmla="*/ 879511 h 2163071"/>
                    <a:gd name="connsiteX724" fmla="*/ 19118 w 2328854"/>
                    <a:gd name="connsiteY724" fmla="*/ 879511 h 2163071"/>
                    <a:gd name="connsiteX725" fmla="*/ 19118 w 2328854"/>
                    <a:gd name="connsiteY725" fmla="*/ 879511 h 2163071"/>
                    <a:gd name="connsiteX726" fmla="*/ 19118 w 2328854"/>
                    <a:gd name="connsiteY726" fmla="*/ 879511 h 2163071"/>
                    <a:gd name="connsiteX727" fmla="*/ 19118 w 2328854"/>
                    <a:gd name="connsiteY727" fmla="*/ 879511 h 2163071"/>
                    <a:gd name="connsiteX728" fmla="*/ 19118 w 2328854"/>
                    <a:gd name="connsiteY728" fmla="*/ 879511 h 2163071"/>
                    <a:gd name="connsiteX729" fmla="*/ 19118 w 2328854"/>
                    <a:gd name="connsiteY729" fmla="*/ 879511 h 2163071"/>
                    <a:gd name="connsiteX730" fmla="*/ 19118 w 2328854"/>
                    <a:gd name="connsiteY730" fmla="*/ 879511 h 2163071"/>
                    <a:gd name="connsiteX731" fmla="*/ 19118 w 2328854"/>
                    <a:gd name="connsiteY731" fmla="*/ 879511 h 2163071"/>
                    <a:gd name="connsiteX732" fmla="*/ 19118 w 2328854"/>
                    <a:gd name="connsiteY732" fmla="*/ 879511 h 2163071"/>
                    <a:gd name="connsiteX733" fmla="*/ 19118 w 2328854"/>
                    <a:gd name="connsiteY733" fmla="*/ 879511 h 2163071"/>
                    <a:gd name="connsiteX734" fmla="*/ 19118 w 2328854"/>
                    <a:gd name="connsiteY734" fmla="*/ 879511 h 2163071"/>
                    <a:gd name="connsiteX735" fmla="*/ 19118 w 2328854"/>
                    <a:gd name="connsiteY735" fmla="*/ 879511 h 2163071"/>
                    <a:gd name="connsiteX736" fmla="*/ 19118 w 2328854"/>
                    <a:gd name="connsiteY736" fmla="*/ 879511 h 2163071"/>
                    <a:gd name="connsiteX737" fmla="*/ 19118 w 2328854"/>
                    <a:gd name="connsiteY737" fmla="*/ 879511 h 2163071"/>
                    <a:gd name="connsiteX738" fmla="*/ 19118 w 2328854"/>
                    <a:gd name="connsiteY738" fmla="*/ 879511 h 2163071"/>
                    <a:gd name="connsiteX739" fmla="*/ 19118 w 2328854"/>
                    <a:gd name="connsiteY739" fmla="*/ 879511 h 2163071"/>
                    <a:gd name="connsiteX740" fmla="*/ 19118 w 2328854"/>
                    <a:gd name="connsiteY740" fmla="*/ 879511 h 2163071"/>
                    <a:gd name="connsiteX741" fmla="*/ 19118 w 2328854"/>
                    <a:gd name="connsiteY741" fmla="*/ 879511 h 2163071"/>
                    <a:gd name="connsiteX742" fmla="*/ 19118 w 2328854"/>
                    <a:gd name="connsiteY742" fmla="*/ 879511 h 2163071"/>
                    <a:gd name="connsiteX743" fmla="*/ 19118 w 2328854"/>
                    <a:gd name="connsiteY743" fmla="*/ 879511 h 2163071"/>
                    <a:gd name="connsiteX744" fmla="*/ 19118 w 2328854"/>
                    <a:gd name="connsiteY744" fmla="*/ 879511 h 2163071"/>
                    <a:gd name="connsiteX745" fmla="*/ 19118 w 2328854"/>
                    <a:gd name="connsiteY745" fmla="*/ 879511 h 2163071"/>
                    <a:gd name="connsiteX746" fmla="*/ 19118 w 2328854"/>
                    <a:gd name="connsiteY746" fmla="*/ 879511 h 2163071"/>
                    <a:gd name="connsiteX747" fmla="*/ 19118 w 2328854"/>
                    <a:gd name="connsiteY747" fmla="*/ 879511 h 2163071"/>
                    <a:gd name="connsiteX748" fmla="*/ 19118 w 2328854"/>
                    <a:gd name="connsiteY748" fmla="*/ 879511 h 2163071"/>
                    <a:gd name="connsiteX749" fmla="*/ 19118 w 2328854"/>
                    <a:gd name="connsiteY749" fmla="*/ 879511 h 2163071"/>
                    <a:gd name="connsiteX750" fmla="*/ 19118 w 2328854"/>
                    <a:gd name="connsiteY750" fmla="*/ 879511 h 2163071"/>
                    <a:gd name="connsiteX751" fmla="*/ 19118 w 2328854"/>
                    <a:gd name="connsiteY751" fmla="*/ 879511 h 2163071"/>
                    <a:gd name="connsiteX752" fmla="*/ 19118 w 2328854"/>
                    <a:gd name="connsiteY752" fmla="*/ 879511 h 2163071"/>
                    <a:gd name="connsiteX753" fmla="*/ 19118 w 2328854"/>
                    <a:gd name="connsiteY753" fmla="*/ 879511 h 2163071"/>
                    <a:gd name="connsiteX754" fmla="*/ 19118 w 2328854"/>
                    <a:gd name="connsiteY754" fmla="*/ 879511 h 2163071"/>
                    <a:gd name="connsiteX755" fmla="*/ 19118 w 2328854"/>
                    <a:gd name="connsiteY755" fmla="*/ 879511 h 2163071"/>
                    <a:gd name="connsiteX756" fmla="*/ 45064 w 2328854"/>
                    <a:gd name="connsiteY756" fmla="*/ 927949 h 2163071"/>
                    <a:gd name="connsiteX757" fmla="*/ 45144 w 2328854"/>
                    <a:gd name="connsiteY757" fmla="*/ 927467 h 2163071"/>
                    <a:gd name="connsiteX758" fmla="*/ 44100 w 2328854"/>
                    <a:gd name="connsiteY758" fmla="*/ 928913 h 2163071"/>
                    <a:gd name="connsiteX759" fmla="*/ 43779 w 2328854"/>
                    <a:gd name="connsiteY759" fmla="*/ 930921 h 2163071"/>
                    <a:gd name="connsiteX760" fmla="*/ 45064 w 2328854"/>
                    <a:gd name="connsiteY760" fmla="*/ 927949 h 2163071"/>
                    <a:gd name="connsiteX761" fmla="*/ 2187973 w 2328854"/>
                    <a:gd name="connsiteY761" fmla="*/ 536832 h 2163071"/>
                    <a:gd name="connsiteX762" fmla="*/ 2183074 w 2328854"/>
                    <a:gd name="connsiteY762" fmla="*/ 532253 h 2163071"/>
                    <a:gd name="connsiteX763" fmla="*/ 2183074 w 2328854"/>
                    <a:gd name="connsiteY763" fmla="*/ 532494 h 2163071"/>
                    <a:gd name="connsiteX764" fmla="*/ 2187652 w 2328854"/>
                    <a:gd name="connsiteY764" fmla="*/ 540688 h 2163071"/>
                    <a:gd name="connsiteX765" fmla="*/ 2188616 w 2328854"/>
                    <a:gd name="connsiteY765" fmla="*/ 540527 h 2163071"/>
                    <a:gd name="connsiteX766" fmla="*/ 2187973 w 2328854"/>
                    <a:gd name="connsiteY766" fmla="*/ 536832 h 2163071"/>
                    <a:gd name="connsiteX767" fmla="*/ 1968357 w 2328854"/>
                    <a:gd name="connsiteY767" fmla="*/ 780547 h 2163071"/>
                    <a:gd name="connsiteX768" fmla="*/ 1968517 w 2328854"/>
                    <a:gd name="connsiteY768" fmla="*/ 780467 h 2163071"/>
                    <a:gd name="connsiteX769" fmla="*/ 1965706 w 2328854"/>
                    <a:gd name="connsiteY769" fmla="*/ 778459 h 2163071"/>
                    <a:gd name="connsiteX770" fmla="*/ 1965545 w 2328854"/>
                    <a:gd name="connsiteY770" fmla="*/ 778619 h 2163071"/>
                    <a:gd name="connsiteX771" fmla="*/ 1962814 w 2328854"/>
                    <a:gd name="connsiteY771" fmla="*/ 780226 h 2163071"/>
                    <a:gd name="connsiteX772" fmla="*/ 1968357 w 2328854"/>
                    <a:gd name="connsiteY772" fmla="*/ 780547 h 2163071"/>
                    <a:gd name="connsiteX773" fmla="*/ 19359 w 2328854"/>
                    <a:gd name="connsiteY773" fmla="*/ 866819 h 2163071"/>
                    <a:gd name="connsiteX774" fmla="*/ 19359 w 2328854"/>
                    <a:gd name="connsiteY774" fmla="*/ 867060 h 2163071"/>
                    <a:gd name="connsiteX775" fmla="*/ 20966 w 2328854"/>
                    <a:gd name="connsiteY775" fmla="*/ 861437 h 2163071"/>
                    <a:gd name="connsiteX776" fmla="*/ 20885 w 2328854"/>
                    <a:gd name="connsiteY776" fmla="*/ 861518 h 2163071"/>
                    <a:gd name="connsiteX777" fmla="*/ 19359 w 2328854"/>
                    <a:gd name="connsiteY777" fmla="*/ 866819 h 2163071"/>
                    <a:gd name="connsiteX778" fmla="*/ 369509 w 2328854"/>
                    <a:gd name="connsiteY778" fmla="*/ 1055911 h 2163071"/>
                    <a:gd name="connsiteX779" fmla="*/ 370553 w 2328854"/>
                    <a:gd name="connsiteY779" fmla="*/ 1054225 h 2163071"/>
                    <a:gd name="connsiteX780" fmla="*/ 370312 w 2328854"/>
                    <a:gd name="connsiteY780" fmla="*/ 1054064 h 2163071"/>
                    <a:gd name="connsiteX781" fmla="*/ 370232 w 2328854"/>
                    <a:gd name="connsiteY781" fmla="*/ 1054144 h 2163071"/>
                    <a:gd name="connsiteX782" fmla="*/ 368063 w 2328854"/>
                    <a:gd name="connsiteY782" fmla="*/ 1057197 h 2163071"/>
                    <a:gd name="connsiteX783" fmla="*/ 369509 w 2328854"/>
                    <a:gd name="connsiteY783" fmla="*/ 1055911 h 2163071"/>
                    <a:gd name="connsiteX784" fmla="*/ 372802 w 2328854"/>
                    <a:gd name="connsiteY784" fmla="*/ 1056956 h 2163071"/>
                    <a:gd name="connsiteX785" fmla="*/ 372481 w 2328854"/>
                    <a:gd name="connsiteY785" fmla="*/ 1050851 h 2163071"/>
                    <a:gd name="connsiteX786" fmla="*/ 372481 w 2328854"/>
                    <a:gd name="connsiteY786" fmla="*/ 1051092 h 2163071"/>
                    <a:gd name="connsiteX787" fmla="*/ 372561 w 2328854"/>
                    <a:gd name="connsiteY787" fmla="*/ 1058080 h 2163071"/>
                    <a:gd name="connsiteX788" fmla="*/ 372802 w 2328854"/>
                    <a:gd name="connsiteY788" fmla="*/ 1056956 h 2163071"/>
                    <a:gd name="connsiteX789" fmla="*/ 366537 w 2328854"/>
                    <a:gd name="connsiteY789" fmla="*/ 1052859 h 2163071"/>
                    <a:gd name="connsiteX790" fmla="*/ 368143 w 2328854"/>
                    <a:gd name="connsiteY790" fmla="*/ 1051172 h 2163071"/>
                    <a:gd name="connsiteX791" fmla="*/ 368223 w 2328854"/>
                    <a:gd name="connsiteY791" fmla="*/ 1049967 h 2163071"/>
                    <a:gd name="connsiteX792" fmla="*/ 366537 w 2328854"/>
                    <a:gd name="connsiteY792" fmla="*/ 1052859 h 2163071"/>
                    <a:gd name="connsiteX793" fmla="*/ 379148 w 2328854"/>
                    <a:gd name="connsiteY793" fmla="*/ 1053582 h 2163071"/>
                    <a:gd name="connsiteX794" fmla="*/ 379309 w 2328854"/>
                    <a:gd name="connsiteY794" fmla="*/ 1053582 h 2163071"/>
                    <a:gd name="connsiteX795" fmla="*/ 378666 w 2328854"/>
                    <a:gd name="connsiteY795" fmla="*/ 1051011 h 2163071"/>
                    <a:gd name="connsiteX796" fmla="*/ 379148 w 2328854"/>
                    <a:gd name="connsiteY796" fmla="*/ 1053582 h 2163071"/>
                    <a:gd name="connsiteX797" fmla="*/ 377461 w 2328854"/>
                    <a:gd name="connsiteY797" fmla="*/ 1057438 h 2163071"/>
                    <a:gd name="connsiteX798" fmla="*/ 377702 w 2328854"/>
                    <a:gd name="connsiteY798" fmla="*/ 1057679 h 2163071"/>
                    <a:gd name="connsiteX799" fmla="*/ 375935 w 2328854"/>
                    <a:gd name="connsiteY799" fmla="*/ 1050289 h 2163071"/>
                    <a:gd name="connsiteX800" fmla="*/ 375774 w 2328854"/>
                    <a:gd name="connsiteY800" fmla="*/ 1050529 h 2163071"/>
                    <a:gd name="connsiteX801" fmla="*/ 377461 w 2328854"/>
                    <a:gd name="connsiteY801" fmla="*/ 1057438 h 2163071"/>
                    <a:gd name="connsiteX802" fmla="*/ 380996 w 2328854"/>
                    <a:gd name="connsiteY802" fmla="*/ 1052538 h 2163071"/>
                    <a:gd name="connsiteX803" fmla="*/ 382120 w 2328854"/>
                    <a:gd name="connsiteY803" fmla="*/ 1053743 h 2163071"/>
                    <a:gd name="connsiteX804" fmla="*/ 380433 w 2328854"/>
                    <a:gd name="connsiteY804" fmla="*/ 1050690 h 2163071"/>
                    <a:gd name="connsiteX805" fmla="*/ 380996 w 2328854"/>
                    <a:gd name="connsiteY805" fmla="*/ 1052538 h 2163071"/>
                    <a:gd name="connsiteX806" fmla="*/ 345812 w 2328854"/>
                    <a:gd name="connsiteY806" fmla="*/ 1046834 h 2163071"/>
                    <a:gd name="connsiteX807" fmla="*/ 341555 w 2328854"/>
                    <a:gd name="connsiteY807" fmla="*/ 1042979 h 2163071"/>
                    <a:gd name="connsiteX808" fmla="*/ 328541 w 2328854"/>
                    <a:gd name="connsiteY808" fmla="*/ 1048360 h 2163071"/>
                    <a:gd name="connsiteX809" fmla="*/ 303158 w 2328854"/>
                    <a:gd name="connsiteY809" fmla="*/ 1048039 h 2163071"/>
                    <a:gd name="connsiteX810" fmla="*/ 303479 w 2328854"/>
                    <a:gd name="connsiteY810" fmla="*/ 1047156 h 2163071"/>
                    <a:gd name="connsiteX811" fmla="*/ 293920 w 2328854"/>
                    <a:gd name="connsiteY811" fmla="*/ 1051172 h 2163071"/>
                    <a:gd name="connsiteX812" fmla="*/ 289904 w 2328854"/>
                    <a:gd name="connsiteY812" fmla="*/ 1042336 h 2163071"/>
                    <a:gd name="connsiteX813" fmla="*/ 290145 w 2328854"/>
                    <a:gd name="connsiteY813" fmla="*/ 1056715 h 2163071"/>
                    <a:gd name="connsiteX814" fmla="*/ 285727 w 2328854"/>
                    <a:gd name="connsiteY814" fmla="*/ 1056795 h 2163071"/>
                    <a:gd name="connsiteX815" fmla="*/ 345812 w 2328854"/>
                    <a:gd name="connsiteY815" fmla="*/ 1046834 h 2163071"/>
                    <a:gd name="connsiteX816" fmla="*/ 389912 w 2328854"/>
                    <a:gd name="connsiteY816" fmla="*/ 1048601 h 2163071"/>
                    <a:gd name="connsiteX817" fmla="*/ 390876 w 2328854"/>
                    <a:gd name="connsiteY817" fmla="*/ 1048441 h 2163071"/>
                    <a:gd name="connsiteX818" fmla="*/ 386297 w 2328854"/>
                    <a:gd name="connsiteY818" fmla="*/ 1047075 h 2163071"/>
                    <a:gd name="connsiteX819" fmla="*/ 386297 w 2328854"/>
                    <a:gd name="connsiteY819" fmla="*/ 1047075 h 2163071"/>
                    <a:gd name="connsiteX820" fmla="*/ 389912 w 2328854"/>
                    <a:gd name="connsiteY820" fmla="*/ 1048601 h 2163071"/>
                    <a:gd name="connsiteX821" fmla="*/ 27713 w 2328854"/>
                    <a:gd name="connsiteY821" fmla="*/ 869711 h 2163071"/>
                    <a:gd name="connsiteX822" fmla="*/ 27713 w 2328854"/>
                    <a:gd name="connsiteY822" fmla="*/ 869791 h 2163071"/>
                    <a:gd name="connsiteX823" fmla="*/ 27793 w 2328854"/>
                    <a:gd name="connsiteY823" fmla="*/ 868104 h 2163071"/>
                    <a:gd name="connsiteX824" fmla="*/ 27713 w 2328854"/>
                    <a:gd name="connsiteY824" fmla="*/ 869711 h 2163071"/>
                    <a:gd name="connsiteX825" fmla="*/ 457950 w 2328854"/>
                    <a:gd name="connsiteY825" fmla="*/ 1050610 h 2163071"/>
                    <a:gd name="connsiteX826" fmla="*/ 455942 w 2328854"/>
                    <a:gd name="connsiteY826" fmla="*/ 1048039 h 2163071"/>
                    <a:gd name="connsiteX827" fmla="*/ 455219 w 2328854"/>
                    <a:gd name="connsiteY827" fmla="*/ 1049003 h 2163071"/>
                    <a:gd name="connsiteX828" fmla="*/ 457950 w 2328854"/>
                    <a:gd name="connsiteY828" fmla="*/ 1050610 h 2163071"/>
                    <a:gd name="connsiteX829" fmla="*/ 126517 w 2328854"/>
                    <a:gd name="connsiteY829" fmla="*/ 975101 h 2163071"/>
                    <a:gd name="connsiteX830" fmla="*/ 127320 w 2328854"/>
                    <a:gd name="connsiteY830" fmla="*/ 975503 h 2163071"/>
                    <a:gd name="connsiteX831" fmla="*/ 125151 w 2328854"/>
                    <a:gd name="connsiteY831" fmla="*/ 958072 h 2163071"/>
                    <a:gd name="connsiteX832" fmla="*/ 124910 w 2328854"/>
                    <a:gd name="connsiteY832" fmla="*/ 958554 h 2163071"/>
                    <a:gd name="connsiteX833" fmla="*/ 126517 w 2328854"/>
                    <a:gd name="connsiteY833" fmla="*/ 975101 h 2163071"/>
                    <a:gd name="connsiteX834" fmla="*/ 556111 w 2328854"/>
                    <a:gd name="connsiteY834" fmla="*/ 1047959 h 2163071"/>
                    <a:gd name="connsiteX835" fmla="*/ 556673 w 2328854"/>
                    <a:gd name="connsiteY835" fmla="*/ 1046995 h 2163071"/>
                    <a:gd name="connsiteX836" fmla="*/ 554584 w 2328854"/>
                    <a:gd name="connsiteY836" fmla="*/ 1046513 h 2163071"/>
                    <a:gd name="connsiteX837" fmla="*/ 554263 w 2328854"/>
                    <a:gd name="connsiteY837" fmla="*/ 1046674 h 2163071"/>
                    <a:gd name="connsiteX838" fmla="*/ 553701 w 2328854"/>
                    <a:gd name="connsiteY838" fmla="*/ 1048039 h 2163071"/>
                    <a:gd name="connsiteX839" fmla="*/ 556111 w 2328854"/>
                    <a:gd name="connsiteY839" fmla="*/ 1047959 h 2163071"/>
                    <a:gd name="connsiteX840" fmla="*/ 391840 w 2328854"/>
                    <a:gd name="connsiteY840" fmla="*/ 1028359 h 2163071"/>
                    <a:gd name="connsiteX841" fmla="*/ 392001 w 2328854"/>
                    <a:gd name="connsiteY841" fmla="*/ 1027957 h 2163071"/>
                    <a:gd name="connsiteX842" fmla="*/ 390635 w 2328854"/>
                    <a:gd name="connsiteY842" fmla="*/ 1027475 h 2163071"/>
                    <a:gd name="connsiteX843" fmla="*/ 376738 w 2328854"/>
                    <a:gd name="connsiteY843" fmla="*/ 1030688 h 2163071"/>
                    <a:gd name="connsiteX844" fmla="*/ 377220 w 2328854"/>
                    <a:gd name="connsiteY844" fmla="*/ 1030688 h 2163071"/>
                    <a:gd name="connsiteX845" fmla="*/ 377140 w 2328854"/>
                    <a:gd name="connsiteY845" fmla="*/ 1030688 h 2163071"/>
                    <a:gd name="connsiteX846" fmla="*/ 375292 w 2328854"/>
                    <a:gd name="connsiteY846" fmla="*/ 1030849 h 2163071"/>
                    <a:gd name="connsiteX847" fmla="*/ 375533 w 2328854"/>
                    <a:gd name="connsiteY847" fmla="*/ 1030287 h 2163071"/>
                    <a:gd name="connsiteX848" fmla="*/ 367340 w 2328854"/>
                    <a:gd name="connsiteY848" fmla="*/ 1030849 h 2163071"/>
                    <a:gd name="connsiteX849" fmla="*/ 371276 w 2328854"/>
                    <a:gd name="connsiteY849" fmla="*/ 1030528 h 2163071"/>
                    <a:gd name="connsiteX850" fmla="*/ 370874 w 2328854"/>
                    <a:gd name="connsiteY850" fmla="*/ 1031090 h 2163071"/>
                    <a:gd name="connsiteX851" fmla="*/ 371758 w 2328854"/>
                    <a:gd name="connsiteY851" fmla="*/ 1031251 h 2163071"/>
                    <a:gd name="connsiteX852" fmla="*/ 372481 w 2328854"/>
                    <a:gd name="connsiteY852" fmla="*/ 1031331 h 2163071"/>
                    <a:gd name="connsiteX853" fmla="*/ 373123 w 2328854"/>
                    <a:gd name="connsiteY853" fmla="*/ 1031411 h 2163071"/>
                    <a:gd name="connsiteX854" fmla="*/ 373686 w 2328854"/>
                    <a:gd name="connsiteY854" fmla="*/ 1031492 h 2163071"/>
                    <a:gd name="connsiteX855" fmla="*/ 374328 w 2328854"/>
                    <a:gd name="connsiteY855" fmla="*/ 1031572 h 2163071"/>
                    <a:gd name="connsiteX856" fmla="*/ 375132 w 2328854"/>
                    <a:gd name="connsiteY856" fmla="*/ 1031733 h 2163071"/>
                    <a:gd name="connsiteX857" fmla="*/ 376176 w 2328854"/>
                    <a:gd name="connsiteY857" fmla="*/ 1031893 h 2163071"/>
                    <a:gd name="connsiteX858" fmla="*/ 377542 w 2328854"/>
                    <a:gd name="connsiteY858" fmla="*/ 1032134 h 2163071"/>
                    <a:gd name="connsiteX859" fmla="*/ 374569 w 2328854"/>
                    <a:gd name="connsiteY859" fmla="*/ 1034223 h 2163071"/>
                    <a:gd name="connsiteX860" fmla="*/ 377060 w 2328854"/>
                    <a:gd name="connsiteY860" fmla="*/ 1034223 h 2163071"/>
                    <a:gd name="connsiteX861" fmla="*/ 372481 w 2328854"/>
                    <a:gd name="connsiteY861" fmla="*/ 1033821 h 2163071"/>
                    <a:gd name="connsiteX862" fmla="*/ 370955 w 2328854"/>
                    <a:gd name="connsiteY862" fmla="*/ 1033821 h 2163071"/>
                    <a:gd name="connsiteX863" fmla="*/ 371597 w 2328854"/>
                    <a:gd name="connsiteY863" fmla="*/ 1033420 h 2163071"/>
                    <a:gd name="connsiteX864" fmla="*/ 367501 w 2328854"/>
                    <a:gd name="connsiteY864" fmla="*/ 1032054 h 2163071"/>
                    <a:gd name="connsiteX865" fmla="*/ 367902 w 2328854"/>
                    <a:gd name="connsiteY865" fmla="*/ 1032054 h 2163071"/>
                    <a:gd name="connsiteX866" fmla="*/ 346294 w 2328854"/>
                    <a:gd name="connsiteY866" fmla="*/ 1031251 h 2163071"/>
                    <a:gd name="connsiteX867" fmla="*/ 386056 w 2328854"/>
                    <a:gd name="connsiteY867" fmla="*/ 1036713 h 2163071"/>
                    <a:gd name="connsiteX868" fmla="*/ 388627 w 2328854"/>
                    <a:gd name="connsiteY868" fmla="*/ 1035428 h 2163071"/>
                    <a:gd name="connsiteX869" fmla="*/ 386860 w 2328854"/>
                    <a:gd name="connsiteY869" fmla="*/ 1035106 h 2163071"/>
                    <a:gd name="connsiteX870" fmla="*/ 387341 w 2328854"/>
                    <a:gd name="connsiteY870" fmla="*/ 1034303 h 2163071"/>
                    <a:gd name="connsiteX871" fmla="*/ 387181 w 2328854"/>
                    <a:gd name="connsiteY871" fmla="*/ 1034062 h 2163071"/>
                    <a:gd name="connsiteX872" fmla="*/ 385333 w 2328854"/>
                    <a:gd name="connsiteY872" fmla="*/ 1034303 h 2163071"/>
                    <a:gd name="connsiteX873" fmla="*/ 384851 w 2328854"/>
                    <a:gd name="connsiteY873" fmla="*/ 1033179 h 2163071"/>
                    <a:gd name="connsiteX874" fmla="*/ 391840 w 2328854"/>
                    <a:gd name="connsiteY874" fmla="*/ 1028359 h 2163071"/>
                    <a:gd name="connsiteX875" fmla="*/ 60166 w 2328854"/>
                    <a:gd name="connsiteY875" fmla="*/ 899352 h 2163071"/>
                    <a:gd name="connsiteX876" fmla="*/ 60487 w 2328854"/>
                    <a:gd name="connsiteY876" fmla="*/ 901200 h 2163071"/>
                    <a:gd name="connsiteX877" fmla="*/ 60969 w 2328854"/>
                    <a:gd name="connsiteY877" fmla="*/ 897504 h 2163071"/>
                    <a:gd name="connsiteX878" fmla="*/ 59603 w 2328854"/>
                    <a:gd name="connsiteY878" fmla="*/ 898308 h 2163071"/>
                    <a:gd name="connsiteX879" fmla="*/ 60166 w 2328854"/>
                    <a:gd name="connsiteY879" fmla="*/ 898388 h 2163071"/>
                    <a:gd name="connsiteX880" fmla="*/ 60166 w 2328854"/>
                    <a:gd name="connsiteY880" fmla="*/ 899352 h 2163071"/>
                    <a:gd name="connsiteX881" fmla="*/ 346133 w 2328854"/>
                    <a:gd name="connsiteY881" fmla="*/ 1020647 h 2163071"/>
                    <a:gd name="connsiteX882" fmla="*/ 346214 w 2328854"/>
                    <a:gd name="connsiteY882" fmla="*/ 1020085 h 2163071"/>
                    <a:gd name="connsiteX883" fmla="*/ 344446 w 2328854"/>
                    <a:gd name="connsiteY883" fmla="*/ 1017113 h 2163071"/>
                    <a:gd name="connsiteX884" fmla="*/ 344205 w 2328854"/>
                    <a:gd name="connsiteY884" fmla="*/ 1017354 h 2163071"/>
                    <a:gd name="connsiteX885" fmla="*/ 341233 w 2328854"/>
                    <a:gd name="connsiteY885" fmla="*/ 1024182 h 2163071"/>
                    <a:gd name="connsiteX886" fmla="*/ 346133 w 2328854"/>
                    <a:gd name="connsiteY886" fmla="*/ 1020647 h 2163071"/>
                    <a:gd name="connsiteX887" fmla="*/ 432807 w 2328854"/>
                    <a:gd name="connsiteY887" fmla="*/ 1027716 h 2163071"/>
                    <a:gd name="connsiteX888" fmla="*/ 431602 w 2328854"/>
                    <a:gd name="connsiteY888" fmla="*/ 1024342 h 2163071"/>
                    <a:gd name="connsiteX889" fmla="*/ 430799 w 2328854"/>
                    <a:gd name="connsiteY889" fmla="*/ 1024423 h 2163071"/>
                    <a:gd name="connsiteX890" fmla="*/ 426863 w 2328854"/>
                    <a:gd name="connsiteY890" fmla="*/ 1044344 h 2163071"/>
                    <a:gd name="connsiteX891" fmla="*/ 430317 w 2328854"/>
                    <a:gd name="connsiteY891" fmla="*/ 1033821 h 2163071"/>
                    <a:gd name="connsiteX892" fmla="*/ 430397 w 2328854"/>
                    <a:gd name="connsiteY892" fmla="*/ 1033902 h 2163071"/>
                    <a:gd name="connsiteX893" fmla="*/ 432807 w 2328854"/>
                    <a:gd name="connsiteY893" fmla="*/ 1027716 h 2163071"/>
                    <a:gd name="connsiteX894" fmla="*/ 426140 w 2328854"/>
                    <a:gd name="connsiteY894" fmla="*/ 1013097 h 2163071"/>
                    <a:gd name="connsiteX895" fmla="*/ 426542 w 2328854"/>
                    <a:gd name="connsiteY895" fmla="*/ 1012856 h 2163071"/>
                    <a:gd name="connsiteX896" fmla="*/ 426301 w 2328854"/>
                    <a:gd name="connsiteY896" fmla="*/ 1012936 h 2163071"/>
                    <a:gd name="connsiteX897" fmla="*/ 417866 w 2328854"/>
                    <a:gd name="connsiteY897" fmla="*/ 1014703 h 2163071"/>
                    <a:gd name="connsiteX898" fmla="*/ 420678 w 2328854"/>
                    <a:gd name="connsiteY898" fmla="*/ 1016229 h 2163071"/>
                    <a:gd name="connsiteX899" fmla="*/ 426140 w 2328854"/>
                    <a:gd name="connsiteY899" fmla="*/ 1013097 h 2163071"/>
                    <a:gd name="connsiteX900" fmla="*/ 520204 w 2328854"/>
                    <a:gd name="connsiteY900" fmla="*/ 1023218 h 2163071"/>
                    <a:gd name="connsiteX901" fmla="*/ 520365 w 2328854"/>
                    <a:gd name="connsiteY901" fmla="*/ 1023218 h 2163071"/>
                    <a:gd name="connsiteX902" fmla="*/ 520124 w 2328854"/>
                    <a:gd name="connsiteY902" fmla="*/ 1022013 h 2163071"/>
                    <a:gd name="connsiteX903" fmla="*/ 515465 w 2328854"/>
                    <a:gd name="connsiteY903" fmla="*/ 1020406 h 2163071"/>
                    <a:gd name="connsiteX904" fmla="*/ 514340 w 2328854"/>
                    <a:gd name="connsiteY904" fmla="*/ 1020728 h 2163071"/>
                    <a:gd name="connsiteX905" fmla="*/ 520204 w 2328854"/>
                    <a:gd name="connsiteY905" fmla="*/ 1023218 h 2163071"/>
                    <a:gd name="connsiteX906" fmla="*/ 2073104 w 2328854"/>
                    <a:gd name="connsiteY906" fmla="*/ 623586 h 2163071"/>
                    <a:gd name="connsiteX907" fmla="*/ 2073104 w 2328854"/>
                    <a:gd name="connsiteY907" fmla="*/ 623506 h 2163071"/>
                    <a:gd name="connsiteX908" fmla="*/ 2073104 w 2328854"/>
                    <a:gd name="connsiteY908" fmla="*/ 623586 h 2163071"/>
                    <a:gd name="connsiteX909" fmla="*/ 2073185 w 2328854"/>
                    <a:gd name="connsiteY909" fmla="*/ 624871 h 2163071"/>
                    <a:gd name="connsiteX910" fmla="*/ 2073104 w 2328854"/>
                    <a:gd name="connsiteY910" fmla="*/ 623586 h 2163071"/>
                    <a:gd name="connsiteX911" fmla="*/ 2082583 w 2328854"/>
                    <a:gd name="connsiteY911" fmla="*/ 633145 h 2163071"/>
                    <a:gd name="connsiteX912" fmla="*/ 2082664 w 2328854"/>
                    <a:gd name="connsiteY912" fmla="*/ 632984 h 2163071"/>
                    <a:gd name="connsiteX913" fmla="*/ 2081378 w 2328854"/>
                    <a:gd name="connsiteY913" fmla="*/ 632101 h 2163071"/>
                    <a:gd name="connsiteX914" fmla="*/ 2075514 w 2328854"/>
                    <a:gd name="connsiteY914" fmla="*/ 629691 h 2163071"/>
                    <a:gd name="connsiteX915" fmla="*/ 2070855 w 2328854"/>
                    <a:gd name="connsiteY915" fmla="*/ 627040 h 2163071"/>
                    <a:gd name="connsiteX916" fmla="*/ 2065955 w 2328854"/>
                    <a:gd name="connsiteY916" fmla="*/ 628245 h 2163071"/>
                    <a:gd name="connsiteX917" fmla="*/ 2066116 w 2328854"/>
                    <a:gd name="connsiteY917" fmla="*/ 628567 h 2163071"/>
                    <a:gd name="connsiteX918" fmla="*/ 2066759 w 2328854"/>
                    <a:gd name="connsiteY918" fmla="*/ 630173 h 2163071"/>
                    <a:gd name="connsiteX919" fmla="*/ 2063947 w 2328854"/>
                    <a:gd name="connsiteY919" fmla="*/ 631940 h 2163071"/>
                    <a:gd name="connsiteX920" fmla="*/ 2069088 w 2328854"/>
                    <a:gd name="connsiteY920" fmla="*/ 632503 h 2163071"/>
                    <a:gd name="connsiteX921" fmla="*/ 2068365 w 2328854"/>
                    <a:gd name="connsiteY921" fmla="*/ 631217 h 2163071"/>
                    <a:gd name="connsiteX922" fmla="*/ 2072783 w 2328854"/>
                    <a:gd name="connsiteY922" fmla="*/ 632422 h 2163071"/>
                    <a:gd name="connsiteX923" fmla="*/ 2082583 w 2328854"/>
                    <a:gd name="connsiteY923" fmla="*/ 633145 h 2163071"/>
                    <a:gd name="connsiteX924" fmla="*/ 185477 w 2328854"/>
                    <a:gd name="connsiteY924" fmla="*/ 948754 h 2163071"/>
                    <a:gd name="connsiteX925" fmla="*/ 185477 w 2328854"/>
                    <a:gd name="connsiteY925" fmla="*/ 948915 h 2163071"/>
                    <a:gd name="connsiteX926" fmla="*/ 184995 w 2328854"/>
                    <a:gd name="connsiteY926" fmla="*/ 945942 h 2163071"/>
                    <a:gd name="connsiteX927" fmla="*/ 184995 w 2328854"/>
                    <a:gd name="connsiteY927" fmla="*/ 945942 h 2163071"/>
                    <a:gd name="connsiteX928" fmla="*/ 185477 w 2328854"/>
                    <a:gd name="connsiteY928" fmla="*/ 948754 h 2163071"/>
                    <a:gd name="connsiteX929" fmla="*/ 347419 w 2328854"/>
                    <a:gd name="connsiteY929" fmla="*/ 991408 h 2163071"/>
                    <a:gd name="connsiteX930" fmla="*/ 347499 w 2328854"/>
                    <a:gd name="connsiteY930" fmla="*/ 991328 h 2163071"/>
                    <a:gd name="connsiteX931" fmla="*/ 344848 w 2328854"/>
                    <a:gd name="connsiteY931" fmla="*/ 990444 h 2163071"/>
                    <a:gd name="connsiteX932" fmla="*/ 335610 w 2328854"/>
                    <a:gd name="connsiteY932" fmla="*/ 989320 h 2163071"/>
                    <a:gd name="connsiteX933" fmla="*/ 341073 w 2328854"/>
                    <a:gd name="connsiteY933" fmla="*/ 992292 h 2163071"/>
                    <a:gd name="connsiteX934" fmla="*/ 347419 w 2328854"/>
                    <a:gd name="connsiteY934" fmla="*/ 991408 h 2163071"/>
                    <a:gd name="connsiteX935" fmla="*/ 2072783 w 2328854"/>
                    <a:gd name="connsiteY935" fmla="*/ 620453 h 2163071"/>
                    <a:gd name="connsiteX936" fmla="*/ 2071257 w 2328854"/>
                    <a:gd name="connsiteY936" fmla="*/ 619088 h 2163071"/>
                    <a:gd name="connsiteX937" fmla="*/ 2071337 w 2328854"/>
                    <a:gd name="connsiteY937" fmla="*/ 619248 h 2163071"/>
                    <a:gd name="connsiteX938" fmla="*/ 2073024 w 2328854"/>
                    <a:gd name="connsiteY938" fmla="*/ 623506 h 2163071"/>
                    <a:gd name="connsiteX939" fmla="*/ 2072944 w 2328854"/>
                    <a:gd name="connsiteY939" fmla="*/ 620614 h 2163071"/>
                    <a:gd name="connsiteX940" fmla="*/ 2072783 w 2328854"/>
                    <a:gd name="connsiteY940" fmla="*/ 620453 h 2163071"/>
                    <a:gd name="connsiteX941" fmla="*/ 1770991 w 2328854"/>
                    <a:gd name="connsiteY941" fmla="*/ 801593 h 2163071"/>
                    <a:gd name="connsiteX942" fmla="*/ 1771312 w 2328854"/>
                    <a:gd name="connsiteY942" fmla="*/ 801513 h 2163071"/>
                    <a:gd name="connsiteX943" fmla="*/ 1765609 w 2328854"/>
                    <a:gd name="connsiteY943" fmla="*/ 802316 h 2163071"/>
                    <a:gd name="connsiteX944" fmla="*/ 1761994 w 2328854"/>
                    <a:gd name="connsiteY944" fmla="*/ 808823 h 2163071"/>
                    <a:gd name="connsiteX945" fmla="*/ 1770991 w 2328854"/>
                    <a:gd name="connsiteY945" fmla="*/ 801593 h 2163071"/>
                    <a:gd name="connsiteX946" fmla="*/ 122982 w 2328854"/>
                    <a:gd name="connsiteY946" fmla="*/ 938391 h 2163071"/>
                    <a:gd name="connsiteX947" fmla="*/ 128043 w 2328854"/>
                    <a:gd name="connsiteY947" fmla="*/ 911562 h 2163071"/>
                    <a:gd name="connsiteX948" fmla="*/ 127962 w 2328854"/>
                    <a:gd name="connsiteY948" fmla="*/ 912767 h 2163071"/>
                    <a:gd name="connsiteX949" fmla="*/ 123705 w 2328854"/>
                    <a:gd name="connsiteY949" fmla="*/ 927146 h 2163071"/>
                    <a:gd name="connsiteX950" fmla="*/ 124428 w 2328854"/>
                    <a:gd name="connsiteY950" fmla="*/ 932528 h 2163071"/>
                    <a:gd name="connsiteX951" fmla="*/ 122340 w 2328854"/>
                    <a:gd name="connsiteY951" fmla="*/ 931965 h 2163071"/>
                    <a:gd name="connsiteX952" fmla="*/ 119930 w 2328854"/>
                    <a:gd name="connsiteY952" fmla="*/ 940480 h 2163071"/>
                    <a:gd name="connsiteX953" fmla="*/ 118725 w 2328854"/>
                    <a:gd name="connsiteY953" fmla="*/ 938391 h 2163071"/>
                    <a:gd name="connsiteX954" fmla="*/ 114949 w 2328854"/>
                    <a:gd name="connsiteY954" fmla="*/ 938954 h 2163071"/>
                    <a:gd name="connsiteX955" fmla="*/ 119367 w 2328854"/>
                    <a:gd name="connsiteY955" fmla="*/ 945300 h 2163071"/>
                    <a:gd name="connsiteX956" fmla="*/ 119207 w 2328854"/>
                    <a:gd name="connsiteY956" fmla="*/ 940801 h 2163071"/>
                    <a:gd name="connsiteX957" fmla="*/ 122982 w 2328854"/>
                    <a:gd name="connsiteY957" fmla="*/ 938391 h 2163071"/>
                    <a:gd name="connsiteX958" fmla="*/ 2141624 w 2328854"/>
                    <a:gd name="connsiteY958" fmla="*/ 462368 h 2163071"/>
                    <a:gd name="connsiteX959" fmla="*/ 2137206 w 2328854"/>
                    <a:gd name="connsiteY959" fmla="*/ 460119 h 2163071"/>
                    <a:gd name="connsiteX960" fmla="*/ 2137688 w 2328854"/>
                    <a:gd name="connsiteY960" fmla="*/ 460440 h 2163071"/>
                    <a:gd name="connsiteX961" fmla="*/ 2138893 w 2328854"/>
                    <a:gd name="connsiteY961" fmla="*/ 461725 h 2163071"/>
                    <a:gd name="connsiteX962" fmla="*/ 2142347 w 2328854"/>
                    <a:gd name="connsiteY962" fmla="*/ 467027 h 2163071"/>
                    <a:gd name="connsiteX963" fmla="*/ 2149175 w 2328854"/>
                    <a:gd name="connsiteY963" fmla="*/ 479558 h 2163071"/>
                    <a:gd name="connsiteX964" fmla="*/ 2148854 w 2328854"/>
                    <a:gd name="connsiteY964" fmla="*/ 479237 h 2163071"/>
                    <a:gd name="connsiteX965" fmla="*/ 2160903 w 2328854"/>
                    <a:gd name="connsiteY965" fmla="*/ 493374 h 2163071"/>
                    <a:gd name="connsiteX966" fmla="*/ 2141624 w 2328854"/>
                    <a:gd name="connsiteY966" fmla="*/ 462368 h 2163071"/>
                    <a:gd name="connsiteX967" fmla="*/ 1913091 w 2328854"/>
                    <a:gd name="connsiteY967" fmla="*/ 722631 h 2163071"/>
                    <a:gd name="connsiteX968" fmla="*/ 1913573 w 2328854"/>
                    <a:gd name="connsiteY968" fmla="*/ 722149 h 2163071"/>
                    <a:gd name="connsiteX969" fmla="*/ 1913332 w 2328854"/>
                    <a:gd name="connsiteY969" fmla="*/ 722390 h 2163071"/>
                    <a:gd name="connsiteX970" fmla="*/ 1906585 w 2328854"/>
                    <a:gd name="connsiteY970" fmla="*/ 729539 h 2163071"/>
                    <a:gd name="connsiteX971" fmla="*/ 1913091 w 2328854"/>
                    <a:gd name="connsiteY971" fmla="*/ 722631 h 2163071"/>
                    <a:gd name="connsiteX972" fmla="*/ 2193998 w 2328854"/>
                    <a:gd name="connsiteY972" fmla="*/ 564947 h 2163071"/>
                    <a:gd name="connsiteX973" fmla="*/ 2183315 w 2328854"/>
                    <a:gd name="connsiteY973" fmla="*/ 558039 h 2163071"/>
                    <a:gd name="connsiteX974" fmla="*/ 2189339 w 2328854"/>
                    <a:gd name="connsiteY974" fmla="*/ 572738 h 2163071"/>
                    <a:gd name="connsiteX975" fmla="*/ 2168373 w 2328854"/>
                    <a:gd name="connsiteY975" fmla="*/ 556512 h 2163071"/>
                    <a:gd name="connsiteX976" fmla="*/ 2161224 w 2328854"/>
                    <a:gd name="connsiteY976" fmla="*/ 548721 h 2163071"/>
                    <a:gd name="connsiteX977" fmla="*/ 2156887 w 2328854"/>
                    <a:gd name="connsiteY977" fmla="*/ 540607 h 2163071"/>
                    <a:gd name="connsiteX978" fmla="*/ 2150942 w 2328854"/>
                    <a:gd name="connsiteY978" fmla="*/ 535386 h 2163071"/>
                    <a:gd name="connsiteX979" fmla="*/ 2151344 w 2328854"/>
                    <a:gd name="connsiteY979" fmla="*/ 520847 h 2163071"/>
                    <a:gd name="connsiteX980" fmla="*/ 2131904 w 2328854"/>
                    <a:gd name="connsiteY980" fmla="*/ 511288 h 2163071"/>
                    <a:gd name="connsiteX981" fmla="*/ 2133029 w 2328854"/>
                    <a:gd name="connsiteY981" fmla="*/ 527032 h 2163071"/>
                    <a:gd name="connsiteX982" fmla="*/ 2133351 w 2328854"/>
                    <a:gd name="connsiteY982" fmla="*/ 531450 h 2163071"/>
                    <a:gd name="connsiteX983" fmla="*/ 2137528 w 2328854"/>
                    <a:gd name="connsiteY983" fmla="*/ 551773 h 2163071"/>
                    <a:gd name="connsiteX984" fmla="*/ 2136082 w 2328854"/>
                    <a:gd name="connsiteY984" fmla="*/ 551612 h 2163071"/>
                    <a:gd name="connsiteX985" fmla="*/ 2143472 w 2328854"/>
                    <a:gd name="connsiteY985" fmla="*/ 564706 h 2163071"/>
                    <a:gd name="connsiteX986" fmla="*/ 2142669 w 2328854"/>
                    <a:gd name="connsiteY986" fmla="*/ 564465 h 2163071"/>
                    <a:gd name="connsiteX987" fmla="*/ 2156646 w 2328854"/>
                    <a:gd name="connsiteY987" fmla="*/ 578040 h 2163071"/>
                    <a:gd name="connsiteX988" fmla="*/ 2154075 w 2328854"/>
                    <a:gd name="connsiteY988" fmla="*/ 572819 h 2163071"/>
                    <a:gd name="connsiteX989" fmla="*/ 2192874 w 2328854"/>
                    <a:gd name="connsiteY989" fmla="*/ 599327 h 2163071"/>
                    <a:gd name="connsiteX990" fmla="*/ 2200505 w 2328854"/>
                    <a:gd name="connsiteY990" fmla="*/ 622542 h 2163071"/>
                    <a:gd name="connsiteX991" fmla="*/ 2199219 w 2328854"/>
                    <a:gd name="connsiteY991" fmla="*/ 621739 h 2163071"/>
                    <a:gd name="connsiteX992" fmla="*/ 2224764 w 2328854"/>
                    <a:gd name="connsiteY992" fmla="*/ 627201 h 2163071"/>
                    <a:gd name="connsiteX993" fmla="*/ 2207011 w 2328854"/>
                    <a:gd name="connsiteY993" fmla="*/ 591053 h 2163071"/>
                    <a:gd name="connsiteX994" fmla="*/ 2206208 w 2328854"/>
                    <a:gd name="connsiteY994" fmla="*/ 591134 h 2163071"/>
                    <a:gd name="connsiteX995" fmla="*/ 2205887 w 2328854"/>
                    <a:gd name="connsiteY995" fmla="*/ 593463 h 2163071"/>
                    <a:gd name="connsiteX996" fmla="*/ 2203316 w 2328854"/>
                    <a:gd name="connsiteY996" fmla="*/ 589286 h 2163071"/>
                    <a:gd name="connsiteX997" fmla="*/ 2204039 w 2328854"/>
                    <a:gd name="connsiteY997" fmla="*/ 589206 h 2163071"/>
                    <a:gd name="connsiteX998" fmla="*/ 2200746 w 2328854"/>
                    <a:gd name="connsiteY998" fmla="*/ 584707 h 2163071"/>
                    <a:gd name="connsiteX999" fmla="*/ 2201629 w 2328854"/>
                    <a:gd name="connsiteY999" fmla="*/ 588563 h 2163071"/>
                    <a:gd name="connsiteX1000" fmla="*/ 2190785 w 2328854"/>
                    <a:gd name="connsiteY1000" fmla="*/ 574104 h 2163071"/>
                    <a:gd name="connsiteX1001" fmla="*/ 2195364 w 2328854"/>
                    <a:gd name="connsiteY1001" fmla="*/ 569686 h 2163071"/>
                    <a:gd name="connsiteX1002" fmla="*/ 2193998 w 2328854"/>
                    <a:gd name="connsiteY1002" fmla="*/ 564947 h 2163071"/>
                    <a:gd name="connsiteX1003" fmla="*/ 401881 w 2328854"/>
                    <a:gd name="connsiteY1003" fmla="*/ 991488 h 2163071"/>
                    <a:gd name="connsiteX1004" fmla="*/ 402122 w 2328854"/>
                    <a:gd name="connsiteY1004" fmla="*/ 988355 h 2163071"/>
                    <a:gd name="connsiteX1005" fmla="*/ 401961 w 2328854"/>
                    <a:gd name="connsiteY1005" fmla="*/ 988436 h 2163071"/>
                    <a:gd name="connsiteX1006" fmla="*/ 397222 w 2328854"/>
                    <a:gd name="connsiteY1006" fmla="*/ 991649 h 2163071"/>
                    <a:gd name="connsiteX1007" fmla="*/ 401881 w 2328854"/>
                    <a:gd name="connsiteY1007" fmla="*/ 991488 h 2163071"/>
                    <a:gd name="connsiteX1008" fmla="*/ 183710 w 2328854"/>
                    <a:gd name="connsiteY1008" fmla="*/ 930359 h 2163071"/>
                    <a:gd name="connsiteX1009" fmla="*/ 184112 w 2328854"/>
                    <a:gd name="connsiteY1009" fmla="*/ 929716 h 2163071"/>
                    <a:gd name="connsiteX1010" fmla="*/ 183469 w 2328854"/>
                    <a:gd name="connsiteY1010" fmla="*/ 929636 h 2163071"/>
                    <a:gd name="connsiteX1011" fmla="*/ 184192 w 2328854"/>
                    <a:gd name="connsiteY1011" fmla="*/ 928029 h 2163071"/>
                    <a:gd name="connsiteX1012" fmla="*/ 183951 w 2328854"/>
                    <a:gd name="connsiteY1012" fmla="*/ 928109 h 2163071"/>
                    <a:gd name="connsiteX1013" fmla="*/ 180818 w 2328854"/>
                    <a:gd name="connsiteY1013" fmla="*/ 928029 h 2163071"/>
                    <a:gd name="connsiteX1014" fmla="*/ 180417 w 2328854"/>
                    <a:gd name="connsiteY1014" fmla="*/ 930439 h 2163071"/>
                    <a:gd name="connsiteX1015" fmla="*/ 183710 w 2328854"/>
                    <a:gd name="connsiteY1015" fmla="*/ 930359 h 2163071"/>
                    <a:gd name="connsiteX1016" fmla="*/ 45948 w 2328854"/>
                    <a:gd name="connsiteY1016" fmla="*/ 790267 h 2163071"/>
                    <a:gd name="connsiteX1017" fmla="*/ 45948 w 2328854"/>
                    <a:gd name="connsiteY1017" fmla="*/ 790267 h 2163071"/>
                    <a:gd name="connsiteX1018" fmla="*/ 46510 w 2328854"/>
                    <a:gd name="connsiteY1018" fmla="*/ 788178 h 2163071"/>
                    <a:gd name="connsiteX1019" fmla="*/ 46510 w 2328854"/>
                    <a:gd name="connsiteY1019" fmla="*/ 788178 h 2163071"/>
                    <a:gd name="connsiteX1020" fmla="*/ 45385 w 2328854"/>
                    <a:gd name="connsiteY1020" fmla="*/ 789945 h 2163071"/>
                    <a:gd name="connsiteX1021" fmla="*/ 45948 w 2328854"/>
                    <a:gd name="connsiteY1021" fmla="*/ 790267 h 2163071"/>
                    <a:gd name="connsiteX1022" fmla="*/ 386378 w 2328854"/>
                    <a:gd name="connsiteY1022" fmla="*/ 978395 h 2163071"/>
                    <a:gd name="connsiteX1023" fmla="*/ 386619 w 2328854"/>
                    <a:gd name="connsiteY1023" fmla="*/ 978555 h 2163071"/>
                    <a:gd name="connsiteX1024" fmla="*/ 382843 w 2328854"/>
                    <a:gd name="connsiteY1024" fmla="*/ 975021 h 2163071"/>
                    <a:gd name="connsiteX1025" fmla="*/ 382763 w 2328854"/>
                    <a:gd name="connsiteY1025" fmla="*/ 975262 h 2163071"/>
                    <a:gd name="connsiteX1026" fmla="*/ 382281 w 2328854"/>
                    <a:gd name="connsiteY1026" fmla="*/ 979439 h 2163071"/>
                    <a:gd name="connsiteX1027" fmla="*/ 383566 w 2328854"/>
                    <a:gd name="connsiteY1027" fmla="*/ 978636 h 2163071"/>
                    <a:gd name="connsiteX1028" fmla="*/ 386378 w 2328854"/>
                    <a:gd name="connsiteY1028" fmla="*/ 978395 h 2163071"/>
                    <a:gd name="connsiteX1029" fmla="*/ 365492 w 2328854"/>
                    <a:gd name="connsiteY1029" fmla="*/ 971487 h 2163071"/>
                    <a:gd name="connsiteX1030" fmla="*/ 365653 w 2328854"/>
                    <a:gd name="connsiteY1030" fmla="*/ 971487 h 2163071"/>
                    <a:gd name="connsiteX1031" fmla="*/ 365492 w 2328854"/>
                    <a:gd name="connsiteY1031" fmla="*/ 971487 h 2163071"/>
                    <a:gd name="connsiteX1032" fmla="*/ 362761 w 2328854"/>
                    <a:gd name="connsiteY1032" fmla="*/ 971647 h 2163071"/>
                    <a:gd name="connsiteX1033" fmla="*/ 365492 w 2328854"/>
                    <a:gd name="connsiteY1033" fmla="*/ 971487 h 2163071"/>
                    <a:gd name="connsiteX1034" fmla="*/ 2061135 w 2328854"/>
                    <a:gd name="connsiteY1034" fmla="*/ 605593 h 2163071"/>
                    <a:gd name="connsiteX1035" fmla="*/ 2061537 w 2328854"/>
                    <a:gd name="connsiteY1035" fmla="*/ 605352 h 2163071"/>
                    <a:gd name="connsiteX1036" fmla="*/ 2055432 w 2328854"/>
                    <a:gd name="connsiteY1036" fmla="*/ 606557 h 2163071"/>
                    <a:gd name="connsiteX1037" fmla="*/ 2055031 w 2328854"/>
                    <a:gd name="connsiteY1037" fmla="*/ 621176 h 2163071"/>
                    <a:gd name="connsiteX1038" fmla="*/ 2054870 w 2328854"/>
                    <a:gd name="connsiteY1038" fmla="*/ 621176 h 2163071"/>
                    <a:gd name="connsiteX1039" fmla="*/ 2056236 w 2328854"/>
                    <a:gd name="connsiteY1039" fmla="*/ 624871 h 2163071"/>
                    <a:gd name="connsiteX1040" fmla="*/ 2061135 w 2328854"/>
                    <a:gd name="connsiteY1040" fmla="*/ 605593 h 2163071"/>
                    <a:gd name="connsiteX1041" fmla="*/ 393205 w 2328854"/>
                    <a:gd name="connsiteY1041" fmla="*/ 984660 h 2163071"/>
                    <a:gd name="connsiteX1042" fmla="*/ 391438 w 2328854"/>
                    <a:gd name="connsiteY1042" fmla="*/ 978154 h 2163071"/>
                    <a:gd name="connsiteX1043" fmla="*/ 392161 w 2328854"/>
                    <a:gd name="connsiteY1043" fmla="*/ 977110 h 2163071"/>
                    <a:gd name="connsiteX1044" fmla="*/ 390394 w 2328854"/>
                    <a:gd name="connsiteY1044" fmla="*/ 977672 h 2163071"/>
                    <a:gd name="connsiteX1045" fmla="*/ 393687 w 2328854"/>
                    <a:gd name="connsiteY1045" fmla="*/ 975342 h 2163071"/>
                    <a:gd name="connsiteX1046" fmla="*/ 393205 w 2328854"/>
                    <a:gd name="connsiteY1046" fmla="*/ 975503 h 2163071"/>
                    <a:gd name="connsiteX1047" fmla="*/ 390314 w 2328854"/>
                    <a:gd name="connsiteY1047" fmla="*/ 983375 h 2163071"/>
                    <a:gd name="connsiteX1048" fmla="*/ 390153 w 2328854"/>
                    <a:gd name="connsiteY1048" fmla="*/ 982733 h 2163071"/>
                    <a:gd name="connsiteX1049" fmla="*/ 393205 w 2328854"/>
                    <a:gd name="connsiteY1049" fmla="*/ 984660 h 2163071"/>
                    <a:gd name="connsiteX1050" fmla="*/ 1790350 w 2328854"/>
                    <a:gd name="connsiteY1050" fmla="*/ 770506 h 2163071"/>
                    <a:gd name="connsiteX1051" fmla="*/ 1793724 w 2328854"/>
                    <a:gd name="connsiteY1051" fmla="*/ 768819 h 2163071"/>
                    <a:gd name="connsiteX1052" fmla="*/ 1791153 w 2328854"/>
                    <a:gd name="connsiteY1052" fmla="*/ 768418 h 2163071"/>
                    <a:gd name="connsiteX1053" fmla="*/ 1790350 w 2328854"/>
                    <a:gd name="connsiteY1053" fmla="*/ 770506 h 2163071"/>
                    <a:gd name="connsiteX1054" fmla="*/ 1803122 w 2328854"/>
                    <a:gd name="connsiteY1054" fmla="*/ 767453 h 2163071"/>
                    <a:gd name="connsiteX1055" fmla="*/ 1803122 w 2328854"/>
                    <a:gd name="connsiteY1055" fmla="*/ 767212 h 2163071"/>
                    <a:gd name="connsiteX1056" fmla="*/ 1792599 w 2328854"/>
                    <a:gd name="connsiteY1056" fmla="*/ 767453 h 2163071"/>
                    <a:gd name="connsiteX1057" fmla="*/ 1793081 w 2328854"/>
                    <a:gd name="connsiteY1057" fmla="*/ 767775 h 2163071"/>
                    <a:gd name="connsiteX1058" fmla="*/ 1803122 w 2328854"/>
                    <a:gd name="connsiteY1058" fmla="*/ 767453 h 2163071"/>
                    <a:gd name="connsiteX1059" fmla="*/ 98080 w 2328854"/>
                    <a:gd name="connsiteY1059" fmla="*/ 872041 h 2163071"/>
                    <a:gd name="connsiteX1060" fmla="*/ 98562 w 2328854"/>
                    <a:gd name="connsiteY1060" fmla="*/ 871719 h 2163071"/>
                    <a:gd name="connsiteX1061" fmla="*/ 99125 w 2328854"/>
                    <a:gd name="connsiteY1061" fmla="*/ 864490 h 2163071"/>
                    <a:gd name="connsiteX1062" fmla="*/ 95590 w 2328854"/>
                    <a:gd name="connsiteY1062" fmla="*/ 866096 h 2163071"/>
                    <a:gd name="connsiteX1063" fmla="*/ 91333 w 2328854"/>
                    <a:gd name="connsiteY1063" fmla="*/ 862883 h 2163071"/>
                    <a:gd name="connsiteX1064" fmla="*/ 89244 w 2328854"/>
                    <a:gd name="connsiteY1064" fmla="*/ 863686 h 2163071"/>
                    <a:gd name="connsiteX1065" fmla="*/ 88602 w 2328854"/>
                    <a:gd name="connsiteY1065" fmla="*/ 866498 h 2163071"/>
                    <a:gd name="connsiteX1066" fmla="*/ 95510 w 2328854"/>
                    <a:gd name="connsiteY1066" fmla="*/ 867863 h 2163071"/>
                    <a:gd name="connsiteX1067" fmla="*/ 97839 w 2328854"/>
                    <a:gd name="connsiteY1067" fmla="*/ 867542 h 2163071"/>
                    <a:gd name="connsiteX1068" fmla="*/ 99366 w 2328854"/>
                    <a:gd name="connsiteY1068" fmla="*/ 867622 h 2163071"/>
                    <a:gd name="connsiteX1069" fmla="*/ 98080 w 2328854"/>
                    <a:gd name="connsiteY1069" fmla="*/ 872041 h 2163071"/>
                    <a:gd name="connsiteX1070" fmla="*/ 128203 w 2328854"/>
                    <a:gd name="connsiteY1070" fmla="*/ 895095 h 2163071"/>
                    <a:gd name="connsiteX1071" fmla="*/ 130533 w 2328854"/>
                    <a:gd name="connsiteY1071" fmla="*/ 894693 h 2163071"/>
                    <a:gd name="connsiteX1072" fmla="*/ 125071 w 2328854"/>
                    <a:gd name="connsiteY1072" fmla="*/ 883768 h 2163071"/>
                    <a:gd name="connsiteX1073" fmla="*/ 121456 w 2328854"/>
                    <a:gd name="connsiteY1073" fmla="*/ 880234 h 2163071"/>
                    <a:gd name="connsiteX1074" fmla="*/ 121858 w 2328854"/>
                    <a:gd name="connsiteY1074" fmla="*/ 881198 h 2163071"/>
                    <a:gd name="connsiteX1075" fmla="*/ 121536 w 2328854"/>
                    <a:gd name="connsiteY1075" fmla="*/ 889633 h 2163071"/>
                    <a:gd name="connsiteX1076" fmla="*/ 128203 w 2328854"/>
                    <a:gd name="connsiteY1076" fmla="*/ 895095 h 2163071"/>
                    <a:gd name="connsiteX1077" fmla="*/ 66512 w 2328854"/>
                    <a:gd name="connsiteY1077" fmla="*/ 828664 h 2163071"/>
                    <a:gd name="connsiteX1078" fmla="*/ 67556 w 2328854"/>
                    <a:gd name="connsiteY1078" fmla="*/ 824486 h 2163071"/>
                    <a:gd name="connsiteX1079" fmla="*/ 66994 w 2328854"/>
                    <a:gd name="connsiteY1079" fmla="*/ 825209 h 2163071"/>
                    <a:gd name="connsiteX1080" fmla="*/ 65146 w 2328854"/>
                    <a:gd name="connsiteY1080" fmla="*/ 830190 h 2163071"/>
                    <a:gd name="connsiteX1081" fmla="*/ 66512 w 2328854"/>
                    <a:gd name="connsiteY1081" fmla="*/ 828664 h 2163071"/>
                    <a:gd name="connsiteX1082" fmla="*/ 117199 w 2328854"/>
                    <a:gd name="connsiteY1082" fmla="*/ 876057 h 2163071"/>
                    <a:gd name="connsiteX1083" fmla="*/ 117199 w 2328854"/>
                    <a:gd name="connsiteY1083" fmla="*/ 876057 h 2163071"/>
                    <a:gd name="connsiteX1084" fmla="*/ 116877 w 2328854"/>
                    <a:gd name="connsiteY1084" fmla="*/ 875736 h 2163071"/>
                    <a:gd name="connsiteX1085" fmla="*/ 117199 w 2328854"/>
                    <a:gd name="connsiteY1085" fmla="*/ 876057 h 2163071"/>
                    <a:gd name="connsiteX1086" fmla="*/ 52936 w 2328854"/>
                    <a:gd name="connsiteY1086" fmla="*/ 794524 h 2163071"/>
                    <a:gd name="connsiteX1087" fmla="*/ 52695 w 2328854"/>
                    <a:gd name="connsiteY1087" fmla="*/ 796372 h 2163071"/>
                    <a:gd name="connsiteX1088" fmla="*/ 54703 w 2328854"/>
                    <a:gd name="connsiteY1088" fmla="*/ 786411 h 2163071"/>
                    <a:gd name="connsiteX1089" fmla="*/ 54543 w 2328854"/>
                    <a:gd name="connsiteY1089" fmla="*/ 786893 h 2163071"/>
                    <a:gd name="connsiteX1090" fmla="*/ 52936 w 2328854"/>
                    <a:gd name="connsiteY1090" fmla="*/ 794524 h 2163071"/>
                    <a:gd name="connsiteX1091" fmla="*/ 61772 w 2328854"/>
                    <a:gd name="connsiteY1091" fmla="*/ 812196 h 2163071"/>
                    <a:gd name="connsiteX1092" fmla="*/ 62174 w 2328854"/>
                    <a:gd name="connsiteY1092" fmla="*/ 812277 h 2163071"/>
                    <a:gd name="connsiteX1093" fmla="*/ 62415 w 2328854"/>
                    <a:gd name="connsiteY1093" fmla="*/ 809064 h 2163071"/>
                    <a:gd name="connsiteX1094" fmla="*/ 61853 w 2328854"/>
                    <a:gd name="connsiteY1094" fmla="*/ 808983 h 2163071"/>
                    <a:gd name="connsiteX1095" fmla="*/ 60085 w 2328854"/>
                    <a:gd name="connsiteY1095" fmla="*/ 813321 h 2163071"/>
                    <a:gd name="connsiteX1096" fmla="*/ 61772 w 2328854"/>
                    <a:gd name="connsiteY1096" fmla="*/ 812196 h 2163071"/>
                    <a:gd name="connsiteX1097" fmla="*/ 699737 w 2328854"/>
                    <a:gd name="connsiteY1097" fmla="*/ 983295 h 2163071"/>
                    <a:gd name="connsiteX1098" fmla="*/ 699817 w 2328854"/>
                    <a:gd name="connsiteY1098" fmla="*/ 983215 h 2163071"/>
                    <a:gd name="connsiteX1099" fmla="*/ 698532 w 2328854"/>
                    <a:gd name="connsiteY1099" fmla="*/ 982652 h 2163071"/>
                    <a:gd name="connsiteX1100" fmla="*/ 695962 w 2328854"/>
                    <a:gd name="connsiteY1100" fmla="*/ 985303 h 2163071"/>
                    <a:gd name="connsiteX1101" fmla="*/ 699737 w 2328854"/>
                    <a:gd name="connsiteY1101" fmla="*/ 983295 h 2163071"/>
                    <a:gd name="connsiteX1102" fmla="*/ 306451 w 2328854"/>
                    <a:gd name="connsiteY1102" fmla="*/ 945219 h 2163071"/>
                    <a:gd name="connsiteX1103" fmla="*/ 306612 w 2328854"/>
                    <a:gd name="connsiteY1103" fmla="*/ 945059 h 2163071"/>
                    <a:gd name="connsiteX1104" fmla="*/ 306210 w 2328854"/>
                    <a:gd name="connsiteY1104" fmla="*/ 945139 h 2163071"/>
                    <a:gd name="connsiteX1105" fmla="*/ 299623 w 2328854"/>
                    <a:gd name="connsiteY1105" fmla="*/ 946826 h 2163071"/>
                    <a:gd name="connsiteX1106" fmla="*/ 306451 w 2328854"/>
                    <a:gd name="connsiteY1106" fmla="*/ 945219 h 2163071"/>
                    <a:gd name="connsiteX1107" fmla="*/ 338261 w 2328854"/>
                    <a:gd name="connsiteY1107" fmla="*/ 1015346 h 2163071"/>
                    <a:gd name="connsiteX1108" fmla="*/ 340591 w 2328854"/>
                    <a:gd name="connsiteY1108" fmla="*/ 1015185 h 2163071"/>
                    <a:gd name="connsiteX1109" fmla="*/ 340671 w 2328854"/>
                    <a:gd name="connsiteY1109" fmla="*/ 1013418 h 2163071"/>
                    <a:gd name="connsiteX1110" fmla="*/ 331674 w 2328854"/>
                    <a:gd name="connsiteY1110" fmla="*/ 996951 h 2163071"/>
                    <a:gd name="connsiteX1111" fmla="*/ 319625 w 2328854"/>
                    <a:gd name="connsiteY1111" fmla="*/ 991087 h 2163071"/>
                    <a:gd name="connsiteX1112" fmla="*/ 319063 w 2328854"/>
                    <a:gd name="connsiteY1112" fmla="*/ 989962 h 2163071"/>
                    <a:gd name="connsiteX1113" fmla="*/ 319705 w 2328854"/>
                    <a:gd name="connsiteY1113" fmla="*/ 989480 h 2163071"/>
                    <a:gd name="connsiteX1114" fmla="*/ 319304 w 2328854"/>
                    <a:gd name="connsiteY1114" fmla="*/ 988918 h 2163071"/>
                    <a:gd name="connsiteX1115" fmla="*/ 317536 w 2328854"/>
                    <a:gd name="connsiteY1115" fmla="*/ 989320 h 2163071"/>
                    <a:gd name="connsiteX1116" fmla="*/ 286530 w 2328854"/>
                    <a:gd name="connsiteY1116" fmla="*/ 971005 h 2163071"/>
                    <a:gd name="connsiteX1117" fmla="*/ 270063 w 2328854"/>
                    <a:gd name="connsiteY1117" fmla="*/ 950119 h 2163071"/>
                    <a:gd name="connsiteX1118" fmla="*/ 260905 w 2328854"/>
                    <a:gd name="connsiteY1118" fmla="*/ 937187 h 2163071"/>
                    <a:gd name="connsiteX1119" fmla="*/ 242590 w 2328854"/>
                    <a:gd name="connsiteY1119" fmla="*/ 930519 h 2163071"/>
                    <a:gd name="connsiteX1120" fmla="*/ 245563 w 2328854"/>
                    <a:gd name="connsiteY1120" fmla="*/ 927065 h 2163071"/>
                    <a:gd name="connsiteX1121" fmla="*/ 240582 w 2328854"/>
                    <a:gd name="connsiteY1121" fmla="*/ 929475 h 2163071"/>
                    <a:gd name="connsiteX1122" fmla="*/ 202427 w 2328854"/>
                    <a:gd name="connsiteY1122" fmla="*/ 944175 h 2163071"/>
                    <a:gd name="connsiteX1123" fmla="*/ 215520 w 2328854"/>
                    <a:gd name="connsiteY1123" fmla="*/ 950842 h 2163071"/>
                    <a:gd name="connsiteX1124" fmla="*/ 240020 w 2328854"/>
                    <a:gd name="connsiteY1124" fmla="*/ 955742 h 2163071"/>
                    <a:gd name="connsiteX1125" fmla="*/ 280264 w 2328854"/>
                    <a:gd name="connsiteY1125" fmla="*/ 968595 h 2163071"/>
                    <a:gd name="connsiteX1126" fmla="*/ 264038 w 2328854"/>
                    <a:gd name="connsiteY1126" fmla="*/ 982974 h 2163071"/>
                    <a:gd name="connsiteX1127" fmla="*/ 256005 w 2328854"/>
                    <a:gd name="connsiteY1127" fmla="*/ 981688 h 2163071"/>
                    <a:gd name="connsiteX1128" fmla="*/ 257692 w 2328854"/>
                    <a:gd name="connsiteY1128" fmla="*/ 977752 h 2163071"/>
                    <a:gd name="connsiteX1129" fmla="*/ 252953 w 2328854"/>
                    <a:gd name="connsiteY1129" fmla="*/ 975905 h 2163071"/>
                    <a:gd name="connsiteX1130" fmla="*/ 234879 w 2328854"/>
                    <a:gd name="connsiteY1130" fmla="*/ 1007634 h 2163071"/>
                    <a:gd name="connsiteX1131" fmla="*/ 231987 w 2328854"/>
                    <a:gd name="connsiteY1131" fmla="*/ 1039766 h 2163071"/>
                    <a:gd name="connsiteX1132" fmla="*/ 265002 w 2328854"/>
                    <a:gd name="connsiteY1132" fmla="*/ 997272 h 2163071"/>
                    <a:gd name="connsiteX1133" fmla="*/ 264440 w 2328854"/>
                    <a:gd name="connsiteY1133" fmla="*/ 997834 h 2163071"/>
                    <a:gd name="connsiteX1134" fmla="*/ 265645 w 2328854"/>
                    <a:gd name="connsiteY1134" fmla="*/ 996469 h 2163071"/>
                    <a:gd name="connsiteX1135" fmla="*/ 265484 w 2328854"/>
                    <a:gd name="connsiteY1135" fmla="*/ 996308 h 2163071"/>
                    <a:gd name="connsiteX1136" fmla="*/ 275204 w 2328854"/>
                    <a:gd name="connsiteY1136" fmla="*/ 990444 h 2163071"/>
                    <a:gd name="connsiteX1137" fmla="*/ 275927 w 2328854"/>
                    <a:gd name="connsiteY1137" fmla="*/ 984660 h 2163071"/>
                    <a:gd name="connsiteX1138" fmla="*/ 294322 w 2328854"/>
                    <a:gd name="connsiteY1138" fmla="*/ 1001128 h 2163071"/>
                    <a:gd name="connsiteX1139" fmla="*/ 289100 w 2328854"/>
                    <a:gd name="connsiteY1139" fmla="*/ 1012775 h 2163071"/>
                    <a:gd name="connsiteX1140" fmla="*/ 282594 w 2328854"/>
                    <a:gd name="connsiteY1140" fmla="*/ 1019121 h 2163071"/>
                    <a:gd name="connsiteX1141" fmla="*/ 282915 w 2328854"/>
                    <a:gd name="connsiteY1141" fmla="*/ 1019925 h 2163071"/>
                    <a:gd name="connsiteX1142" fmla="*/ 288779 w 2328854"/>
                    <a:gd name="connsiteY1142" fmla="*/ 1018478 h 2163071"/>
                    <a:gd name="connsiteX1143" fmla="*/ 299704 w 2328854"/>
                    <a:gd name="connsiteY1143" fmla="*/ 1021049 h 2163071"/>
                    <a:gd name="connsiteX1144" fmla="*/ 308379 w 2328854"/>
                    <a:gd name="connsiteY1144" fmla="*/ 1020406 h 2163071"/>
                    <a:gd name="connsiteX1145" fmla="*/ 322115 w 2328854"/>
                    <a:gd name="connsiteY1145" fmla="*/ 1011410 h 2163071"/>
                    <a:gd name="connsiteX1146" fmla="*/ 321312 w 2328854"/>
                    <a:gd name="connsiteY1146" fmla="*/ 1011490 h 2163071"/>
                    <a:gd name="connsiteX1147" fmla="*/ 323641 w 2328854"/>
                    <a:gd name="connsiteY1147" fmla="*/ 1009080 h 2163071"/>
                    <a:gd name="connsiteX1148" fmla="*/ 322356 w 2328854"/>
                    <a:gd name="connsiteY1148" fmla="*/ 1011088 h 2163071"/>
                    <a:gd name="connsiteX1149" fmla="*/ 323400 w 2328854"/>
                    <a:gd name="connsiteY1149" fmla="*/ 1014542 h 2163071"/>
                    <a:gd name="connsiteX1150" fmla="*/ 338261 w 2328854"/>
                    <a:gd name="connsiteY1150" fmla="*/ 1015346 h 2163071"/>
                    <a:gd name="connsiteX1151" fmla="*/ 428951 w 2328854"/>
                    <a:gd name="connsiteY1151" fmla="*/ 968836 h 2163071"/>
                    <a:gd name="connsiteX1152" fmla="*/ 429755 w 2328854"/>
                    <a:gd name="connsiteY1152" fmla="*/ 968755 h 2163071"/>
                    <a:gd name="connsiteX1153" fmla="*/ 421240 w 2328854"/>
                    <a:gd name="connsiteY1153" fmla="*/ 961526 h 2163071"/>
                    <a:gd name="connsiteX1154" fmla="*/ 411601 w 2328854"/>
                    <a:gd name="connsiteY1154" fmla="*/ 965301 h 2163071"/>
                    <a:gd name="connsiteX1155" fmla="*/ 414894 w 2328854"/>
                    <a:gd name="connsiteY1155" fmla="*/ 966185 h 2163071"/>
                    <a:gd name="connsiteX1156" fmla="*/ 417786 w 2328854"/>
                    <a:gd name="connsiteY1156" fmla="*/ 963213 h 2163071"/>
                    <a:gd name="connsiteX1157" fmla="*/ 414894 w 2328854"/>
                    <a:gd name="connsiteY1157" fmla="*/ 968273 h 2163071"/>
                    <a:gd name="connsiteX1158" fmla="*/ 421481 w 2328854"/>
                    <a:gd name="connsiteY1158" fmla="*/ 968032 h 2163071"/>
                    <a:gd name="connsiteX1159" fmla="*/ 428951 w 2328854"/>
                    <a:gd name="connsiteY1159" fmla="*/ 968836 h 2163071"/>
                    <a:gd name="connsiteX1160" fmla="*/ 460681 w 2328854"/>
                    <a:gd name="connsiteY1160" fmla="*/ 970201 h 2163071"/>
                    <a:gd name="connsiteX1161" fmla="*/ 460360 w 2328854"/>
                    <a:gd name="connsiteY1161" fmla="*/ 969559 h 2163071"/>
                    <a:gd name="connsiteX1162" fmla="*/ 458592 w 2328854"/>
                    <a:gd name="connsiteY1162" fmla="*/ 965542 h 2163071"/>
                    <a:gd name="connsiteX1163" fmla="*/ 458673 w 2328854"/>
                    <a:gd name="connsiteY1163" fmla="*/ 965703 h 2163071"/>
                    <a:gd name="connsiteX1164" fmla="*/ 460681 w 2328854"/>
                    <a:gd name="connsiteY1164" fmla="*/ 970201 h 2163071"/>
                    <a:gd name="connsiteX1165" fmla="*/ 360191 w 2328854"/>
                    <a:gd name="connsiteY1165" fmla="*/ 955100 h 2163071"/>
                    <a:gd name="connsiteX1166" fmla="*/ 352078 w 2328854"/>
                    <a:gd name="connsiteY1166" fmla="*/ 948593 h 2163071"/>
                    <a:gd name="connsiteX1167" fmla="*/ 349105 w 2328854"/>
                    <a:gd name="connsiteY1167" fmla="*/ 948673 h 2163071"/>
                    <a:gd name="connsiteX1168" fmla="*/ 358905 w 2328854"/>
                    <a:gd name="connsiteY1168" fmla="*/ 956787 h 2163071"/>
                    <a:gd name="connsiteX1169" fmla="*/ 360191 w 2328854"/>
                    <a:gd name="connsiteY1169" fmla="*/ 955100 h 2163071"/>
                    <a:gd name="connsiteX1170" fmla="*/ 206282 w 2328854"/>
                    <a:gd name="connsiteY1170" fmla="*/ 915257 h 2163071"/>
                    <a:gd name="connsiteX1171" fmla="*/ 206604 w 2328854"/>
                    <a:gd name="connsiteY1171" fmla="*/ 915096 h 2163071"/>
                    <a:gd name="connsiteX1172" fmla="*/ 205479 w 2328854"/>
                    <a:gd name="connsiteY1172" fmla="*/ 911562 h 2163071"/>
                    <a:gd name="connsiteX1173" fmla="*/ 202025 w 2328854"/>
                    <a:gd name="connsiteY1173" fmla="*/ 910196 h 2163071"/>
                    <a:gd name="connsiteX1174" fmla="*/ 202587 w 2328854"/>
                    <a:gd name="connsiteY1174" fmla="*/ 909474 h 2163071"/>
                    <a:gd name="connsiteX1175" fmla="*/ 201864 w 2328854"/>
                    <a:gd name="connsiteY1175" fmla="*/ 905377 h 2163071"/>
                    <a:gd name="connsiteX1176" fmla="*/ 200338 w 2328854"/>
                    <a:gd name="connsiteY1176" fmla="*/ 905296 h 2163071"/>
                    <a:gd name="connsiteX1177" fmla="*/ 200258 w 2328854"/>
                    <a:gd name="connsiteY1177" fmla="*/ 906341 h 2163071"/>
                    <a:gd name="connsiteX1178" fmla="*/ 198812 w 2328854"/>
                    <a:gd name="connsiteY1178" fmla="*/ 905859 h 2163071"/>
                    <a:gd name="connsiteX1179" fmla="*/ 198571 w 2328854"/>
                    <a:gd name="connsiteY1179" fmla="*/ 905859 h 2163071"/>
                    <a:gd name="connsiteX1180" fmla="*/ 200017 w 2328854"/>
                    <a:gd name="connsiteY1180" fmla="*/ 909233 h 2163071"/>
                    <a:gd name="connsiteX1181" fmla="*/ 200177 w 2328854"/>
                    <a:gd name="connsiteY1181" fmla="*/ 910919 h 2163071"/>
                    <a:gd name="connsiteX1182" fmla="*/ 203471 w 2328854"/>
                    <a:gd name="connsiteY1182" fmla="*/ 912365 h 2163071"/>
                    <a:gd name="connsiteX1183" fmla="*/ 205479 w 2328854"/>
                    <a:gd name="connsiteY1183" fmla="*/ 914454 h 2163071"/>
                    <a:gd name="connsiteX1184" fmla="*/ 203310 w 2328854"/>
                    <a:gd name="connsiteY1184" fmla="*/ 916221 h 2163071"/>
                    <a:gd name="connsiteX1185" fmla="*/ 206443 w 2328854"/>
                    <a:gd name="connsiteY1185" fmla="*/ 915257 h 2163071"/>
                    <a:gd name="connsiteX1186" fmla="*/ 206282 w 2328854"/>
                    <a:gd name="connsiteY1186" fmla="*/ 915257 h 2163071"/>
                    <a:gd name="connsiteX1187" fmla="*/ 206282 w 2328854"/>
                    <a:gd name="connsiteY1187" fmla="*/ 915257 h 2163071"/>
                    <a:gd name="connsiteX1188" fmla="*/ 692909 w 2328854"/>
                    <a:gd name="connsiteY1188" fmla="*/ 967711 h 2163071"/>
                    <a:gd name="connsiteX1189" fmla="*/ 693230 w 2328854"/>
                    <a:gd name="connsiteY1189" fmla="*/ 965864 h 2163071"/>
                    <a:gd name="connsiteX1190" fmla="*/ 692748 w 2328854"/>
                    <a:gd name="connsiteY1190" fmla="*/ 966265 h 2163071"/>
                    <a:gd name="connsiteX1191" fmla="*/ 675317 w 2328854"/>
                    <a:gd name="connsiteY1191" fmla="*/ 977431 h 2163071"/>
                    <a:gd name="connsiteX1192" fmla="*/ 692909 w 2328854"/>
                    <a:gd name="connsiteY1192" fmla="*/ 967711 h 2163071"/>
                    <a:gd name="connsiteX1193" fmla="*/ 2031414 w 2328854"/>
                    <a:gd name="connsiteY1193" fmla="*/ 598042 h 2163071"/>
                    <a:gd name="connsiteX1194" fmla="*/ 2030611 w 2328854"/>
                    <a:gd name="connsiteY1194" fmla="*/ 596435 h 2163071"/>
                    <a:gd name="connsiteX1195" fmla="*/ 2022177 w 2328854"/>
                    <a:gd name="connsiteY1195" fmla="*/ 592981 h 2163071"/>
                    <a:gd name="connsiteX1196" fmla="*/ 2022337 w 2328854"/>
                    <a:gd name="connsiteY1196" fmla="*/ 593624 h 2163071"/>
                    <a:gd name="connsiteX1197" fmla="*/ 2016313 w 2328854"/>
                    <a:gd name="connsiteY1197" fmla="*/ 598283 h 2163071"/>
                    <a:gd name="connsiteX1198" fmla="*/ 2031414 w 2328854"/>
                    <a:gd name="connsiteY1198" fmla="*/ 598042 h 2163071"/>
                    <a:gd name="connsiteX1199" fmla="*/ 66110 w 2328854"/>
                    <a:gd name="connsiteY1199" fmla="*/ 784965 h 2163071"/>
                    <a:gd name="connsiteX1200" fmla="*/ 66271 w 2328854"/>
                    <a:gd name="connsiteY1200" fmla="*/ 785126 h 2163071"/>
                    <a:gd name="connsiteX1201" fmla="*/ 69082 w 2328854"/>
                    <a:gd name="connsiteY1201" fmla="*/ 777013 h 2163071"/>
                    <a:gd name="connsiteX1202" fmla="*/ 68921 w 2328854"/>
                    <a:gd name="connsiteY1202" fmla="*/ 777173 h 2163071"/>
                    <a:gd name="connsiteX1203" fmla="*/ 66110 w 2328854"/>
                    <a:gd name="connsiteY1203" fmla="*/ 784965 h 2163071"/>
                    <a:gd name="connsiteX1204" fmla="*/ 195277 w 2328854"/>
                    <a:gd name="connsiteY1204" fmla="*/ 898629 h 2163071"/>
                    <a:gd name="connsiteX1205" fmla="*/ 196241 w 2328854"/>
                    <a:gd name="connsiteY1205" fmla="*/ 898790 h 2163071"/>
                    <a:gd name="connsiteX1206" fmla="*/ 192707 w 2328854"/>
                    <a:gd name="connsiteY1206" fmla="*/ 892765 h 2163071"/>
                    <a:gd name="connsiteX1207" fmla="*/ 195840 w 2328854"/>
                    <a:gd name="connsiteY1207" fmla="*/ 893970 h 2163071"/>
                    <a:gd name="connsiteX1208" fmla="*/ 196482 w 2328854"/>
                    <a:gd name="connsiteY1208" fmla="*/ 895898 h 2163071"/>
                    <a:gd name="connsiteX1209" fmla="*/ 195920 w 2328854"/>
                    <a:gd name="connsiteY1209" fmla="*/ 885696 h 2163071"/>
                    <a:gd name="connsiteX1210" fmla="*/ 191100 w 2328854"/>
                    <a:gd name="connsiteY1210" fmla="*/ 888669 h 2163071"/>
                    <a:gd name="connsiteX1211" fmla="*/ 189253 w 2328854"/>
                    <a:gd name="connsiteY1211" fmla="*/ 887945 h 2163071"/>
                    <a:gd name="connsiteX1212" fmla="*/ 188610 w 2328854"/>
                    <a:gd name="connsiteY1212" fmla="*/ 889552 h 2163071"/>
                    <a:gd name="connsiteX1213" fmla="*/ 188530 w 2328854"/>
                    <a:gd name="connsiteY1213" fmla="*/ 889633 h 2163071"/>
                    <a:gd name="connsiteX1214" fmla="*/ 187004 w 2328854"/>
                    <a:gd name="connsiteY1214" fmla="*/ 892364 h 2163071"/>
                    <a:gd name="connsiteX1215" fmla="*/ 187325 w 2328854"/>
                    <a:gd name="connsiteY1215" fmla="*/ 894854 h 2163071"/>
                    <a:gd name="connsiteX1216" fmla="*/ 195277 w 2328854"/>
                    <a:gd name="connsiteY1216" fmla="*/ 898629 h 2163071"/>
                    <a:gd name="connsiteX1217" fmla="*/ 494258 w 2328854"/>
                    <a:gd name="connsiteY1217" fmla="*/ 959036 h 2163071"/>
                    <a:gd name="connsiteX1218" fmla="*/ 494901 w 2328854"/>
                    <a:gd name="connsiteY1218" fmla="*/ 958956 h 2163071"/>
                    <a:gd name="connsiteX1219" fmla="*/ 490322 w 2328854"/>
                    <a:gd name="connsiteY1219" fmla="*/ 952047 h 2163071"/>
                    <a:gd name="connsiteX1220" fmla="*/ 487992 w 2328854"/>
                    <a:gd name="connsiteY1220" fmla="*/ 948834 h 2163071"/>
                    <a:gd name="connsiteX1221" fmla="*/ 487832 w 2328854"/>
                    <a:gd name="connsiteY1221" fmla="*/ 949959 h 2163071"/>
                    <a:gd name="connsiteX1222" fmla="*/ 480522 w 2328854"/>
                    <a:gd name="connsiteY1222" fmla="*/ 952690 h 2163071"/>
                    <a:gd name="connsiteX1223" fmla="*/ 477871 w 2328854"/>
                    <a:gd name="connsiteY1223" fmla="*/ 956224 h 2163071"/>
                    <a:gd name="connsiteX1224" fmla="*/ 481807 w 2328854"/>
                    <a:gd name="connsiteY1224" fmla="*/ 956224 h 2163071"/>
                    <a:gd name="connsiteX1225" fmla="*/ 484297 w 2328854"/>
                    <a:gd name="connsiteY1225" fmla="*/ 956787 h 2163071"/>
                    <a:gd name="connsiteX1226" fmla="*/ 490724 w 2328854"/>
                    <a:gd name="connsiteY1226" fmla="*/ 956867 h 2163071"/>
                    <a:gd name="connsiteX1227" fmla="*/ 494258 w 2328854"/>
                    <a:gd name="connsiteY1227" fmla="*/ 959036 h 2163071"/>
                    <a:gd name="connsiteX1228" fmla="*/ 258254 w 2328854"/>
                    <a:gd name="connsiteY1228" fmla="*/ 910196 h 2163071"/>
                    <a:gd name="connsiteX1229" fmla="*/ 258736 w 2328854"/>
                    <a:gd name="connsiteY1229" fmla="*/ 906260 h 2163071"/>
                    <a:gd name="connsiteX1230" fmla="*/ 260022 w 2328854"/>
                    <a:gd name="connsiteY1230" fmla="*/ 903609 h 2163071"/>
                    <a:gd name="connsiteX1231" fmla="*/ 258335 w 2328854"/>
                    <a:gd name="connsiteY1231" fmla="*/ 899834 h 2163071"/>
                    <a:gd name="connsiteX1232" fmla="*/ 258174 w 2328854"/>
                    <a:gd name="connsiteY1232" fmla="*/ 899995 h 2163071"/>
                    <a:gd name="connsiteX1233" fmla="*/ 250463 w 2328854"/>
                    <a:gd name="connsiteY1233" fmla="*/ 905055 h 2163071"/>
                    <a:gd name="connsiteX1234" fmla="*/ 248936 w 2328854"/>
                    <a:gd name="connsiteY1234" fmla="*/ 905618 h 2163071"/>
                    <a:gd name="connsiteX1235" fmla="*/ 249981 w 2328854"/>
                    <a:gd name="connsiteY1235" fmla="*/ 907224 h 2163071"/>
                    <a:gd name="connsiteX1236" fmla="*/ 248454 w 2328854"/>
                    <a:gd name="connsiteY1236" fmla="*/ 910036 h 2163071"/>
                    <a:gd name="connsiteX1237" fmla="*/ 250945 w 2328854"/>
                    <a:gd name="connsiteY1237" fmla="*/ 911723 h 2163071"/>
                    <a:gd name="connsiteX1238" fmla="*/ 251748 w 2328854"/>
                    <a:gd name="connsiteY1238" fmla="*/ 912124 h 2163071"/>
                    <a:gd name="connsiteX1239" fmla="*/ 253113 w 2328854"/>
                    <a:gd name="connsiteY1239" fmla="*/ 911964 h 2163071"/>
                    <a:gd name="connsiteX1240" fmla="*/ 256327 w 2328854"/>
                    <a:gd name="connsiteY1240" fmla="*/ 912205 h 2163071"/>
                    <a:gd name="connsiteX1241" fmla="*/ 258254 w 2328854"/>
                    <a:gd name="connsiteY1241" fmla="*/ 910196 h 2163071"/>
                    <a:gd name="connsiteX1242" fmla="*/ 440679 w 2328854"/>
                    <a:gd name="connsiteY1242" fmla="*/ 936223 h 2163071"/>
                    <a:gd name="connsiteX1243" fmla="*/ 440920 w 2328854"/>
                    <a:gd name="connsiteY1243" fmla="*/ 935098 h 2163071"/>
                    <a:gd name="connsiteX1244" fmla="*/ 440840 w 2328854"/>
                    <a:gd name="connsiteY1244" fmla="*/ 935339 h 2163071"/>
                    <a:gd name="connsiteX1245" fmla="*/ 434173 w 2328854"/>
                    <a:gd name="connsiteY1245" fmla="*/ 940159 h 2163071"/>
                    <a:gd name="connsiteX1246" fmla="*/ 440679 w 2328854"/>
                    <a:gd name="connsiteY1246" fmla="*/ 936223 h 2163071"/>
                    <a:gd name="connsiteX1247" fmla="*/ 2073908 w 2328854"/>
                    <a:gd name="connsiteY1247" fmla="*/ 366537 h 2163071"/>
                    <a:gd name="connsiteX1248" fmla="*/ 2073426 w 2328854"/>
                    <a:gd name="connsiteY1248" fmla="*/ 365974 h 2163071"/>
                    <a:gd name="connsiteX1249" fmla="*/ 2073667 w 2328854"/>
                    <a:gd name="connsiteY1249" fmla="*/ 366295 h 2163071"/>
                    <a:gd name="connsiteX1250" fmla="*/ 2078968 w 2328854"/>
                    <a:gd name="connsiteY1250" fmla="*/ 372400 h 2163071"/>
                    <a:gd name="connsiteX1251" fmla="*/ 2078968 w 2328854"/>
                    <a:gd name="connsiteY1251" fmla="*/ 372159 h 2163071"/>
                    <a:gd name="connsiteX1252" fmla="*/ 2073908 w 2328854"/>
                    <a:gd name="connsiteY1252" fmla="*/ 366537 h 2163071"/>
                    <a:gd name="connsiteX1253" fmla="*/ 240904 w 2328854"/>
                    <a:gd name="connsiteY1253" fmla="*/ 878467 h 2163071"/>
                    <a:gd name="connsiteX1254" fmla="*/ 240823 w 2328854"/>
                    <a:gd name="connsiteY1254" fmla="*/ 878386 h 2163071"/>
                    <a:gd name="connsiteX1255" fmla="*/ 232469 w 2328854"/>
                    <a:gd name="connsiteY1255" fmla="*/ 878467 h 2163071"/>
                    <a:gd name="connsiteX1256" fmla="*/ 232068 w 2328854"/>
                    <a:gd name="connsiteY1256" fmla="*/ 879110 h 2163071"/>
                    <a:gd name="connsiteX1257" fmla="*/ 240904 w 2328854"/>
                    <a:gd name="connsiteY1257" fmla="*/ 878467 h 2163071"/>
                    <a:gd name="connsiteX1258" fmla="*/ 380032 w 2328854"/>
                    <a:gd name="connsiteY1258" fmla="*/ 914614 h 2163071"/>
                    <a:gd name="connsiteX1259" fmla="*/ 380032 w 2328854"/>
                    <a:gd name="connsiteY1259" fmla="*/ 914614 h 2163071"/>
                    <a:gd name="connsiteX1260" fmla="*/ 377381 w 2328854"/>
                    <a:gd name="connsiteY1260" fmla="*/ 912124 h 2163071"/>
                    <a:gd name="connsiteX1261" fmla="*/ 377060 w 2328854"/>
                    <a:gd name="connsiteY1261" fmla="*/ 911964 h 2163071"/>
                    <a:gd name="connsiteX1262" fmla="*/ 377060 w 2328854"/>
                    <a:gd name="connsiteY1262" fmla="*/ 912124 h 2163071"/>
                    <a:gd name="connsiteX1263" fmla="*/ 380032 w 2328854"/>
                    <a:gd name="connsiteY1263" fmla="*/ 914614 h 2163071"/>
                    <a:gd name="connsiteX1264" fmla="*/ 232630 w 2328854"/>
                    <a:gd name="connsiteY1264" fmla="*/ 876619 h 2163071"/>
                    <a:gd name="connsiteX1265" fmla="*/ 232630 w 2328854"/>
                    <a:gd name="connsiteY1265" fmla="*/ 876619 h 2163071"/>
                    <a:gd name="connsiteX1266" fmla="*/ 231746 w 2328854"/>
                    <a:gd name="connsiteY1266" fmla="*/ 874370 h 2163071"/>
                    <a:gd name="connsiteX1267" fmla="*/ 230622 w 2328854"/>
                    <a:gd name="connsiteY1267" fmla="*/ 874290 h 2163071"/>
                    <a:gd name="connsiteX1268" fmla="*/ 232630 w 2328854"/>
                    <a:gd name="connsiteY1268" fmla="*/ 876619 h 2163071"/>
                    <a:gd name="connsiteX1269" fmla="*/ 459155 w 2328854"/>
                    <a:gd name="connsiteY1269" fmla="*/ 922487 h 2163071"/>
                    <a:gd name="connsiteX1270" fmla="*/ 459958 w 2328854"/>
                    <a:gd name="connsiteY1270" fmla="*/ 922085 h 2163071"/>
                    <a:gd name="connsiteX1271" fmla="*/ 454897 w 2328854"/>
                    <a:gd name="connsiteY1271" fmla="*/ 920077 h 2163071"/>
                    <a:gd name="connsiteX1272" fmla="*/ 456343 w 2328854"/>
                    <a:gd name="connsiteY1272" fmla="*/ 918872 h 2163071"/>
                    <a:gd name="connsiteX1273" fmla="*/ 455299 w 2328854"/>
                    <a:gd name="connsiteY1273" fmla="*/ 919193 h 2163071"/>
                    <a:gd name="connsiteX1274" fmla="*/ 443651 w 2328854"/>
                    <a:gd name="connsiteY1274" fmla="*/ 924896 h 2163071"/>
                    <a:gd name="connsiteX1275" fmla="*/ 436583 w 2328854"/>
                    <a:gd name="connsiteY1275" fmla="*/ 934295 h 2163071"/>
                    <a:gd name="connsiteX1276" fmla="*/ 439474 w 2328854"/>
                    <a:gd name="connsiteY1276" fmla="*/ 933732 h 2163071"/>
                    <a:gd name="connsiteX1277" fmla="*/ 441563 w 2328854"/>
                    <a:gd name="connsiteY1277" fmla="*/ 930760 h 2163071"/>
                    <a:gd name="connsiteX1278" fmla="*/ 440920 w 2328854"/>
                    <a:gd name="connsiteY1278" fmla="*/ 934777 h 2163071"/>
                    <a:gd name="connsiteX1279" fmla="*/ 441242 w 2328854"/>
                    <a:gd name="connsiteY1279" fmla="*/ 935098 h 2163071"/>
                    <a:gd name="connsiteX1280" fmla="*/ 449676 w 2328854"/>
                    <a:gd name="connsiteY1280" fmla="*/ 925459 h 2163071"/>
                    <a:gd name="connsiteX1281" fmla="*/ 451604 w 2328854"/>
                    <a:gd name="connsiteY1281" fmla="*/ 923370 h 2163071"/>
                    <a:gd name="connsiteX1282" fmla="*/ 447427 w 2328854"/>
                    <a:gd name="connsiteY1282" fmla="*/ 928672 h 2163071"/>
                    <a:gd name="connsiteX1283" fmla="*/ 459155 w 2328854"/>
                    <a:gd name="connsiteY1283" fmla="*/ 922487 h 2163071"/>
                    <a:gd name="connsiteX1284" fmla="*/ 407664 w 2328854"/>
                    <a:gd name="connsiteY1284" fmla="*/ 913249 h 2163071"/>
                    <a:gd name="connsiteX1285" fmla="*/ 407905 w 2328854"/>
                    <a:gd name="connsiteY1285" fmla="*/ 913088 h 2163071"/>
                    <a:gd name="connsiteX1286" fmla="*/ 405014 w 2328854"/>
                    <a:gd name="connsiteY1286" fmla="*/ 912044 h 2163071"/>
                    <a:gd name="connsiteX1287" fmla="*/ 401479 w 2328854"/>
                    <a:gd name="connsiteY1287" fmla="*/ 912767 h 2163071"/>
                    <a:gd name="connsiteX1288" fmla="*/ 407664 w 2328854"/>
                    <a:gd name="connsiteY1288" fmla="*/ 913249 h 2163071"/>
                    <a:gd name="connsiteX1289" fmla="*/ 170456 w 2328854"/>
                    <a:gd name="connsiteY1289" fmla="*/ 863686 h 2163071"/>
                    <a:gd name="connsiteX1290" fmla="*/ 170858 w 2328854"/>
                    <a:gd name="connsiteY1290" fmla="*/ 863686 h 2163071"/>
                    <a:gd name="connsiteX1291" fmla="*/ 171500 w 2328854"/>
                    <a:gd name="connsiteY1291" fmla="*/ 853485 h 2163071"/>
                    <a:gd name="connsiteX1292" fmla="*/ 171741 w 2328854"/>
                    <a:gd name="connsiteY1292" fmla="*/ 840632 h 2163071"/>
                    <a:gd name="connsiteX1293" fmla="*/ 170376 w 2328854"/>
                    <a:gd name="connsiteY1293" fmla="*/ 842480 h 2163071"/>
                    <a:gd name="connsiteX1294" fmla="*/ 171179 w 2328854"/>
                    <a:gd name="connsiteY1294" fmla="*/ 835009 h 2163071"/>
                    <a:gd name="connsiteX1295" fmla="*/ 170697 w 2328854"/>
                    <a:gd name="connsiteY1295" fmla="*/ 834768 h 2163071"/>
                    <a:gd name="connsiteX1296" fmla="*/ 166922 w 2328854"/>
                    <a:gd name="connsiteY1296" fmla="*/ 837419 h 2163071"/>
                    <a:gd name="connsiteX1297" fmla="*/ 168287 w 2328854"/>
                    <a:gd name="connsiteY1297" fmla="*/ 848826 h 2163071"/>
                    <a:gd name="connsiteX1298" fmla="*/ 168207 w 2328854"/>
                    <a:gd name="connsiteY1298" fmla="*/ 846255 h 2163071"/>
                    <a:gd name="connsiteX1299" fmla="*/ 170456 w 2328854"/>
                    <a:gd name="connsiteY1299" fmla="*/ 863686 h 2163071"/>
                    <a:gd name="connsiteX1300" fmla="*/ 525345 w 2328854"/>
                    <a:gd name="connsiteY1300" fmla="*/ 920318 h 2163071"/>
                    <a:gd name="connsiteX1301" fmla="*/ 525506 w 2328854"/>
                    <a:gd name="connsiteY1301" fmla="*/ 919756 h 2163071"/>
                    <a:gd name="connsiteX1302" fmla="*/ 522132 w 2328854"/>
                    <a:gd name="connsiteY1302" fmla="*/ 917185 h 2163071"/>
                    <a:gd name="connsiteX1303" fmla="*/ 521971 w 2328854"/>
                    <a:gd name="connsiteY1303" fmla="*/ 917426 h 2163071"/>
                    <a:gd name="connsiteX1304" fmla="*/ 521329 w 2328854"/>
                    <a:gd name="connsiteY1304" fmla="*/ 918068 h 2163071"/>
                    <a:gd name="connsiteX1305" fmla="*/ 518437 w 2328854"/>
                    <a:gd name="connsiteY1305" fmla="*/ 919515 h 2163071"/>
                    <a:gd name="connsiteX1306" fmla="*/ 516348 w 2328854"/>
                    <a:gd name="connsiteY1306" fmla="*/ 918792 h 2163071"/>
                    <a:gd name="connsiteX1307" fmla="*/ 513376 w 2328854"/>
                    <a:gd name="connsiteY1307" fmla="*/ 918149 h 2163071"/>
                    <a:gd name="connsiteX1308" fmla="*/ 510725 w 2328854"/>
                    <a:gd name="connsiteY1308" fmla="*/ 918792 h 2163071"/>
                    <a:gd name="connsiteX1309" fmla="*/ 514501 w 2328854"/>
                    <a:gd name="connsiteY1309" fmla="*/ 936624 h 2163071"/>
                    <a:gd name="connsiteX1310" fmla="*/ 525345 w 2328854"/>
                    <a:gd name="connsiteY1310" fmla="*/ 920318 h 2163071"/>
                    <a:gd name="connsiteX1311" fmla="*/ 232389 w 2328854"/>
                    <a:gd name="connsiteY1311" fmla="*/ 859670 h 2163071"/>
                    <a:gd name="connsiteX1312" fmla="*/ 232630 w 2328854"/>
                    <a:gd name="connsiteY1312" fmla="*/ 860634 h 2163071"/>
                    <a:gd name="connsiteX1313" fmla="*/ 233112 w 2328854"/>
                    <a:gd name="connsiteY1313" fmla="*/ 859108 h 2163071"/>
                    <a:gd name="connsiteX1314" fmla="*/ 232710 w 2328854"/>
                    <a:gd name="connsiteY1314" fmla="*/ 859349 h 2163071"/>
                    <a:gd name="connsiteX1315" fmla="*/ 232389 w 2328854"/>
                    <a:gd name="connsiteY1315" fmla="*/ 859670 h 2163071"/>
                    <a:gd name="connsiteX1316" fmla="*/ 640857 w 2328854"/>
                    <a:gd name="connsiteY1316" fmla="*/ 913329 h 2163071"/>
                    <a:gd name="connsiteX1317" fmla="*/ 641098 w 2328854"/>
                    <a:gd name="connsiteY1317" fmla="*/ 913490 h 2163071"/>
                    <a:gd name="connsiteX1318" fmla="*/ 636037 w 2328854"/>
                    <a:gd name="connsiteY1318" fmla="*/ 908992 h 2163071"/>
                    <a:gd name="connsiteX1319" fmla="*/ 631137 w 2328854"/>
                    <a:gd name="connsiteY1319" fmla="*/ 908188 h 2163071"/>
                    <a:gd name="connsiteX1320" fmla="*/ 640857 w 2328854"/>
                    <a:gd name="connsiteY1320" fmla="*/ 913329 h 2163071"/>
                    <a:gd name="connsiteX1321" fmla="*/ 86433 w 2328854"/>
                    <a:gd name="connsiteY1321" fmla="*/ 739660 h 2163071"/>
                    <a:gd name="connsiteX1322" fmla="*/ 86915 w 2328854"/>
                    <a:gd name="connsiteY1322" fmla="*/ 739018 h 2163071"/>
                    <a:gd name="connsiteX1323" fmla="*/ 89887 w 2328854"/>
                    <a:gd name="connsiteY1323" fmla="*/ 725040 h 2163071"/>
                    <a:gd name="connsiteX1324" fmla="*/ 89646 w 2328854"/>
                    <a:gd name="connsiteY1324" fmla="*/ 725603 h 2163071"/>
                    <a:gd name="connsiteX1325" fmla="*/ 86433 w 2328854"/>
                    <a:gd name="connsiteY1325" fmla="*/ 739660 h 2163071"/>
                    <a:gd name="connsiteX1326" fmla="*/ 86433 w 2328854"/>
                    <a:gd name="connsiteY1326" fmla="*/ 739660 h 2163071"/>
                    <a:gd name="connsiteX1327" fmla="*/ 82256 w 2328854"/>
                    <a:gd name="connsiteY1327" fmla="*/ 689857 h 2163071"/>
                    <a:gd name="connsiteX1328" fmla="*/ 82095 w 2328854"/>
                    <a:gd name="connsiteY1328" fmla="*/ 690339 h 2163071"/>
                    <a:gd name="connsiteX1329" fmla="*/ 87076 w 2328854"/>
                    <a:gd name="connsiteY1329" fmla="*/ 680619 h 2163071"/>
                    <a:gd name="connsiteX1330" fmla="*/ 86915 w 2328854"/>
                    <a:gd name="connsiteY1330" fmla="*/ 680780 h 2163071"/>
                    <a:gd name="connsiteX1331" fmla="*/ 82417 w 2328854"/>
                    <a:gd name="connsiteY1331" fmla="*/ 686483 h 2163071"/>
                    <a:gd name="connsiteX1332" fmla="*/ 83461 w 2328854"/>
                    <a:gd name="connsiteY1332" fmla="*/ 686483 h 2163071"/>
                    <a:gd name="connsiteX1333" fmla="*/ 82979 w 2328854"/>
                    <a:gd name="connsiteY1333" fmla="*/ 687929 h 2163071"/>
                    <a:gd name="connsiteX1334" fmla="*/ 82256 w 2328854"/>
                    <a:gd name="connsiteY1334" fmla="*/ 689857 h 2163071"/>
                    <a:gd name="connsiteX1335" fmla="*/ 2059770 w 2328854"/>
                    <a:gd name="connsiteY1335" fmla="*/ 362841 h 2163071"/>
                    <a:gd name="connsiteX1336" fmla="*/ 2058645 w 2328854"/>
                    <a:gd name="connsiteY1336" fmla="*/ 361958 h 2163071"/>
                    <a:gd name="connsiteX1337" fmla="*/ 2058806 w 2328854"/>
                    <a:gd name="connsiteY1337" fmla="*/ 362199 h 2163071"/>
                    <a:gd name="connsiteX1338" fmla="*/ 2064590 w 2328854"/>
                    <a:gd name="connsiteY1338" fmla="*/ 369027 h 2163071"/>
                    <a:gd name="connsiteX1339" fmla="*/ 2059770 w 2328854"/>
                    <a:gd name="connsiteY1339" fmla="*/ 362841 h 2163071"/>
                    <a:gd name="connsiteX1340" fmla="*/ 268697 w 2328854"/>
                    <a:gd name="connsiteY1340" fmla="*/ 851959 h 2163071"/>
                    <a:gd name="connsiteX1341" fmla="*/ 268938 w 2328854"/>
                    <a:gd name="connsiteY1341" fmla="*/ 851718 h 2163071"/>
                    <a:gd name="connsiteX1342" fmla="*/ 267010 w 2328854"/>
                    <a:gd name="connsiteY1342" fmla="*/ 850834 h 2163071"/>
                    <a:gd name="connsiteX1343" fmla="*/ 263315 w 2328854"/>
                    <a:gd name="connsiteY1343" fmla="*/ 851477 h 2163071"/>
                    <a:gd name="connsiteX1344" fmla="*/ 262512 w 2328854"/>
                    <a:gd name="connsiteY1344" fmla="*/ 851718 h 2163071"/>
                    <a:gd name="connsiteX1345" fmla="*/ 268697 w 2328854"/>
                    <a:gd name="connsiteY1345" fmla="*/ 851959 h 2163071"/>
                    <a:gd name="connsiteX1346" fmla="*/ 166279 w 2328854"/>
                    <a:gd name="connsiteY1346" fmla="*/ 835250 h 2163071"/>
                    <a:gd name="connsiteX1347" fmla="*/ 166761 w 2328854"/>
                    <a:gd name="connsiteY1347" fmla="*/ 835652 h 2163071"/>
                    <a:gd name="connsiteX1348" fmla="*/ 168126 w 2328854"/>
                    <a:gd name="connsiteY1348" fmla="*/ 831716 h 2163071"/>
                    <a:gd name="connsiteX1349" fmla="*/ 166761 w 2328854"/>
                    <a:gd name="connsiteY1349" fmla="*/ 833082 h 2163071"/>
                    <a:gd name="connsiteX1350" fmla="*/ 170697 w 2328854"/>
                    <a:gd name="connsiteY1350" fmla="*/ 807617 h 2163071"/>
                    <a:gd name="connsiteX1351" fmla="*/ 170617 w 2328854"/>
                    <a:gd name="connsiteY1351" fmla="*/ 807617 h 2163071"/>
                    <a:gd name="connsiteX1352" fmla="*/ 164672 w 2328854"/>
                    <a:gd name="connsiteY1352" fmla="*/ 832278 h 2163071"/>
                    <a:gd name="connsiteX1353" fmla="*/ 167082 w 2328854"/>
                    <a:gd name="connsiteY1353" fmla="*/ 827057 h 2163071"/>
                    <a:gd name="connsiteX1354" fmla="*/ 165476 w 2328854"/>
                    <a:gd name="connsiteY1354" fmla="*/ 832198 h 2163071"/>
                    <a:gd name="connsiteX1355" fmla="*/ 166279 w 2328854"/>
                    <a:gd name="connsiteY1355" fmla="*/ 835250 h 2163071"/>
                    <a:gd name="connsiteX1356" fmla="*/ 498435 w 2328854"/>
                    <a:gd name="connsiteY1356" fmla="*/ 894934 h 2163071"/>
                    <a:gd name="connsiteX1357" fmla="*/ 498917 w 2328854"/>
                    <a:gd name="connsiteY1357" fmla="*/ 894452 h 2163071"/>
                    <a:gd name="connsiteX1358" fmla="*/ 493294 w 2328854"/>
                    <a:gd name="connsiteY1358" fmla="*/ 892364 h 2163071"/>
                    <a:gd name="connsiteX1359" fmla="*/ 494017 w 2328854"/>
                    <a:gd name="connsiteY1359" fmla="*/ 893649 h 2163071"/>
                    <a:gd name="connsiteX1360" fmla="*/ 490242 w 2328854"/>
                    <a:gd name="connsiteY1360" fmla="*/ 895898 h 2163071"/>
                    <a:gd name="connsiteX1361" fmla="*/ 492812 w 2328854"/>
                    <a:gd name="connsiteY1361" fmla="*/ 895255 h 2163071"/>
                    <a:gd name="connsiteX1362" fmla="*/ 494499 w 2328854"/>
                    <a:gd name="connsiteY1362" fmla="*/ 898629 h 2163071"/>
                    <a:gd name="connsiteX1363" fmla="*/ 496909 w 2328854"/>
                    <a:gd name="connsiteY1363" fmla="*/ 899192 h 2163071"/>
                    <a:gd name="connsiteX1364" fmla="*/ 498435 w 2328854"/>
                    <a:gd name="connsiteY1364" fmla="*/ 894934 h 2163071"/>
                    <a:gd name="connsiteX1365" fmla="*/ 1706407 w 2328854"/>
                    <a:gd name="connsiteY1365" fmla="*/ 716526 h 2163071"/>
                    <a:gd name="connsiteX1366" fmla="*/ 1706809 w 2328854"/>
                    <a:gd name="connsiteY1366" fmla="*/ 716044 h 2163071"/>
                    <a:gd name="connsiteX1367" fmla="*/ 1701106 w 2328854"/>
                    <a:gd name="connsiteY1367" fmla="*/ 709939 h 2163071"/>
                    <a:gd name="connsiteX1368" fmla="*/ 1695242 w 2328854"/>
                    <a:gd name="connsiteY1368" fmla="*/ 708172 h 2163071"/>
                    <a:gd name="connsiteX1369" fmla="*/ 1695001 w 2328854"/>
                    <a:gd name="connsiteY1369" fmla="*/ 708895 h 2163071"/>
                    <a:gd name="connsiteX1370" fmla="*/ 1695804 w 2328854"/>
                    <a:gd name="connsiteY1370" fmla="*/ 718775 h 2163071"/>
                    <a:gd name="connsiteX1371" fmla="*/ 1701427 w 2328854"/>
                    <a:gd name="connsiteY1371" fmla="*/ 720622 h 2163071"/>
                    <a:gd name="connsiteX1372" fmla="*/ 1706407 w 2328854"/>
                    <a:gd name="connsiteY1372" fmla="*/ 716526 h 2163071"/>
                    <a:gd name="connsiteX1373" fmla="*/ 2025711 w 2328854"/>
                    <a:gd name="connsiteY1373" fmla="*/ 316573 h 2163071"/>
                    <a:gd name="connsiteX1374" fmla="*/ 2025390 w 2328854"/>
                    <a:gd name="connsiteY1374" fmla="*/ 316332 h 2163071"/>
                    <a:gd name="connsiteX1375" fmla="*/ 2025952 w 2328854"/>
                    <a:gd name="connsiteY1375" fmla="*/ 317055 h 2163071"/>
                    <a:gd name="connsiteX1376" fmla="*/ 2027719 w 2328854"/>
                    <a:gd name="connsiteY1376" fmla="*/ 318500 h 2163071"/>
                    <a:gd name="connsiteX1377" fmla="*/ 2025711 w 2328854"/>
                    <a:gd name="connsiteY1377" fmla="*/ 316573 h 2163071"/>
                    <a:gd name="connsiteX1378" fmla="*/ 417545 w 2328854"/>
                    <a:gd name="connsiteY1378" fmla="*/ 875575 h 2163071"/>
                    <a:gd name="connsiteX1379" fmla="*/ 417705 w 2328854"/>
                    <a:gd name="connsiteY1379" fmla="*/ 875334 h 2163071"/>
                    <a:gd name="connsiteX1380" fmla="*/ 415617 w 2328854"/>
                    <a:gd name="connsiteY1380" fmla="*/ 876218 h 2163071"/>
                    <a:gd name="connsiteX1381" fmla="*/ 415617 w 2328854"/>
                    <a:gd name="connsiteY1381" fmla="*/ 875334 h 2163071"/>
                    <a:gd name="connsiteX1382" fmla="*/ 412564 w 2328854"/>
                    <a:gd name="connsiteY1382" fmla="*/ 877824 h 2163071"/>
                    <a:gd name="connsiteX1383" fmla="*/ 412324 w 2328854"/>
                    <a:gd name="connsiteY1383" fmla="*/ 879029 h 2163071"/>
                    <a:gd name="connsiteX1384" fmla="*/ 412083 w 2328854"/>
                    <a:gd name="connsiteY1384" fmla="*/ 879351 h 2163071"/>
                    <a:gd name="connsiteX1385" fmla="*/ 411119 w 2328854"/>
                    <a:gd name="connsiteY1385" fmla="*/ 881760 h 2163071"/>
                    <a:gd name="connsiteX1386" fmla="*/ 412243 w 2328854"/>
                    <a:gd name="connsiteY1386" fmla="*/ 883849 h 2163071"/>
                    <a:gd name="connsiteX1387" fmla="*/ 417545 w 2328854"/>
                    <a:gd name="connsiteY1387" fmla="*/ 875575 h 2163071"/>
                    <a:gd name="connsiteX1388" fmla="*/ 493937 w 2328854"/>
                    <a:gd name="connsiteY1388" fmla="*/ 885134 h 2163071"/>
                    <a:gd name="connsiteX1389" fmla="*/ 491366 w 2328854"/>
                    <a:gd name="connsiteY1389" fmla="*/ 882323 h 2163071"/>
                    <a:gd name="connsiteX1390" fmla="*/ 491527 w 2328854"/>
                    <a:gd name="connsiteY1390" fmla="*/ 882483 h 2163071"/>
                    <a:gd name="connsiteX1391" fmla="*/ 492892 w 2328854"/>
                    <a:gd name="connsiteY1391" fmla="*/ 883929 h 2163071"/>
                    <a:gd name="connsiteX1392" fmla="*/ 493937 w 2328854"/>
                    <a:gd name="connsiteY1392" fmla="*/ 885134 h 2163071"/>
                    <a:gd name="connsiteX1393" fmla="*/ 266930 w 2328854"/>
                    <a:gd name="connsiteY1393" fmla="*/ 835813 h 2163071"/>
                    <a:gd name="connsiteX1394" fmla="*/ 267492 w 2328854"/>
                    <a:gd name="connsiteY1394" fmla="*/ 835652 h 2163071"/>
                    <a:gd name="connsiteX1395" fmla="*/ 263395 w 2328854"/>
                    <a:gd name="connsiteY1395" fmla="*/ 832359 h 2163071"/>
                    <a:gd name="connsiteX1396" fmla="*/ 260102 w 2328854"/>
                    <a:gd name="connsiteY1396" fmla="*/ 833242 h 2163071"/>
                    <a:gd name="connsiteX1397" fmla="*/ 266930 w 2328854"/>
                    <a:gd name="connsiteY1397" fmla="*/ 835813 h 2163071"/>
                    <a:gd name="connsiteX1398" fmla="*/ 525747 w 2328854"/>
                    <a:gd name="connsiteY1398" fmla="*/ 883287 h 2163071"/>
                    <a:gd name="connsiteX1399" fmla="*/ 522694 w 2328854"/>
                    <a:gd name="connsiteY1399" fmla="*/ 876539 h 2163071"/>
                    <a:gd name="connsiteX1400" fmla="*/ 520686 w 2328854"/>
                    <a:gd name="connsiteY1400" fmla="*/ 876378 h 2163071"/>
                    <a:gd name="connsiteX1401" fmla="*/ 522373 w 2328854"/>
                    <a:gd name="connsiteY1401" fmla="*/ 880796 h 2163071"/>
                    <a:gd name="connsiteX1402" fmla="*/ 523819 w 2328854"/>
                    <a:gd name="connsiteY1402" fmla="*/ 884893 h 2163071"/>
                    <a:gd name="connsiteX1403" fmla="*/ 525747 w 2328854"/>
                    <a:gd name="connsiteY1403" fmla="*/ 883287 h 2163071"/>
                    <a:gd name="connsiteX1404" fmla="*/ 445097 w 2328854"/>
                    <a:gd name="connsiteY1404" fmla="*/ 875896 h 2163071"/>
                    <a:gd name="connsiteX1405" fmla="*/ 445258 w 2328854"/>
                    <a:gd name="connsiteY1405" fmla="*/ 875736 h 2163071"/>
                    <a:gd name="connsiteX1406" fmla="*/ 435699 w 2328854"/>
                    <a:gd name="connsiteY1406" fmla="*/ 873567 h 2163071"/>
                    <a:gd name="connsiteX1407" fmla="*/ 443651 w 2328854"/>
                    <a:gd name="connsiteY1407" fmla="*/ 871157 h 2163071"/>
                    <a:gd name="connsiteX1408" fmla="*/ 416501 w 2328854"/>
                    <a:gd name="connsiteY1408" fmla="*/ 870595 h 2163071"/>
                    <a:gd name="connsiteX1409" fmla="*/ 426863 w 2328854"/>
                    <a:gd name="connsiteY1409" fmla="*/ 864650 h 2163071"/>
                    <a:gd name="connsiteX1410" fmla="*/ 425899 w 2328854"/>
                    <a:gd name="connsiteY1410" fmla="*/ 863847 h 2163071"/>
                    <a:gd name="connsiteX1411" fmla="*/ 423328 w 2328854"/>
                    <a:gd name="connsiteY1411" fmla="*/ 864088 h 2163071"/>
                    <a:gd name="connsiteX1412" fmla="*/ 404291 w 2328854"/>
                    <a:gd name="connsiteY1412" fmla="*/ 869551 h 2163071"/>
                    <a:gd name="connsiteX1413" fmla="*/ 406781 w 2328854"/>
                    <a:gd name="connsiteY1413" fmla="*/ 870755 h 2163071"/>
                    <a:gd name="connsiteX1414" fmla="*/ 429594 w 2328854"/>
                    <a:gd name="connsiteY1414" fmla="*/ 874691 h 2163071"/>
                    <a:gd name="connsiteX1415" fmla="*/ 438350 w 2328854"/>
                    <a:gd name="connsiteY1415" fmla="*/ 876539 h 2163071"/>
                    <a:gd name="connsiteX1416" fmla="*/ 445097 w 2328854"/>
                    <a:gd name="connsiteY1416" fmla="*/ 875896 h 2163071"/>
                    <a:gd name="connsiteX1417" fmla="*/ 179694 w 2328854"/>
                    <a:gd name="connsiteY1417" fmla="*/ 811072 h 2163071"/>
                    <a:gd name="connsiteX1418" fmla="*/ 180015 w 2328854"/>
                    <a:gd name="connsiteY1418" fmla="*/ 810750 h 2163071"/>
                    <a:gd name="connsiteX1419" fmla="*/ 184835 w 2328854"/>
                    <a:gd name="connsiteY1419" fmla="*/ 794203 h 2163071"/>
                    <a:gd name="connsiteX1420" fmla="*/ 180256 w 2328854"/>
                    <a:gd name="connsiteY1420" fmla="*/ 792918 h 2163071"/>
                    <a:gd name="connsiteX1421" fmla="*/ 180417 w 2328854"/>
                    <a:gd name="connsiteY1421" fmla="*/ 792275 h 2163071"/>
                    <a:gd name="connsiteX1422" fmla="*/ 184272 w 2328854"/>
                    <a:gd name="connsiteY1422" fmla="*/ 790668 h 2163071"/>
                    <a:gd name="connsiteX1423" fmla="*/ 183228 w 2328854"/>
                    <a:gd name="connsiteY1423" fmla="*/ 790026 h 2163071"/>
                    <a:gd name="connsiteX1424" fmla="*/ 178730 w 2328854"/>
                    <a:gd name="connsiteY1424" fmla="*/ 793319 h 2163071"/>
                    <a:gd name="connsiteX1425" fmla="*/ 174151 w 2328854"/>
                    <a:gd name="connsiteY1425" fmla="*/ 798380 h 2163071"/>
                    <a:gd name="connsiteX1426" fmla="*/ 174071 w 2328854"/>
                    <a:gd name="connsiteY1426" fmla="*/ 799023 h 2163071"/>
                    <a:gd name="connsiteX1427" fmla="*/ 178167 w 2328854"/>
                    <a:gd name="connsiteY1427" fmla="*/ 808983 h 2163071"/>
                    <a:gd name="connsiteX1428" fmla="*/ 179292 w 2328854"/>
                    <a:gd name="connsiteY1428" fmla="*/ 811473 h 2163071"/>
                    <a:gd name="connsiteX1429" fmla="*/ 179694 w 2328854"/>
                    <a:gd name="connsiteY1429" fmla="*/ 811072 h 2163071"/>
                    <a:gd name="connsiteX1430" fmla="*/ 185879 w 2328854"/>
                    <a:gd name="connsiteY1430" fmla="*/ 865855 h 2163071"/>
                    <a:gd name="connsiteX1431" fmla="*/ 189654 w 2328854"/>
                    <a:gd name="connsiteY1431" fmla="*/ 847701 h 2163071"/>
                    <a:gd name="connsiteX1432" fmla="*/ 198812 w 2328854"/>
                    <a:gd name="connsiteY1432" fmla="*/ 801031 h 2163071"/>
                    <a:gd name="connsiteX1433" fmla="*/ 195197 w 2328854"/>
                    <a:gd name="connsiteY1433" fmla="*/ 802316 h 2163071"/>
                    <a:gd name="connsiteX1434" fmla="*/ 198812 w 2328854"/>
                    <a:gd name="connsiteY1434" fmla="*/ 795729 h 2163071"/>
                    <a:gd name="connsiteX1435" fmla="*/ 188771 w 2328854"/>
                    <a:gd name="connsiteY1435" fmla="*/ 803681 h 2163071"/>
                    <a:gd name="connsiteX1436" fmla="*/ 186682 w 2328854"/>
                    <a:gd name="connsiteY1436" fmla="*/ 808180 h 2163071"/>
                    <a:gd name="connsiteX1437" fmla="*/ 185477 w 2328854"/>
                    <a:gd name="connsiteY1437" fmla="*/ 816213 h 2163071"/>
                    <a:gd name="connsiteX1438" fmla="*/ 181702 w 2328854"/>
                    <a:gd name="connsiteY1438" fmla="*/ 825049 h 2163071"/>
                    <a:gd name="connsiteX1439" fmla="*/ 181943 w 2328854"/>
                    <a:gd name="connsiteY1439" fmla="*/ 832278 h 2163071"/>
                    <a:gd name="connsiteX1440" fmla="*/ 185477 w 2328854"/>
                    <a:gd name="connsiteY1440" fmla="*/ 836616 h 2163071"/>
                    <a:gd name="connsiteX1441" fmla="*/ 184433 w 2328854"/>
                    <a:gd name="connsiteY1441" fmla="*/ 845532 h 2163071"/>
                    <a:gd name="connsiteX1442" fmla="*/ 184433 w 2328854"/>
                    <a:gd name="connsiteY1442" fmla="*/ 863124 h 2163071"/>
                    <a:gd name="connsiteX1443" fmla="*/ 185638 w 2328854"/>
                    <a:gd name="connsiteY1443" fmla="*/ 865695 h 2163071"/>
                    <a:gd name="connsiteX1444" fmla="*/ 185879 w 2328854"/>
                    <a:gd name="connsiteY1444" fmla="*/ 865855 h 2163071"/>
                    <a:gd name="connsiteX1445" fmla="*/ 518437 w 2328854"/>
                    <a:gd name="connsiteY1445" fmla="*/ 876218 h 2163071"/>
                    <a:gd name="connsiteX1446" fmla="*/ 518919 w 2328854"/>
                    <a:gd name="connsiteY1446" fmla="*/ 876137 h 2163071"/>
                    <a:gd name="connsiteX1447" fmla="*/ 517312 w 2328854"/>
                    <a:gd name="connsiteY1447" fmla="*/ 874611 h 2163071"/>
                    <a:gd name="connsiteX1448" fmla="*/ 514179 w 2328854"/>
                    <a:gd name="connsiteY1448" fmla="*/ 874290 h 2163071"/>
                    <a:gd name="connsiteX1449" fmla="*/ 513778 w 2328854"/>
                    <a:gd name="connsiteY1449" fmla="*/ 873326 h 2163071"/>
                    <a:gd name="connsiteX1450" fmla="*/ 514099 w 2328854"/>
                    <a:gd name="connsiteY1450" fmla="*/ 871559 h 2163071"/>
                    <a:gd name="connsiteX1451" fmla="*/ 510645 w 2328854"/>
                    <a:gd name="connsiteY1451" fmla="*/ 869390 h 2163071"/>
                    <a:gd name="connsiteX1452" fmla="*/ 508878 w 2328854"/>
                    <a:gd name="connsiteY1452" fmla="*/ 869631 h 2163071"/>
                    <a:gd name="connsiteX1453" fmla="*/ 508396 w 2328854"/>
                    <a:gd name="connsiteY1453" fmla="*/ 873326 h 2163071"/>
                    <a:gd name="connsiteX1454" fmla="*/ 507271 w 2328854"/>
                    <a:gd name="connsiteY1454" fmla="*/ 873888 h 2163071"/>
                    <a:gd name="connsiteX1455" fmla="*/ 511609 w 2328854"/>
                    <a:gd name="connsiteY1455" fmla="*/ 876137 h 2163071"/>
                    <a:gd name="connsiteX1456" fmla="*/ 510243 w 2328854"/>
                    <a:gd name="connsiteY1456" fmla="*/ 877182 h 2163071"/>
                    <a:gd name="connsiteX1457" fmla="*/ 518437 w 2328854"/>
                    <a:gd name="connsiteY1457" fmla="*/ 876218 h 2163071"/>
                    <a:gd name="connsiteX1458" fmla="*/ 150776 w 2328854"/>
                    <a:gd name="connsiteY1458" fmla="*/ 763437 h 2163071"/>
                    <a:gd name="connsiteX1459" fmla="*/ 151258 w 2328854"/>
                    <a:gd name="connsiteY1459" fmla="*/ 760465 h 2163071"/>
                    <a:gd name="connsiteX1460" fmla="*/ 151097 w 2328854"/>
                    <a:gd name="connsiteY1460" fmla="*/ 760626 h 2163071"/>
                    <a:gd name="connsiteX1461" fmla="*/ 147000 w 2328854"/>
                    <a:gd name="connsiteY1461" fmla="*/ 768096 h 2163071"/>
                    <a:gd name="connsiteX1462" fmla="*/ 150133 w 2328854"/>
                    <a:gd name="connsiteY1462" fmla="*/ 764321 h 2163071"/>
                    <a:gd name="connsiteX1463" fmla="*/ 150776 w 2328854"/>
                    <a:gd name="connsiteY1463" fmla="*/ 763437 h 2163071"/>
                    <a:gd name="connsiteX1464" fmla="*/ 581976 w 2328854"/>
                    <a:gd name="connsiteY1464" fmla="*/ 877985 h 2163071"/>
                    <a:gd name="connsiteX1465" fmla="*/ 582137 w 2328854"/>
                    <a:gd name="connsiteY1465" fmla="*/ 878226 h 2163071"/>
                    <a:gd name="connsiteX1466" fmla="*/ 579245 w 2328854"/>
                    <a:gd name="connsiteY1466" fmla="*/ 869551 h 2163071"/>
                    <a:gd name="connsiteX1467" fmla="*/ 576996 w 2328854"/>
                    <a:gd name="connsiteY1467" fmla="*/ 872121 h 2163071"/>
                    <a:gd name="connsiteX1468" fmla="*/ 581976 w 2328854"/>
                    <a:gd name="connsiteY1468" fmla="*/ 877985 h 2163071"/>
                    <a:gd name="connsiteX1469" fmla="*/ 173026 w 2328854"/>
                    <a:gd name="connsiteY1469" fmla="*/ 773317 h 2163071"/>
                    <a:gd name="connsiteX1470" fmla="*/ 173026 w 2328854"/>
                    <a:gd name="connsiteY1470" fmla="*/ 773317 h 2163071"/>
                    <a:gd name="connsiteX1471" fmla="*/ 170295 w 2328854"/>
                    <a:gd name="connsiteY1471" fmla="*/ 774603 h 2163071"/>
                    <a:gd name="connsiteX1472" fmla="*/ 173026 w 2328854"/>
                    <a:gd name="connsiteY1472" fmla="*/ 773317 h 2163071"/>
                    <a:gd name="connsiteX1473" fmla="*/ 1857343 w 2328854"/>
                    <a:gd name="connsiteY1473" fmla="*/ 597319 h 2163071"/>
                    <a:gd name="connsiteX1474" fmla="*/ 1859191 w 2328854"/>
                    <a:gd name="connsiteY1474" fmla="*/ 594025 h 2163071"/>
                    <a:gd name="connsiteX1475" fmla="*/ 1858789 w 2328854"/>
                    <a:gd name="connsiteY1475" fmla="*/ 594266 h 2163071"/>
                    <a:gd name="connsiteX1476" fmla="*/ 1851881 w 2328854"/>
                    <a:gd name="connsiteY1476" fmla="*/ 606637 h 2163071"/>
                    <a:gd name="connsiteX1477" fmla="*/ 1855335 w 2328854"/>
                    <a:gd name="connsiteY1477" fmla="*/ 602701 h 2163071"/>
                    <a:gd name="connsiteX1478" fmla="*/ 1857183 w 2328854"/>
                    <a:gd name="connsiteY1478" fmla="*/ 598042 h 2163071"/>
                    <a:gd name="connsiteX1479" fmla="*/ 1857343 w 2328854"/>
                    <a:gd name="connsiteY1479" fmla="*/ 597319 h 2163071"/>
                    <a:gd name="connsiteX1480" fmla="*/ 513135 w 2328854"/>
                    <a:gd name="connsiteY1480" fmla="*/ 867783 h 2163071"/>
                    <a:gd name="connsiteX1481" fmla="*/ 513778 w 2328854"/>
                    <a:gd name="connsiteY1481" fmla="*/ 867863 h 2163071"/>
                    <a:gd name="connsiteX1482" fmla="*/ 512171 w 2328854"/>
                    <a:gd name="connsiteY1482" fmla="*/ 863285 h 2163071"/>
                    <a:gd name="connsiteX1483" fmla="*/ 511127 w 2328854"/>
                    <a:gd name="connsiteY1483" fmla="*/ 863606 h 2163071"/>
                    <a:gd name="connsiteX1484" fmla="*/ 503335 w 2328854"/>
                    <a:gd name="connsiteY1484" fmla="*/ 867462 h 2163071"/>
                    <a:gd name="connsiteX1485" fmla="*/ 504379 w 2328854"/>
                    <a:gd name="connsiteY1485" fmla="*/ 869069 h 2163071"/>
                    <a:gd name="connsiteX1486" fmla="*/ 513135 w 2328854"/>
                    <a:gd name="connsiteY1486" fmla="*/ 867783 h 2163071"/>
                    <a:gd name="connsiteX1487" fmla="*/ 1512335 w 2328854"/>
                    <a:gd name="connsiteY1487" fmla="*/ 744319 h 2163071"/>
                    <a:gd name="connsiteX1488" fmla="*/ 1508800 w 2328854"/>
                    <a:gd name="connsiteY1488" fmla="*/ 742070 h 2163071"/>
                    <a:gd name="connsiteX1489" fmla="*/ 1508720 w 2328854"/>
                    <a:gd name="connsiteY1489" fmla="*/ 743998 h 2163071"/>
                    <a:gd name="connsiteX1490" fmla="*/ 1512335 w 2328854"/>
                    <a:gd name="connsiteY1490" fmla="*/ 744319 h 2163071"/>
                    <a:gd name="connsiteX1491" fmla="*/ 606637 w 2328854"/>
                    <a:gd name="connsiteY1491" fmla="*/ 880475 h 2163071"/>
                    <a:gd name="connsiteX1492" fmla="*/ 607039 w 2328854"/>
                    <a:gd name="connsiteY1492" fmla="*/ 879511 h 2163071"/>
                    <a:gd name="connsiteX1493" fmla="*/ 590812 w 2328854"/>
                    <a:gd name="connsiteY1493" fmla="*/ 867462 h 2163071"/>
                    <a:gd name="connsiteX1494" fmla="*/ 590009 w 2328854"/>
                    <a:gd name="connsiteY1494" fmla="*/ 869229 h 2163071"/>
                    <a:gd name="connsiteX1495" fmla="*/ 591776 w 2328854"/>
                    <a:gd name="connsiteY1495" fmla="*/ 878065 h 2163071"/>
                    <a:gd name="connsiteX1496" fmla="*/ 582057 w 2328854"/>
                    <a:gd name="connsiteY1496" fmla="*/ 878226 h 2163071"/>
                    <a:gd name="connsiteX1497" fmla="*/ 582699 w 2328854"/>
                    <a:gd name="connsiteY1497" fmla="*/ 879511 h 2163071"/>
                    <a:gd name="connsiteX1498" fmla="*/ 577478 w 2328854"/>
                    <a:gd name="connsiteY1498" fmla="*/ 879351 h 2163071"/>
                    <a:gd name="connsiteX1499" fmla="*/ 578281 w 2328854"/>
                    <a:gd name="connsiteY1499" fmla="*/ 880555 h 2163071"/>
                    <a:gd name="connsiteX1500" fmla="*/ 574265 w 2328854"/>
                    <a:gd name="connsiteY1500" fmla="*/ 880395 h 2163071"/>
                    <a:gd name="connsiteX1501" fmla="*/ 574024 w 2328854"/>
                    <a:gd name="connsiteY1501" fmla="*/ 880475 h 2163071"/>
                    <a:gd name="connsiteX1502" fmla="*/ 569847 w 2328854"/>
                    <a:gd name="connsiteY1502" fmla="*/ 876780 h 2163071"/>
                    <a:gd name="connsiteX1503" fmla="*/ 569766 w 2328854"/>
                    <a:gd name="connsiteY1503" fmla="*/ 888910 h 2163071"/>
                    <a:gd name="connsiteX1504" fmla="*/ 578522 w 2328854"/>
                    <a:gd name="connsiteY1504" fmla="*/ 890918 h 2163071"/>
                    <a:gd name="connsiteX1505" fmla="*/ 599568 w 2328854"/>
                    <a:gd name="connsiteY1505" fmla="*/ 882644 h 2163071"/>
                    <a:gd name="connsiteX1506" fmla="*/ 606637 w 2328854"/>
                    <a:gd name="connsiteY1506" fmla="*/ 880475 h 2163071"/>
                    <a:gd name="connsiteX1507" fmla="*/ 237048 w 2328854"/>
                    <a:gd name="connsiteY1507" fmla="*/ 803601 h 2163071"/>
                    <a:gd name="connsiteX1508" fmla="*/ 237449 w 2328854"/>
                    <a:gd name="connsiteY1508" fmla="*/ 803601 h 2163071"/>
                    <a:gd name="connsiteX1509" fmla="*/ 233674 w 2328854"/>
                    <a:gd name="connsiteY1509" fmla="*/ 800950 h 2163071"/>
                    <a:gd name="connsiteX1510" fmla="*/ 230461 w 2328854"/>
                    <a:gd name="connsiteY1510" fmla="*/ 800468 h 2163071"/>
                    <a:gd name="connsiteX1511" fmla="*/ 225561 w 2328854"/>
                    <a:gd name="connsiteY1511" fmla="*/ 805288 h 2163071"/>
                    <a:gd name="connsiteX1512" fmla="*/ 225079 w 2328854"/>
                    <a:gd name="connsiteY1512" fmla="*/ 806413 h 2163071"/>
                    <a:gd name="connsiteX1513" fmla="*/ 237048 w 2328854"/>
                    <a:gd name="connsiteY1513" fmla="*/ 803601 h 2163071"/>
                    <a:gd name="connsiteX1514" fmla="*/ 566071 w 2328854"/>
                    <a:gd name="connsiteY1514" fmla="*/ 873005 h 2163071"/>
                    <a:gd name="connsiteX1515" fmla="*/ 566393 w 2328854"/>
                    <a:gd name="connsiteY1515" fmla="*/ 873246 h 2163071"/>
                    <a:gd name="connsiteX1516" fmla="*/ 561493 w 2328854"/>
                    <a:gd name="connsiteY1516" fmla="*/ 859108 h 2163071"/>
                    <a:gd name="connsiteX1517" fmla="*/ 561332 w 2328854"/>
                    <a:gd name="connsiteY1517" fmla="*/ 859590 h 2163071"/>
                    <a:gd name="connsiteX1518" fmla="*/ 559966 w 2328854"/>
                    <a:gd name="connsiteY1518" fmla="*/ 868024 h 2163071"/>
                    <a:gd name="connsiteX1519" fmla="*/ 558761 w 2328854"/>
                    <a:gd name="connsiteY1519" fmla="*/ 868024 h 2163071"/>
                    <a:gd name="connsiteX1520" fmla="*/ 561252 w 2328854"/>
                    <a:gd name="connsiteY1520" fmla="*/ 877101 h 2163071"/>
                    <a:gd name="connsiteX1521" fmla="*/ 561091 w 2328854"/>
                    <a:gd name="connsiteY1521" fmla="*/ 869310 h 2163071"/>
                    <a:gd name="connsiteX1522" fmla="*/ 566071 w 2328854"/>
                    <a:gd name="connsiteY1522" fmla="*/ 873005 h 2163071"/>
                    <a:gd name="connsiteX1523" fmla="*/ 483012 w 2328854"/>
                    <a:gd name="connsiteY1523" fmla="*/ 850031 h 2163071"/>
                    <a:gd name="connsiteX1524" fmla="*/ 483976 w 2328854"/>
                    <a:gd name="connsiteY1524" fmla="*/ 849308 h 2163071"/>
                    <a:gd name="connsiteX1525" fmla="*/ 482771 w 2328854"/>
                    <a:gd name="connsiteY1525" fmla="*/ 849388 h 2163071"/>
                    <a:gd name="connsiteX1526" fmla="*/ 466465 w 2328854"/>
                    <a:gd name="connsiteY1526" fmla="*/ 852682 h 2163071"/>
                    <a:gd name="connsiteX1527" fmla="*/ 463814 w 2328854"/>
                    <a:gd name="connsiteY1527" fmla="*/ 853886 h 2163071"/>
                    <a:gd name="connsiteX1528" fmla="*/ 483012 w 2328854"/>
                    <a:gd name="connsiteY1528" fmla="*/ 850031 h 2163071"/>
                    <a:gd name="connsiteX1529" fmla="*/ 223874 w 2328854"/>
                    <a:gd name="connsiteY1529" fmla="*/ 786732 h 2163071"/>
                    <a:gd name="connsiteX1530" fmla="*/ 224115 w 2328854"/>
                    <a:gd name="connsiteY1530" fmla="*/ 786652 h 2163071"/>
                    <a:gd name="connsiteX1531" fmla="*/ 223794 w 2328854"/>
                    <a:gd name="connsiteY1531" fmla="*/ 784804 h 2163071"/>
                    <a:gd name="connsiteX1532" fmla="*/ 219215 w 2328854"/>
                    <a:gd name="connsiteY1532" fmla="*/ 785849 h 2163071"/>
                    <a:gd name="connsiteX1533" fmla="*/ 223874 w 2328854"/>
                    <a:gd name="connsiteY1533" fmla="*/ 786732 h 2163071"/>
                    <a:gd name="connsiteX1534" fmla="*/ 113102 w 2328854"/>
                    <a:gd name="connsiteY1534" fmla="*/ 624791 h 2163071"/>
                    <a:gd name="connsiteX1535" fmla="*/ 113102 w 2328854"/>
                    <a:gd name="connsiteY1535" fmla="*/ 624791 h 2163071"/>
                    <a:gd name="connsiteX1536" fmla="*/ 114387 w 2328854"/>
                    <a:gd name="connsiteY1536" fmla="*/ 621899 h 2163071"/>
                    <a:gd name="connsiteX1537" fmla="*/ 114307 w 2328854"/>
                    <a:gd name="connsiteY1537" fmla="*/ 622060 h 2163071"/>
                    <a:gd name="connsiteX1538" fmla="*/ 111335 w 2328854"/>
                    <a:gd name="connsiteY1538" fmla="*/ 626799 h 2163071"/>
                    <a:gd name="connsiteX1539" fmla="*/ 113102 w 2328854"/>
                    <a:gd name="connsiteY1539" fmla="*/ 624791 h 2163071"/>
                    <a:gd name="connsiteX1540" fmla="*/ 227087 w 2328854"/>
                    <a:gd name="connsiteY1540" fmla="*/ 782154 h 2163071"/>
                    <a:gd name="connsiteX1541" fmla="*/ 227730 w 2328854"/>
                    <a:gd name="connsiteY1541" fmla="*/ 781511 h 2163071"/>
                    <a:gd name="connsiteX1542" fmla="*/ 227569 w 2328854"/>
                    <a:gd name="connsiteY1542" fmla="*/ 781511 h 2163071"/>
                    <a:gd name="connsiteX1543" fmla="*/ 223633 w 2328854"/>
                    <a:gd name="connsiteY1543" fmla="*/ 784001 h 2163071"/>
                    <a:gd name="connsiteX1544" fmla="*/ 225561 w 2328854"/>
                    <a:gd name="connsiteY1544" fmla="*/ 783760 h 2163071"/>
                    <a:gd name="connsiteX1545" fmla="*/ 227087 w 2328854"/>
                    <a:gd name="connsiteY1545" fmla="*/ 782154 h 2163071"/>
                    <a:gd name="connsiteX1546" fmla="*/ 158005 w 2328854"/>
                    <a:gd name="connsiteY1546" fmla="*/ 737411 h 2163071"/>
                    <a:gd name="connsiteX1547" fmla="*/ 158969 w 2328854"/>
                    <a:gd name="connsiteY1547" fmla="*/ 735644 h 2163071"/>
                    <a:gd name="connsiteX1548" fmla="*/ 158808 w 2328854"/>
                    <a:gd name="connsiteY1548" fmla="*/ 735644 h 2163071"/>
                    <a:gd name="connsiteX1549" fmla="*/ 157603 w 2328854"/>
                    <a:gd name="connsiteY1549" fmla="*/ 737170 h 2163071"/>
                    <a:gd name="connsiteX1550" fmla="*/ 158005 w 2328854"/>
                    <a:gd name="connsiteY1550" fmla="*/ 737411 h 2163071"/>
                    <a:gd name="connsiteX1551" fmla="*/ 2012296 w 2328854"/>
                    <a:gd name="connsiteY1551" fmla="*/ 313038 h 2163071"/>
                    <a:gd name="connsiteX1552" fmla="*/ 2012055 w 2328854"/>
                    <a:gd name="connsiteY1552" fmla="*/ 312717 h 2163071"/>
                    <a:gd name="connsiteX1553" fmla="*/ 2012939 w 2328854"/>
                    <a:gd name="connsiteY1553" fmla="*/ 314163 h 2163071"/>
                    <a:gd name="connsiteX1554" fmla="*/ 2013019 w 2328854"/>
                    <a:gd name="connsiteY1554" fmla="*/ 314243 h 2163071"/>
                    <a:gd name="connsiteX1555" fmla="*/ 2012296 w 2328854"/>
                    <a:gd name="connsiteY1555" fmla="*/ 313038 h 2163071"/>
                    <a:gd name="connsiteX1556" fmla="*/ 2025309 w 2328854"/>
                    <a:gd name="connsiteY1556" fmla="*/ 396740 h 2163071"/>
                    <a:gd name="connsiteX1557" fmla="*/ 2024908 w 2328854"/>
                    <a:gd name="connsiteY1557" fmla="*/ 395535 h 2163071"/>
                    <a:gd name="connsiteX1558" fmla="*/ 2024988 w 2328854"/>
                    <a:gd name="connsiteY1558" fmla="*/ 398186 h 2163071"/>
                    <a:gd name="connsiteX1559" fmla="*/ 2022257 w 2328854"/>
                    <a:gd name="connsiteY1559" fmla="*/ 396177 h 2163071"/>
                    <a:gd name="connsiteX1560" fmla="*/ 2023622 w 2328854"/>
                    <a:gd name="connsiteY1560" fmla="*/ 398025 h 2163071"/>
                    <a:gd name="connsiteX1561" fmla="*/ 2022659 w 2328854"/>
                    <a:gd name="connsiteY1561" fmla="*/ 411761 h 2163071"/>
                    <a:gd name="connsiteX1562" fmla="*/ 2025550 w 2328854"/>
                    <a:gd name="connsiteY1562" fmla="*/ 414573 h 2163071"/>
                    <a:gd name="connsiteX1563" fmla="*/ 2022900 w 2328854"/>
                    <a:gd name="connsiteY1563" fmla="*/ 414332 h 2163071"/>
                    <a:gd name="connsiteX1564" fmla="*/ 2035993 w 2328854"/>
                    <a:gd name="connsiteY1564" fmla="*/ 430960 h 2163071"/>
                    <a:gd name="connsiteX1565" fmla="*/ 2037439 w 2328854"/>
                    <a:gd name="connsiteY1565" fmla="*/ 433450 h 2163071"/>
                    <a:gd name="connsiteX1566" fmla="*/ 2051817 w 2328854"/>
                    <a:gd name="connsiteY1566" fmla="*/ 442045 h 2163071"/>
                    <a:gd name="connsiteX1567" fmla="*/ 2048604 w 2328854"/>
                    <a:gd name="connsiteY1567" fmla="*/ 436422 h 2163071"/>
                    <a:gd name="connsiteX1568" fmla="*/ 2041937 w 2328854"/>
                    <a:gd name="connsiteY1568" fmla="*/ 427425 h 2163071"/>
                    <a:gd name="connsiteX1569" fmla="*/ 2039286 w 2328854"/>
                    <a:gd name="connsiteY1569" fmla="*/ 433048 h 2163071"/>
                    <a:gd name="connsiteX1570" fmla="*/ 2029486 w 2328854"/>
                    <a:gd name="connsiteY1570" fmla="*/ 417625 h 2163071"/>
                    <a:gd name="connsiteX1571" fmla="*/ 2028281 w 2328854"/>
                    <a:gd name="connsiteY1571" fmla="*/ 405737 h 2163071"/>
                    <a:gd name="connsiteX1572" fmla="*/ 2028683 w 2328854"/>
                    <a:gd name="connsiteY1572" fmla="*/ 404210 h 2163071"/>
                    <a:gd name="connsiteX1573" fmla="*/ 2025309 w 2328854"/>
                    <a:gd name="connsiteY1573" fmla="*/ 396740 h 2163071"/>
                    <a:gd name="connsiteX1574" fmla="*/ 151338 w 2328854"/>
                    <a:gd name="connsiteY1574" fmla="*/ 731386 h 2163071"/>
                    <a:gd name="connsiteX1575" fmla="*/ 153748 w 2328854"/>
                    <a:gd name="connsiteY1575" fmla="*/ 726567 h 2163071"/>
                    <a:gd name="connsiteX1576" fmla="*/ 153426 w 2328854"/>
                    <a:gd name="connsiteY1576" fmla="*/ 727209 h 2163071"/>
                    <a:gd name="connsiteX1577" fmla="*/ 151097 w 2328854"/>
                    <a:gd name="connsiteY1577" fmla="*/ 730342 h 2163071"/>
                    <a:gd name="connsiteX1578" fmla="*/ 150374 w 2328854"/>
                    <a:gd name="connsiteY1578" fmla="*/ 731386 h 2163071"/>
                    <a:gd name="connsiteX1579" fmla="*/ 146920 w 2328854"/>
                    <a:gd name="connsiteY1579" fmla="*/ 738857 h 2163071"/>
                    <a:gd name="connsiteX1580" fmla="*/ 151338 w 2328854"/>
                    <a:gd name="connsiteY1580" fmla="*/ 731386 h 2163071"/>
                    <a:gd name="connsiteX1581" fmla="*/ 157363 w 2328854"/>
                    <a:gd name="connsiteY1581" fmla="*/ 730021 h 2163071"/>
                    <a:gd name="connsiteX1582" fmla="*/ 157363 w 2328854"/>
                    <a:gd name="connsiteY1582" fmla="*/ 730021 h 2163071"/>
                    <a:gd name="connsiteX1583" fmla="*/ 156318 w 2328854"/>
                    <a:gd name="connsiteY1583" fmla="*/ 731868 h 2163071"/>
                    <a:gd name="connsiteX1584" fmla="*/ 157363 w 2328854"/>
                    <a:gd name="connsiteY1584" fmla="*/ 730021 h 2163071"/>
                    <a:gd name="connsiteX1585" fmla="*/ 151017 w 2328854"/>
                    <a:gd name="connsiteY1585" fmla="*/ 724639 h 2163071"/>
                    <a:gd name="connsiteX1586" fmla="*/ 154069 w 2328854"/>
                    <a:gd name="connsiteY1586" fmla="*/ 718373 h 2163071"/>
                    <a:gd name="connsiteX1587" fmla="*/ 153828 w 2328854"/>
                    <a:gd name="connsiteY1587" fmla="*/ 718775 h 2163071"/>
                    <a:gd name="connsiteX1588" fmla="*/ 149089 w 2328854"/>
                    <a:gd name="connsiteY1588" fmla="*/ 724157 h 2163071"/>
                    <a:gd name="connsiteX1589" fmla="*/ 149330 w 2328854"/>
                    <a:gd name="connsiteY1589" fmla="*/ 718132 h 2163071"/>
                    <a:gd name="connsiteX1590" fmla="*/ 149249 w 2328854"/>
                    <a:gd name="connsiteY1590" fmla="*/ 718132 h 2163071"/>
                    <a:gd name="connsiteX1591" fmla="*/ 146197 w 2328854"/>
                    <a:gd name="connsiteY1591" fmla="*/ 729218 h 2163071"/>
                    <a:gd name="connsiteX1592" fmla="*/ 151017 w 2328854"/>
                    <a:gd name="connsiteY1592" fmla="*/ 724639 h 2163071"/>
                    <a:gd name="connsiteX1593" fmla="*/ 463171 w 2328854"/>
                    <a:gd name="connsiteY1593" fmla="*/ 831073 h 2163071"/>
                    <a:gd name="connsiteX1594" fmla="*/ 455942 w 2328854"/>
                    <a:gd name="connsiteY1594" fmla="*/ 826414 h 2163071"/>
                    <a:gd name="connsiteX1595" fmla="*/ 455138 w 2328854"/>
                    <a:gd name="connsiteY1595" fmla="*/ 826334 h 2163071"/>
                    <a:gd name="connsiteX1596" fmla="*/ 461163 w 2328854"/>
                    <a:gd name="connsiteY1596" fmla="*/ 832841 h 2163071"/>
                    <a:gd name="connsiteX1597" fmla="*/ 460360 w 2328854"/>
                    <a:gd name="connsiteY1597" fmla="*/ 833403 h 2163071"/>
                    <a:gd name="connsiteX1598" fmla="*/ 461002 w 2328854"/>
                    <a:gd name="connsiteY1598" fmla="*/ 833804 h 2163071"/>
                    <a:gd name="connsiteX1599" fmla="*/ 463171 w 2328854"/>
                    <a:gd name="connsiteY1599" fmla="*/ 831073 h 2163071"/>
                    <a:gd name="connsiteX1600" fmla="*/ 231184 w 2328854"/>
                    <a:gd name="connsiteY1600" fmla="*/ 768498 h 2163071"/>
                    <a:gd name="connsiteX1601" fmla="*/ 231505 w 2328854"/>
                    <a:gd name="connsiteY1601" fmla="*/ 768337 h 2163071"/>
                    <a:gd name="connsiteX1602" fmla="*/ 231104 w 2328854"/>
                    <a:gd name="connsiteY1602" fmla="*/ 768337 h 2163071"/>
                    <a:gd name="connsiteX1603" fmla="*/ 225159 w 2328854"/>
                    <a:gd name="connsiteY1603" fmla="*/ 768498 h 2163071"/>
                    <a:gd name="connsiteX1604" fmla="*/ 224035 w 2328854"/>
                    <a:gd name="connsiteY1604" fmla="*/ 769863 h 2163071"/>
                    <a:gd name="connsiteX1605" fmla="*/ 227971 w 2328854"/>
                    <a:gd name="connsiteY1605" fmla="*/ 771309 h 2163071"/>
                    <a:gd name="connsiteX1606" fmla="*/ 228774 w 2328854"/>
                    <a:gd name="connsiteY1606" fmla="*/ 768980 h 2163071"/>
                    <a:gd name="connsiteX1607" fmla="*/ 231184 w 2328854"/>
                    <a:gd name="connsiteY1607" fmla="*/ 768498 h 2163071"/>
                    <a:gd name="connsiteX1608" fmla="*/ 116235 w 2328854"/>
                    <a:gd name="connsiteY1608" fmla="*/ 650898 h 2163071"/>
                    <a:gd name="connsiteX1609" fmla="*/ 118966 w 2328854"/>
                    <a:gd name="connsiteY1609" fmla="*/ 637885 h 2163071"/>
                    <a:gd name="connsiteX1610" fmla="*/ 118403 w 2328854"/>
                    <a:gd name="connsiteY1610" fmla="*/ 639009 h 2163071"/>
                    <a:gd name="connsiteX1611" fmla="*/ 116476 w 2328854"/>
                    <a:gd name="connsiteY1611" fmla="*/ 642303 h 2163071"/>
                    <a:gd name="connsiteX1612" fmla="*/ 116315 w 2328854"/>
                    <a:gd name="connsiteY1612" fmla="*/ 642303 h 2163071"/>
                    <a:gd name="connsiteX1613" fmla="*/ 116315 w 2328854"/>
                    <a:gd name="connsiteY1613" fmla="*/ 641258 h 2163071"/>
                    <a:gd name="connsiteX1614" fmla="*/ 111736 w 2328854"/>
                    <a:gd name="connsiteY1614" fmla="*/ 654191 h 2163071"/>
                    <a:gd name="connsiteX1615" fmla="*/ 115994 w 2328854"/>
                    <a:gd name="connsiteY1615" fmla="*/ 649612 h 2163071"/>
                    <a:gd name="connsiteX1616" fmla="*/ 116235 w 2328854"/>
                    <a:gd name="connsiteY1616" fmla="*/ 650898 h 2163071"/>
                    <a:gd name="connsiteX1617" fmla="*/ 439555 w 2328854"/>
                    <a:gd name="connsiteY1617" fmla="*/ 826093 h 2163071"/>
                    <a:gd name="connsiteX1618" fmla="*/ 437306 w 2328854"/>
                    <a:gd name="connsiteY1618" fmla="*/ 821755 h 2163071"/>
                    <a:gd name="connsiteX1619" fmla="*/ 437225 w 2328854"/>
                    <a:gd name="connsiteY1619" fmla="*/ 818301 h 2163071"/>
                    <a:gd name="connsiteX1620" fmla="*/ 437065 w 2328854"/>
                    <a:gd name="connsiteY1620" fmla="*/ 818783 h 2163071"/>
                    <a:gd name="connsiteX1621" fmla="*/ 432566 w 2328854"/>
                    <a:gd name="connsiteY1621" fmla="*/ 825370 h 2163071"/>
                    <a:gd name="connsiteX1622" fmla="*/ 439555 w 2328854"/>
                    <a:gd name="connsiteY1622" fmla="*/ 826093 h 2163071"/>
                    <a:gd name="connsiteX1623" fmla="*/ 533860 w 2328854"/>
                    <a:gd name="connsiteY1623" fmla="*/ 838544 h 2163071"/>
                    <a:gd name="connsiteX1624" fmla="*/ 534181 w 2328854"/>
                    <a:gd name="connsiteY1624" fmla="*/ 838785 h 2163071"/>
                    <a:gd name="connsiteX1625" fmla="*/ 532414 w 2328854"/>
                    <a:gd name="connsiteY1625" fmla="*/ 826977 h 2163071"/>
                    <a:gd name="connsiteX1626" fmla="*/ 530807 w 2328854"/>
                    <a:gd name="connsiteY1626" fmla="*/ 828503 h 2163071"/>
                    <a:gd name="connsiteX1627" fmla="*/ 533860 w 2328854"/>
                    <a:gd name="connsiteY1627" fmla="*/ 838544 h 2163071"/>
                    <a:gd name="connsiteX1628" fmla="*/ 154471 w 2328854"/>
                    <a:gd name="connsiteY1628" fmla="*/ 717088 h 2163071"/>
                    <a:gd name="connsiteX1629" fmla="*/ 154551 w 2328854"/>
                    <a:gd name="connsiteY1629" fmla="*/ 717329 h 2163071"/>
                    <a:gd name="connsiteX1630" fmla="*/ 158085 w 2328854"/>
                    <a:gd name="connsiteY1630" fmla="*/ 708814 h 2163071"/>
                    <a:gd name="connsiteX1631" fmla="*/ 158005 w 2328854"/>
                    <a:gd name="connsiteY1631" fmla="*/ 708814 h 2163071"/>
                    <a:gd name="connsiteX1632" fmla="*/ 154872 w 2328854"/>
                    <a:gd name="connsiteY1632" fmla="*/ 713794 h 2163071"/>
                    <a:gd name="connsiteX1633" fmla="*/ 154471 w 2328854"/>
                    <a:gd name="connsiteY1633" fmla="*/ 717088 h 2163071"/>
                    <a:gd name="connsiteX1634" fmla="*/ 224597 w 2328854"/>
                    <a:gd name="connsiteY1634" fmla="*/ 740383 h 2163071"/>
                    <a:gd name="connsiteX1635" fmla="*/ 225159 w 2328854"/>
                    <a:gd name="connsiteY1635" fmla="*/ 739981 h 2163071"/>
                    <a:gd name="connsiteX1636" fmla="*/ 226204 w 2328854"/>
                    <a:gd name="connsiteY1636" fmla="*/ 734117 h 2163071"/>
                    <a:gd name="connsiteX1637" fmla="*/ 225802 w 2328854"/>
                    <a:gd name="connsiteY1637" fmla="*/ 734198 h 2163071"/>
                    <a:gd name="connsiteX1638" fmla="*/ 222910 w 2328854"/>
                    <a:gd name="connsiteY1638" fmla="*/ 735001 h 2163071"/>
                    <a:gd name="connsiteX1639" fmla="*/ 223392 w 2328854"/>
                    <a:gd name="connsiteY1639" fmla="*/ 733635 h 2163071"/>
                    <a:gd name="connsiteX1640" fmla="*/ 215199 w 2328854"/>
                    <a:gd name="connsiteY1640" fmla="*/ 741668 h 2163071"/>
                    <a:gd name="connsiteX1641" fmla="*/ 214476 w 2328854"/>
                    <a:gd name="connsiteY1641" fmla="*/ 742150 h 2163071"/>
                    <a:gd name="connsiteX1642" fmla="*/ 207327 w 2328854"/>
                    <a:gd name="connsiteY1642" fmla="*/ 747693 h 2163071"/>
                    <a:gd name="connsiteX1643" fmla="*/ 224597 w 2328854"/>
                    <a:gd name="connsiteY1643" fmla="*/ 740383 h 2163071"/>
                    <a:gd name="connsiteX1644" fmla="*/ 176240 w 2328854"/>
                    <a:gd name="connsiteY1644" fmla="*/ 706163 h 2163071"/>
                    <a:gd name="connsiteX1645" fmla="*/ 176722 w 2328854"/>
                    <a:gd name="connsiteY1645" fmla="*/ 706003 h 2163071"/>
                    <a:gd name="connsiteX1646" fmla="*/ 177284 w 2328854"/>
                    <a:gd name="connsiteY1646" fmla="*/ 700460 h 2163071"/>
                    <a:gd name="connsiteX1647" fmla="*/ 172143 w 2328854"/>
                    <a:gd name="connsiteY1647" fmla="*/ 701585 h 2163071"/>
                    <a:gd name="connsiteX1648" fmla="*/ 170938 w 2328854"/>
                    <a:gd name="connsiteY1648" fmla="*/ 705681 h 2163071"/>
                    <a:gd name="connsiteX1649" fmla="*/ 176240 w 2328854"/>
                    <a:gd name="connsiteY1649" fmla="*/ 706163 h 2163071"/>
                    <a:gd name="connsiteX1650" fmla="*/ 205720 w 2328854"/>
                    <a:gd name="connsiteY1650" fmla="*/ 717409 h 2163071"/>
                    <a:gd name="connsiteX1651" fmla="*/ 206684 w 2328854"/>
                    <a:gd name="connsiteY1651" fmla="*/ 716204 h 2163071"/>
                    <a:gd name="connsiteX1652" fmla="*/ 204194 w 2328854"/>
                    <a:gd name="connsiteY1652" fmla="*/ 716526 h 2163071"/>
                    <a:gd name="connsiteX1653" fmla="*/ 206363 w 2328854"/>
                    <a:gd name="connsiteY1653" fmla="*/ 712429 h 2163071"/>
                    <a:gd name="connsiteX1654" fmla="*/ 204435 w 2328854"/>
                    <a:gd name="connsiteY1654" fmla="*/ 713714 h 2163071"/>
                    <a:gd name="connsiteX1655" fmla="*/ 205399 w 2328854"/>
                    <a:gd name="connsiteY1655" fmla="*/ 710662 h 2163071"/>
                    <a:gd name="connsiteX1656" fmla="*/ 204756 w 2328854"/>
                    <a:gd name="connsiteY1656" fmla="*/ 711063 h 2163071"/>
                    <a:gd name="connsiteX1657" fmla="*/ 201623 w 2328854"/>
                    <a:gd name="connsiteY1657" fmla="*/ 713312 h 2163071"/>
                    <a:gd name="connsiteX1658" fmla="*/ 200981 w 2328854"/>
                    <a:gd name="connsiteY1658" fmla="*/ 713794 h 2163071"/>
                    <a:gd name="connsiteX1659" fmla="*/ 200338 w 2328854"/>
                    <a:gd name="connsiteY1659" fmla="*/ 714276 h 2163071"/>
                    <a:gd name="connsiteX1660" fmla="*/ 196000 w 2328854"/>
                    <a:gd name="connsiteY1660" fmla="*/ 718213 h 2163071"/>
                    <a:gd name="connsiteX1661" fmla="*/ 193751 w 2328854"/>
                    <a:gd name="connsiteY1661" fmla="*/ 719658 h 2163071"/>
                    <a:gd name="connsiteX1662" fmla="*/ 191743 w 2328854"/>
                    <a:gd name="connsiteY1662" fmla="*/ 723434 h 2163071"/>
                    <a:gd name="connsiteX1663" fmla="*/ 188530 w 2328854"/>
                    <a:gd name="connsiteY1663" fmla="*/ 733073 h 2163071"/>
                    <a:gd name="connsiteX1664" fmla="*/ 186682 w 2328854"/>
                    <a:gd name="connsiteY1664" fmla="*/ 729699 h 2163071"/>
                    <a:gd name="connsiteX1665" fmla="*/ 183469 w 2328854"/>
                    <a:gd name="connsiteY1665" fmla="*/ 734599 h 2163071"/>
                    <a:gd name="connsiteX1666" fmla="*/ 205720 w 2328854"/>
                    <a:gd name="connsiteY1666" fmla="*/ 717409 h 2163071"/>
                    <a:gd name="connsiteX1667" fmla="*/ 1865296 w 2328854"/>
                    <a:gd name="connsiteY1667" fmla="*/ 506628 h 2163071"/>
                    <a:gd name="connsiteX1668" fmla="*/ 1863930 w 2328854"/>
                    <a:gd name="connsiteY1668" fmla="*/ 504299 h 2163071"/>
                    <a:gd name="connsiteX1669" fmla="*/ 1861280 w 2328854"/>
                    <a:gd name="connsiteY1669" fmla="*/ 503576 h 2163071"/>
                    <a:gd name="connsiteX1670" fmla="*/ 1865296 w 2328854"/>
                    <a:gd name="connsiteY1670" fmla="*/ 506628 h 2163071"/>
                    <a:gd name="connsiteX1671" fmla="*/ 1905139 w 2328854"/>
                    <a:gd name="connsiteY1671" fmla="*/ 474015 h 2163071"/>
                    <a:gd name="connsiteX1672" fmla="*/ 1905540 w 2328854"/>
                    <a:gd name="connsiteY1672" fmla="*/ 473774 h 2163071"/>
                    <a:gd name="connsiteX1673" fmla="*/ 1902407 w 2328854"/>
                    <a:gd name="connsiteY1673" fmla="*/ 471284 h 2163071"/>
                    <a:gd name="connsiteX1674" fmla="*/ 1901845 w 2328854"/>
                    <a:gd name="connsiteY1674" fmla="*/ 472168 h 2163071"/>
                    <a:gd name="connsiteX1675" fmla="*/ 1898793 w 2328854"/>
                    <a:gd name="connsiteY1675" fmla="*/ 471847 h 2163071"/>
                    <a:gd name="connsiteX1676" fmla="*/ 1898873 w 2328854"/>
                    <a:gd name="connsiteY1676" fmla="*/ 472328 h 2163071"/>
                    <a:gd name="connsiteX1677" fmla="*/ 1903934 w 2328854"/>
                    <a:gd name="connsiteY1677" fmla="*/ 475622 h 2163071"/>
                    <a:gd name="connsiteX1678" fmla="*/ 1904978 w 2328854"/>
                    <a:gd name="connsiteY1678" fmla="*/ 474176 h 2163071"/>
                    <a:gd name="connsiteX1679" fmla="*/ 1905139 w 2328854"/>
                    <a:gd name="connsiteY1679" fmla="*/ 474015 h 2163071"/>
                    <a:gd name="connsiteX1680" fmla="*/ 203712 w 2328854"/>
                    <a:gd name="connsiteY1680" fmla="*/ 700540 h 2163071"/>
                    <a:gd name="connsiteX1681" fmla="*/ 204515 w 2328854"/>
                    <a:gd name="connsiteY1681" fmla="*/ 699095 h 2163071"/>
                    <a:gd name="connsiteX1682" fmla="*/ 204194 w 2328854"/>
                    <a:gd name="connsiteY1682" fmla="*/ 698934 h 2163071"/>
                    <a:gd name="connsiteX1683" fmla="*/ 198731 w 2328854"/>
                    <a:gd name="connsiteY1683" fmla="*/ 699737 h 2163071"/>
                    <a:gd name="connsiteX1684" fmla="*/ 193189 w 2328854"/>
                    <a:gd name="connsiteY1684" fmla="*/ 712349 h 2163071"/>
                    <a:gd name="connsiteX1685" fmla="*/ 193590 w 2328854"/>
                    <a:gd name="connsiteY1685" fmla="*/ 713152 h 2163071"/>
                    <a:gd name="connsiteX1686" fmla="*/ 203712 w 2328854"/>
                    <a:gd name="connsiteY1686" fmla="*/ 700540 h 2163071"/>
                    <a:gd name="connsiteX1687" fmla="*/ 200659 w 2328854"/>
                    <a:gd name="connsiteY1687" fmla="*/ 695962 h 2163071"/>
                    <a:gd name="connsiteX1688" fmla="*/ 202266 w 2328854"/>
                    <a:gd name="connsiteY1688" fmla="*/ 694034 h 2163071"/>
                    <a:gd name="connsiteX1689" fmla="*/ 201623 w 2328854"/>
                    <a:gd name="connsiteY1689" fmla="*/ 693391 h 2163071"/>
                    <a:gd name="connsiteX1690" fmla="*/ 200659 w 2328854"/>
                    <a:gd name="connsiteY1690" fmla="*/ 695962 h 2163071"/>
                    <a:gd name="connsiteX1691" fmla="*/ 164271 w 2328854"/>
                    <a:gd name="connsiteY1691" fmla="*/ 660939 h 2163071"/>
                    <a:gd name="connsiteX1692" fmla="*/ 166118 w 2328854"/>
                    <a:gd name="connsiteY1692" fmla="*/ 655958 h 2163071"/>
                    <a:gd name="connsiteX1693" fmla="*/ 166520 w 2328854"/>
                    <a:gd name="connsiteY1693" fmla="*/ 654994 h 2163071"/>
                    <a:gd name="connsiteX1694" fmla="*/ 166279 w 2328854"/>
                    <a:gd name="connsiteY1694" fmla="*/ 654994 h 2163071"/>
                    <a:gd name="connsiteX1695" fmla="*/ 161138 w 2328854"/>
                    <a:gd name="connsiteY1695" fmla="*/ 663509 h 2163071"/>
                    <a:gd name="connsiteX1696" fmla="*/ 164271 w 2328854"/>
                    <a:gd name="connsiteY1696" fmla="*/ 660939 h 2163071"/>
                    <a:gd name="connsiteX1697" fmla="*/ 1750909 w 2328854"/>
                    <a:gd name="connsiteY1697" fmla="*/ 558119 h 2163071"/>
                    <a:gd name="connsiteX1698" fmla="*/ 1750748 w 2328854"/>
                    <a:gd name="connsiteY1698" fmla="*/ 557958 h 2163071"/>
                    <a:gd name="connsiteX1699" fmla="*/ 1750507 w 2328854"/>
                    <a:gd name="connsiteY1699" fmla="*/ 558601 h 2163071"/>
                    <a:gd name="connsiteX1700" fmla="*/ 1755327 w 2328854"/>
                    <a:gd name="connsiteY1700" fmla="*/ 580048 h 2163071"/>
                    <a:gd name="connsiteX1701" fmla="*/ 1750909 w 2328854"/>
                    <a:gd name="connsiteY1701" fmla="*/ 558119 h 2163071"/>
                    <a:gd name="connsiteX1702" fmla="*/ 197848 w 2328854"/>
                    <a:gd name="connsiteY1702" fmla="*/ 679896 h 2163071"/>
                    <a:gd name="connsiteX1703" fmla="*/ 197125 w 2328854"/>
                    <a:gd name="connsiteY1703" fmla="*/ 676121 h 2163071"/>
                    <a:gd name="connsiteX1704" fmla="*/ 197848 w 2328854"/>
                    <a:gd name="connsiteY1704" fmla="*/ 679896 h 2163071"/>
                    <a:gd name="connsiteX1705" fmla="*/ 1944660 w 2328854"/>
                    <a:gd name="connsiteY1705" fmla="*/ 431763 h 2163071"/>
                    <a:gd name="connsiteX1706" fmla="*/ 1944419 w 2328854"/>
                    <a:gd name="connsiteY1706" fmla="*/ 431281 h 2163071"/>
                    <a:gd name="connsiteX1707" fmla="*/ 1928835 w 2328854"/>
                    <a:gd name="connsiteY1707" fmla="*/ 421320 h 2163071"/>
                    <a:gd name="connsiteX1708" fmla="*/ 1928675 w 2328854"/>
                    <a:gd name="connsiteY1708" fmla="*/ 421802 h 2163071"/>
                    <a:gd name="connsiteX1709" fmla="*/ 1925301 w 2328854"/>
                    <a:gd name="connsiteY1709" fmla="*/ 425819 h 2163071"/>
                    <a:gd name="connsiteX1710" fmla="*/ 1929558 w 2328854"/>
                    <a:gd name="connsiteY1710" fmla="*/ 431281 h 2163071"/>
                    <a:gd name="connsiteX1711" fmla="*/ 1931808 w 2328854"/>
                    <a:gd name="connsiteY1711" fmla="*/ 428309 h 2163071"/>
                    <a:gd name="connsiteX1712" fmla="*/ 1933816 w 2328854"/>
                    <a:gd name="connsiteY1712" fmla="*/ 429915 h 2163071"/>
                    <a:gd name="connsiteX1713" fmla="*/ 1937270 w 2328854"/>
                    <a:gd name="connsiteY1713" fmla="*/ 432646 h 2163071"/>
                    <a:gd name="connsiteX1714" fmla="*/ 1933494 w 2328854"/>
                    <a:gd name="connsiteY1714" fmla="*/ 433691 h 2163071"/>
                    <a:gd name="connsiteX1715" fmla="*/ 1934378 w 2328854"/>
                    <a:gd name="connsiteY1715" fmla="*/ 435217 h 2163071"/>
                    <a:gd name="connsiteX1716" fmla="*/ 1931004 w 2328854"/>
                    <a:gd name="connsiteY1716" fmla="*/ 433530 h 2163071"/>
                    <a:gd name="connsiteX1717" fmla="*/ 1927711 w 2328854"/>
                    <a:gd name="connsiteY1717" fmla="*/ 433289 h 2163071"/>
                    <a:gd name="connsiteX1718" fmla="*/ 1947150 w 2328854"/>
                    <a:gd name="connsiteY1718" fmla="*/ 438430 h 2163071"/>
                    <a:gd name="connsiteX1719" fmla="*/ 1944981 w 2328854"/>
                    <a:gd name="connsiteY1719" fmla="*/ 434253 h 2163071"/>
                    <a:gd name="connsiteX1720" fmla="*/ 1947230 w 2328854"/>
                    <a:gd name="connsiteY1720" fmla="*/ 434655 h 2163071"/>
                    <a:gd name="connsiteX1721" fmla="*/ 1944660 w 2328854"/>
                    <a:gd name="connsiteY1721" fmla="*/ 431763 h 2163071"/>
                    <a:gd name="connsiteX1722" fmla="*/ 1759665 w 2328854"/>
                    <a:gd name="connsiteY1722" fmla="*/ 542615 h 2163071"/>
                    <a:gd name="connsiteX1723" fmla="*/ 1759825 w 2328854"/>
                    <a:gd name="connsiteY1723" fmla="*/ 542134 h 2163071"/>
                    <a:gd name="connsiteX1724" fmla="*/ 1757817 w 2328854"/>
                    <a:gd name="connsiteY1724" fmla="*/ 543740 h 2163071"/>
                    <a:gd name="connsiteX1725" fmla="*/ 1749222 w 2328854"/>
                    <a:gd name="connsiteY1725" fmla="*/ 548721 h 2163071"/>
                    <a:gd name="connsiteX1726" fmla="*/ 1759665 w 2328854"/>
                    <a:gd name="connsiteY1726" fmla="*/ 542615 h 2163071"/>
                    <a:gd name="connsiteX1727" fmla="*/ 1738378 w 2328854"/>
                    <a:gd name="connsiteY1727" fmla="*/ 559243 h 2163071"/>
                    <a:gd name="connsiteX1728" fmla="*/ 1737896 w 2328854"/>
                    <a:gd name="connsiteY1728" fmla="*/ 558601 h 2163071"/>
                    <a:gd name="connsiteX1729" fmla="*/ 1726810 w 2328854"/>
                    <a:gd name="connsiteY1729" fmla="*/ 557798 h 2163071"/>
                    <a:gd name="connsiteX1730" fmla="*/ 1724320 w 2328854"/>
                    <a:gd name="connsiteY1730" fmla="*/ 559324 h 2163071"/>
                    <a:gd name="connsiteX1731" fmla="*/ 1724481 w 2328854"/>
                    <a:gd name="connsiteY1731" fmla="*/ 571855 h 2163071"/>
                    <a:gd name="connsiteX1732" fmla="*/ 1721991 w 2328854"/>
                    <a:gd name="connsiteY1732" fmla="*/ 570409 h 2163071"/>
                    <a:gd name="connsiteX1733" fmla="*/ 1727534 w 2328854"/>
                    <a:gd name="connsiteY1733" fmla="*/ 580771 h 2163071"/>
                    <a:gd name="connsiteX1734" fmla="*/ 1728819 w 2328854"/>
                    <a:gd name="connsiteY1734" fmla="*/ 579727 h 2163071"/>
                    <a:gd name="connsiteX1735" fmla="*/ 1729542 w 2328854"/>
                    <a:gd name="connsiteY1735" fmla="*/ 578442 h 2163071"/>
                    <a:gd name="connsiteX1736" fmla="*/ 1730506 w 2328854"/>
                    <a:gd name="connsiteY1736" fmla="*/ 577880 h 2163071"/>
                    <a:gd name="connsiteX1737" fmla="*/ 1736129 w 2328854"/>
                    <a:gd name="connsiteY1737" fmla="*/ 571212 h 2163071"/>
                    <a:gd name="connsiteX1738" fmla="*/ 1738378 w 2328854"/>
                    <a:gd name="connsiteY1738" fmla="*/ 559243 h 2163071"/>
                    <a:gd name="connsiteX1739" fmla="*/ 193028 w 2328854"/>
                    <a:gd name="connsiteY1739" fmla="*/ 668168 h 2163071"/>
                    <a:gd name="connsiteX1740" fmla="*/ 193189 w 2328854"/>
                    <a:gd name="connsiteY1740" fmla="*/ 668168 h 2163071"/>
                    <a:gd name="connsiteX1741" fmla="*/ 184915 w 2328854"/>
                    <a:gd name="connsiteY1741" fmla="*/ 658368 h 2163071"/>
                    <a:gd name="connsiteX1742" fmla="*/ 186522 w 2328854"/>
                    <a:gd name="connsiteY1742" fmla="*/ 656440 h 2163071"/>
                    <a:gd name="connsiteX1743" fmla="*/ 185236 w 2328854"/>
                    <a:gd name="connsiteY1743" fmla="*/ 652585 h 2163071"/>
                    <a:gd name="connsiteX1744" fmla="*/ 168769 w 2328854"/>
                    <a:gd name="connsiteY1744" fmla="*/ 660296 h 2163071"/>
                    <a:gd name="connsiteX1745" fmla="*/ 168689 w 2328854"/>
                    <a:gd name="connsiteY1745" fmla="*/ 659653 h 2163071"/>
                    <a:gd name="connsiteX1746" fmla="*/ 168448 w 2328854"/>
                    <a:gd name="connsiteY1746" fmla="*/ 659573 h 2163071"/>
                    <a:gd name="connsiteX1747" fmla="*/ 166440 w 2328854"/>
                    <a:gd name="connsiteY1747" fmla="*/ 665035 h 2163071"/>
                    <a:gd name="connsiteX1748" fmla="*/ 168287 w 2328854"/>
                    <a:gd name="connsiteY1748" fmla="*/ 663429 h 2163071"/>
                    <a:gd name="connsiteX1749" fmla="*/ 168448 w 2328854"/>
                    <a:gd name="connsiteY1749" fmla="*/ 663589 h 2163071"/>
                    <a:gd name="connsiteX1750" fmla="*/ 167484 w 2328854"/>
                    <a:gd name="connsiteY1750" fmla="*/ 665919 h 2163071"/>
                    <a:gd name="connsiteX1751" fmla="*/ 191904 w 2328854"/>
                    <a:gd name="connsiteY1751" fmla="*/ 667847 h 2163071"/>
                    <a:gd name="connsiteX1752" fmla="*/ 193028 w 2328854"/>
                    <a:gd name="connsiteY1752" fmla="*/ 668168 h 2163071"/>
                    <a:gd name="connsiteX1753" fmla="*/ 1927791 w 2328854"/>
                    <a:gd name="connsiteY1753" fmla="*/ 407263 h 2163071"/>
                    <a:gd name="connsiteX1754" fmla="*/ 1927389 w 2328854"/>
                    <a:gd name="connsiteY1754" fmla="*/ 406861 h 2163071"/>
                    <a:gd name="connsiteX1755" fmla="*/ 1920321 w 2328854"/>
                    <a:gd name="connsiteY1755" fmla="*/ 407343 h 2163071"/>
                    <a:gd name="connsiteX1756" fmla="*/ 1920642 w 2328854"/>
                    <a:gd name="connsiteY1756" fmla="*/ 407504 h 2163071"/>
                    <a:gd name="connsiteX1757" fmla="*/ 1929880 w 2328854"/>
                    <a:gd name="connsiteY1757" fmla="*/ 409432 h 2163071"/>
                    <a:gd name="connsiteX1758" fmla="*/ 1927791 w 2328854"/>
                    <a:gd name="connsiteY1758" fmla="*/ 407263 h 2163071"/>
                    <a:gd name="connsiteX1759" fmla="*/ 208210 w 2328854"/>
                    <a:gd name="connsiteY1759" fmla="*/ 656360 h 2163071"/>
                    <a:gd name="connsiteX1760" fmla="*/ 208451 w 2328854"/>
                    <a:gd name="connsiteY1760" fmla="*/ 656360 h 2163071"/>
                    <a:gd name="connsiteX1761" fmla="*/ 207648 w 2328854"/>
                    <a:gd name="connsiteY1761" fmla="*/ 655155 h 2163071"/>
                    <a:gd name="connsiteX1762" fmla="*/ 204113 w 2328854"/>
                    <a:gd name="connsiteY1762" fmla="*/ 657565 h 2163071"/>
                    <a:gd name="connsiteX1763" fmla="*/ 204033 w 2328854"/>
                    <a:gd name="connsiteY1763" fmla="*/ 655476 h 2163071"/>
                    <a:gd name="connsiteX1764" fmla="*/ 202025 w 2328854"/>
                    <a:gd name="connsiteY1764" fmla="*/ 660457 h 2163071"/>
                    <a:gd name="connsiteX1765" fmla="*/ 202748 w 2328854"/>
                    <a:gd name="connsiteY1765" fmla="*/ 661099 h 2163071"/>
                    <a:gd name="connsiteX1766" fmla="*/ 205399 w 2328854"/>
                    <a:gd name="connsiteY1766" fmla="*/ 659091 h 2163071"/>
                    <a:gd name="connsiteX1767" fmla="*/ 205077 w 2328854"/>
                    <a:gd name="connsiteY1767" fmla="*/ 657645 h 2163071"/>
                    <a:gd name="connsiteX1768" fmla="*/ 208210 w 2328854"/>
                    <a:gd name="connsiteY1768" fmla="*/ 656360 h 2163071"/>
                    <a:gd name="connsiteX1769" fmla="*/ 173990 w 2328854"/>
                    <a:gd name="connsiteY1769" fmla="*/ 614991 h 2163071"/>
                    <a:gd name="connsiteX1770" fmla="*/ 174151 w 2328854"/>
                    <a:gd name="connsiteY1770" fmla="*/ 614991 h 2163071"/>
                    <a:gd name="connsiteX1771" fmla="*/ 173830 w 2328854"/>
                    <a:gd name="connsiteY1771" fmla="*/ 611296 h 2163071"/>
                    <a:gd name="connsiteX1772" fmla="*/ 172544 w 2328854"/>
                    <a:gd name="connsiteY1772" fmla="*/ 616196 h 2163071"/>
                    <a:gd name="connsiteX1773" fmla="*/ 173990 w 2328854"/>
                    <a:gd name="connsiteY1773" fmla="*/ 614991 h 2163071"/>
                    <a:gd name="connsiteX1774" fmla="*/ 1634433 w 2328854"/>
                    <a:gd name="connsiteY1774" fmla="*/ 576594 h 2163071"/>
                    <a:gd name="connsiteX1775" fmla="*/ 1634433 w 2328854"/>
                    <a:gd name="connsiteY1775" fmla="*/ 576514 h 2163071"/>
                    <a:gd name="connsiteX1776" fmla="*/ 1634433 w 2328854"/>
                    <a:gd name="connsiteY1776" fmla="*/ 576594 h 2163071"/>
                    <a:gd name="connsiteX1777" fmla="*/ 1633710 w 2328854"/>
                    <a:gd name="connsiteY1777" fmla="*/ 577880 h 2163071"/>
                    <a:gd name="connsiteX1778" fmla="*/ 1634835 w 2328854"/>
                    <a:gd name="connsiteY1778" fmla="*/ 579486 h 2163071"/>
                    <a:gd name="connsiteX1779" fmla="*/ 1634433 w 2328854"/>
                    <a:gd name="connsiteY1779" fmla="*/ 576594 h 2163071"/>
                    <a:gd name="connsiteX1780" fmla="*/ 164190 w 2328854"/>
                    <a:gd name="connsiteY1780" fmla="*/ 538599 h 2163071"/>
                    <a:gd name="connsiteX1781" fmla="*/ 174553 w 2328854"/>
                    <a:gd name="connsiteY1781" fmla="*/ 521730 h 2163071"/>
                    <a:gd name="connsiteX1782" fmla="*/ 173910 w 2328854"/>
                    <a:gd name="connsiteY1782" fmla="*/ 522774 h 2163071"/>
                    <a:gd name="connsiteX1783" fmla="*/ 164190 w 2328854"/>
                    <a:gd name="connsiteY1783" fmla="*/ 538599 h 2163071"/>
                    <a:gd name="connsiteX1784" fmla="*/ 226284 w 2328854"/>
                    <a:gd name="connsiteY1784" fmla="*/ 674594 h 2163071"/>
                    <a:gd name="connsiteX1785" fmla="*/ 226525 w 2328854"/>
                    <a:gd name="connsiteY1785" fmla="*/ 675478 h 2163071"/>
                    <a:gd name="connsiteX1786" fmla="*/ 231827 w 2328854"/>
                    <a:gd name="connsiteY1786" fmla="*/ 662224 h 2163071"/>
                    <a:gd name="connsiteX1787" fmla="*/ 231746 w 2328854"/>
                    <a:gd name="connsiteY1787" fmla="*/ 662224 h 2163071"/>
                    <a:gd name="connsiteX1788" fmla="*/ 228854 w 2328854"/>
                    <a:gd name="connsiteY1788" fmla="*/ 665437 h 2163071"/>
                    <a:gd name="connsiteX1789" fmla="*/ 227168 w 2328854"/>
                    <a:gd name="connsiteY1789" fmla="*/ 666562 h 2163071"/>
                    <a:gd name="connsiteX1790" fmla="*/ 226846 w 2328854"/>
                    <a:gd name="connsiteY1790" fmla="*/ 666642 h 2163071"/>
                    <a:gd name="connsiteX1791" fmla="*/ 225079 w 2328854"/>
                    <a:gd name="connsiteY1791" fmla="*/ 675960 h 2163071"/>
                    <a:gd name="connsiteX1792" fmla="*/ 226284 w 2328854"/>
                    <a:gd name="connsiteY1792" fmla="*/ 674594 h 2163071"/>
                    <a:gd name="connsiteX1793" fmla="*/ 168930 w 2328854"/>
                    <a:gd name="connsiteY1793" fmla="*/ 580048 h 2163071"/>
                    <a:gd name="connsiteX1794" fmla="*/ 171018 w 2328854"/>
                    <a:gd name="connsiteY1794" fmla="*/ 575711 h 2163071"/>
                    <a:gd name="connsiteX1795" fmla="*/ 170858 w 2328854"/>
                    <a:gd name="connsiteY1795" fmla="*/ 575952 h 2163071"/>
                    <a:gd name="connsiteX1796" fmla="*/ 166520 w 2328854"/>
                    <a:gd name="connsiteY1796" fmla="*/ 580611 h 2163071"/>
                    <a:gd name="connsiteX1797" fmla="*/ 167082 w 2328854"/>
                    <a:gd name="connsiteY1797" fmla="*/ 581896 h 2163071"/>
                    <a:gd name="connsiteX1798" fmla="*/ 168930 w 2328854"/>
                    <a:gd name="connsiteY1798" fmla="*/ 580048 h 2163071"/>
                    <a:gd name="connsiteX1799" fmla="*/ 1909396 w 2328854"/>
                    <a:gd name="connsiteY1799" fmla="*/ 396338 h 2163071"/>
                    <a:gd name="connsiteX1800" fmla="*/ 1904014 w 2328854"/>
                    <a:gd name="connsiteY1800" fmla="*/ 394571 h 2163071"/>
                    <a:gd name="connsiteX1801" fmla="*/ 1904255 w 2328854"/>
                    <a:gd name="connsiteY1801" fmla="*/ 394732 h 2163071"/>
                    <a:gd name="connsiteX1802" fmla="*/ 1907468 w 2328854"/>
                    <a:gd name="connsiteY1802" fmla="*/ 397302 h 2163071"/>
                    <a:gd name="connsiteX1803" fmla="*/ 1911083 w 2328854"/>
                    <a:gd name="connsiteY1803" fmla="*/ 399230 h 2163071"/>
                    <a:gd name="connsiteX1804" fmla="*/ 1911404 w 2328854"/>
                    <a:gd name="connsiteY1804" fmla="*/ 399471 h 2163071"/>
                    <a:gd name="connsiteX1805" fmla="*/ 1909396 w 2328854"/>
                    <a:gd name="connsiteY1805" fmla="*/ 396338 h 2163071"/>
                    <a:gd name="connsiteX1806" fmla="*/ 227007 w 2328854"/>
                    <a:gd name="connsiteY1806" fmla="*/ 650014 h 2163071"/>
                    <a:gd name="connsiteX1807" fmla="*/ 227649 w 2328854"/>
                    <a:gd name="connsiteY1807" fmla="*/ 649211 h 2163071"/>
                    <a:gd name="connsiteX1808" fmla="*/ 222428 w 2328854"/>
                    <a:gd name="connsiteY1808" fmla="*/ 651460 h 2163071"/>
                    <a:gd name="connsiteX1809" fmla="*/ 223874 w 2328854"/>
                    <a:gd name="connsiteY1809" fmla="*/ 650094 h 2163071"/>
                    <a:gd name="connsiteX1810" fmla="*/ 223312 w 2328854"/>
                    <a:gd name="connsiteY1810" fmla="*/ 650014 h 2163071"/>
                    <a:gd name="connsiteX1811" fmla="*/ 224999 w 2328854"/>
                    <a:gd name="connsiteY1811" fmla="*/ 645757 h 2163071"/>
                    <a:gd name="connsiteX1812" fmla="*/ 224918 w 2328854"/>
                    <a:gd name="connsiteY1812" fmla="*/ 645757 h 2163071"/>
                    <a:gd name="connsiteX1813" fmla="*/ 222348 w 2328854"/>
                    <a:gd name="connsiteY1813" fmla="*/ 647845 h 2163071"/>
                    <a:gd name="connsiteX1814" fmla="*/ 221786 w 2328854"/>
                    <a:gd name="connsiteY1814" fmla="*/ 647524 h 2163071"/>
                    <a:gd name="connsiteX1815" fmla="*/ 223071 w 2328854"/>
                    <a:gd name="connsiteY1815" fmla="*/ 648167 h 2163071"/>
                    <a:gd name="connsiteX1816" fmla="*/ 223633 w 2328854"/>
                    <a:gd name="connsiteY1816" fmla="*/ 647685 h 2163071"/>
                    <a:gd name="connsiteX1817" fmla="*/ 217930 w 2328854"/>
                    <a:gd name="connsiteY1817" fmla="*/ 659493 h 2163071"/>
                    <a:gd name="connsiteX1818" fmla="*/ 223231 w 2328854"/>
                    <a:gd name="connsiteY1818" fmla="*/ 654994 h 2163071"/>
                    <a:gd name="connsiteX1819" fmla="*/ 227007 w 2328854"/>
                    <a:gd name="connsiteY1819" fmla="*/ 650014 h 2163071"/>
                    <a:gd name="connsiteX1820" fmla="*/ 1834852 w 2328854"/>
                    <a:gd name="connsiteY1820" fmla="*/ 450961 h 2163071"/>
                    <a:gd name="connsiteX1821" fmla="*/ 1832763 w 2328854"/>
                    <a:gd name="connsiteY1821" fmla="*/ 450319 h 2163071"/>
                    <a:gd name="connsiteX1822" fmla="*/ 1833004 w 2328854"/>
                    <a:gd name="connsiteY1822" fmla="*/ 450720 h 2163071"/>
                    <a:gd name="connsiteX1823" fmla="*/ 1830835 w 2328854"/>
                    <a:gd name="connsiteY1823" fmla="*/ 452969 h 2163071"/>
                    <a:gd name="connsiteX1824" fmla="*/ 1833486 w 2328854"/>
                    <a:gd name="connsiteY1824" fmla="*/ 453451 h 2163071"/>
                    <a:gd name="connsiteX1825" fmla="*/ 1835093 w 2328854"/>
                    <a:gd name="connsiteY1825" fmla="*/ 452246 h 2163071"/>
                    <a:gd name="connsiteX1826" fmla="*/ 1835093 w 2328854"/>
                    <a:gd name="connsiteY1826" fmla="*/ 451443 h 2163071"/>
                    <a:gd name="connsiteX1827" fmla="*/ 1834852 w 2328854"/>
                    <a:gd name="connsiteY1827" fmla="*/ 450961 h 2163071"/>
                    <a:gd name="connsiteX1828" fmla="*/ 1792037 w 2328854"/>
                    <a:gd name="connsiteY1828" fmla="*/ 468633 h 2163071"/>
                    <a:gd name="connsiteX1829" fmla="*/ 1792117 w 2328854"/>
                    <a:gd name="connsiteY1829" fmla="*/ 468071 h 2163071"/>
                    <a:gd name="connsiteX1830" fmla="*/ 1791956 w 2328854"/>
                    <a:gd name="connsiteY1830" fmla="*/ 468232 h 2163071"/>
                    <a:gd name="connsiteX1831" fmla="*/ 1789948 w 2328854"/>
                    <a:gd name="connsiteY1831" fmla="*/ 475943 h 2163071"/>
                    <a:gd name="connsiteX1832" fmla="*/ 1790671 w 2328854"/>
                    <a:gd name="connsiteY1832" fmla="*/ 472328 h 2163071"/>
                    <a:gd name="connsiteX1833" fmla="*/ 1792037 w 2328854"/>
                    <a:gd name="connsiteY1833" fmla="*/ 468633 h 2163071"/>
                    <a:gd name="connsiteX1834" fmla="*/ 1798463 w 2328854"/>
                    <a:gd name="connsiteY1834" fmla="*/ 469035 h 2163071"/>
                    <a:gd name="connsiteX1835" fmla="*/ 1798624 w 2328854"/>
                    <a:gd name="connsiteY1835" fmla="*/ 469035 h 2163071"/>
                    <a:gd name="connsiteX1836" fmla="*/ 1794206 w 2328854"/>
                    <a:gd name="connsiteY1836" fmla="*/ 465983 h 2163071"/>
                    <a:gd name="connsiteX1837" fmla="*/ 1794125 w 2328854"/>
                    <a:gd name="connsiteY1837" fmla="*/ 466143 h 2163071"/>
                    <a:gd name="connsiteX1838" fmla="*/ 1793483 w 2328854"/>
                    <a:gd name="connsiteY1838" fmla="*/ 468874 h 2163071"/>
                    <a:gd name="connsiteX1839" fmla="*/ 1798463 w 2328854"/>
                    <a:gd name="connsiteY1839" fmla="*/ 469035 h 2163071"/>
                    <a:gd name="connsiteX1840" fmla="*/ 194635 w 2328854"/>
                    <a:gd name="connsiteY1840" fmla="*/ 488394 h 2163071"/>
                    <a:gd name="connsiteX1841" fmla="*/ 194394 w 2328854"/>
                    <a:gd name="connsiteY1841" fmla="*/ 488715 h 2163071"/>
                    <a:gd name="connsiteX1842" fmla="*/ 201302 w 2328854"/>
                    <a:gd name="connsiteY1842" fmla="*/ 479076 h 2163071"/>
                    <a:gd name="connsiteX1843" fmla="*/ 194635 w 2328854"/>
                    <a:gd name="connsiteY1843" fmla="*/ 488394 h 2163071"/>
                    <a:gd name="connsiteX1844" fmla="*/ 239056 w 2328854"/>
                    <a:gd name="connsiteY1844" fmla="*/ 637242 h 2163071"/>
                    <a:gd name="connsiteX1845" fmla="*/ 239377 w 2328854"/>
                    <a:gd name="connsiteY1845" fmla="*/ 636760 h 2163071"/>
                    <a:gd name="connsiteX1846" fmla="*/ 239217 w 2328854"/>
                    <a:gd name="connsiteY1846" fmla="*/ 637001 h 2163071"/>
                    <a:gd name="connsiteX1847" fmla="*/ 236325 w 2328854"/>
                    <a:gd name="connsiteY1847" fmla="*/ 639009 h 2163071"/>
                    <a:gd name="connsiteX1848" fmla="*/ 236084 w 2328854"/>
                    <a:gd name="connsiteY1848" fmla="*/ 639089 h 2163071"/>
                    <a:gd name="connsiteX1849" fmla="*/ 234236 w 2328854"/>
                    <a:gd name="connsiteY1849" fmla="*/ 642142 h 2163071"/>
                    <a:gd name="connsiteX1850" fmla="*/ 239056 w 2328854"/>
                    <a:gd name="connsiteY1850" fmla="*/ 637242 h 2163071"/>
                    <a:gd name="connsiteX1851" fmla="*/ 1873248 w 2328854"/>
                    <a:gd name="connsiteY1851" fmla="*/ 429674 h 2163071"/>
                    <a:gd name="connsiteX1852" fmla="*/ 1843688 w 2328854"/>
                    <a:gd name="connsiteY1852" fmla="*/ 423891 h 2163071"/>
                    <a:gd name="connsiteX1853" fmla="*/ 1842965 w 2328854"/>
                    <a:gd name="connsiteY1853" fmla="*/ 429514 h 2163071"/>
                    <a:gd name="connsiteX1854" fmla="*/ 1845053 w 2328854"/>
                    <a:gd name="connsiteY1854" fmla="*/ 432084 h 2163071"/>
                    <a:gd name="connsiteX1855" fmla="*/ 1846419 w 2328854"/>
                    <a:gd name="connsiteY1855" fmla="*/ 434655 h 2163071"/>
                    <a:gd name="connsiteX1856" fmla="*/ 1865778 w 2328854"/>
                    <a:gd name="connsiteY1856" fmla="*/ 444053 h 2163071"/>
                    <a:gd name="connsiteX1857" fmla="*/ 1874293 w 2328854"/>
                    <a:gd name="connsiteY1857" fmla="*/ 450078 h 2163071"/>
                    <a:gd name="connsiteX1858" fmla="*/ 1874614 w 2328854"/>
                    <a:gd name="connsiteY1858" fmla="*/ 441001 h 2163071"/>
                    <a:gd name="connsiteX1859" fmla="*/ 1873248 w 2328854"/>
                    <a:gd name="connsiteY1859" fmla="*/ 429674 h 2163071"/>
                    <a:gd name="connsiteX1860" fmla="*/ 1799829 w 2328854"/>
                    <a:gd name="connsiteY1860" fmla="*/ 457066 h 2163071"/>
                    <a:gd name="connsiteX1861" fmla="*/ 1799025 w 2328854"/>
                    <a:gd name="connsiteY1861" fmla="*/ 456102 h 2163071"/>
                    <a:gd name="connsiteX1862" fmla="*/ 1799025 w 2328854"/>
                    <a:gd name="connsiteY1862" fmla="*/ 456504 h 2163071"/>
                    <a:gd name="connsiteX1863" fmla="*/ 1798865 w 2328854"/>
                    <a:gd name="connsiteY1863" fmla="*/ 468392 h 2163071"/>
                    <a:gd name="connsiteX1864" fmla="*/ 1808343 w 2328854"/>
                    <a:gd name="connsiteY1864" fmla="*/ 469035 h 2163071"/>
                    <a:gd name="connsiteX1865" fmla="*/ 1805773 w 2328854"/>
                    <a:gd name="connsiteY1865" fmla="*/ 467830 h 2163071"/>
                    <a:gd name="connsiteX1866" fmla="*/ 1806014 w 2328854"/>
                    <a:gd name="connsiteY1866" fmla="*/ 467429 h 2163071"/>
                    <a:gd name="connsiteX1867" fmla="*/ 1802399 w 2328854"/>
                    <a:gd name="connsiteY1867" fmla="*/ 466384 h 2163071"/>
                    <a:gd name="connsiteX1868" fmla="*/ 1802881 w 2328854"/>
                    <a:gd name="connsiteY1868" fmla="*/ 465501 h 2163071"/>
                    <a:gd name="connsiteX1869" fmla="*/ 1799829 w 2328854"/>
                    <a:gd name="connsiteY1869" fmla="*/ 457066 h 2163071"/>
                    <a:gd name="connsiteX1870" fmla="*/ 1815011 w 2328854"/>
                    <a:gd name="connsiteY1870" fmla="*/ 447668 h 2163071"/>
                    <a:gd name="connsiteX1871" fmla="*/ 1815332 w 2328854"/>
                    <a:gd name="connsiteY1871" fmla="*/ 447668 h 2163071"/>
                    <a:gd name="connsiteX1872" fmla="*/ 1808424 w 2328854"/>
                    <a:gd name="connsiteY1872" fmla="*/ 447347 h 2163071"/>
                    <a:gd name="connsiteX1873" fmla="*/ 1807701 w 2328854"/>
                    <a:gd name="connsiteY1873" fmla="*/ 448070 h 2163071"/>
                    <a:gd name="connsiteX1874" fmla="*/ 1812199 w 2328854"/>
                    <a:gd name="connsiteY1874" fmla="*/ 451122 h 2163071"/>
                    <a:gd name="connsiteX1875" fmla="*/ 1811316 w 2328854"/>
                    <a:gd name="connsiteY1875" fmla="*/ 449114 h 2163071"/>
                    <a:gd name="connsiteX1876" fmla="*/ 1811396 w 2328854"/>
                    <a:gd name="connsiteY1876" fmla="*/ 449676 h 2163071"/>
                    <a:gd name="connsiteX1877" fmla="*/ 1815011 w 2328854"/>
                    <a:gd name="connsiteY1877" fmla="*/ 447668 h 2163071"/>
                    <a:gd name="connsiteX1878" fmla="*/ 1809548 w 2328854"/>
                    <a:gd name="connsiteY1878" fmla="*/ 444455 h 2163071"/>
                    <a:gd name="connsiteX1879" fmla="*/ 1808022 w 2328854"/>
                    <a:gd name="connsiteY1879" fmla="*/ 442607 h 2163071"/>
                    <a:gd name="connsiteX1880" fmla="*/ 1808022 w 2328854"/>
                    <a:gd name="connsiteY1880" fmla="*/ 442687 h 2163071"/>
                    <a:gd name="connsiteX1881" fmla="*/ 1809548 w 2328854"/>
                    <a:gd name="connsiteY1881" fmla="*/ 444455 h 2163071"/>
                    <a:gd name="connsiteX1882" fmla="*/ 1817661 w 2328854"/>
                    <a:gd name="connsiteY1882" fmla="*/ 444455 h 2163071"/>
                    <a:gd name="connsiteX1883" fmla="*/ 1817983 w 2328854"/>
                    <a:gd name="connsiteY1883" fmla="*/ 444374 h 2163071"/>
                    <a:gd name="connsiteX1884" fmla="*/ 1808263 w 2328854"/>
                    <a:gd name="connsiteY1884" fmla="*/ 440599 h 2163071"/>
                    <a:gd name="connsiteX1885" fmla="*/ 1808584 w 2328854"/>
                    <a:gd name="connsiteY1885" fmla="*/ 440679 h 2163071"/>
                    <a:gd name="connsiteX1886" fmla="*/ 1812038 w 2328854"/>
                    <a:gd name="connsiteY1886" fmla="*/ 442366 h 2163071"/>
                    <a:gd name="connsiteX1887" fmla="*/ 1809548 w 2328854"/>
                    <a:gd name="connsiteY1887" fmla="*/ 442607 h 2163071"/>
                    <a:gd name="connsiteX1888" fmla="*/ 1809548 w 2328854"/>
                    <a:gd name="connsiteY1888" fmla="*/ 444535 h 2163071"/>
                    <a:gd name="connsiteX1889" fmla="*/ 1817902 w 2328854"/>
                    <a:gd name="connsiteY1889" fmla="*/ 447507 h 2163071"/>
                    <a:gd name="connsiteX1890" fmla="*/ 1815252 w 2328854"/>
                    <a:gd name="connsiteY1890" fmla="*/ 445579 h 2163071"/>
                    <a:gd name="connsiteX1891" fmla="*/ 1817661 w 2328854"/>
                    <a:gd name="connsiteY1891" fmla="*/ 444455 h 2163071"/>
                    <a:gd name="connsiteX1892" fmla="*/ 1673633 w 2328854"/>
                    <a:gd name="connsiteY1892" fmla="*/ 520043 h 2163071"/>
                    <a:gd name="connsiteX1893" fmla="*/ 1671946 w 2328854"/>
                    <a:gd name="connsiteY1893" fmla="*/ 518999 h 2163071"/>
                    <a:gd name="connsiteX1894" fmla="*/ 1671946 w 2328854"/>
                    <a:gd name="connsiteY1894" fmla="*/ 519079 h 2163071"/>
                    <a:gd name="connsiteX1895" fmla="*/ 1673392 w 2328854"/>
                    <a:gd name="connsiteY1895" fmla="*/ 521329 h 2163071"/>
                    <a:gd name="connsiteX1896" fmla="*/ 1673633 w 2328854"/>
                    <a:gd name="connsiteY1896" fmla="*/ 520043 h 2163071"/>
                    <a:gd name="connsiteX1897" fmla="*/ 1840234 w 2328854"/>
                    <a:gd name="connsiteY1897" fmla="*/ 418669 h 2163071"/>
                    <a:gd name="connsiteX1898" fmla="*/ 1837020 w 2328854"/>
                    <a:gd name="connsiteY1898" fmla="*/ 417143 h 2163071"/>
                    <a:gd name="connsiteX1899" fmla="*/ 1837583 w 2328854"/>
                    <a:gd name="connsiteY1899" fmla="*/ 417706 h 2163071"/>
                    <a:gd name="connsiteX1900" fmla="*/ 1839430 w 2328854"/>
                    <a:gd name="connsiteY1900" fmla="*/ 418428 h 2163071"/>
                    <a:gd name="connsiteX1901" fmla="*/ 1840234 w 2328854"/>
                    <a:gd name="connsiteY1901" fmla="*/ 418669 h 2163071"/>
                    <a:gd name="connsiteX1902" fmla="*/ 1840234 w 2328854"/>
                    <a:gd name="connsiteY1902" fmla="*/ 418669 h 2163071"/>
                    <a:gd name="connsiteX1903" fmla="*/ 1792278 w 2328854"/>
                    <a:gd name="connsiteY1903" fmla="*/ 449033 h 2163071"/>
                    <a:gd name="connsiteX1904" fmla="*/ 1791394 w 2328854"/>
                    <a:gd name="connsiteY1904" fmla="*/ 447909 h 2163071"/>
                    <a:gd name="connsiteX1905" fmla="*/ 1791153 w 2328854"/>
                    <a:gd name="connsiteY1905" fmla="*/ 448230 h 2163071"/>
                    <a:gd name="connsiteX1906" fmla="*/ 1789707 w 2328854"/>
                    <a:gd name="connsiteY1906" fmla="*/ 447025 h 2163071"/>
                    <a:gd name="connsiteX1907" fmla="*/ 1789788 w 2328854"/>
                    <a:gd name="connsiteY1907" fmla="*/ 447427 h 2163071"/>
                    <a:gd name="connsiteX1908" fmla="*/ 1792197 w 2328854"/>
                    <a:gd name="connsiteY1908" fmla="*/ 450319 h 2163071"/>
                    <a:gd name="connsiteX1909" fmla="*/ 1789145 w 2328854"/>
                    <a:gd name="connsiteY1909" fmla="*/ 450720 h 2163071"/>
                    <a:gd name="connsiteX1910" fmla="*/ 1792599 w 2328854"/>
                    <a:gd name="connsiteY1910" fmla="*/ 451202 h 2163071"/>
                    <a:gd name="connsiteX1911" fmla="*/ 1787699 w 2328854"/>
                    <a:gd name="connsiteY1911" fmla="*/ 451443 h 2163071"/>
                    <a:gd name="connsiteX1912" fmla="*/ 1785852 w 2328854"/>
                    <a:gd name="connsiteY1912" fmla="*/ 452568 h 2163071"/>
                    <a:gd name="connsiteX1913" fmla="*/ 1785048 w 2328854"/>
                    <a:gd name="connsiteY1913" fmla="*/ 451122 h 2163071"/>
                    <a:gd name="connsiteX1914" fmla="*/ 1784807 w 2328854"/>
                    <a:gd name="connsiteY1914" fmla="*/ 453451 h 2163071"/>
                    <a:gd name="connsiteX1915" fmla="*/ 1791314 w 2328854"/>
                    <a:gd name="connsiteY1915" fmla="*/ 463412 h 2163071"/>
                    <a:gd name="connsiteX1916" fmla="*/ 1793643 w 2328854"/>
                    <a:gd name="connsiteY1916" fmla="*/ 464537 h 2163071"/>
                    <a:gd name="connsiteX1917" fmla="*/ 1793483 w 2328854"/>
                    <a:gd name="connsiteY1917" fmla="*/ 462127 h 2163071"/>
                    <a:gd name="connsiteX1918" fmla="*/ 1792519 w 2328854"/>
                    <a:gd name="connsiteY1918" fmla="*/ 462368 h 2163071"/>
                    <a:gd name="connsiteX1919" fmla="*/ 1789306 w 2328854"/>
                    <a:gd name="connsiteY1919" fmla="*/ 454174 h 2163071"/>
                    <a:gd name="connsiteX1920" fmla="*/ 1792438 w 2328854"/>
                    <a:gd name="connsiteY1920" fmla="*/ 453050 h 2163071"/>
                    <a:gd name="connsiteX1921" fmla="*/ 1792278 w 2328854"/>
                    <a:gd name="connsiteY1921" fmla="*/ 452889 h 2163071"/>
                    <a:gd name="connsiteX1922" fmla="*/ 1795812 w 2328854"/>
                    <a:gd name="connsiteY1922" fmla="*/ 452648 h 2163071"/>
                    <a:gd name="connsiteX1923" fmla="*/ 1792278 w 2328854"/>
                    <a:gd name="connsiteY1923" fmla="*/ 449033 h 2163071"/>
                    <a:gd name="connsiteX1924" fmla="*/ 1669778 w 2328854"/>
                    <a:gd name="connsiteY1924" fmla="*/ 512171 h 2163071"/>
                    <a:gd name="connsiteX1925" fmla="*/ 1668091 w 2328854"/>
                    <a:gd name="connsiteY1925" fmla="*/ 511529 h 2163071"/>
                    <a:gd name="connsiteX1926" fmla="*/ 1668171 w 2328854"/>
                    <a:gd name="connsiteY1926" fmla="*/ 511930 h 2163071"/>
                    <a:gd name="connsiteX1927" fmla="*/ 1674919 w 2328854"/>
                    <a:gd name="connsiteY1927" fmla="*/ 520686 h 2163071"/>
                    <a:gd name="connsiteX1928" fmla="*/ 1675401 w 2328854"/>
                    <a:gd name="connsiteY1928" fmla="*/ 520445 h 2163071"/>
                    <a:gd name="connsiteX1929" fmla="*/ 1671625 w 2328854"/>
                    <a:gd name="connsiteY1929" fmla="*/ 516268 h 2163071"/>
                    <a:gd name="connsiteX1930" fmla="*/ 1670019 w 2328854"/>
                    <a:gd name="connsiteY1930" fmla="*/ 512974 h 2163071"/>
                    <a:gd name="connsiteX1931" fmla="*/ 1669778 w 2328854"/>
                    <a:gd name="connsiteY1931" fmla="*/ 512171 h 2163071"/>
                    <a:gd name="connsiteX1932" fmla="*/ 1869473 w 2328854"/>
                    <a:gd name="connsiteY1932" fmla="*/ 383486 h 2163071"/>
                    <a:gd name="connsiteX1933" fmla="*/ 1868589 w 2328854"/>
                    <a:gd name="connsiteY1933" fmla="*/ 381558 h 2163071"/>
                    <a:gd name="connsiteX1934" fmla="*/ 1864653 w 2328854"/>
                    <a:gd name="connsiteY1934" fmla="*/ 379871 h 2163071"/>
                    <a:gd name="connsiteX1935" fmla="*/ 1869473 w 2328854"/>
                    <a:gd name="connsiteY1935" fmla="*/ 383486 h 2163071"/>
                    <a:gd name="connsiteX1936" fmla="*/ 254559 w 2328854"/>
                    <a:gd name="connsiteY1936" fmla="*/ 620855 h 2163071"/>
                    <a:gd name="connsiteX1937" fmla="*/ 256327 w 2328854"/>
                    <a:gd name="connsiteY1937" fmla="*/ 616437 h 2163071"/>
                    <a:gd name="connsiteX1938" fmla="*/ 256166 w 2328854"/>
                    <a:gd name="connsiteY1938" fmla="*/ 616598 h 2163071"/>
                    <a:gd name="connsiteX1939" fmla="*/ 251427 w 2328854"/>
                    <a:gd name="connsiteY1939" fmla="*/ 623425 h 2163071"/>
                    <a:gd name="connsiteX1940" fmla="*/ 254559 w 2328854"/>
                    <a:gd name="connsiteY1940" fmla="*/ 620855 h 2163071"/>
                    <a:gd name="connsiteX1941" fmla="*/ 222107 w 2328854"/>
                    <a:gd name="connsiteY1941" fmla="*/ 591375 h 2163071"/>
                    <a:gd name="connsiteX1942" fmla="*/ 222910 w 2328854"/>
                    <a:gd name="connsiteY1942" fmla="*/ 591294 h 2163071"/>
                    <a:gd name="connsiteX1943" fmla="*/ 220982 w 2328854"/>
                    <a:gd name="connsiteY1943" fmla="*/ 584868 h 2163071"/>
                    <a:gd name="connsiteX1944" fmla="*/ 219456 w 2328854"/>
                    <a:gd name="connsiteY1944" fmla="*/ 584788 h 2163071"/>
                    <a:gd name="connsiteX1945" fmla="*/ 204033 w 2328854"/>
                    <a:gd name="connsiteY1945" fmla="*/ 590170 h 2163071"/>
                    <a:gd name="connsiteX1946" fmla="*/ 205238 w 2328854"/>
                    <a:gd name="connsiteY1946" fmla="*/ 564063 h 2163071"/>
                    <a:gd name="connsiteX1947" fmla="*/ 200177 w 2328854"/>
                    <a:gd name="connsiteY1947" fmla="*/ 578442 h 2163071"/>
                    <a:gd name="connsiteX1948" fmla="*/ 190136 w 2328854"/>
                    <a:gd name="connsiteY1948" fmla="*/ 585430 h 2163071"/>
                    <a:gd name="connsiteX1949" fmla="*/ 187004 w 2328854"/>
                    <a:gd name="connsiteY1949" fmla="*/ 589607 h 2163071"/>
                    <a:gd name="connsiteX1950" fmla="*/ 185156 w 2328854"/>
                    <a:gd name="connsiteY1950" fmla="*/ 592740 h 2163071"/>
                    <a:gd name="connsiteX1951" fmla="*/ 184754 w 2328854"/>
                    <a:gd name="connsiteY1951" fmla="*/ 593142 h 2163071"/>
                    <a:gd name="connsiteX1952" fmla="*/ 182264 w 2328854"/>
                    <a:gd name="connsiteY1952" fmla="*/ 587278 h 2163071"/>
                    <a:gd name="connsiteX1953" fmla="*/ 182987 w 2328854"/>
                    <a:gd name="connsiteY1953" fmla="*/ 582940 h 2163071"/>
                    <a:gd name="connsiteX1954" fmla="*/ 184031 w 2328854"/>
                    <a:gd name="connsiteY1954" fmla="*/ 600532 h 2163071"/>
                    <a:gd name="connsiteX1955" fmla="*/ 197848 w 2328854"/>
                    <a:gd name="connsiteY1955" fmla="*/ 602058 h 2163071"/>
                    <a:gd name="connsiteX1956" fmla="*/ 208772 w 2328854"/>
                    <a:gd name="connsiteY1956" fmla="*/ 595552 h 2163071"/>
                    <a:gd name="connsiteX1957" fmla="*/ 208290 w 2328854"/>
                    <a:gd name="connsiteY1957" fmla="*/ 595070 h 2163071"/>
                    <a:gd name="connsiteX1958" fmla="*/ 217769 w 2328854"/>
                    <a:gd name="connsiteY1958" fmla="*/ 589286 h 2163071"/>
                    <a:gd name="connsiteX1959" fmla="*/ 222107 w 2328854"/>
                    <a:gd name="connsiteY1959" fmla="*/ 591375 h 2163071"/>
                    <a:gd name="connsiteX1960" fmla="*/ 1817340 w 2328854"/>
                    <a:gd name="connsiteY1960" fmla="*/ 414653 h 2163071"/>
                    <a:gd name="connsiteX1961" fmla="*/ 1813886 w 2328854"/>
                    <a:gd name="connsiteY1961" fmla="*/ 413448 h 2163071"/>
                    <a:gd name="connsiteX1962" fmla="*/ 1813966 w 2328854"/>
                    <a:gd name="connsiteY1962" fmla="*/ 414332 h 2163071"/>
                    <a:gd name="connsiteX1963" fmla="*/ 1817902 w 2328854"/>
                    <a:gd name="connsiteY1963" fmla="*/ 415296 h 2163071"/>
                    <a:gd name="connsiteX1964" fmla="*/ 1817340 w 2328854"/>
                    <a:gd name="connsiteY1964" fmla="*/ 414653 h 2163071"/>
                    <a:gd name="connsiteX1965" fmla="*/ 223713 w 2328854"/>
                    <a:gd name="connsiteY1965" fmla="*/ 593704 h 2163071"/>
                    <a:gd name="connsiteX1966" fmla="*/ 223794 w 2328854"/>
                    <a:gd name="connsiteY1966" fmla="*/ 594025 h 2163071"/>
                    <a:gd name="connsiteX1967" fmla="*/ 223472 w 2328854"/>
                    <a:gd name="connsiteY1967" fmla="*/ 585912 h 2163071"/>
                    <a:gd name="connsiteX1968" fmla="*/ 220902 w 2328854"/>
                    <a:gd name="connsiteY1968" fmla="*/ 584788 h 2163071"/>
                    <a:gd name="connsiteX1969" fmla="*/ 223713 w 2328854"/>
                    <a:gd name="connsiteY1969" fmla="*/ 593704 h 2163071"/>
                    <a:gd name="connsiteX1970" fmla="*/ 1882727 w 2328854"/>
                    <a:gd name="connsiteY1970" fmla="*/ 401399 h 2163071"/>
                    <a:gd name="connsiteX1971" fmla="*/ 1882084 w 2328854"/>
                    <a:gd name="connsiteY1971" fmla="*/ 398989 h 2163071"/>
                    <a:gd name="connsiteX1972" fmla="*/ 1855737 w 2328854"/>
                    <a:gd name="connsiteY1972" fmla="*/ 384851 h 2163071"/>
                    <a:gd name="connsiteX1973" fmla="*/ 1854130 w 2328854"/>
                    <a:gd name="connsiteY1973" fmla="*/ 383807 h 2163071"/>
                    <a:gd name="connsiteX1974" fmla="*/ 1853166 w 2328854"/>
                    <a:gd name="connsiteY1974" fmla="*/ 383887 h 2163071"/>
                    <a:gd name="connsiteX1975" fmla="*/ 1843527 w 2328854"/>
                    <a:gd name="connsiteY1975" fmla="*/ 384209 h 2163071"/>
                    <a:gd name="connsiteX1976" fmla="*/ 1844330 w 2328854"/>
                    <a:gd name="connsiteY1976" fmla="*/ 384932 h 2163071"/>
                    <a:gd name="connsiteX1977" fmla="*/ 1852283 w 2328854"/>
                    <a:gd name="connsiteY1977" fmla="*/ 387663 h 2163071"/>
                    <a:gd name="connsiteX1978" fmla="*/ 1859030 w 2328854"/>
                    <a:gd name="connsiteY1978" fmla="*/ 392482 h 2163071"/>
                    <a:gd name="connsiteX1979" fmla="*/ 1860075 w 2328854"/>
                    <a:gd name="connsiteY1979" fmla="*/ 392643 h 2163071"/>
                    <a:gd name="connsiteX1980" fmla="*/ 1854452 w 2328854"/>
                    <a:gd name="connsiteY1980" fmla="*/ 393687 h 2163071"/>
                    <a:gd name="connsiteX1981" fmla="*/ 1854371 w 2328854"/>
                    <a:gd name="connsiteY1981" fmla="*/ 393286 h 2163071"/>
                    <a:gd name="connsiteX1982" fmla="*/ 1855014 w 2328854"/>
                    <a:gd name="connsiteY1982" fmla="*/ 392723 h 2163071"/>
                    <a:gd name="connsiteX1983" fmla="*/ 1853568 w 2328854"/>
                    <a:gd name="connsiteY1983" fmla="*/ 396660 h 2163071"/>
                    <a:gd name="connsiteX1984" fmla="*/ 1863609 w 2328854"/>
                    <a:gd name="connsiteY1984" fmla="*/ 402363 h 2163071"/>
                    <a:gd name="connsiteX1985" fmla="*/ 1879112 w 2328854"/>
                    <a:gd name="connsiteY1985" fmla="*/ 408227 h 2163071"/>
                    <a:gd name="connsiteX1986" fmla="*/ 1883852 w 2328854"/>
                    <a:gd name="connsiteY1986" fmla="*/ 408066 h 2163071"/>
                    <a:gd name="connsiteX1987" fmla="*/ 1882727 w 2328854"/>
                    <a:gd name="connsiteY1987" fmla="*/ 401399 h 2163071"/>
                    <a:gd name="connsiteX1988" fmla="*/ 284923 w 2328854"/>
                    <a:gd name="connsiteY1988" fmla="*/ 640937 h 2163071"/>
                    <a:gd name="connsiteX1989" fmla="*/ 285164 w 2328854"/>
                    <a:gd name="connsiteY1989" fmla="*/ 640857 h 2163071"/>
                    <a:gd name="connsiteX1990" fmla="*/ 289743 w 2328854"/>
                    <a:gd name="connsiteY1990" fmla="*/ 629852 h 2163071"/>
                    <a:gd name="connsiteX1991" fmla="*/ 289341 w 2328854"/>
                    <a:gd name="connsiteY1991" fmla="*/ 630173 h 2163071"/>
                    <a:gd name="connsiteX1992" fmla="*/ 284040 w 2328854"/>
                    <a:gd name="connsiteY1992" fmla="*/ 631137 h 2163071"/>
                    <a:gd name="connsiteX1993" fmla="*/ 283718 w 2328854"/>
                    <a:gd name="connsiteY1993" fmla="*/ 631539 h 2163071"/>
                    <a:gd name="connsiteX1994" fmla="*/ 282353 w 2328854"/>
                    <a:gd name="connsiteY1994" fmla="*/ 630334 h 2163071"/>
                    <a:gd name="connsiteX1995" fmla="*/ 280264 w 2328854"/>
                    <a:gd name="connsiteY1995" fmla="*/ 635153 h 2163071"/>
                    <a:gd name="connsiteX1996" fmla="*/ 282112 w 2328854"/>
                    <a:gd name="connsiteY1996" fmla="*/ 634109 h 2163071"/>
                    <a:gd name="connsiteX1997" fmla="*/ 281871 w 2328854"/>
                    <a:gd name="connsiteY1997" fmla="*/ 637885 h 2163071"/>
                    <a:gd name="connsiteX1998" fmla="*/ 281068 w 2328854"/>
                    <a:gd name="connsiteY1998" fmla="*/ 638045 h 2163071"/>
                    <a:gd name="connsiteX1999" fmla="*/ 284923 w 2328854"/>
                    <a:gd name="connsiteY1999" fmla="*/ 640937 h 2163071"/>
                    <a:gd name="connsiteX2000" fmla="*/ 1817099 w 2328854"/>
                    <a:gd name="connsiteY2000" fmla="*/ 410958 h 2163071"/>
                    <a:gd name="connsiteX2001" fmla="*/ 1810914 w 2328854"/>
                    <a:gd name="connsiteY2001" fmla="*/ 408227 h 2163071"/>
                    <a:gd name="connsiteX2002" fmla="*/ 1811235 w 2328854"/>
                    <a:gd name="connsiteY2002" fmla="*/ 408387 h 2163071"/>
                    <a:gd name="connsiteX2003" fmla="*/ 1814609 w 2328854"/>
                    <a:gd name="connsiteY2003" fmla="*/ 411360 h 2163071"/>
                    <a:gd name="connsiteX2004" fmla="*/ 1813324 w 2328854"/>
                    <a:gd name="connsiteY2004" fmla="*/ 411279 h 2163071"/>
                    <a:gd name="connsiteX2005" fmla="*/ 1814529 w 2328854"/>
                    <a:gd name="connsiteY2005" fmla="*/ 412163 h 2163071"/>
                    <a:gd name="connsiteX2006" fmla="*/ 1818545 w 2328854"/>
                    <a:gd name="connsiteY2006" fmla="*/ 413528 h 2163071"/>
                    <a:gd name="connsiteX2007" fmla="*/ 1817099 w 2328854"/>
                    <a:gd name="connsiteY2007" fmla="*/ 410958 h 2163071"/>
                    <a:gd name="connsiteX2008" fmla="*/ 1820955 w 2328854"/>
                    <a:gd name="connsiteY2008" fmla="*/ 403166 h 2163071"/>
                    <a:gd name="connsiteX2009" fmla="*/ 1818786 w 2328854"/>
                    <a:gd name="connsiteY2009" fmla="*/ 401801 h 2163071"/>
                    <a:gd name="connsiteX2010" fmla="*/ 1818866 w 2328854"/>
                    <a:gd name="connsiteY2010" fmla="*/ 401961 h 2163071"/>
                    <a:gd name="connsiteX2011" fmla="*/ 1821838 w 2328854"/>
                    <a:gd name="connsiteY2011" fmla="*/ 407504 h 2163071"/>
                    <a:gd name="connsiteX2012" fmla="*/ 1823445 w 2328854"/>
                    <a:gd name="connsiteY2012" fmla="*/ 406942 h 2163071"/>
                    <a:gd name="connsiteX2013" fmla="*/ 1823124 w 2328854"/>
                    <a:gd name="connsiteY2013" fmla="*/ 406701 h 2163071"/>
                    <a:gd name="connsiteX2014" fmla="*/ 1820955 w 2328854"/>
                    <a:gd name="connsiteY2014" fmla="*/ 403166 h 2163071"/>
                    <a:gd name="connsiteX2015" fmla="*/ 281469 w 2328854"/>
                    <a:gd name="connsiteY2015" fmla="*/ 620212 h 2163071"/>
                    <a:gd name="connsiteX2016" fmla="*/ 281710 w 2328854"/>
                    <a:gd name="connsiteY2016" fmla="*/ 619811 h 2163071"/>
                    <a:gd name="connsiteX2017" fmla="*/ 281550 w 2328854"/>
                    <a:gd name="connsiteY2017" fmla="*/ 619891 h 2163071"/>
                    <a:gd name="connsiteX2018" fmla="*/ 276730 w 2328854"/>
                    <a:gd name="connsiteY2018" fmla="*/ 623586 h 2163071"/>
                    <a:gd name="connsiteX2019" fmla="*/ 276409 w 2328854"/>
                    <a:gd name="connsiteY2019" fmla="*/ 626719 h 2163071"/>
                    <a:gd name="connsiteX2020" fmla="*/ 281469 w 2328854"/>
                    <a:gd name="connsiteY2020" fmla="*/ 620212 h 2163071"/>
                    <a:gd name="connsiteX2021" fmla="*/ 1798061 w 2328854"/>
                    <a:gd name="connsiteY2021" fmla="*/ 424614 h 2163071"/>
                    <a:gd name="connsiteX2022" fmla="*/ 1797981 w 2328854"/>
                    <a:gd name="connsiteY2022" fmla="*/ 424453 h 2163071"/>
                    <a:gd name="connsiteX2023" fmla="*/ 1795170 w 2328854"/>
                    <a:gd name="connsiteY2023" fmla="*/ 424292 h 2163071"/>
                    <a:gd name="connsiteX2024" fmla="*/ 1795571 w 2328854"/>
                    <a:gd name="connsiteY2024" fmla="*/ 424051 h 2163071"/>
                    <a:gd name="connsiteX2025" fmla="*/ 1794366 w 2328854"/>
                    <a:gd name="connsiteY2025" fmla="*/ 421883 h 2163071"/>
                    <a:gd name="connsiteX2026" fmla="*/ 1795411 w 2328854"/>
                    <a:gd name="connsiteY2026" fmla="*/ 426541 h 2163071"/>
                    <a:gd name="connsiteX2027" fmla="*/ 1793081 w 2328854"/>
                    <a:gd name="connsiteY2027" fmla="*/ 426300 h 2163071"/>
                    <a:gd name="connsiteX2028" fmla="*/ 1799748 w 2328854"/>
                    <a:gd name="connsiteY2028" fmla="*/ 430076 h 2163071"/>
                    <a:gd name="connsiteX2029" fmla="*/ 1792278 w 2328854"/>
                    <a:gd name="connsiteY2029" fmla="*/ 428229 h 2163071"/>
                    <a:gd name="connsiteX2030" fmla="*/ 1796856 w 2328854"/>
                    <a:gd name="connsiteY2030" fmla="*/ 431442 h 2163071"/>
                    <a:gd name="connsiteX2031" fmla="*/ 1798945 w 2328854"/>
                    <a:gd name="connsiteY2031" fmla="*/ 437145 h 2163071"/>
                    <a:gd name="connsiteX2032" fmla="*/ 1793724 w 2328854"/>
                    <a:gd name="connsiteY2032" fmla="*/ 433771 h 2163071"/>
                    <a:gd name="connsiteX2033" fmla="*/ 1792117 w 2328854"/>
                    <a:gd name="connsiteY2033" fmla="*/ 432727 h 2163071"/>
                    <a:gd name="connsiteX2034" fmla="*/ 1793001 w 2328854"/>
                    <a:gd name="connsiteY2034" fmla="*/ 429996 h 2163071"/>
                    <a:gd name="connsiteX2035" fmla="*/ 1794607 w 2328854"/>
                    <a:gd name="connsiteY2035" fmla="*/ 430317 h 2163071"/>
                    <a:gd name="connsiteX2036" fmla="*/ 1787297 w 2328854"/>
                    <a:gd name="connsiteY2036" fmla="*/ 427747 h 2163071"/>
                    <a:gd name="connsiteX2037" fmla="*/ 1787940 w 2328854"/>
                    <a:gd name="connsiteY2037" fmla="*/ 427586 h 2163071"/>
                    <a:gd name="connsiteX2038" fmla="*/ 1783522 w 2328854"/>
                    <a:gd name="connsiteY2038" fmla="*/ 426300 h 2163071"/>
                    <a:gd name="connsiteX2039" fmla="*/ 1783924 w 2328854"/>
                    <a:gd name="connsiteY2039" fmla="*/ 427184 h 2163071"/>
                    <a:gd name="connsiteX2040" fmla="*/ 1780389 w 2328854"/>
                    <a:gd name="connsiteY2040" fmla="*/ 425899 h 2163071"/>
                    <a:gd name="connsiteX2041" fmla="*/ 1781273 w 2328854"/>
                    <a:gd name="connsiteY2041" fmla="*/ 427586 h 2163071"/>
                    <a:gd name="connsiteX2042" fmla="*/ 1791234 w 2328854"/>
                    <a:gd name="connsiteY2042" fmla="*/ 432968 h 2163071"/>
                    <a:gd name="connsiteX2043" fmla="*/ 1794527 w 2328854"/>
                    <a:gd name="connsiteY2043" fmla="*/ 437707 h 2163071"/>
                    <a:gd name="connsiteX2044" fmla="*/ 1798061 w 2328854"/>
                    <a:gd name="connsiteY2044" fmla="*/ 444937 h 2163071"/>
                    <a:gd name="connsiteX2045" fmla="*/ 1801275 w 2328854"/>
                    <a:gd name="connsiteY2045" fmla="*/ 450238 h 2163071"/>
                    <a:gd name="connsiteX2046" fmla="*/ 1802721 w 2328854"/>
                    <a:gd name="connsiteY2046" fmla="*/ 451604 h 2163071"/>
                    <a:gd name="connsiteX2047" fmla="*/ 1801917 w 2328854"/>
                    <a:gd name="connsiteY2047" fmla="*/ 452166 h 2163071"/>
                    <a:gd name="connsiteX2048" fmla="*/ 1812601 w 2328854"/>
                    <a:gd name="connsiteY2048" fmla="*/ 460119 h 2163071"/>
                    <a:gd name="connsiteX2049" fmla="*/ 1812360 w 2328854"/>
                    <a:gd name="connsiteY2049" fmla="*/ 459396 h 2163071"/>
                    <a:gd name="connsiteX2050" fmla="*/ 1814850 w 2328854"/>
                    <a:gd name="connsiteY2050" fmla="*/ 463412 h 2163071"/>
                    <a:gd name="connsiteX2051" fmla="*/ 1815653 w 2328854"/>
                    <a:gd name="connsiteY2051" fmla="*/ 462528 h 2163071"/>
                    <a:gd name="connsiteX2052" fmla="*/ 1817581 w 2328854"/>
                    <a:gd name="connsiteY2052" fmla="*/ 463010 h 2163071"/>
                    <a:gd name="connsiteX2053" fmla="*/ 1813886 w 2328854"/>
                    <a:gd name="connsiteY2053" fmla="*/ 458833 h 2163071"/>
                    <a:gd name="connsiteX2054" fmla="*/ 1817340 w 2328854"/>
                    <a:gd name="connsiteY2054" fmla="*/ 459074 h 2163071"/>
                    <a:gd name="connsiteX2055" fmla="*/ 1821838 w 2328854"/>
                    <a:gd name="connsiteY2055" fmla="*/ 461645 h 2163071"/>
                    <a:gd name="connsiteX2056" fmla="*/ 1817019 w 2328854"/>
                    <a:gd name="connsiteY2056" fmla="*/ 453451 h 2163071"/>
                    <a:gd name="connsiteX2057" fmla="*/ 1811557 w 2328854"/>
                    <a:gd name="connsiteY2057" fmla="*/ 456102 h 2163071"/>
                    <a:gd name="connsiteX2058" fmla="*/ 1808745 w 2328854"/>
                    <a:gd name="connsiteY2058" fmla="*/ 454335 h 2163071"/>
                    <a:gd name="connsiteX2059" fmla="*/ 1808906 w 2328854"/>
                    <a:gd name="connsiteY2059" fmla="*/ 452809 h 2163071"/>
                    <a:gd name="connsiteX2060" fmla="*/ 1805532 w 2328854"/>
                    <a:gd name="connsiteY2060" fmla="*/ 449194 h 2163071"/>
                    <a:gd name="connsiteX2061" fmla="*/ 1805452 w 2328854"/>
                    <a:gd name="connsiteY2061" fmla="*/ 450319 h 2163071"/>
                    <a:gd name="connsiteX2062" fmla="*/ 1804166 w 2328854"/>
                    <a:gd name="connsiteY2062" fmla="*/ 448391 h 2163071"/>
                    <a:gd name="connsiteX2063" fmla="*/ 1800070 w 2328854"/>
                    <a:gd name="connsiteY2063" fmla="*/ 441724 h 2163071"/>
                    <a:gd name="connsiteX2064" fmla="*/ 1801756 w 2328854"/>
                    <a:gd name="connsiteY2064" fmla="*/ 442366 h 2163071"/>
                    <a:gd name="connsiteX2065" fmla="*/ 1798142 w 2328854"/>
                    <a:gd name="connsiteY2065" fmla="*/ 438350 h 2163071"/>
                    <a:gd name="connsiteX2066" fmla="*/ 1800793 w 2328854"/>
                    <a:gd name="connsiteY2066" fmla="*/ 439153 h 2163071"/>
                    <a:gd name="connsiteX2067" fmla="*/ 1799748 w 2328854"/>
                    <a:gd name="connsiteY2067" fmla="*/ 437868 h 2163071"/>
                    <a:gd name="connsiteX2068" fmla="*/ 1800632 w 2328854"/>
                    <a:gd name="connsiteY2068" fmla="*/ 437386 h 2163071"/>
                    <a:gd name="connsiteX2069" fmla="*/ 1797740 w 2328854"/>
                    <a:gd name="connsiteY2069" fmla="*/ 433771 h 2163071"/>
                    <a:gd name="connsiteX2070" fmla="*/ 1801034 w 2328854"/>
                    <a:gd name="connsiteY2070" fmla="*/ 434735 h 2163071"/>
                    <a:gd name="connsiteX2071" fmla="*/ 1802238 w 2328854"/>
                    <a:gd name="connsiteY2071" fmla="*/ 436984 h 2163071"/>
                    <a:gd name="connsiteX2072" fmla="*/ 1799427 w 2328854"/>
                    <a:gd name="connsiteY2072" fmla="*/ 430879 h 2163071"/>
                    <a:gd name="connsiteX2073" fmla="*/ 1803363 w 2328854"/>
                    <a:gd name="connsiteY2073" fmla="*/ 432004 h 2163071"/>
                    <a:gd name="connsiteX2074" fmla="*/ 1801435 w 2328854"/>
                    <a:gd name="connsiteY2074" fmla="*/ 429192 h 2163071"/>
                    <a:gd name="connsiteX2075" fmla="*/ 1797258 w 2328854"/>
                    <a:gd name="connsiteY2075" fmla="*/ 426541 h 2163071"/>
                    <a:gd name="connsiteX2076" fmla="*/ 1797579 w 2328854"/>
                    <a:gd name="connsiteY2076" fmla="*/ 425256 h 2163071"/>
                    <a:gd name="connsiteX2077" fmla="*/ 1798061 w 2328854"/>
                    <a:gd name="connsiteY2077" fmla="*/ 424614 h 2163071"/>
                    <a:gd name="connsiteX2078" fmla="*/ 1786655 w 2328854"/>
                    <a:gd name="connsiteY2078" fmla="*/ 419151 h 2163071"/>
                    <a:gd name="connsiteX2079" fmla="*/ 1786655 w 2328854"/>
                    <a:gd name="connsiteY2079" fmla="*/ 418428 h 2163071"/>
                    <a:gd name="connsiteX2080" fmla="*/ 1786575 w 2328854"/>
                    <a:gd name="connsiteY2080" fmla="*/ 418750 h 2163071"/>
                    <a:gd name="connsiteX2081" fmla="*/ 1786494 w 2328854"/>
                    <a:gd name="connsiteY2081" fmla="*/ 420115 h 2163071"/>
                    <a:gd name="connsiteX2082" fmla="*/ 1786334 w 2328854"/>
                    <a:gd name="connsiteY2082" fmla="*/ 420919 h 2163071"/>
                    <a:gd name="connsiteX2083" fmla="*/ 1784084 w 2328854"/>
                    <a:gd name="connsiteY2083" fmla="*/ 421883 h 2163071"/>
                    <a:gd name="connsiteX2084" fmla="*/ 1792599 w 2328854"/>
                    <a:gd name="connsiteY2084" fmla="*/ 425096 h 2163071"/>
                    <a:gd name="connsiteX2085" fmla="*/ 1786655 w 2328854"/>
                    <a:gd name="connsiteY2085" fmla="*/ 419151 h 2163071"/>
                    <a:gd name="connsiteX2086" fmla="*/ 1686084 w 2328854"/>
                    <a:gd name="connsiteY2086" fmla="*/ 484619 h 2163071"/>
                    <a:gd name="connsiteX2087" fmla="*/ 1681746 w 2328854"/>
                    <a:gd name="connsiteY2087" fmla="*/ 483012 h 2163071"/>
                    <a:gd name="connsiteX2088" fmla="*/ 1676445 w 2328854"/>
                    <a:gd name="connsiteY2088" fmla="*/ 484137 h 2163071"/>
                    <a:gd name="connsiteX2089" fmla="*/ 1676927 w 2328854"/>
                    <a:gd name="connsiteY2089" fmla="*/ 484297 h 2163071"/>
                    <a:gd name="connsiteX2090" fmla="*/ 1678132 w 2328854"/>
                    <a:gd name="connsiteY2090" fmla="*/ 485181 h 2163071"/>
                    <a:gd name="connsiteX2091" fmla="*/ 1676846 w 2328854"/>
                    <a:gd name="connsiteY2091" fmla="*/ 485422 h 2163071"/>
                    <a:gd name="connsiteX2092" fmla="*/ 1678774 w 2328854"/>
                    <a:gd name="connsiteY2092" fmla="*/ 486305 h 2163071"/>
                    <a:gd name="connsiteX2093" fmla="*/ 1687450 w 2328854"/>
                    <a:gd name="connsiteY2093" fmla="*/ 487511 h 2163071"/>
                    <a:gd name="connsiteX2094" fmla="*/ 1686084 w 2328854"/>
                    <a:gd name="connsiteY2094" fmla="*/ 484619 h 2163071"/>
                    <a:gd name="connsiteX2095" fmla="*/ 1826498 w 2328854"/>
                    <a:gd name="connsiteY2095" fmla="*/ 419473 h 2163071"/>
                    <a:gd name="connsiteX2096" fmla="*/ 1817822 w 2328854"/>
                    <a:gd name="connsiteY2096" fmla="*/ 416661 h 2163071"/>
                    <a:gd name="connsiteX2097" fmla="*/ 1825534 w 2328854"/>
                    <a:gd name="connsiteY2097" fmla="*/ 423810 h 2163071"/>
                    <a:gd name="connsiteX2098" fmla="*/ 1821678 w 2328854"/>
                    <a:gd name="connsiteY2098" fmla="*/ 426541 h 2163071"/>
                    <a:gd name="connsiteX2099" fmla="*/ 1817099 w 2328854"/>
                    <a:gd name="connsiteY2099" fmla="*/ 423730 h 2163071"/>
                    <a:gd name="connsiteX2100" fmla="*/ 1816697 w 2328854"/>
                    <a:gd name="connsiteY2100" fmla="*/ 427988 h 2163071"/>
                    <a:gd name="connsiteX2101" fmla="*/ 1808343 w 2328854"/>
                    <a:gd name="connsiteY2101" fmla="*/ 423810 h 2163071"/>
                    <a:gd name="connsiteX2102" fmla="*/ 1814448 w 2328854"/>
                    <a:gd name="connsiteY2102" fmla="*/ 422445 h 2163071"/>
                    <a:gd name="connsiteX2103" fmla="*/ 1813886 w 2328854"/>
                    <a:gd name="connsiteY2103" fmla="*/ 422766 h 2163071"/>
                    <a:gd name="connsiteX2104" fmla="*/ 1818545 w 2328854"/>
                    <a:gd name="connsiteY2104" fmla="*/ 422525 h 2163071"/>
                    <a:gd name="connsiteX2105" fmla="*/ 1803283 w 2328854"/>
                    <a:gd name="connsiteY2105" fmla="*/ 414573 h 2163071"/>
                    <a:gd name="connsiteX2106" fmla="*/ 1798142 w 2328854"/>
                    <a:gd name="connsiteY2106" fmla="*/ 416661 h 2163071"/>
                    <a:gd name="connsiteX2107" fmla="*/ 1800953 w 2328854"/>
                    <a:gd name="connsiteY2107" fmla="*/ 419232 h 2163071"/>
                    <a:gd name="connsiteX2108" fmla="*/ 1798543 w 2328854"/>
                    <a:gd name="connsiteY2108" fmla="*/ 418991 h 2163071"/>
                    <a:gd name="connsiteX2109" fmla="*/ 1789306 w 2328854"/>
                    <a:gd name="connsiteY2109" fmla="*/ 414894 h 2163071"/>
                    <a:gd name="connsiteX2110" fmla="*/ 1789466 w 2328854"/>
                    <a:gd name="connsiteY2110" fmla="*/ 414974 h 2163071"/>
                    <a:gd name="connsiteX2111" fmla="*/ 1795009 w 2328854"/>
                    <a:gd name="connsiteY2111" fmla="*/ 420035 h 2163071"/>
                    <a:gd name="connsiteX2112" fmla="*/ 1803283 w 2328854"/>
                    <a:gd name="connsiteY2112" fmla="*/ 423168 h 2163071"/>
                    <a:gd name="connsiteX2113" fmla="*/ 1805211 w 2328854"/>
                    <a:gd name="connsiteY2113" fmla="*/ 428309 h 2163071"/>
                    <a:gd name="connsiteX2114" fmla="*/ 1821437 w 2328854"/>
                    <a:gd name="connsiteY2114" fmla="*/ 431201 h 2163071"/>
                    <a:gd name="connsiteX2115" fmla="*/ 1828024 w 2328854"/>
                    <a:gd name="connsiteY2115" fmla="*/ 441563 h 2163071"/>
                    <a:gd name="connsiteX2116" fmla="*/ 1819991 w 2328854"/>
                    <a:gd name="connsiteY2116" fmla="*/ 439153 h 2163071"/>
                    <a:gd name="connsiteX2117" fmla="*/ 1822079 w 2328854"/>
                    <a:gd name="connsiteY2117" fmla="*/ 442848 h 2163071"/>
                    <a:gd name="connsiteX2118" fmla="*/ 1822963 w 2328854"/>
                    <a:gd name="connsiteY2118" fmla="*/ 444455 h 2163071"/>
                    <a:gd name="connsiteX2119" fmla="*/ 1822722 w 2328854"/>
                    <a:gd name="connsiteY2119" fmla="*/ 444615 h 2163071"/>
                    <a:gd name="connsiteX2120" fmla="*/ 1819589 w 2328854"/>
                    <a:gd name="connsiteY2120" fmla="*/ 442446 h 2163071"/>
                    <a:gd name="connsiteX2121" fmla="*/ 1825373 w 2328854"/>
                    <a:gd name="connsiteY2121" fmla="*/ 448873 h 2163071"/>
                    <a:gd name="connsiteX2122" fmla="*/ 1827461 w 2328854"/>
                    <a:gd name="connsiteY2122" fmla="*/ 449194 h 2163071"/>
                    <a:gd name="connsiteX2123" fmla="*/ 1834691 w 2328854"/>
                    <a:gd name="connsiteY2123" fmla="*/ 440599 h 2163071"/>
                    <a:gd name="connsiteX2124" fmla="*/ 1832763 w 2328854"/>
                    <a:gd name="connsiteY2124" fmla="*/ 442205 h 2163071"/>
                    <a:gd name="connsiteX2125" fmla="*/ 1832844 w 2328854"/>
                    <a:gd name="connsiteY2125" fmla="*/ 438510 h 2163071"/>
                    <a:gd name="connsiteX2126" fmla="*/ 1831719 w 2328854"/>
                    <a:gd name="connsiteY2126" fmla="*/ 436261 h 2163071"/>
                    <a:gd name="connsiteX2127" fmla="*/ 1830032 w 2328854"/>
                    <a:gd name="connsiteY2127" fmla="*/ 436824 h 2163071"/>
                    <a:gd name="connsiteX2128" fmla="*/ 1834129 w 2328854"/>
                    <a:gd name="connsiteY2128" fmla="*/ 434815 h 2163071"/>
                    <a:gd name="connsiteX2129" fmla="*/ 1833325 w 2328854"/>
                    <a:gd name="connsiteY2129" fmla="*/ 426220 h 2163071"/>
                    <a:gd name="connsiteX2130" fmla="*/ 1830755 w 2328854"/>
                    <a:gd name="connsiteY2130" fmla="*/ 425096 h 2163071"/>
                    <a:gd name="connsiteX2131" fmla="*/ 1830594 w 2328854"/>
                    <a:gd name="connsiteY2131" fmla="*/ 425337 h 2163071"/>
                    <a:gd name="connsiteX2132" fmla="*/ 1826498 w 2328854"/>
                    <a:gd name="connsiteY2132" fmla="*/ 419473 h 2163071"/>
                    <a:gd name="connsiteX2133" fmla="*/ 1832763 w 2328854"/>
                    <a:gd name="connsiteY2133" fmla="*/ 380835 h 2163071"/>
                    <a:gd name="connsiteX2134" fmla="*/ 1826819 w 2328854"/>
                    <a:gd name="connsiteY2134" fmla="*/ 382602 h 2163071"/>
                    <a:gd name="connsiteX2135" fmla="*/ 1827140 w 2328854"/>
                    <a:gd name="connsiteY2135" fmla="*/ 382843 h 2163071"/>
                    <a:gd name="connsiteX2136" fmla="*/ 1829711 w 2328854"/>
                    <a:gd name="connsiteY2136" fmla="*/ 384610 h 2163071"/>
                    <a:gd name="connsiteX2137" fmla="*/ 1832763 w 2328854"/>
                    <a:gd name="connsiteY2137" fmla="*/ 380835 h 2163071"/>
                    <a:gd name="connsiteX2138" fmla="*/ 272472 w 2328854"/>
                    <a:gd name="connsiteY2138" fmla="*/ 613786 h 2163071"/>
                    <a:gd name="connsiteX2139" fmla="*/ 276810 w 2328854"/>
                    <a:gd name="connsiteY2139" fmla="*/ 606878 h 2163071"/>
                    <a:gd name="connsiteX2140" fmla="*/ 276409 w 2328854"/>
                    <a:gd name="connsiteY2140" fmla="*/ 607199 h 2163071"/>
                    <a:gd name="connsiteX2141" fmla="*/ 274159 w 2328854"/>
                    <a:gd name="connsiteY2141" fmla="*/ 606396 h 2163071"/>
                    <a:gd name="connsiteX2142" fmla="*/ 264681 w 2328854"/>
                    <a:gd name="connsiteY2142" fmla="*/ 610091 h 2163071"/>
                    <a:gd name="connsiteX2143" fmla="*/ 261468 w 2328854"/>
                    <a:gd name="connsiteY2143" fmla="*/ 622783 h 2163071"/>
                    <a:gd name="connsiteX2144" fmla="*/ 265805 w 2328854"/>
                    <a:gd name="connsiteY2144" fmla="*/ 617803 h 2163071"/>
                    <a:gd name="connsiteX2145" fmla="*/ 272472 w 2328854"/>
                    <a:gd name="connsiteY2145" fmla="*/ 613786 h 2163071"/>
                    <a:gd name="connsiteX2146" fmla="*/ 1819027 w 2328854"/>
                    <a:gd name="connsiteY2146" fmla="*/ 407986 h 2163071"/>
                    <a:gd name="connsiteX2147" fmla="*/ 1810030 w 2328854"/>
                    <a:gd name="connsiteY2147" fmla="*/ 401961 h 2163071"/>
                    <a:gd name="connsiteX2148" fmla="*/ 1809629 w 2328854"/>
                    <a:gd name="connsiteY2148" fmla="*/ 402122 h 2163071"/>
                    <a:gd name="connsiteX2149" fmla="*/ 1798463 w 2328854"/>
                    <a:gd name="connsiteY2149" fmla="*/ 401640 h 2163071"/>
                    <a:gd name="connsiteX2150" fmla="*/ 1799186 w 2328854"/>
                    <a:gd name="connsiteY2150" fmla="*/ 401881 h 2163071"/>
                    <a:gd name="connsiteX2151" fmla="*/ 1819991 w 2328854"/>
                    <a:gd name="connsiteY2151" fmla="*/ 410235 h 2163071"/>
                    <a:gd name="connsiteX2152" fmla="*/ 1821116 w 2328854"/>
                    <a:gd name="connsiteY2152" fmla="*/ 410396 h 2163071"/>
                    <a:gd name="connsiteX2153" fmla="*/ 1819027 w 2328854"/>
                    <a:gd name="connsiteY2153" fmla="*/ 407986 h 2163071"/>
                    <a:gd name="connsiteX2154" fmla="*/ 1785691 w 2328854"/>
                    <a:gd name="connsiteY2154" fmla="*/ 413609 h 2163071"/>
                    <a:gd name="connsiteX2155" fmla="*/ 1785691 w 2328854"/>
                    <a:gd name="connsiteY2155" fmla="*/ 413609 h 2163071"/>
                    <a:gd name="connsiteX2156" fmla="*/ 1783120 w 2328854"/>
                    <a:gd name="connsiteY2156" fmla="*/ 412886 h 2163071"/>
                    <a:gd name="connsiteX2157" fmla="*/ 1785530 w 2328854"/>
                    <a:gd name="connsiteY2157" fmla="*/ 413689 h 2163071"/>
                    <a:gd name="connsiteX2158" fmla="*/ 1785691 w 2328854"/>
                    <a:gd name="connsiteY2158" fmla="*/ 413609 h 2163071"/>
                    <a:gd name="connsiteX2159" fmla="*/ 1667609 w 2328854"/>
                    <a:gd name="connsiteY2159" fmla="*/ 485663 h 2163071"/>
                    <a:gd name="connsiteX2160" fmla="*/ 1667529 w 2328854"/>
                    <a:gd name="connsiteY2160" fmla="*/ 485101 h 2163071"/>
                    <a:gd name="connsiteX2161" fmla="*/ 1663030 w 2328854"/>
                    <a:gd name="connsiteY2161" fmla="*/ 480924 h 2163071"/>
                    <a:gd name="connsiteX2162" fmla="*/ 1660620 w 2328854"/>
                    <a:gd name="connsiteY2162" fmla="*/ 481325 h 2163071"/>
                    <a:gd name="connsiteX2163" fmla="*/ 1659415 w 2328854"/>
                    <a:gd name="connsiteY2163" fmla="*/ 482932 h 2163071"/>
                    <a:gd name="connsiteX2164" fmla="*/ 1667609 w 2328854"/>
                    <a:gd name="connsiteY2164" fmla="*/ 485663 h 2163071"/>
                    <a:gd name="connsiteX2165" fmla="*/ 1837422 w 2328854"/>
                    <a:gd name="connsiteY2165" fmla="*/ 371919 h 2163071"/>
                    <a:gd name="connsiteX2166" fmla="*/ 1827622 w 2328854"/>
                    <a:gd name="connsiteY2166" fmla="*/ 370071 h 2163071"/>
                    <a:gd name="connsiteX2167" fmla="*/ 1827301 w 2328854"/>
                    <a:gd name="connsiteY2167" fmla="*/ 369509 h 2163071"/>
                    <a:gd name="connsiteX2168" fmla="*/ 1824811 w 2328854"/>
                    <a:gd name="connsiteY2168" fmla="*/ 369750 h 2163071"/>
                    <a:gd name="connsiteX2169" fmla="*/ 1828425 w 2328854"/>
                    <a:gd name="connsiteY2169" fmla="*/ 374569 h 2163071"/>
                    <a:gd name="connsiteX2170" fmla="*/ 1845214 w 2328854"/>
                    <a:gd name="connsiteY2170" fmla="*/ 382441 h 2163071"/>
                    <a:gd name="connsiteX2171" fmla="*/ 1834852 w 2328854"/>
                    <a:gd name="connsiteY2171" fmla="*/ 373686 h 2163071"/>
                    <a:gd name="connsiteX2172" fmla="*/ 1837422 w 2328854"/>
                    <a:gd name="connsiteY2172" fmla="*/ 371919 h 2163071"/>
                    <a:gd name="connsiteX2173" fmla="*/ 1807379 w 2328854"/>
                    <a:gd name="connsiteY2173" fmla="*/ 387502 h 2163071"/>
                    <a:gd name="connsiteX2174" fmla="*/ 1802640 w 2328854"/>
                    <a:gd name="connsiteY2174" fmla="*/ 387101 h 2163071"/>
                    <a:gd name="connsiteX2175" fmla="*/ 1802961 w 2328854"/>
                    <a:gd name="connsiteY2175" fmla="*/ 387342 h 2163071"/>
                    <a:gd name="connsiteX2176" fmla="*/ 1804086 w 2328854"/>
                    <a:gd name="connsiteY2176" fmla="*/ 389109 h 2163071"/>
                    <a:gd name="connsiteX2177" fmla="*/ 1810593 w 2328854"/>
                    <a:gd name="connsiteY2177" fmla="*/ 390555 h 2163071"/>
                    <a:gd name="connsiteX2178" fmla="*/ 1807701 w 2328854"/>
                    <a:gd name="connsiteY2178" fmla="*/ 388466 h 2163071"/>
                    <a:gd name="connsiteX2179" fmla="*/ 1807379 w 2328854"/>
                    <a:gd name="connsiteY2179" fmla="*/ 387502 h 2163071"/>
                    <a:gd name="connsiteX2180" fmla="*/ 325168 w 2328854"/>
                    <a:gd name="connsiteY2180" fmla="*/ 616035 h 2163071"/>
                    <a:gd name="connsiteX2181" fmla="*/ 317376 w 2328854"/>
                    <a:gd name="connsiteY2181" fmla="*/ 605673 h 2163071"/>
                    <a:gd name="connsiteX2182" fmla="*/ 317697 w 2328854"/>
                    <a:gd name="connsiteY2182" fmla="*/ 606155 h 2163071"/>
                    <a:gd name="connsiteX2183" fmla="*/ 325168 w 2328854"/>
                    <a:gd name="connsiteY2183" fmla="*/ 616035 h 2163071"/>
                    <a:gd name="connsiteX2184" fmla="*/ 251587 w 2328854"/>
                    <a:gd name="connsiteY2184" fmla="*/ 574666 h 2163071"/>
                    <a:gd name="connsiteX2185" fmla="*/ 250543 w 2328854"/>
                    <a:gd name="connsiteY2185" fmla="*/ 567678 h 2163071"/>
                    <a:gd name="connsiteX2186" fmla="*/ 252953 w 2328854"/>
                    <a:gd name="connsiteY2186" fmla="*/ 563019 h 2163071"/>
                    <a:gd name="connsiteX2187" fmla="*/ 251507 w 2328854"/>
                    <a:gd name="connsiteY2187" fmla="*/ 563420 h 2163071"/>
                    <a:gd name="connsiteX2188" fmla="*/ 253595 w 2328854"/>
                    <a:gd name="connsiteY2188" fmla="*/ 560207 h 2163071"/>
                    <a:gd name="connsiteX2189" fmla="*/ 252310 w 2328854"/>
                    <a:gd name="connsiteY2189" fmla="*/ 561573 h 2163071"/>
                    <a:gd name="connsiteX2190" fmla="*/ 243635 w 2328854"/>
                    <a:gd name="connsiteY2190" fmla="*/ 563099 h 2163071"/>
                    <a:gd name="connsiteX2191" fmla="*/ 249017 w 2328854"/>
                    <a:gd name="connsiteY2191" fmla="*/ 571694 h 2163071"/>
                    <a:gd name="connsiteX2192" fmla="*/ 251587 w 2328854"/>
                    <a:gd name="connsiteY2192" fmla="*/ 574666 h 2163071"/>
                    <a:gd name="connsiteX2193" fmla="*/ 1779666 w 2328854"/>
                    <a:gd name="connsiteY2193" fmla="*/ 396660 h 2163071"/>
                    <a:gd name="connsiteX2194" fmla="*/ 1776614 w 2328854"/>
                    <a:gd name="connsiteY2194" fmla="*/ 395214 h 2163071"/>
                    <a:gd name="connsiteX2195" fmla="*/ 1775168 w 2328854"/>
                    <a:gd name="connsiteY2195" fmla="*/ 393928 h 2163071"/>
                    <a:gd name="connsiteX2196" fmla="*/ 1765770 w 2328854"/>
                    <a:gd name="connsiteY2196" fmla="*/ 398106 h 2163071"/>
                    <a:gd name="connsiteX2197" fmla="*/ 1766814 w 2328854"/>
                    <a:gd name="connsiteY2197" fmla="*/ 398989 h 2163071"/>
                    <a:gd name="connsiteX2198" fmla="*/ 1775570 w 2328854"/>
                    <a:gd name="connsiteY2198" fmla="*/ 401801 h 2163071"/>
                    <a:gd name="connsiteX2199" fmla="*/ 1779747 w 2328854"/>
                    <a:gd name="connsiteY2199" fmla="*/ 396981 h 2163071"/>
                    <a:gd name="connsiteX2200" fmla="*/ 1779666 w 2328854"/>
                    <a:gd name="connsiteY2200" fmla="*/ 396660 h 2163071"/>
                    <a:gd name="connsiteX2201" fmla="*/ 1799909 w 2328854"/>
                    <a:gd name="connsiteY2201" fmla="*/ 372320 h 2163071"/>
                    <a:gd name="connsiteX2202" fmla="*/ 1795973 w 2328854"/>
                    <a:gd name="connsiteY2202" fmla="*/ 371517 h 2163071"/>
                    <a:gd name="connsiteX2203" fmla="*/ 1796776 w 2328854"/>
                    <a:gd name="connsiteY2203" fmla="*/ 371999 h 2163071"/>
                    <a:gd name="connsiteX2204" fmla="*/ 1794768 w 2328854"/>
                    <a:gd name="connsiteY2204" fmla="*/ 374489 h 2163071"/>
                    <a:gd name="connsiteX2205" fmla="*/ 1795330 w 2328854"/>
                    <a:gd name="connsiteY2205" fmla="*/ 375212 h 2163071"/>
                    <a:gd name="connsiteX2206" fmla="*/ 1800471 w 2328854"/>
                    <a:gd name="connsiteY2206" fmla="*/ 372882 h 2163071"/>
                    <a:gd name="connsiteX2207" fmla="*/ 1799909 w 2328854"/>
                    <a:gd name="connsiteY2207" fmla="*/ 372320 h 2163071"/>
                    <a:gd name="connsiteX2208" fmla="*/ 1684558 w 2328854"/>
                    <a:gd name="connsiteY2208" fmla="*/ 466866 h 2163071"/>
                    <a:gd name="connsiteX2209" fmla="*/ 1687289 w 2328854"/>
                    <a:gd name="connsiteY2209" fmla="*/ 466947 h 2163071"/>
                    <a:gd name="connsiteX2210" fmla="*/ 1651784 w 2328854"/>
                    <a:gd name="connsiteY2210" fmla="*/ 461243 h 2163071"/>
                    <a:gd name="connsiteX2211" fmla="*/ 1653712 w 2328854"/>
                    <a:gd name="connsiteY2211" fmla="*/ 461083 h 2163071"/>
                    <a:gd name="connsiteX2212" fmla="*/ 1680220 w 2328854"/>
                    <a:gd name="connsiteY2212" fmla="*/ 465983 h 2163071"/>
                    <a:gd name="connsiteX2213" fmla="*/ 1678292 w 2328854"/>
                    <a:gd name="connsiteY2213" fmla="*/ 465983 h 2163071"/>
                    <a:gd name="connsiteX2214" fmla="*/ 1679176 w 2328854"/>
                    <a:gd name="connsiteY2214" fmla="*/ 466223 h 2163071"/>
                    <a:gd name="connsiteX2215" fmla="*/ 1684397 w 2328854"/>
                    <a:gd name="connsiteY2215" fmla="*/ 468152 h 2163071"/>
                    <a:gd name="connsiteX2216" fmla="*/ 1684558 w 2328854"/>
                    <a:gd name="connsiteY2216" fmla="*/ 466866 h 2163071"/>
                    <a:gd name="connsiteX2217" fmla="*/ 258897 w 2328854"/>
                    <a:gd name="connsiteY2217" fmla="*/ 555548 h 2163071"/>
                    <a:gd name="connsiteX2218" fmla="*/ 258977 w 2328854"/>
                    <a:gd name="connsiteY2218" fmla="*/ 555388 h 2163071"/>
                    <a:gd name="connsiteX2219" fmla="*/ 258817 w 2328854"/>
                    <a:gd name="connsiteY2219" fmla="*/ 555388 h 2163071"/>
                    <a:gd name="connsiteX2220" fmla="*/ 255604 w 2328854"/>
                    <a:gd name="connsiteY2220" fmla="*/ 556673 h 2163071"/>
                    <a:gd name="connsiteX2221" fmla="*/ 258897 w 2328854"/>
                    <a:gd name="connsiteY2221" fmla="*/ 555548 h 2163071"/>
                    <a:gd name="connsiteX2222" fmla="*/ 254479 w 2328854"/>
                    <a:gd name="connsiteY2222" fmla="*/ 555709 h 2163071"/>
                    <a:gd name="connsiteX2223" fmla="*/ 254399 w 2328854"/>
                    <a:gd name="connsiteY2223" fmla="*/ 555870 h 2163071"/>
                    <a:gd name="connsiteX2224" fmla="*/ 256246 w 2328854"/>
                    <a:gd name="connsiteY2224" fmla="*/ 551211 h 2163071"/>
                    <a:gd name="connsiteX2225" fmla="*/ 255041 w 2328854"/>
                    <a:gd name="connsiteY2225" fmla="*/ 552496 h 2163071"/>
                    <a:gd name="connsiteX2226" fmla="*/ 253997 w 2328854"/>
                    <a:gd name="connsiteY2226" fmla="*/ 553942 h 2163071"/>
                    <a:gd name="connsiteX2227" fmla="*/ 254479 w 2328854"/>
                    <a:gd name="connsiteY2227" fmla="*/ 555709 h 2163071"/>
                    <a:gd name="connsiteX2228" fmla="*/ 254077 w 2328854"/>
                    <a:gd name="connsiteY2228" fmla="*/ 552737 h 2163071"/>
                    <a:gd name="connsiteX2229" fmla="*/ 255363 w 2328854"/>
                    <a:gd name="connsiteY2229" fmla="*/ 549925 h 2163071"/>
                    <a:gd name="connsiteX2230" fmla="*/ 255282 w 2328854"/>
                    <a:gd name="connsiteY2230" fmla="*/ 550086 h 2163071"/>
                    <a:gd name="connsiteX2231" fmla="*/ 252471 w 2328854"/>
                    <a:gd name="connsiteY2231" fmla="*/ 554424 h 2163071"/>
                    <a:gd name="connsiteX2232" fmla="*/ 254077 w 2328854"/>
                    <a:gd name="connsiteY2232" fmla="*/ 552737 h 2163071"/>
                    <a:gd name="connsiteX2233" fmla="*/ 260423 w 2328854"/>
                    <a:gd name="connsiteY2233" fmla="*/ 555388 h 2163071"/>
                    <a:gd name="connsiteX2234" fmla="*/ 260343 w 2328854"/>
                    <a:gd name="connsiteY2234" fmla="*/ 554906 h 2163071"/>
                    <a:gd name="connsiteX2235" fmla="*/ 260182 w 2328854"/>
                    <a:gd name="connsiteY2235" fmla="*/ 554825 h 2163071"/>
                    <a:gd name="connsiteX2236" fmla="*/ 259620 w 2328854"/>
                    <a:gd name="connsiteY2236" fmla="*/ 555789 h 2163071"/>
                    <a:gd name="connsiteX2237" fmla="*/ 260423 w 2328854"/>
                    <a:gd name="connsiteY2237" fmla="*/ 555388 h 2163071"/>
                    <a:gd name="connsiteX2238" fmla="*/ 1650017 w 2328854"/>
                    <a:gd name="connsiteY2238" fmla="*/ 460601 h 2163071"/>
                    <a:gd name="connsiteX2239" fmla="*/ 1650097 w 2328854"/>
                    <a:gd name="connsiteY2239" fmla="*/ 460520 h 2163071"/>
                    <a:gd name="connsiteX2240" fmla="*/ 1646081 w 2328854"/>
                    <a:gd name="connsiteY2240" fmla="*/ 459797 h 2163071"/>
                    <a:gd name="connsiteX2241" fmla="*/ 1645760 w 2328854"/>
                    <a:gd name="connsiteY2241" fmla="*/ 461324 h 2163071"/>
                    <a:gd name="connsiteX2242" fmla="*/ 1645760 w 2328854"/>
                    <a:gd name="connsiteY2242" fmla="*/ 462769 h 2163071"/>
                    <a:gd name="connsiteX2243" fmla="*/ 1650017 w 2328854"/>
                    <a:gd name="connsiteY2243" fmla="*/ 460601 h 2163071"/>
                    <a:gd name="connsiteX2244" fmla="*/ 245241 w 2328854"/>
                    <a:gd name="connsiteY2244" fmla="*/ 541571 h 2163071"/>
                    <a:gd name="connsiteX2245" fmla="*/ 246446 w 2328854"/>
                    <a:gd name="connsiteY2245" fmla="*/ 540607 h 2163071"/>
                    <a:gd name="connsiteX2246" fmla="*/ 248374 w 2328854"/>
                    <a:gd name="connsiteY2246" fmla="*/ 534583 h 2163071"/>
                    <a:gd name="connsiteX2247" fmla="*/ 248294 w 2328854"/>
                    <a:gd name="connsiteY2247" fmla="*/ 534824 h 2163071"/>
                    <a:gd name="connsiteX2248" fmla="*/ 245241 w 2328854"/>
                    <a:gd name="connsiteY2248" fmla="*/ 541571 h 2163071"/>
                    <a:gd name="connsiteX2249" fmla="*/ 553620 w 2328854"/>
                    <a:gd name="connsiteY2249" fmla="*/ 647363 h 2163071"/>
                    <a:gd name="connsiteX2250" fmla="*/ 553620 w 2328854"/>
                    <a:gd name="connsiteY2250" fmla="*/ 647363 h 2163071"/>
                    <a:gd name="connsiteX2251" fmla="*/ 553620 w 2328854"/>
                    <a:gd name="connsiteY2251" fmla="*/ 647363 h 2163071"/>
                    <a:gd name="connsiteX2252" fmla="*/ 552898 w 2328854"/>
                    <a:gd name="connsiteY2252" fmla="*/ 647363 h 2163071"/>
                    <a:gd name="connsiteX2253" fmla="*/ 552898 w 2328854"/>
                    <a:gd name="connsiteY2253" fmla="*/ 647363 h 2163071"/>
                    <a:gd name="connsiteX2254" fmla="*/ 552898 w 2328854"/>
                    <a:gd name="connsiteY2254" fmla="*/ 647363 h 2163071"/>
                    <a:gd name="connsiteX2255" fmla="*/ 552898 w 2328854"/>
                    <a:gd name="connsiteY2255" fmla="*/ 647363 h 2163071"/>
                    <a:gd name="connsiteX2256" fmla="*/ 552898 w 2328854"/>
                    <a:gd name="connsiteY2256" fmla="*/ 647363 h 2163071"/>
                    <a:gd name="connsiteX2257" fmla="*/ 552898 w 2328854"/>
                    <a:gd name="connsiteY2257" fmla="*/ 647363 h 2163071"/>
                    <a:gd name="connsiteX2258" fmla="*/ 552898 w 2328854"/>
                    <a:gd name="connsiteY2258" fmla="*/ 647363 h 2163071"/>
                    <a:gd name="connsiteX2259" fmla="*/ 552898 w 2328854"/>
                    <a:gd name="connsiteY2259" fmla="*/ 647363 h 2163071"/>
                    <a:gd name="connsiteX2260" fmla="*/ 552898 w 2328854"/>
                    <a:gd name="connsiteY2260" fmla="*/ 647363 h 2163071"/>
                    <a:gd name="connsiteX2261" fmla="*/ 553138 w 2328854"/>
                    <a:gd name="connsiteY2261" fmla="*/ 647926 h 2163071"/>
                    <a:gd name="connsiteX2262" fmla="*/ 553620 w 2328854"/>
                    <a:gd name="connsiteY2262" fmla="*/ 647363 h 2163071"/>
                    <a:gd name="connsiteX2263" fmla="*/ 1780711 w 2328854"/>
                    <a:gd name="connsiteY2263" fmla="*/ 369669 h 2163071"/>
                    <a:gd name="connsiteX2264" fmla="*/ 1780711 w 2328854"/>
                    <a:gd name="connsiteY2264" fmla="*/ 369669 h 2163071"/>
                    <a:gd name="connsiteX2265" fmla="*/ 1780711 w 2328854"/>
                    <a:gd name="connsiteY2265" fmla="*/ 369669 h 2163071"/>
                    <a:gd name="connsiteX2266" fmla="*/ 1781032 w 2328854"/>
                    <a:gd name="connsiteY2266" fmla="*/ 371437 h 2163071"/>
                    <a:gd name="connsiteX2267" fmla="*/ 1780711 w 2328854"/>
                    <a:gd name="connsiteY2267" fmla="*/ 369669 h 2163071"/>
                    <a:gd name="connsiteX2268" fmla="*/ 333281 w 2328854"/>
                    <a:gd name="connsiteY2268" fmla="*/ 593463 h 2163071"/>
                    <a:gd name="connsiteX2269" fmla="*/ 333843 w 2328854"/>
                    <a:gd name="connsiteY2269" fmla="*/ 592901 h 2163071"/>
                    <a:gd name="connsiteX2270" fmla="*/ 332237 w 2328854"/>
                    <a:gd name="connsiteY2270" fmla="*/ 591937 h 2163071"/>
                    <a:gd name="connsiteX2271" fmla="*/ 327899 w 2328854"/>
                    <a:gd name="connsiteY2271" fmla="*/ 591857 h 2163071"/>
                    <a:gd name="connsiteX2272" fmla="*/ 326694 w 2328854"/>
                    <a:gd name="connsiteY2272" fmla="*/ 593865 h 2163071"/>
                    <a:gd name="connsiteX2273" fmla="*/ 327176 w 2328854"/>
                    <a:gd name="connsiteY2273" fmla="*/ 596034 h 2163071"/>
                    <a:gd name="connsiteX2274" fmla="*/ 333281 w 2328854"/>
                    <a:gd name="connsiteY2274" fmla="*/ 593463 h 2163071"/>
                    <a:gd name="connsiteX2275" fmla="*/ 237530 w 2328854"/>
                    <a:gd name="connsiteY2275" fmla="*/ 507271 h 2163071"/>
                    <a:gd name="connsiteX2276" fmla="*/ 239458 w 2328854"/>
                    <a:gd name="connsiteY2276" fmla="*/ 502211 h 2163071"/>
                    <a:gd name="connsiteX2277" fmla="*/ 235763 w 2328854"/>
                    <a:gd name="connsiteY2277" fmla="*/ 509360 h 2163071"/>
                    <a:gd name="connsiteX2278" fmla="*/ 237530 w 2328854"/>
                    <a:gd name="connsiteY2278" fmla="*/ 507271 h 2163071"/>
                    <a:gd name="connsiteX2279" fmla="*/ 1790029 w 2328854"/>
                    <a:gd name="connsiteY2279" fmla="*/ 365171 h 2163071"/>
                    <a:gd name="connsiteX2280" fmla="*/ 1790832 w 2328854"/>
                    <a:gd name="connsiteY2280" fmla="*/ 365412 h 2163071"/>
                    <a:gd name="connsiteX2281" fmla="*/ 1777176 w 2328854"/>
                    <a:gd name="connsiteY2281" fmla="*/ 366054 h 2163071"/>
                    <a:gd name="connsiteX2282" fmla="*/ 1775489 w 2328854"/>
                    <a:gd name="connsiteY2282" fmla="*/ 368545 h 2163071"/>
                    <a:gd name="connsiteX2283" fmla="*/ 1780630 w 2328854"/>
                    <a:gd name="connsiteY2283" fmla="*/ 369348 h 2163071"/>
                    <a:gd name="connsiteX2284" fmla="*/ 1790029 w 2328854"/>
                    <a:gd name="connsiteY2284" fmla="*/ 365171 h 2163071"/>
                    <a:gd name="connsiteX2285" fmla="*/ 566875 w 2328854"/>
                    <a:gd name="connsiteY2285" fmla="*/ 656360 h 2163071"/>
                    <a:gd name="connsiteX2286" fmla="*/ 567437 w 2328854"/>
                    <a:gd name="connsiteY2286" fmla="*/ 656440 h 2163071"/>
                    <a:gd name="connsiteX2287" fmla="*/ 566955 w 2328854"/>
                    <a:gd name="connsiteY2287" fmla="*/ 654834 h 2163071"/>
                    <a:gd name="connsiteX2288" fmla="*/ 559163 w 2328854"/>
                    <a:gd name="connsiteY2288" fmla="*/ 635635 h 2163071"/>
                    <a:gd name="connsiteX2289" fmla="*/ 559243 w 2328854"/>
                    <a:gd name="connsiteY2289" fmla="*/ 636599 h 2163071"/>
                    <a:gd name="connsiteX2290" fmla="*/ 554102 w 2328854"/>
                    <a:gd name="connsiteY2290" fmla="*/ 648488 h 2163071"/>
                    <a:gd name="connsiteX2291" fmla="*/ 554343 w 2328854"/>
                    <a:gd name="connsiteY2291" fmla="*/ 649371 h 2163071"/>
                    <a:gd name="connsiteX2292" fmla="*/ 554022 w 2328854"/>
                    <a:gd name="connsiteY2292" fmla="*/ 649371 h 2163071"/>
                    <a:gd name="connsiteX2293" fmla="*/ 566875 w 2328854"/>
                    <a:gd name="connsiteY2293" fmla="*/ 656360 h 2163071"/>
                    <a:gd name="connsiteX2294" fmla="*/ 253595 w 2328854"/>
                    <a:gd name="connsiteY2294" fmla="*/ 528719 h 2163071"/>
                    <a:gd name="connsiteX2295" fmla="*/ 254077 w 2328854"/>
                    <a:gd name="connsiteY2295" fmla="*/ 528317 h 2163071"/>
                    <a:gd name="connsiteX2296" fmla="*/ 254318 w 2328854"/>
                    <a:gd name="connsiteY2296" fmla="*/ 521409 h 2163071"/>
                    <a:gd name="connsiteX2297" fmla="*/ 254961 w 2328854"/>
                    <a:gd name="connsiteY2297" fmla="*/ 512091 h 2163071"/>
                    <a:gd name="connsiteX2298" fmla="*/ 256005 w 2328854"/>
                    <a:gd name="connsiteY2298" fmla="*/ 510806 h 2163071"/>
                    <a:gd name="connsiteX2299" fmla="*/ 255845 w 2328854"/>
                    <a:gd name="connsiteY2299" fmla="*/ 510565 h 2163071"/>
                    <a:gd name="connsiteX2300" fmla="*/ 254158 w 2328854"/>
                    <a:gd name="connsiteY2300" fmla="*/ 512492 h 2163071"/>
                    <a:gd name="connsiteX2301" fmla="*/ 252631 w 2328854"/>
                    <a:gd name="connsiteY2301" fmla="*/ 514099 h 2163071"/>
                    <a:gd name="connsiteX2302" fmla="*/ 253194 w 2328854"/>
                    <a:gd name="connsiteY2302" fmla="*/ 529040 h 2163071"/>
                    <a:gd name="connsiteX2303" fmla="*/ 253595 w 2328854"/>
                    <a:gd name="connsiteY2303" fmla="*/ 528719 h 2163071"/>
                    <a:gd name="connsiteX2304" fmla="*/ 1783683 w 2328854"/>
                    <a:gd name="connsiteY2304" fmla="*/ 352961 h 2163071"/>
                    <a:gd name="connsiteX2305" fmla="*/ 1784245 w 2328854"/>
                    <a:gd name="connsiteY2305" fmla="*/ 352881 h 2163071"/>
                    <a:gd name="connsiteX2306" fmla="*/ 1768581 w 2328854"/>
                    <a:gd name="connsiteY2306" fmla="*/ 349989 h 2163071"/>
                    <a:gd name="connsiteX2307" fmla="*/ 1768983 w 2328854"/>
                    <a:gd name="connsiteY2307" fmla="*/ 350230 h 2163071"/>
                    <a:gd name="connsiteX2308" fmla="*/ 1783683 w 2328854"/>
                    <a:gd name="connsiteY2308" fmla="*/ 352961 h 2163071"/>
                    <a:gd name="connsiteX2309" fmla="*/ 1776373 w 2328854"/>
                    <a:gd name="connsiteY2309" fmla="*/ 344446 h 2163071"/>
                    <a:gd name="connsiteX2310" fmla="*/ 1771152 w 2328854"/>
                    <a:gd name="connsiteY2310" fmla="*/ 340832 h 2163071"/>
                    <a:gd name="connsiteX2311" fmla="*/ 1771152 w 2328854"/>
                    <a:gd name="connsiteY2311" fmla="*/ 340912 h 2163071"/>
                    <a:gd name="connsiteX2312" fmla="*/ 1772115 w 2328854"/>
                    <a:gd name="connsiteY2312" fmla="*/ 342679 h 2163071"/>
                    <a:gd name="connsiteX2313" fmla="*/ 1773561 w 2328854"/>
                    <a:gd name="connsiteY2313" fmla="*/ 343241 h 2163071"/>
                    <a:gd name="connsiteX2314" fmla="*/ 1773722 w 2328854"/>
                    <a:gd name="connsiteY2314" fmla="*/ 343241 h 2163071"/>
                    <a:gd name="connsiteX2315" fmla="*/ 1776132 w 2328854"/>
                    <a:gd name="connsiteY2315" fmla="*/ 344446 h 2163071"/>
                    <a:gd name="connsiteX2316" fmla="*/ 1776694 w 2328854"/>
                    <a:gd name="connsiteY2316" fmla="*/ 344687 h 2163071"/>
                    <a:gd name="connsiteX2317" fmla="*/ 1776694 w 2328854"/>
                    <a:gd name="connsiteY2317" fmla="*/ 344687 h 2163071"/>
                    <a:gd name="connsiteX2318" fmla="*/ 1776373 w 2328854"/>
                    <a:gd name="connsiteY2318" fmla="*/ 344446 h 2163071"/>
                    <a:gd name="connsiteX2319" fmla="*/ 1677168 w 2328854"/>
                    <a:gd name="connsiteY2319" fmla="*/ 419071 h 2163071"/>
                    <a:gd name="connsiteX2320" fmla="*/ 1677971 w 2328854"/>
                    <a:gd name="connsiteY2320" fmla="*/ 418188 h 2163071"/>
                    <a:gd name="connsiteX2321" fmla="*/ 1666805 w 2328854"/>
                    <a:gd name="connsiteY2321" fmla="*/ 413850 h 2163071"/>
                    <a:gd name="connsiteX2322" fmla="*/ 1661183 w 2328854"/>
                    <a:gd name="connsiteY2322" fmla="*/ 413046 h 2163071"/>
                    <a:gd name="connsiteX2323" fmla="*/ 1660701 w 2328854"/>
                    <a:gd name="connsiteY2323" fmla="*/ 416420 h 2163071"/>
                    <a:gd name="connsiteX2324" fmla="*/ 1663110 w 2328854"/>
                    <a:gd name="connsiteY2324" fmla="*/ 416018 h 2163071"/>
                    <a:gd name="connsiteX2325" fmla="*/ 1677168 w 2328854"/>
                    <a:gd name="connsiteY2325" fmla="*/ 419071 h 2163071"/>
                    <a:gd name="connsiteX2326" fmla="*/ 1764966 w 2328854"/>
                    <a:gd name="connsiteY2326" fmla="*/ 350792 h 2163071"/>
                    <a:gd name="connsiteX2327" fmla="*/ 1765207 w 2328854"/>
                    <a:gd name="connsiteY2327" fmla="*/ 350632 h 2163071"/>
                    <a:gd name="connsiteX2328" fmla="*/ 1756532 w 2328854"/>
                    <a:gd name="connsiteY2328" fmla="*/ 347017 h 2163071"/>
                    <a:gd name="connsiteX2329" fmla="*/ 1756853 w 2328854"/>
                    <a:gd name="connsiteY2329" fmla="*/ 349989 h 2163071"/>
                    <a:gd name="connsiteX2330" fmla="*/ 1762637 w 2328854"/>
                    <a:gd name="connsiteY2330" fmla="*/ 351756 h 2163071"/>
                    <a:gd name="connsiteX2331" fmla="*/ 1764966 w 2328854"/>
                    <a:gd name="connsiteY2331" fmla="*/ 350792 h 2163071"/>
                    <a:gd name="connsiteX2332" fmla="*/ 1743840 w 2328854"/>
                    <a:gd name="connsiteY2332" fmla="*/ 355612 h 2163071"/>
                    <a:gd name="connsiteX2333" fmla="*/ 1743519 w 2328854"/>
                    <a:gd name="connsiteY2333" fmla="*/ 354889 h 2163071"/>
                    <a:gd name="connsiteX2334" fmla="*/ 1741029 w 2328854"/>
                    <a:gd name="connsiteY2334" fmla="*/ 355612 h 2163071"/>
                    <a:gd name="connsiteX2335" fmla="*/ 1740627 w 2328854"/>
                    <a:gd name="connsiteY2335" fmla="*/ 356094 h 2163071"/>
                    <a:gd name="connsiteX2336" fmla="*/ 1738779 w 2328854"/>
                    <a:gd name="connsiteY2336" fmla="*/ 363082 h 2163071"/>
                    <a:gd name="connsiteX2337" fmla="*/ 1743840 w 2328854"/>
                    <a:gd name="connsiteY2337" fmla="*/ 355612 h 2163071"/>
                    <a:gd name="connsiteX2338" fmla="*/ 594427 w 2328854"/>
                    <a:gd name="connsiteY2338" fmla="*/ 616116 h 2163071"/>
                    <a:gd name="connsiteX2339" fmla="*/ 594909 w 2328854"/>
                    <a:gd name="connsiteY2339" fmla="*/ 615634 h 2163071"/>
                    <a:gd name="connsiteX2340" fmla="*/ 577157 w 2328854"/>
                    <a:gd name="connsiteY2340" fmla="*/ 607601 h 2163071"/>
                    <a:gd name="connsiteX2341" fmla="*/ 577076 w 2328854"/>
                    <a:gd name="connsiteY2341" fmla="*/ 607681 h 2163071"/>
                    <a:gd name="connsiteX2342" fmla="*/ 580370 w 2328854"/>
                    <a:gd name="connsiteY2342" fmla="*/ 610653 h 2163071"/>
                    <a:gd name="connsiteX2343" fmla="*/ 582619 w 2328854"/>
                    <a:gd name="connsiteY2343" fmla="*/ 612260 h 2163071"/>
                    <a:gd name="connsiteX2344" fmla="*/ 583984 w 2328854"/>
                    <a:gd name="connsiteY2344" fmla="*/ 613143 h 2163071"/>
                    <a:gd name="connsiteX2345" fmla="*/ 590732 w 2328854"/>
                    <a:gd name="connsiteY2345" fmla="*/ 617481 h 2163071"/>
                    <a:gd name="connsiteX2346" fmla="*/ 591134 w 2328854"/>
                    <a:gd name="connsiteY2346" fmla="*/ 617963 h 2163071"/>
                    <a:gd name="connsiteX2347" fmla="*/ 594427 w 2328854"/>
                    <a:gd name="connsiteY2347" fmla="*/ 616116 h 2163071"/>
                    <a:gd name="connsiteX2348" fmla="*/ 405656 w 2328854"/>
                    <a:gd name="connsiteY2348" fmla="*/ 574265 h 2163071"/>
                    <a:gd name="connsiteX2349" fmla="*/ 405817 w 2328854"/>
                    <a:gd name="connsiteY2349" fmla="*/ 574184 h 2163071"/>
                    <a:gd name="connsiteX2350" fmla="*/ 405737 w 2328854"/>
                    <a:gd name="connsiteY2350" fmla="*/ 574184 h 2163071"/>
                    <a:gd name="connsiteX2351" fmla="*/ 403005 w 2328854"/>
                    <a:gd name="connsiteY2351" fmla="*/ 574907 h 2163071"/>
                    <a:gd name="connsiteX2352" fmla="*/ 401238 w 2328854"/>
                    <a:gd name="connsiteY2352" fmla="*/ 576996 h 2163071"/>
                    <a:gd name="connsiteX2353" fmla="*/ 405656 w 2328854"/>
                    <a:gd name="connsiteY2353" fmla="*/ 574265 h 2163071"/>
                    <a:gd name="connsiteX2354" fmla="*/ 409673 w 2328854"/>
                    <a:gd name="connsiteY2354" fmla="*/ 576755 h 2163071"/>
                    <a:gd name="connsiteX2355" fmla="*/ 411038 w 2328854"/>
                    <a:gd name="connsiteY2355" fmla="*/ 576594 h 2163071"/>
                    <a:gd name="connsiteX2356" fmla="*/ 409351 w 2328854"/>
                    <a:gd name="connsiteY2356" fmla="*/ 573140 h 2163071"/>
                    <a:gd name="connsiteX2357" fmla="*/ 406460 w 2328854"/>
                    <a:gd name="connsiteY2357" fmla="*/ 574425 h 2163071"/>
                    <a:gd name="connsiteX2358" fmla="*/ 405897 w 2328854"/>
                    <a:gd name="connsiteY2358" fmla="*/ 575791 h 2163071"/>
                    <a:gd name="connsiteX2359" fmla="*/ 409673 w 2328854"/>
                    <a:gd name="connsiteY2359" fmla="*/ 576755 h 2163071"/>
                    <a:gd name="connsiteX2360" fmla="*/ 1757014 w 2328854"/>
                    <a:gd name="connsiteY2360" fmla="*/ 334727 h 2163071"/>
                    <a:gd name="connsiteX2361" fmla="*/ 1747214 w 2328854"/>
                    <a:gd name="connsiteY2361" fmla="*/ 334325 h 2163071"/>
                    <a:gd name="connsiteX2362" fmla="*/ 1747856 w 2328854"/>
                    <a:gd name="connsiteY2362" fmla="*/ 334325 h 2163071"/>
                    <a:gd name="connsiteX2363" fmla="*/ 1757014 w 2328854"/>
                    <a:gd name="connsiteY2363" fmla="*/ 334727 h 2163071"/>
                    <a:gd name="connsiteX2364" fmla="*/ 262110 w 2328854"/>
                    <a:gd name="connsiteY2364" fmla="*/ 481888 h 2163071"/>
                    <a:gd name="connsiteX2365" fmla="*/ 264279 w 2328854"/>
                    <a:gd name="connsiteY2365" fmla="*/ 480281 h 2163071"/>
                    <a:gd name="connsiteX2366" fmla="*/ 261468 w 2328854"/>
                    <a:gd name="connsiteY2366" fmla="*/ 470320 h 2163071"/>
                    <a:gd name="connsiteX2367" fmla="*/ 270063 w 2328854"/>
                    <a:gd name="connsiteY2367" fmla="*/ 464938 h 2163071"/>
                    <a:gd name="connsiteX2368" fmla="*/ 269259 w 2328854"/>
                    <a:gd name="connsiteY2368" fmla="*/ 459958 h 2163071"/>
                    <a:gd name="connsiteX2369" fmla="*/ 262833 w 2328854"/>
                    <a:gd name="connsiteY2369" fmla="*/ 456825 h 2163071"/>
                    <a:gd name="connsiteX2370" fmla="*/ 254158 w 2328854"/>
                    <a:gd name="connsiteY2370" fmla="*/ 453291 h 2163071"/>
                    <a:gd name="connsiteX2371" fmla="*/ 248615 w 2328854"/>
                    <a:gd name="connsiteY2371" fmla="*/ 460440 h 2163071"/>
                    <a:gd name="connsiteX2372" fmla="*/ 250382 w 2328854"/>
                    <a:gd name="connsiteY2372" fmla="*/ 458833 h 2163071"/>
                    <a:gd name="connsiteX2373" fmla="*/ 250945 w 2328854"/>
                    <a:gd name="connsiteY2373" fmla="*/ 465661 h 2163071"/>
                    <a:gd name="connsiteX2374" fmla="*/ 254559 w 2328854"/>
                    <a:gd name="connsiteY2374" fmla="*/ 462047 h 2163071"/>
                    <a:gd name="connsiteX2375" fmla="*/ 251025 w 2328854"/>
                    <a:gd name="connsiteY2375" fmla="*/ 472168 h 2163071"/>
                    <a:gd name="connsiteX2376" fmla="*/ 249900 w 2328854"/>
                    <a:gd name="connsiteY2376" fmla="*/ 469437 h 2163071"/>
                    <a:gd name="connsiteX2377" fmla="*/ 235522 w 2328854"/>
                    <a:gd name="connsiteY2377" fmla="*/ 489197 h 2163071"/>
                    <a:gd name="connsiteX2378" fmla="*/ 244358 w 2328854"/>
                    <a:gd name="connsiteY2378" fmla="*/ 486627 h 2163071"/>
                    <a:gd name="connsiteX2379" fmla="*/ 230782 w 2328854"/>
                    <a:gd name="connsiteY2379" fmla="*/ 497793 h 2163071"/>
                    <a:gd name="connsiteX2380" fmla="*/ 240984 w 2328854"/>
                    <a:gd name="connsiteY2380" fmla="*/ 492812 h 2163071"/>
                    <a:gd name="connsiteX2381" fmla="*/ 243876 w 2328854"/>
                    <a:gd name="connsiteY2381" fmla="*/ 493455 h 2163071"/>
                    <a:gd name="connsiteX2382" fmla="*/ 248374 w 2328854"/>
                    <a:gd name="connsiteY2382" fmla="*/ 493856 h 2163071"/>
                    <a:gd name="connsiteX2383" fmla="*/ 253033 w 2328854"/>
                    <a:gd name="connsiteY2383" fmla="*/ 490965 h 2163071"/>
                    <a:gd name="connsiteX2384" fmla="*/ 262110 w 2328854"/>
                    <a:gd name="connsiteY2384" fmla="*/ 481888 h 2163071"/>
                    <a:gd name="connsiteX2385" fmla="*/ 363966 w 2328854"/>
                    <a:gd name="connsiteY2385" fmla="*/ 541973 h 2163071"/>
                    <a:gd name="connsiteX2386" fmla="*/ 364287 w 2328854"/>
                    <a:gd name="connsiteY2386" fmla="*/ 541571 h 2163071"/>
                    <a:gd name="connsiteX2387" fmla="*/ 364207 w 2328854"/>
                    <a:gd name="connsiteY2387" fmla="*/ 541571 h 2163071"/>
                    <a:gd name="connsiteX2388" fmla="*/ 363404 w 2328854"/>
                    <a:gd name="connsiteY2388" fmla="*/ 542053 h 2163071"/>
                    <a:gd name="connsiteX2389" fmla="*/ 359789 w 2328854"/>
                    <a:gd name="connsiteY2389" fmla="*/ 545347 h 2163071"/>
                    <a:gd name="connsiteX2390" fmla="*/ 354407 w 2328854"/>
                    <a:gd name="connsiteY2390" fmla="*/ 555066 h 2163071"/>
                    <a:gd name="connsiteX2391" fmla="*/ 363966 w 2328854"/>
                    <a:gd name="connsiteY2391" fmla="*/ 541973 h 2163071"/>
                    <a:gd name="connsiteX2392" fmla="*/ 274240 w 2328854"/>
                    <a:gd name="connsiteY2392" fmla="*/ 428871 h 2163071"/>
                    <a:gd name="connsiteX2393" fmla="*/ 274481 w 2328854"/>
                    <a:gd name="connsiteY2393" fmla="*/ 428710 h 2163071"/>
                    <a:gd name="connsiteX2394" fmla="*/ 274400 w 2328854"/>
                    <a:gd name="connsiteY2394" fmla="*/ 428710 h 2163071"/>
                    <a:gd name="connsiteX2395" fmla="*/ 273356 w 2328854"/>
                    <a:gd name="connsiteY2395" fmla="*/ 428710 h 2163071"/>
                    <a:gd name="connsiteX2396" fmla="*/ 270384 w 2328854"/>
                    <a:gd name="connsiteY2396" fmla="*/ 431522 h 2163071"/>
                    <a:gd name="connsiteX2397" fmla="*/ 270384 w 2328854"/>
                    <a:gd name="connsiteY2397" fmla="*/ 431522 h 2163071"/>
                    <a:gd name="connsiteX2398" fmla="*/ 274240 w 2328854"/>
                    <a:gd name="connsiteY2398" fmla="*/ 428871 h 2163071"/>
                    <a:gd name="connsiteX2399" fmla="*/ 350792 w 2328854"/>
                    <a:gd name="connsiteY2399" fmla="*/ 531691 h 2163071"/>
                    <a:gd name="connsiteX2400" fmla="*/ 351676 w 2328854"/>
                    <a:gd name="connsiteY2400" fmla="*/ 528157 h 2163071"/>
                    <a:gd name="connsiteX2401" fmla="*/ 350230 w 2328854"/>
                    <a:gd name="connsiteY2401" fmla="*/ 529763 h 2163071"/>
                    <a:gd name="connsiteX2402" fmla="*/ 348061 w 2328854"/>
                    <a:gd name="connsiteY2402" fmla="*/ 533779 h 2163071"/>
                    <a:gd name="connsiteX2403" fmla="*/ 350792 w 2328854"/>
                    <a:gd name="connsiteY2403" fmla="*/ 531691 h 2163071"/>
                    <a:gd name="connsiteX2404" fmla="*/ 1736450 w 2328854"/>
                    <a:gd name="connsiteY2404" fmla="*/ 319223 h 2163071"/>
                    <a:gd name="connsiteX2405" fmla="*/ 1736450 w 2328854"/>
                    <a:gd name="connsiteY2405" fmla="*/ 318982 h 2163071"/>
                    <a:gd name="connsiteX2406" fmla="*/ 1732273 w 2328854"/>
                    <a:gd name="connsiteY2406" fmla="*/ 319143 h 2163071"/>
                    <a:gd name="connsiteX2407" fmla="*/ 1731951 w 2328854"/>
                    <a:gd name="connsiteY2407" fmla="*/ 319545 h 2163071"/>
                    <a:gd name="connsiteX2408" fmla="*/ 1736450 w 2328854"/>
                    <a:gd name="connsiteY2408" fmla="*/ 319223 h 2163071"/>
                    <a:gd name="connsiteX2409" fmla="*/ 275204 w 2328854"/>
                    <a:gd name="connsiteY2409" fmla="*/ 425899 h 2163071"/>
                    <a:gd name="connsiteX2410" fmla="*/ 276569 w 2328854"/>
                    <a:gd name="connsiteY2410" fmla="*/ 424051 h 2163071"/>
                    <a:gd name="connsiteX2411" fmla="*/ 280023 w 2328854"/>
                    <a:gd name="connsiteY2411" fmla="*/ 419232 h 2163071"/>
                    <a:gd name="connsiteX2412" fmla="*/ 279863 w 2328854"/>
                    <a:gd name="connsiteY2412" fmla="*/ 419312 h 2163071"/>
                    <a:gd name="connsiteX2413" fmla="*/ 275204 w 2328854"/>
                    <a:gd name="connsiteY2413" fmla="*/ 425899 h 2163071"/>
                    <a:gd name="connsiteX2414" fmla="*/ 1641663 w 2328854"/>
                    <a:gd name="connsiteY2414" fmla="*/ 385173 h 2163071"/>
                    <a:gd name="connsiteX2415" fmla="*/ 1642627 w 2328854"/>
                    <a:gd name="connsiteY2415" fmla="*/ 385253 h 2163071"/>
                    <a:gd name="connsiteX2416" fmla="*/ 1624071 w 2328854"/>
                    <a:gd name="connsiteY2416" fmla="*/ 383968 h 2163071"/>
                    <a:gd name="connsiteX2417" fmla="*/ 1624392 w 2328854"/>
                    <a:gd name="connsiteY2417" fmla="*/ 384289 h 2163071"/>
                    <a:gd name="connsiteX2418" fmla="*/ 1628409 w 2328854"/>
                    <a:gd name="connsiteY2418" fmla="*/ 385574 h 2163071"/>
                    <a:gd name="connsiteX2419" fmla="*/ 1641663 w 2328854"/>
                    <a:gd name="connsiteY2419" fmla="*/ 385173 h 2163071"/>
                    <a:gd name="connsiteX2420" fmla="*/ 1742314 w 2328854"/>
                    <a:gd name="connsiteY2420" fmla="*/ 305568 h 2163071"/>
                    <a:gd name="connsiteX2421" fmla="*/ 1735486 w 2328854"/>
                    <a:gd name="connsiteY2421" fmla="*/ 303238 h 2163071"/>
                    <a:gd name="connsiteX2422" fmla="*/ 1735727 w 2328854"/>
                    <a:gd name="connsiteY2422" fmla="*/ 303399 h 2163071"/>
                    <a:gd name="connsiteX2423" fmla="*/ 1744161 w 2328854"/>
                    <a:gd name="connsiteY2423" fmla="*/ 308540 h 2163071"/>
                    <a:gd name="connsiteX2424" fmla="*/ 1742314 w 2328854"/>
                    <a:gd name="connsiteY2424" fmla="*/ 305568 h 2163071"/>
                    <a:gd name="connsiteX2425" fmla="*/ 1764725 w 2328854"/>
                    <a:gd name="connsiteY2425" fmla="*/ 142903 h 2163071"/>
                    <a:gd name="connsiteX2426" fmla="*/ 1764565 w 2328854"/>
                    <a:gd name="connsiteY2426" fmla="*/ 142823 h 2163071"/>
                    <a:gd name="connsiteX2427" fmla="*/ 1765850 w 2328854"/>
                    <a:gd name="connsiteY2427" fmla="*/ 143787 h 2163071"/>
                    <a:gd name="connsiteX2428" fmla="*/ 1768501 w 2328854"/>
                    <a:gd name="connsiteY2428" fmla="*/ 145233 h 2163071"/>
                    <a:gd name="connsiteX2429" fmla="*/ 1769465 w 2328854"/>
                    <a:gd name="connsiteY2429" fmla="*/ 145795 h 2163071"/>
                    <a:gd name="connsiteX2430" fmla="*/ 1764725 w 2328854"/>
                    <a:gd name="connsiteY2430" fmla="*/ 142903 h 2163071"/>
                    <a:gd name="connsiteX2431" fmla="*/ 1737494 w 2328854"/>
                    <a:gd name="connsiteY2431" fmla="*/ 296330 h 2163071"/>
                    <a:gd name="connsiteX2432" fmla="*/ 1735004 w 2328854"/>
                    <a:gd name="connsiteY2432" fmla="*/ 294723 h 2163071"/>
                    <a:gd name="connsiteX2433" fmla="*/ 1735406 w 2328854"/>
                    <a:gd name="connsiteY2433" fmla="*/ 295125 h 2163071"/>
                    <a:gd name="connsiteX2434" fmla="*/ 1739261 w 2328854"/>
                    <a:gd name="connsiteY2434" fmla="*/ 298900 h 2163071"/>
                    <a:gd name="connsiteX2435" fmla="*/ 1740788 w 2328854"/>
                    <a:gd name="connsiteY2435" fmla="*/ 300346 h 2163071"/>
                    <a:gd name="connsiteX2436" fmla="*/ 1741350 w 2328854"/>
                    <a:gd name="connsiteY2436" fmla="*/ 301310 h 2163071"/>
                    <a:gd name="connsiteX2437" fmla="*/ 1743760 w 2328854"/>
                    <a:gd name="connsiteY2437" fmla="*/ 302194 h 2163071"/>
                    <a:gd name="connsiteX2438" fmla="*/ 1737494 w 2328854"/>
                    <a:gd name="connsiteY2438" fmla="*/ 296330 h 2163071"/>
                    <a:gd name="connsiteX2439" fmla="*/ 298338 w 2328854"/>
                    <a:gd name="connsiteY2439" fmla="*/ 432084 h 2163071"/>
                    <a:gd name="connsiteX2440" fmla="*/ 306773 w 2328854"/>
                    <a:gd name="connsiteY2440" fmla="*/ 423087 h 2163071"/>
                    <a:gd name="connsiteX2441" fmla="*/ 306371 w 2328854"/>
                    <a:gd name="connsiteY2441" fmla="*/ 423328 h 2163071"/>
                    <a:gd name="connsiteX2442" fmla="*/ 302917 w 2328854"/>
                    <a:gd name="connsiteY2442" fmla="*/ 426059 h 2163071"/>
                    <a:gd name="connsiteX2443" fmla="*/ 297294 w 2328854"/>
                    <a:gd name="connsiteY2443" fmla="*/ 432968 h 2163071"/>
                    <a:gd name="connsiteX2444" fmla="*/ 298338 w 2328854"/>
                    <a:gd name="connsiteY2444" fmla="*/ 432084 h 2163071"/>
                    <a:gd name="connsiteX2445" fmla="*/ 418107 w 2328854"/>
                    <a:gd name="connsiteY2445" fmla="*/ 495142 h 2163071"/>
                    <a:gd name="connsiteX2446" fmla="*/ 418428 w 2328854"/>
                    <a:gd name="connsiteY2446" fmla="*/ 494901 h 2163071"/>
                    <a:gd name="connsiteX2447" fmla="*/ 417224 w 2328854"/>
                    <a:gd name="connsiteY2447" fmla="*/ 493696 h 2163071"/>
                    <a:gd name="connsiteX2448" fmla="*/ 416902 w 2328854"/>
                    <a:gd name="connsiteY2448" fmla="*/ 493856 h 2163071"/>
                    <a:gd name="connsiteX2449" fmla="*/ 413528 w 2328854"/>
                    <a:gd name="connsiteY2449" fmla="*/ 497712 h 2163071"/>
                    <a:gd name="connsiteX2450" fmla="*/ 418107 w 2328854"/>
                    <a:gd name="connsiteY2450" fmla="*/ 495142 h 2163071"/>
                    <a:gd name="connsiteX2451" fmla="*/ 1668974 w 2328854"/>
                    <a:gd name="connsiteY2451" fmla="*/ 301391 h 2163071"/>
                    <a:gd name="connsiteX2452" fmla="*/ 1668171 w 2328854"/>
                    <a:gd name="connsiteY2452" fmla="*/ 300587 h 2163071"/>
                    <a:gd name="connsiteX2453" fmla="*/ 1668332 w 2328854"/>
                    <a:gd name="connsiteY2453" fmla="*/ 301391 h 2163071"/>
                    <a:gd name="connsiteX2454" fmla="*/ 1669135 w 2328854"/>
                    <a:gd name="connsiteY2454" fmla="*/ 306612 h 2163071"/>
                    <a:gd name="connsiteX2455" fmla="*/ 1667448 w 2328854"/>
                    <a:gd name="connsiteY2455" fmla="*/ 305648 h 2163071"/>
                    <a:gd name="connsiteX2456" fmla="*/ 1670742 w 2328854"/>
                    <a:gd name="connsiteY2456" fmla="*/ 308218 h 2163071"/>
                    <a:gd name="connsiteX2457" fmla="*/ 1669537 w 2328854"/>
                    <a:gd name="connsiteY2457" fmla="*/ 308540 h 2163071"/>
                    <a:gd name="connsiteX2458" fmla="*/ 1671143 w 2328854"/>
                    <a:gd name="connsiteY2458" fmla="*/ 315930 h 2163071"/>
                    <a:gd name="connsiteX2459" fmla="*/ 1677007 w 2328854"/>
                    <a:gd name="connsiteY2459" fmla="*/ 320027 h 2163071"/>
                    <a:gd name="connsiteX2460" fmla="*/ 1678935 w 2328854"/>
                    <a:gd name="connsiteY2460" fmla="*/ 318018 h 2163071"/>
                    <a:gd name="connsiteX2461" fmla="*/ 1668974 w 2328854"/>
                    <a:gd name="connsiteY2461" fmla="*/ 301391 h 2163071"/>
                    <a:gd name="connsiteX2462" fmla="*/ 368705 w 2328854"/>
                    <a:gd name="connsiteY2462" fmla="*/ 453532 h 2163071"/>
                    <a:gd name="connsiteX2463" fmla="*/ 369428 w 2328854"/>
                    <a:gd name="connsiteY2463" fmla="*/ 450238 h 2163071"/>
                    <a:gd name="connsiteX2464" fmla="*/ 368705 w 2328854"/>
                    <a:gd name="connsiteY2464" fmla="*/ 449917 h 2163071"/>
                    <a:gd name="connsiteX2465" fmla="*/ 367661 w 2328854"/>
                    <a:gd name="connsiteY2465" fmla="*/ 454094 h 2163071"/>
                    <a:gd name="connsiteX2466" fmla="*/ 368705 w 2328854"/>
                    <a:gd name="connsiteY2466" fmla="*/ 453532 h 2163071"/>
                    <a:gd name="connsiteX2467" fmla="*/ 1648892 w 2328854"/>
                    <a:gd name="connsiteY2467" fmla="*/ 74946 h 2163071"/>
                    <a:gd name="connsiteX2468" fmla="*/ 1640779 w 2328854"/>
                    <a:gd name="connsiteY2468" fmla="*/ 71813 h 2163071"/>
                    <a:gd name="connsiteX2469" fmla="*/ 1649294 w 2328854"/>
                    <a:gd name="connsiteY2469" fmla="*/ 75187 h 2163071"/>
                    <a:gd name="connsiteX2470" fmla="*/ 1648892 w 2328854"/>
                    <a:gd name="connsiteY2470" fmla="*/ 74946 h 2163071"/>
                    <a:gd name="connsiteX2471" fmla="*/ 1640458 w 2328854"/>
                    <a:gd name="connsiteY2471" fmla="*/ 71733 h 2163071"/>
                    <a:gd name="connsiteX2472" fmla="*/ 1640458 w 2328854"/>
                    <a:gd name="connsiteY2472" fmla="*/ 71733 h 2163071"/>
                    <a:gd name="connsiteX2473" fmla="*/ 1640458 w 2328854"/>
                    <a:gd name="connsiteY2473" fmla="*/ 71733 h 2163071"/>
                    <a:gd name="connsiteX2474" fmla="*/ 1640458 w 2328854"/>
                    <a:gd name="connsiteY2474" fmla="*/ 71733 h 2163071"/>
                    <a:gd name="connsiteX2475" fmla="*/ 1640458 w 2328854"/>
                    <a:gd name="connsiteY2475" fmla="*/ 71733 h 2163071"/>
                    <a:gd name="connsiteX2476" fmla="*/ 1640458 w 2328854"/>
                    <a:gd name="connsiteY2476" fmla="*/ 71733 h 2163071"/>
                    <a:gd name="connsiteX2477" fmla="*/ 1640458 w 2328854"/>
                    <a:gd name="connsiteY2477" fmla="*/ 71733 h 2163071"/>
                    <a:gd name="connsiteX2478" fmla="*/ 1640378 w 2328854"/>
                    <a:gd name="connsiteY2478" fmla="*/ 71733 h 2163071"/>
                    <a:gd name="connsiteX2479" fmla="*/ 1640378 w 2328854"/>
                    <a:gd name="connsiteY2479" fmla="*/ 71733 h 2163071"/>
                    <a:gd name="connsiteX2480" fmla="*/ 1640378 w 2328854"/>
                    <a:gd name="connsiteY2480" fmla="*/ 71733 h 2163071"/>
                    <a:gd name="connsiteX2481" fmla="*/ 1640378 w 2328854"/>
                    <a:gd name="connsiteY2481" fmla="*/ 71733 h 2163071"/>
                    <a:gd name="connsiteX2482" fmla="*/ 1640378 w 2328854"/>
                    <a:gd name="connsiteY2482" fmla="*/ 71733 h 2163071"/>
                    <a:gd name="connsiteX2483" fmla="*/ 1640378 w 2328854"/>
                    <a:gd name="connsiteY2483" fmla="*/ 71733 h 2163071"/>
                    <a:gd name="connsiteX2484" fmla="*/ 1640378 w 2328854"/>
                    <a:gd name="connsiteY2484" fmla="*/ 71733 h 2163071"/>
                    <a:gd name="connsiteX2485" fmla="*/ 1640378 w 2328854"/>
                    <a:gd name="connsiteY2485" fmla="*/ 71733 h 2163071"/>
                    <a:gd name="connsiteX2486" fmla="*/ 1640378 w 2328854"/>
                    <a:gd name="connsiteY2486" fmla="*/ 71733 h 2163071"/>
                    <a:gd name="connsiteX2487" fmla="*/ 1640378 w 2328854"/>
                    <a:gd name="connsiteY2487" fmla="*/ 71733 h 2163071"/>
                    <a:gd name="connsiteX2488" fmla="*/ 1640378 w 2328854"/>
                    <a:gd name="connsiteY2488" fmla="*/ 71733 h 2163071"/>
                    <a:gd name="connsiteX2489" fmla="*/ 1640378 w 2328854"/>
                    <a:gd name="connsiteY2489" fmla="*/ 71733 h 2163071"/>
                    <a:gd name="connsiteX2490" fmla="*/ 1640458 w 2328854"/>
                    <a:gd name="connsiteY2490" fmla="*/ 71733 h 2163071"/>
                    <a:gd name="connsiteX2491" fmla="*/ 1712994 w 2328854"/>
                    <a:gd name="connsiteY2491" fmla="*/ 122821 h 2163071"/>
                    <a:gd name="connsiteX2492" fmla="*/ 1712110 w 2328854"/>
                    <a:gd name="connsiteY2492" fmla="*/ 122661 h 2163071"/>
                    <a:gd name="connsiteX2493" fmla="*/ 1712994 w 2328854"/>
                    <a:gd name="connsiteY2493" fmla="*/ 122821 h 2163071"/>
                    <a:gd name="connsiteX2494" fmla="*/ 1712994 w 2328854"/>
                    <a:gd name="connsiteY2494" fmla="*/ 122821 h 2163071"/>
                    <a:gd name="connsiteX2495" fmla="*/ 1713717 w 2328854"/>
                    <a:gd name="connsiteY2495" fmla="*/ 122982 h 2163071"/>
                    <a:gd name="connsiteX2496" fmla="*/ 1712994 w 2328854"/>
                    <a:gd name="connsiteY2496" fmla="*/ 122821 h 2163071"/>
                    <a:gd name="connsiteX2497" fmla="*/ 1713717 w 2328854"/>
                    <a:gd name="connsiteY2497" fmla="*/ 122982 h 2163071"/>
                    <a:gd name="connsiteX2498" fmla="*/ 1713717 w 2328854"/>
                    <a:gd name="connsiteY2498" fmla="*/ 122982 h 2163071"/>
                    <a:gd name="connsiteX2499" fmla="*/ 1714440 w 2328854"/>
                    <a:gd name="connsiteY2499" fmla="*/ 121857 h 2163071"/>
                    <a:gd name="connsiteX2500" fmla="*/ 1714440 w 2328854"/>
                    <a:gd name="connsiteY2500" fmla="*/ 121857 h 2163071"/>
                    <a:gd name="connsiteX2501" fmla="*/ 1709299 w 2328854"/>
                    <a:gd name="connsiteY2501" fmla="*/ 119930 h 2163071"/>
                    <a:gd name="connsiteX2502" fmla="*/ 1709460 w 2328854"/>
                    <a:gd name="connsiteY2502" fmla="*/ 120010 h 2163071"/>
                    <a:gd name="connsiteX2503" fmla="*/ 1714440 w 2328854"/>
                    <a:gd name="connsiteY2503" fmla="*/ 121857 h 2163071"/>
                    <a:gd name="connsiteX2504" fmla="*/ 1707853 w 2328854"/>
                    <a:gd name="connsiteY2504" fmla="*/ 119689 h 2163071"/>
                    <a:gd name="connsiteX2505" fmla="*/ 1707532 w 2328854"/>
                    <a:gd name="connsiteY2505" fmla="*/ 119528 h 2163071"/>
                    <a:gd name="connsiteX2506" fmla="*/ 1709138 w 2328854"/>
                    <a:gd name="connsiteY2506" fmla="*/ 121135 h 2163071"/>
                    <a:gd name="connsiteX2507" fmla="*/ 1710343 w 2328854"/>
                    <a:gd name="connsiteY2507" fmla="*/ 120974 h 2163071"/>
                    <a:gd name="connsiteX2508" fmla="*/ 1707853 w 2328854"/>
                    <a:gd name="connsiteY2508" fmla="*/ 119689 h 2163071"/>
                    <a:gd name="connsiteX2509" fmla="*/ 1654114 w 2328854"/>
                    <a:gd name="connsiteY2509" fmla="*/ 79846 h 2163071"/>
                    <a:gd name="connsiteX2510" fmla="*/ 1650017 w 2328854"/>
                    <a:gd name="connsiteY2510" fmla="*/ 78480 h 2163071"/>
                    <a:gd name="connsiteX2511" fmla="*/ 1650258 w 2328854"/>
                    <a:gd name="connsiteY2511" fmla="*/ 78561 h 2163071"/>
                    <a:gd name="connsiteX2512" fmla="*/ 1658532 w 2328854"/>
                    <a:gd name="connsiteY2512" fmla="*/ 81854 h 2163071"/>
                    <a:gd name="connsiteX2513" fmla="*/ 1654114 w 2328854"/>
                    <a:gd name="connsiteY2513" fmla="*/ 79846 h 2163071"/>
                    <a:gd name="connsiteX2514" fmla="*/ 423168 w 2328854"/>
                    <a:gd name="connsiteY2514" fmla="*/ 249097 h 2163071"/>
                    <a:gd name="connsiteX2515" fmla="*/ 423087 w 2328854"/>
                    <a:gd name="connsiteY2515" fmla="*/ 249177 h 2163071"/>
                    <a:gd name="connsiteX2516" fmla="*/ 430879 w 2328854"/>
                    <a:gd name="connsiteY2516" fmla="*/ 243072 h 2163071"/>
                    <a:gd name="connsiteX2517" fmla="*/ 431602 w 2328854"/>
                    <a:gd name="connsiteY2517" fmla="*/ 242510 h 2163071"/>
                    <a:gd name="connsiteX2518" fmla="*/ 424132 w 2328854"/>
                    <a:gd name="connsiteY2518" fmla="*/ 248374 h 2163071"/>
                    <a:gd name="connsiteX2519" fmla="*/ 424132 w 2328854"/>
                    <a:gd name="connsiteY2519" fmla="*/ 248374 h 2163071"/>
                    <a:gd name="connsiteX2520" fmla="*/ 423168 w 2328854"/>
                    <a:gd name="connsiteY2520" fmla="*/ 249097 h 2163071"/>
                    <a:gd name="connsiteX2521" fmla="*/ 510404 w 2328854"/>
                    <a:gd name="connsiteY2521" fmla="*/ 471606 h 2163071"/>
                    <a:gd name="connsiteX2522" fmla="*/ 510484 w 2328854"/>
                    <a:gd name="connsiteY2522" fmla="*/ 471686 h 2163071"/>
                    <a:gd name="connsiteX2523" fmla="*/ 511930 w 2328854"/>
                    <a:gd name="connsiteY2523" fmla="*/ 467911 h 2163071"/>
                    <a:gd name="connsiteX2524" fmla="*/ 511770 w 2328854"/>
                    <a:gd name="connsiteY2524" fmla="*/ 467991 h 2163071"/>
                    <a:gd name="connsiteX2525" fmla="*/ 510404 w 2328854"/>
                    <a:gd name="connsiteY2525" fmla="*/ 471606 h 2163071"/>
                    <a:gd name="connsiteX2526" fmla="*/ 494579 w 2328854"/>
                    <a:gd name="connsiteY2526" fmla="*/ 361878 h 2163071"/>
                    <a:gd name="connsiteX2527" fmla="*/ 494579 w 2328854"/>
                    <a:gd name="connsiteY2527" fmla="*/ 361878 h 2163071"/>
                    <a:gd name="connsiteX2528" fmla="*/ 494579 w 2328854"/>
                    <a:gd name="connsiteY2528" fmla="*/ 361878 h 2163071"/>
                    <a:gd name="connsiteX2529" fmla="*/ 494579 w 2328854"/>
                    <a:gd name="connsiteY2529" fmla="*/ 361878 h 2163071"/>
                    <a:gd name="connsiteX2530" fmla="*/ 494579 w 2328854"/>
                    <a:gd name="connsiteY2530" fmla="*/ 361878 h 2163071"/>
                    <a:gd name="connsiteX2531" fmla="*/ 494579 w 2328854"/>
                    <a:gd name="connsiteY2531" fmla="*/ 361878 h 2163071"/>
                    <a:gd name="connsiteX2532" fmla="*/ 494579 w 2328854"/>
                    <a:gd name="connsiteY2532" fmla="*/ 361878 h 2163071"/>
                    <a:gd name="connsiteX2533" fmla="*/ 494579 w 2328854"/>
                    <a:gd name="connsiteY2533" fmla="*/ 361878 h 2163071"/>
                    <a:gd name="connsiteX2534" fmla="*/ 494579 w 2328854"/>
                    <a:gd name="connsiteY2534" fmla="*/ 361878 h 2163071"/>
                    <a:gd name="connsiteX2535" fmla="*/ 494579 w 2328854"/>
                    <a:gd name="connsiteY2535" fmla="*/ 361878 h 2163071"/>
                    <a:gd name="connsiteX2536" fmla="*/ 494579 w 2328854"/>
                    <a:gd name="connsiteY2536" fmla="*/ 361878 h 2163071"/>
                    <a:gd name="connsiteX2537" fmla="*/ 494579 w 2328854"/>
                    <a:gd name="connsiteY2537" fmla="*/ 361878 h 2163071"/>
                    <a:gd name="connsiteX2538" fmla="*/ 494579 w 2328854"/>
                    <a:gd name="connsiteY2538" fmla="*/ 361878 h 2163071"/>
                    <a:gd name="connsiteX2539" fmla="*/ 494579 w 2328854"/>
                    <a:gd name="connsiteY2539" fmla="*/ 361878 h 2163071"/>
                    <a:gd name="connsiteX2540" fmla="*/ 494579 w 2328854"/>
                    <a:gd name="connsiteY2540" fmla="*/ 361878 h 2163071"/>
                    <a:gd name="connsiteX2541" fmla="*/ 494579 w 2328854"/>
                    <a:gd name="connsiteY2541" fmla="*/ 361878 h 2163071"/>
                    <a:gd name="connsiteX2542" fmla="*/ 494579 w 2328854"/>
                    <a:gd name="connsiteY2542" fmla="*/ 361878 h 2163071"/>
                    <a:gd name="connsiteX2543" fmla="*/ 494579 w 2328854"/>
                    <a:gd name="connsiteY2543" fmla="*/ 361878 h 2163071"/>
                    <a:gd name="connsiteX2544" fmla="*/ 494579 w 2328854"/>
                    <a:gd name="connsiteY2544" fmla="*/ 361878 h 2163071"/>
                    <a:gd name="connsiteX2545" fmla="*/ 494579 w 2328854"/>
                    <a:gd name="connsiteY2545" fmla="*/ 361878 h 2163071"/>
                    <a:gd name="connsiteX2546" fmla="*/ 494579 w 2328854"/>
                    <a:gd name="connsiteY2546" fmla="*/ 361878 h 2163071"/>
                    <a:gd name="connsiteX2547" fmla="*/ 494579 w 2328854"/>
                    <a:gd name="connsiteY2547" fmla="*/ 361878 h 2163071"/>
                    <a:gd name="connsiteX2548" fmla="*/ 494579 w 2328854"/>
                    <a:gd name="connsiteY2548" fmla="*/ 361878 h 2163071"/>
                    <a:gd name="connsiteX2549" fmla="*/ 494579 w 2328854"/>
                    <a:gd name="connsiteY2549" fmla="*/ 361878 h 2163071"/>
                    <a:gd name="connsiteX2550" fmla="*/ 494579 w 2328854"/>
                    <a:gd name="connsiteY2550" fmla="*/ 361878 h 2163071"/>
                    <a:gd name="connsiteX2551" fmla="*/ 494579 w 2328854"/>
                    <a:gd name="connsiteY2551" fmla="*/ 361878 h 2163071"/>
                    <a:gd name="connsiteX2552" fmla="*/ 494579 w 2328854"/>
                    <a:gd name="connsiteY2552" fmla="*/ 361878 h 2163071"/>
                    <a:gd name="connsiteX2553" fmla="*/ 494579 w 2328854"/>
                    <a:gd name="connsiteY2553" fmla="*/ 361878 h 2163071"/>
                    <a:gd name="connsiteX2554" fmla="*/ 494579 w 2328854"/>
                    <a:gd name="connsiteY2554" fmla="*/ 361878 h 2163071"/>
                    <a:gd name="connsiteX2555" fmla="*/ 494579 w 2328854"/>
                    <a:gd name="connsiteY2555" fmla="*/ 361878 h 2163071"/>
                    <a:gd name="connsiteX2556" fmla="*/ 494579 w 2328854"/>
                    <a:gd name="connsiteY2556" fmla="*/ 361878 h 2163071"/>
                    <a:gd name="connsiteX2557" fmla="*/ 494579 w 2328854"/>
                    <a:gd name="connsiteY2557" fmla="*/ 361878 h 2163071"/>
                    <a:gd name="connsiteX2558" fmla="*/ 494579 w 2328854"/>
                    <a:gd name="connsiteY2558" fmla="*/ 361878 h 2163071"/>
                    <a:gd name="connsiteX2559" fmla="*/ 494579 w 2328854"/>
                    <a:gd name="connsiteY2559" fmla="*/ 361878 h 2163071"/>
                    <a:gd name="connsiteX2560" fmla="*/ 494579 w 2328854"/>
                    <a:gd name="connsiteY2560" fmla="*/ 361878 h 2163071"/>
                    <a:gd name="connsiteX2561" fmla="*/ 494579 w 2328854"/>
                    <a:gd name="connsiteY2561" fmla="*/ 361878 h 2163071"/>
                    <a:gd name="connsiteX2562" fmla="*/ 494579 w 2328854"/>
                    <a:gd name="connsiteY2562" fmla="*/ 361878 h 2163071"/>
                    <a:gd name="connsiteX2563" fmla="*/ 494579 w 2328854"/>
                    <a:gd name="connsiteY2563" fmla="*/ 361878 h 2163071"/>
                    <a:gd name="connsiteX2564" fmla="*/ 494579 w 2328854"/>
                    <a:gd name="connsiteY2564" fmla="*/ 361878 h 2163071"/>
                    <a:gd name="connsiteX2565" fmla="*/ 494579 w 2328854"/>
                    <a:gd name="connsiteY2565" fmla="*/ 361878 h 2163071"/>
                    <a:gd name="connsiteX2566" fmla="*/ 494579 w 2328854"/>
                    <a:gd name="connsiteY2566" fmla="*/ 361878 h 2163071"/>
                    <a:gd name="connsiteX2567" fmla="*/ 494579 w 2328854"/>
                    <a:gd name="connsiteY2567" fmla="*/ 361878 h 2163071"/>
                    <a:gd name="connsiteX2568" fmla="*/ 494579 w 2328854"/>
                    <a:gd name="connsiteY2568" fmla="*/ 361878 h 2163071"/>
                    <a:gd name="connsiteX2569" fmla="*/ 494579 w 2328854"/>
                    <a:gd name="connsiteY2569" fmla="*/ 361878 h 2163071"/>
                    <a:gd name="connsiteX2570" fmla="*/ 494579 w 2328854"/>
                    <a:gd name="connsiteY2570" fmla="*/ 361878 h 2163071"/>
                    <a:gd name="connsiteX2571" fmla="*/ 494579 w 2328854"/>
                    <a:gd name="connsiteY2571" fmla="*/ 361878 h 2163071"/>
                    <a:gd name="connsiteX2572" fmla="*/ 494579 w 2328854"/>
                    <a:gd name="connsiteY2572" fmla="*/ 361878 h 2163071"/>
                    <a:gd name="connsiteX2573" fmla="*/ 494579 w 2328854"/>
                    <a:gd name="connsiteY2573" fmla="*/ 361878 h 2163071"/>
                    <a:gd name="connsiteX2574" fmla="*/ 494579 w 2328854"/>
                    <a:gd name="connsiteY2574" fmla="*/ 361878 h 2163071"/>
                    <a:gd name="connsiteX2575" fmla="*/ 494579 w 2328854"/>
                    <a:gd name="connsiteY2575" fmla="*/ 361878 h 2163071"/>
                    <a:gd name="connsiteX2576" fmla="*/ 494579 w 2328854"/>
                    <a:gd name="connsiteY2576" fmla="*/ 361878 h 2163071"/>
                    <a:gd name="connsiteX2577" fmla="*/ 494579 w 2328854"/>
                    <a:gd name="connsiteY2577" fmla="*/ 361878 h 2163071"/>
                    <a:gd name="connsiteX2578" fmla="*/ 494579 w 2328854"/>
                    <a:gd name="connsiteY2578" fmla="*/ 361878 h 2163071"/>
                    <a:gd name="connsiteX2579" fmla="*/ 494579 w 2328854"/>
                    <a:gd name="connsiteY2579" fmla="*/ 361878 h 2163071"/>
                    <a:gd name="connsiteX2580" fmla="*/ 494579 w 2328854"/>
                    <a:gd name="connsiteY2580" fmla="*/ 361878 h 2163071"/>
                    <a:gd name="connsiteX2581" fmla="*/ 494579 w 2328854"/>
                    <a:gd name="connsiteY2581" fmla="*/ 361878 h 2163071"/>
                    <a:gd name="connsiteX2582" fmla="*/ 494579 w 2328854"/>
                    <a:gd name="connsiteY2582" fmla="*/ 361878 h 2163071"/>
                    <a:gd name="connsiteX2583" fmla="*/ 494579 w 2328854"/>
                    <a:gd name="connsiteY2583" fmla="*/ 361878 h 2163071"/>
                    <a:gd name="connsiteX2584" fmla="*/ 494579 w 2328854"/>
                    <a:gd name="connsiteY2584" fmla="*/ 361878 h 2163071"/>
                    <a:gd name="connsiteX2585" fmla="*/ 494579 w 2328854"/>
                    <a:gd name="connsiteY2585" fmla="*/ 361878 h 2163071"/>
                    <a:gd name="connsiteX2586" fmla="*/ 494579 w 2328854"/>
                    <a:gd name="connsiteY2586" fmla="*/ 361878 h 2163071"/>
                    <a:gd name="connsiteX2587" fmla="*/ 494579 w 2328854"/>
                    <a:gd name="connsiteY2587" fmla="*/ 361878 h 2163071"/>
                    <a:gd name="connsiteX2588" fmla="*/ 494579 w 2328854"/>
                    <a:gd name="connsiteY2588" fmla="*/ 361878 h 2163071"/>
                    <a:gd name="connsiteX2589" fmla="*/ 494579 w 2328854"/>
                    <a:gd name="connsiteY2589" fmla="*/ 361878 h 2163071"/>
                    <a:gd name="connsiteX2590" fmla="*/ 494579 w 2328854"/>
                    <a:gd name="connsiteY2590" fmla="*/ 361878 h 2163071"/>
                    <a:gd name="connsiteX2591" fmla="*/ 494579 w 2328854"/>
                    <a:gd name="connsiteY2591" fmla="*/ 361878 h 2163071"/>
                    <a:gd name="connsiteX2592" fmla="*/ 494579 w 2328854"/>
                    <a:gd name="connsiteY2592" fmla="*/ 361878 h 2163071"/>
                    <a:gd name="connsiteX2593" fmla="*/ 494579 w 2328854"/>
                    <a:gd name="connsiteY2593" fmla="*/ 361878 h 2163071"/>
                    <a:gd name="connsiteX2594" fmla="*/ 494579 w 2328854"/>
                    <a:gd name="connsiteY2594" fmla="*/ 361878 h 2163071"/>
                    <a:gd name="connsiteX2595" fmla="*/ 494579 w 2328854"/>
                    <a:gd name="connsiteY2595" fmla="*/ 361878 h 2163071"/>
                    <a:gd name="connsiteX2596" fmla="*/ 494579 w 2328854"/>
                    <a:gd name="connsiteY2596" fmla="*/ 361878 h 2163071"/>
                    <a:gd name="connsiteX2597" fmla="*/ 494579 w 2328854"/>
                    <a:gd name="connsiteY2597" fmla="*/ 361878 h 2163071"/>
                    <a:gd name="connsiteX2598" fmla="*/ 494579 w 2328854"/>
                    <a:gd name="connsiteY2598" fmla="*/ 361878 h 2163071"/>
                    <a:gd name="connsiteX2599" fmla="*/ 494579 w 2328854"/>
                    <a:gd name="connsiteY2599" fmla="*/ 361878 h 2163071"/>
                    <a:gd name="connsiteX2600" fmla="*/ 494579 w 2328854"/>
                    <a:gd name="connsiteY2600" fmla="*/ 361878 h 2163071"/>
                    <a:gd name="connsiteX2601" fmla="*/ 494579 w 2328854"/>
                    <a:gd name="connsiteY2601" fmla="*/ 361878 h 2163071"/>
                    <a:gd name="connsiteX2602" fmla="*/ 494579 w 2328854"/>
                    <a:gd name="connsiteY2602" fmla="*/ 361878 h 2163071"/>
                    <a:gd name="connsiteX2603" fmla="*/ 494579 w 2328854"/>
                    <a:gd name="connsiteY2603" fmla="*/ 361878 h 2163071"/>
                    <a:gd name="connsiteX2604" fmla="*/ 494579 w 2328854"/>
                    <a:gd name="connsiteY2604" fmla="*/ 361878 h 2163071"/>
                    <a:gd name="connsiteX2605" fmla="*/ 494579 w 2328854"/>
                    <a:gd name="connsiteY2605" fmla="*/ 361878 h 2163071"/>
                    <a:gd name="connsiteX2606" fmla="*/ 494579 w 2328854"/>
                    <a:gd name="connsiteY2606" fmla="*/ 361878 h 2163071"/>
                    <a:gd name="connsiteX2607" fmla="*/ 494579 w 2328854"/>
                    <a:gd name="connsiteY2607" fmla="*/ 361878 h 2163071"/>
                    <a:gd name="connsiteX2608" fmla="*/ 494579 w 2328854"/>
                    <a:gd name="connsiteY2608" fmla="*/ 361878 h 2163071"/>
                    <a:gd name="connsiteX2609" fmla="*/ 494579 w 2328854"/>
                    <a:gd name="connsiteY2609" fmla="*/ 361878 h 2163071"/>
                    <a:gd name="connsiteX2610" fmla="*/ 494579 w 2328854"/>
                    <a:gd name="connsiteY2610" fmla="*/ 361878 h 2163071"/>
                    <a:gd name="connsiteX2611" fmla="*/ 494579 w 2328854"/>
                    <a:gd name="connsiteY2611" fmla="*/ 361878 h 2163071"/>
                    <a:gd name="connsiteX2612" fmla="*/ 494660 w 2328854"/>
                    <a:gd name="connsiteY2612" fmla="*/ 361878 h 2163071"/>
                    <a:gd name="connsiteX2613" fmla="*/ 494660 w 2328854"/>
                    <a:gd name="connsiteY2613" fmla="*/ 361878 h 2163071"/>
                    <a:gd name="connsiteX2614" fmla="*/ 494660 w 2328854"/>
                    <a:gd name="connsiteY2614" fmla="*/ 361878 h 2163071"/>
                    <a:gd name="connsiteX2615" fmla="*/ 494660 w 2328854"/>
                    <a:gd name="connsiteY2615" fmla="*/ 361878 h 2163071"/>
                    <a:gd name="connsiteX2616" fmla="*/ 494660 w 2328854"/>
                    <a:gd name="connsiteY2616" fmla="*/ 361878 h 2163071"/>
                    <a:gd name="connsiteX2617" fmla="*/ 494660 w 2328854"/>
                    <a:gd name="connsiteY2617" fmla="*/ 361878 h 2163071"/>
                    <a:gd name="connsiteX2618" fmla="*/ 494660 w 2328854"/>
                    <a:gd name="connsiteY2618" fmla="*/ 361878 h 2163071"/>
                    <a:gd name="connsiteX2619" fmla="*/ 494981 w 2328854"/>
                    <a:gd name="connsiteY2619" fmla="*/ 361717 h 2163071"/>
                    <a:gd name="connsiteX2620" fmla="*/ 494660 w 2328854"/>
                    <a:gd name="connsiteY2620" fmla="*/ 361878 h 2163071"/>
                    <a:gd name="connsiteX2621" fmla="*/ 494981 w 2328854"/>
                    <a:gd name="connsiteY2621" fmla="*/ 361717 h 2163071"/>
                    <a:gd name="connsiteX2622" fmla="*/ 494981 w 2328854"/>
                    <a:gd name="connsiteY2622" fmla="*/ 361717 h 2163071"/>
                    <a:gd name="connsiteX2623" fmla="*/ 1421645 w 2328854"/>
                    <a:gd name="connsiteY2623" fmla="*/ 6988 h 2163071"/>
                    <a:gd name="connsiteX2624" fmla="*/ 1382685 w 2328854"/>
                    <a:gd name="connsiteY2624" fmla="*/ 0 h 2163071"/>
                    <a:gd name="connsiteX2625" fmla="*/ 1382605 w 2328854"/>
                    <a:gd name="connsiteY2625" fmla="*/ 0 h 2163071"/>
                    <a:gd name="connsiteX2626" fmla="*/ 1409515 w 2328854"/>
                    <a:gd name="connsiteY2626" fmla="*/ 4900 h 2163071"/>
                    <a:gd name="connsiteX2627" fmla="*/ 1436184 w 2328854"/>
                    <a:gd name="connsiteY2627" fmla="*/ 9961 h 2163071"/>
                    <a:gd name="connsiteX2628" fmla="*/ 1421725 w 2328854"/>
                    <a:gd name="connsiteY2628" fmla="*/ 6988 h 2163071"/>
                    <a:gd name="connsiteX2629" fmla="*/ 1421725 w 2328854"/>
                    <a:gd name="connsiteY2629" fmla="*/ 6988 h 2163071"/>
                    <a:gd name="connsiteX2630" fmla="*/ 1420922 w 2328854"/>
                    <a:gd name="connsiteY2630" fmla="*/ 6828 h 2163071"/>
                    <a:gd name="connsiteX2631" fmla="*/ 1421645 w 2328854"/>
                    <a:gd name="connsiteY2631" fmla="*/ 6988 h 2163071"/>
                    <a:gd name="connsiteX2632" fmla="*/ 916301 w 2328854"/>
                    <a:gd name="connsiteY2632" fmla="*/ 124508 h 2163071"/>
                    <a:gd name="connsiteX2633" fmla="*/ 917024 w 2328854"/>
                    <a:gd name="connsiteY2633" fmla="*/ 124107 h 2163071"/>
                    <a:gd name="connsiteX2634" fmla="*/ 916060 w 2328854"/>
                    <a:gd name="connsiteY2634" fmla="*/ 124508 h 2163071"/>
                    <a:gd name="connsiteX2635" fmla="*/ 896300 w 2328854"/>
                    <a:gd name="connsiteY2635" fmla="*/ 133344 h 2163071"/>
                    <a:gd name="connsiteX2636" fmla="*/ 896059 w 2328854"/>
                    <a:gd name="connsiteY2636" fmla="*/ 133746 h 2163071"/>
                    <a:gd name="connsiteX2637" fmla="*/ 916301 w 2328854"/>
                    <a:gd name="connsiteY2637" fmla="*/ 124508 h 2163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  <a:cxn ang="0">
                      <a:pos x="connsiteX1605" y="connsiteY1605"/>
                    </a:cxn>
                    <a:cxn ang="0">
                      <a:pos x="connsiteX1606" y="connsiteY1606"/>
                    </a:cxn>
                    <a:cxn ang="0">
                      <a:pos x="connsiteX1607" y="connsiteY1607"/>
                    </a:cxn>
                    <a:cxn ang="0">
                      <a:pos x="connsiteX1608" y="connsiteY1608"/>
                    </a:cxn>
                    <a:cxn ang="0">
                      <a:pos x="connsiteX1609" y="connsiteY1609"/>
                    </a:cxn>
                    <a:cxn ang="0">
                      <a:pos x="connsiteX1610" y="connsiteY1610"/>
                    </a:cxn>
                    <a:cxn ang="0">
                      <a:pos x="connsiteX1611" y="connsiteY1611"/>
                    </a:cxn>
                    <a:cxn ang="0">
                      <a:pos x="connsiteX1612" y="connsiteY1612"/>
                    </a:cxn>
                    <a:cxn ang="0">
                      <a:pos x="connsiteX1613" y="connsiteY1613"/>
                    </a:cxn>
                    <a:cxn ang="0">
                      <a:pos x="connsiteX1614" y="connsiteY1614"/>
                    </a:cxn>
                    <a:cxn ang="0">
                      <a:pos x="connsiteX1615" y="connsiteY1615"/>
                    </a:cxn>
                    <a:cxn ang="0">
                      <a:pos x="connsiteX1616" y="connsiteY1616"/>
                    </a:cxn>
                    <a:cxn ang="0">
                      <a:pos x="connsiteX1617" y="connsiteY1617"/>
                    </a:cxn>
                    <a:cxn ang="0">
                      <a:pos x="connsiteX1618" y="connsiteY1618"/>
                    </a:cxn>
                    <a:cxn ang="0">
                      <a:pos x="connsiteX1619" y="connsiteY1619"/>
                    </a:cxn>
                    <a:cxn ang="0">
                      <a:pos x="connsiteX1620" y="connsiteY1620"/>
                    </a:cxn>
                    <a:cxn ang="0">
                      <a:pos x="connsiteX1621" y="connsiteY1621"/>
                    </a:cxn>
                    <a:cxn ang="0">
                      <a:pos x="connsiteX1622" y="connsiteY1622"/>
                    </a:cxn>
                    <a:cxn ang="0">
                      <a:pos x="connsiteX1623" y="connsiteY1623"/>
                    </a:cxn>
                    <a:cxn ang="0">
                      <a:pos x="connsiteX1624" y="connsiteY1624"/>
                    </a:cxn>
                    <a:cxn ang="0">
                      <a:pos x="connsiteX1625" y="connsiteY1625"/>
                    </a:cxn>
                    <a:cxn ang="0">
                      <a:pos x="connsiteX1626" y="connsiteY1626"/>
                    </a:cxn>
                    <a:cxn ang="0">
                      <a:pos x="connsiteX1627" y="connsiteY1627"/>
                    </a:cxn>
                    <a:cxn ang="0">
                      <a:pos x="connsiteX1628" y="connsiteY1628"/>
                    </a:cxn>
                    <a:cxn ang="0">
                      <a:pos x="connsiteX1629" y="connsiteY1629"/>
                    </a:cxn>
                    <a:cxn ang="0">
                      <a:pos x="connsiteX1630" y="connsiteY1630"/>
                    </a:cxn>
                    <a:cxn ang="0">
                      <a:pos x="connsiteX1631" y="connsiteY1631"/>
                    </a:cxn>
                    <a:cxn ang="0">
                      <a:pos x="connsiteX1632" y="connsiteY1632"/>
                    </a:cxn>
                    <a:cxn ang="0">
                      <a:pos x="connsiteX1633" y="connsiteY1633"/>
                    </a:cxn>
                    <a:cxn ang="0">
                      <a:pos x="connsiteX1634" y="connsiteY1634"/>
                    </a:cxn>
                    <a:cxn ang="0">
                      <a:pos x="connsiteX1635" y="connsiteY1635"/>
                    </a:cxn>
                    <a:cxn ang="0">
                      <a:pos x="connsiteX1636" y="connsiteY1636"/>
                    </a:cxn>
                    <a:cxn ang="0">
                      <a:pos x="connsiteX1637" y="connsiteY1637"/>
                    </a:cxn>
                    <a:cxn ang="0">
                      <a:pos x="connsiteX1638" y="connsiteY1638"/>
                    </a:cxn>
                    <a:cxn ang="0">
                      <a:pos x="connsiteX1639" y="connsiteY1639"/>
                    </a:cxn>
                    <a:cxn ang="0">
                      <a:pos x="connsiteX1640" y="connsiteY1640"/>
                    </a:cxn>
                    <a:cxn ang="0">
                      <a:pos x="connsiteX1641" y="connsiteY1641"/>
                    </a:cxn>
                    <a:cxn ang="0">
                      <a:pos x="connsiteX1642" y="connsiteY1642"/>
                    </a:cxn>
                    <a:cxn ang="0">
                      <a:pos x="connsiteX1643" y="connsiteY1643"/>
                    </a:cxn>
                    <a:cxn ang="0">
                      <a:pos x="connsiteX1644" y="connsiteY1644"/>
                    </a:cxn>
                    <a:cxn ang="0">
                      <a:pos x="connsiteX1645" y="connsiteY1645"/>
                    </a:cxn>
                    <a:cxn ang="0">
                      <a:pos x="connsiteX1646" y="connsiteY1646"/>
                    </a:cxn>
                    <a:cxn ang="0">
                      <a:pos x="connsiteX1647" y="connsiteY1647"/>
                    </a:cxn>
                    <a:cxn ang="0">
                      <a:pos x="connsiteX1648" y="connsiteY1648"/>
                    </a:cxn>
                    <a:cxn ang="0">
                      <a:pos x="connsiteX1649" y="connsiteY1649"/>
                    </a:cxn>
                    <a:cxn ang="0">
                      <a:pos x="connsiteX1650" y="connsiteY1650"/>
                    </a:cxn>
                    <a:cxn ang="0">
                      <a:pos x="connsiteX1651" y="connsiteY1651"/>
                    </a:cxn>
                    <a:cxn ang="0">
                      <a:pos x="connsiteX1652" y="connsiteY1652"/>
                    </a:cxn>
                    <a:cxn ang="0">
                      <a:pos x="connsiteX1653" y="connsiteY1653"/>
                    </a:cxn>
                    <a:cxn ang="0">
                      <a:pos x="connsiteX1654" y="connsiteY1654"/>
                    </a:cxn>
                    <a:cxn ang="0">
                      <a:pos x="connsiteX1655" y="connsiteY1655"/>
                    </a:cxn>
                    <a:cxn ang="0">
                      <a:pos x="connsiteX1656" y="connsiteY1656"/>
                    </a:cxn>
                    <a:cxn ang="0">
                      <a:pos x="connsiteX1657" y="connsiteY1657"/>
                    </a:cxn>
                    <a:cxn ang="0">
                      <a:pos x="connsiteX1658" y="connsiteY1658"/>
                    </a:cxn>
                    <a:cxn ang="0">
                      <a:pos x="connsiteX1659" y="connsiteY1659"/>
                    </a:cxn>
                    <a:cxn ang="0">
                      <a:pos x="connsiteX1660" y="connsiteY1660"/>
                    </a:cxn>
                    <a:cxn ang="0">
                      <a:pos x="connsiteX1661" y="connsiteY1661"/>
                    </a:cxn>
                    <a:cxn ang="0">
                      <a:pos x="connsiteX1662" y="connsiteY1662"/>
                    </a:cxn>
                    <a:cxn ang="0">
                      <a:pos x="connsiteX1663" y="connsiteY1663"/>
                    </a:cxn>
                    <a:cxn ang="0">
                      <a:pos x="connsiteX1664" y="connsiteY1664"/>
                    </a:cxn>
                    <a:cxn ang="0">
                      <a:pos x="connsiteX1665" y="connsiteY1665"/>
                    </a:cxn>
                    <a:cxn ang="0">
                      <a:pos x="connsiteX1666" y="connsiteY1666"/>
                    </a:cxn>
                    <a:cxn ang="0">
                      <a:pos x="connsiteX1667" y="connsiteY1667"/>
                    </a:cxn>
                    <a:cxn ang="0">
                      <a:pos x="connsiteX1668" y="connsiteY1668"/>
                    </a:cxn>
                    <a:cxn ang="0">
                      <a:pos x="connsiteX1669" y="connsiteY1669"/>
                    </a:cxn>
                    <a:cxn ang="0">
                      <a:pos x="connsiteX1670" y="connsiteY1670"/>
                    </a:cxn>
                    <a:cxn ang="0">
                      <a:pos x="connsiteX1671" y="connsiteY1671"/>
                    </a:cxn>
                    <a:cxn ang="0">
                      <a:pos x="connsiteX1672" y="connsiteY1672"/>
                    </a:cxn>
                    <a:cxn ang="0">
                      <a:pos x="connsiteX1673" y="connsiteY1673"/>
                    </a:cxn>
                    <a:cxn ang="0">
                      <a:pos x="connsiteX1674" y="connsiteY1674"/>
                    </a:cxn>
                    <a:cxn ang="0">
                      <a:pos x="connsiteX1675" y="connsiteY1675"/>
                    </a:cxn>
                    <a:cxn ang="0">
                      <a:pos x="connsiteX1676" y="connsiteY1676"/>
                    </a:cxn>
                    <a:cxn ang="0">
                      <a:pos x="connsiteX1677" y="connsiteY1677"/>
                    </a:cxn>
                    <a:cxn ang="0">
                      <a:pos x="connsiteX1678" y="connsiteY1678"/>
                    </a:cxn>
                    <a:cxn ang="0">
                      <a:pos x="connsiteX1679" y="connsiteY1679"/>
                    </a:cxn>
                    <a:cxn ang="0">
                      <a:pos x="connsiteX1680" y="connsiteY1680"/>
                    </a:cxn>
                    <a:cxn ang="0">
                      <a:pos x="connsiteX1681" y="connsiteY1681"/>
                    </a:cxn>
                    <a:cxn ang="0">
                      <a:pos x="connsiteX1682" y="connsiteY1682"/>
                    </a:cxn>
                    <a:cxn ang="0">
                      <a:pos x="connsiteX1683" y="connsiteY1683"/>
                    </a:cxn>
                    <a:cxn ang="0">
                      <a:pos x="connsiteX1684" y="connsiteY1684"/>
                    </a:cxn>
                    <a:cxn ang="0">
                      <a:pos x="connsiteX1685" y="connsiteY1685"/>
                    </a:cxn>
                    <a:cxn ang="0">
                      <a:pos x="connsiteX1686" y="connsiteY1686"/>
                    </a:cxn>
                    <a:cxn ang="0">
                      <a:pos x="connsiteX1687" y="connsiteY1687"/>
                    </a:cxn>
                    <a:cxn ang="0">
                      <a:pos x="connsiteX1688" y="connsiteY1688"/>
                    </a:cxn>
                    <a:cxn ang="0">
                      <a:pos x="connsiteX1689" y="connsiteY1689"/>
                    </a:cxn>
                    <a:cxn ang="0">
                      <a:pos x="connsiteX1690" y="connsiteY1690"/>
                    </a:cxn>
                    <a:cxn ang="0">
                      <a:pos x="connsiteX1691" y="connsiteY1691"/>
                    </a:cxn>
                    <a:cxn ang="0">
                      <a:pos x="connsiteX1692" y="connsiteY1692"/>
                    </a:cxn>
                    <a:cxn ang="0">
                      <a:pos x="connsiteX1693" y="connsiteY1693"/>
                    </a:cxn>
                    <a:cxn ang="0">
                      <a:pos x="connsiteX1694" y="connsiteY1694"/>
                    </a:cxn>
                    <a:cxn ang="0">
                      <a:pos x="connsiteX1695" y="connsiteY1695"/>
                    </a:cxn>
                    <a:cxn ang="0">
                      <a:pos x="connsiteX1696" y="connsiteY1696"/>
                    </a:cxn>
                    <a:cxn ang="0">
                      <a:pos x="connsiteX1697" y="connsiteY1697"/>
                    </a:cxn>
                    <a:cxn ang="0">
                      <a:pos x="connsiteX1698" y="connsiteY1698"/>
                    </a:cxn>
                    <a:cxn ang="0">
                      <a:pos x="connsiteX1699" y="connsiteY1699"/>
                    </a:cxn>
                    <a:cxn ang="0">
                      <a:pos x="connsiteX1700" y="connsiteY1700"/>
                    </a:cxn>
                    <a:cxn ang="0">
                      <a:pos x="connsiteX1701" y="connsiteY1701"/>
                    </a:cxn>
                    <a:cxn ang="0">
                      <a:pos x="connsiteX1702" y="connsiteY1702"/>
                    </a:cxn>
                    <a:cxn ang="0">
                      <a:pos x="connsiteX1703" y="connsiteY1703"/>
                    </a:cxn>
                    <a:cxn ang="0">
                      <a:pos x="connsiteX1704" y="connsiteY1704"/>
                    </a:cxn>
                    <a:cxn ang="0">
                      <a:pos x="connsiteX1705" y="connsiteY1705"/>
                    </a:cxn>
                    <a:cxn ang="0">
                      <a:pos x="connsiteX1706" y="connsiteY1706"/>
                    </a:cxn>
                    <a:cxn ang="0">
                      <a:pos x="connsiteX1707" y="connsiteY1707"/>
                    </a:cxn>
                    <a:cxn ang="0">
                      <a:pos x="connsiteX1708" y="connsiteY1708"/>
                    </a:cxn>
                    <a:cxn ang="0">
                      <a:pos x="connsiteX1709" y="connsiteY1709"/>
                    </a:cxn>
                    <a:cxn ang="0">
                      <a:pos x="connsiteX1710" y="connsiteY1710"/>
                    </a:cxn>
                    <a:cxn ang="0">
                      <a:pos x="connsiteX1711" y="connsiteY1711"/>
                    </a:cxn>
                    <a:cxn ang="0">
                      <a:pos x="connsiteX1712" y="connsiteY1712"/>
                    </a:cxn>
                    <a:cxn ang="0">
                      <a:pos x="connsiteX1713" y="connsiteY1713"/>
                    </a:cxn>
                    <a:cxn ang="0">
                      <a:pos x="connsiteX1714" y="connsiteY1714"/>
                    </a:cxn>
                    <a:cxn ang="0">
                      <a:pos x="connsiteX1715" y="connsiteY1715"/>
                    </a:cxn>
                    <a:cxn ang="0">
                      <a:pos x="connsiteX1716" y="connsiteY1716"/>
                    </a:cxn>
                    <a:cxn ang="0">
                      <a:pos x="connsiteX1717" y="connsiteY1717"/>
                    </a:cxn>
                    <a:cxn ang="0">
                      <a:pos x="connsiteX1718" y="connsiteY1718"/>
                    </a:cxn>
                    <a:cxn ang="0">
                      <a:pos x="connsiteX1719" y="connsiteY1719"/>
                    </a:cxn>
                    <a:cxn ang="0">
                      <a:pos x="connsiteX1720" y="connsiteY1720"/>
                    </a:cxn>
                    <a:cxn ang="0">
                      <a:pos x="connsiteX1721" y="connsiteY1721"/>
                    </a:cxn>
                    <a:cxn ang="0">
                      <a:pos x="connsiteX1722" y="connsiteY1722"/>
                    </a:cxn>
                    <a:cxn ang="0">
                      <a:pos x="connsiteX1723" y="connsiteY1723"/>
                    </a:cxn>
                    <a:cxn ang="0">
                      <a:pos x="connsiteX1724" y="connsiteY1724"/>
                    </a:cxn>
                    <a:cxn ang="0">
                      <a:pos x="connsiteX1725" y="connsiteY1725"/>
                    </a:cxn>
                    <a:cxn ang="0">
                      <a:pos x="connsiteX1726" y="connsiteY1726"/>
                    </a:cxn>
                    <a:cxn ang="0">
                      <a:pos x="connsiteX1727" y="connsiteY1727"/>
                    </a:cxn>
                    <a:cxn ang="0">
                      <a:pos x="connsiteX1728" y="connsiteY1728"/>
                    </a:cxn>
                    <a:cxn ang="0">
                      <a:pos x="connsiteX1729" y="connsiteY1729"/>
                    </a:cxn>
                    <a:cxn ang="0">
                      <a:pos x="connsiteX1730" y="connsiteY1730"/>
                    </a:cxn>
                    <a:cxn ang="0">
                      <a:pos x="connsiteX1731" y="connsiteY1731"/>
                    </a:cxn>
                    <a:cxn ang="0">
                      <a:pos x="connsiteX1732" y="connsiteY1732"/>
                    </a:cxn>
                    <a:cxn ang="0">
                      <a:pos x="connsiteX1733" y="connsiteY1733"/>
                    </a:cxn>
                    <a:cxn ang="0">
                      <a:pos x="connsiteX1734" y="connsiteY1734"/>
                    </a:cxn>
                    <a:cxn ang="0">
                      <a:pos x="connsiteX1735" y="connsiteY1735"/>
                    </a:cxn>
                    <a:cxn ang="0">
                      <a:pos x="connsiteX1736" y="connsiteY1736"/>
                    </a:cxn>
                    <a:cxn ang="0">
                      <a:pos x="connsiteX1737" y="connsiteY1737"/>
                    </a:cxn>
                    <a:cxn ang="0">
                      <a:pos x="connsiteX1738" y="connsiteY1738"/>
                    </a:cxn>
                    <a:cxn ang="0">
                      <a:pos x="connsiteX1739" y="connsiteY1739"/>
                    </a:cxn>
                    <a:cxn ang="0">
                      <a:pos x="connsiteX1740" y="connsiteY1740"/>
                    </a:cxn>
                    <a:cxn ang="0">
                      <a:pos x="connsiteX1741" y="connsiteY1741"/>
                    </a:cxn>
                    <a:cxn ang="0">
                      <a:pos x="connsiteX1742" y="connsiteY1742"/>
                    </a:cxn>
                    <a:cxn ang="0">
                      <a:pos x="connsiteX1743" y="connsiteY1743"/>
                    </a:cxn>
                    <a:cxn ang="0">
                      <a:pos x="connsiteX1744" y="connsiteY1744"/>
                    </a:cxn>
                    <a:cxn ang="0">
                      <a:pos x="connsiteX1745" y="connsiteY1745"/>
                    </a:cxn>
                    <a:cxn ang="0">
                      <a:pos x="connsiteX1746" y="connsiteY1746"/>
                    </a:cxn>
                    <a:cxn ang="0">
                      <a:pos x="connsiteX1747" y="connsiteY1747"/>
                    </a:cxn>
                    <a:cxn ang="0">
                      <a:pos x="connsiteX1748" y="connsiteY1748"/>
                    </a:cxn>
                    <a:cxn ang="0">
                      <a:pos x="connsiteX1749" y="connsiteY1749"/>
                    </a:cxn>
                    <a:cxn ang="0">
                      <a:pos x="connsiteX1750" y="connsiteY1750"/>
                    </a:cxn>
                    <a:cxn ang="0">
                      <a:pos x="connsiteX1751" y="connsiteY1751"/>
                    </a:cxn>
                    <a:cxn ang="0">
                      <a:pos x="connsiteX1752" y="connsiteY1752"/>
                    </a:cxn>
                    <a:cxn ang="0">
                      <a:pos x="connsiteX1753" y="connsiteY1753"/>
                    </a:cxn>
                    <a:cxn ang="0">
                      <a:pos x="connsiteX1754" y="connsiteY1754"/>
                    </a:cxn>
                    <a:cxn ang="0">
                      <a:pos x="connsiteX1755" y="connsiteY1755"/>
                    </a:cxn>
                    <a:cxn ang="0">
                      <a:pos x="connsiteX1756" y="connsiteY1756"/>
                    </a:cxn>
                    <a:cxn ang="0">
                      <a:pos x="connsiteX1757" y="connsiteY1757"/>
                    </a:cxn>
                    <a:cxn ang="0">
                      <a:pos x="connsiteX1758" y="connsiteY1758"/>
                    </a:cxn>
                    <a:cxn ang="0">
                      <a:pos x="connsiteX1759" y="connsiteY1759"/>
                    </a:cxn>
                    <a:cxn ang="0">
                      <a:pos x="connsiteX1760" y="connsiteY1760"/>
                    </a:cxn>
                    <a:cxn ang="0">
                      <a:pos x="connsiteX1761" y="connsiteY1761"/>
                    </a:cxn>
                    <a:cxn ang="0">
                      <a:pos x="connsiteX1762" y="connsiteY1762"/>
                    </a:cxn>
                    <a:cxn ang="0">
                      <a:pos x="connsiteX1763" y="connsiteY1763"/>
                    </a:cxn>
                    <a:cxn ang="0">
                      <a:pos x="connsiteX1764" y="connsiteY1764"/>
                    </a:cxn>
                    <a:cxn ang="0">
                      <a:pos x="connsiteX1765" y="connsiteY1765"/>
                    </a:cxn>
                    <a:cxn ang="0">
                      <a:pos x="connsiteX1766" y="connsiteY1766"/>
                    </a:cxn>
                    <a:cxn ang="0">
                      <a:pos x="connsiteX1767" y="connsiteY1767"/>
                    </a:cxn>
                    <a:cxn ang="0">
                      <a:pos x="connsiteX1768" y="connsiteY1768"/>
                    </a:cxn>
                    <a:cxn ang="0">
                      <a:pos x="connsiteX1769" y="connsiteY1769"/>
                    </a:cxn>
                    <a:cxn ang="0">
                      <a:pos x="connsiteX1770" y="connsiteY1770"/>
                    </a:cxn>
                    <a:cxn ang="0">
                      <a:pos x="connsiteX1771" y="connsiteY1771"/>
                    </a:cxn>
                    <a:cxn ang="0">
                      <a:pos x="connsiteX1772" y="connsiteY1772"/>
                    </a:cxn>
                    <a:cxn ang="0">
                      <a:pos x="connsiteX1773" y="connsiteY1773"/>
                    </a:cxn>
                    <a:cxn ang="0">
                      <a:pos x="connsiteX1774" y="connsiteY1774"/>
                    </a:cxn>
                    <a:cxn ang="0">
                      <a:pos x="connsiteX1775" y="connsiteY1775"/>
                    </a:cxn>
                    <a:cxn ang="0">
                      <a:pos x="connsiteX1776" y="connsiteY1776"/>
                    </a:cxn>
                    <a:cxn ang="0">
                      <a:pos x="connsiteX1777" y="connsiteY1777"/>
                    </a:cxn>
                    <a:cxn ang="0">
                      <a:pos x="connsiteX1778" y="connsiteY1778"/>
                    </a:cxn>
                    <a:cxn ang="0">
                      <a:pos x="connsiteX1779" y="connsiteY1779"/>
                    </a:cxn>
                    <a:cxn ang="0">
                      <a:pos x="connsiteX1780" y="connsiteY1780"/>
                    </a:cxn>
                    <a:cxn ang="0">
                      <a:pos x="connsiteX1781" y="connsiteY1781"/>
                    </a:cxn>
                    <a:cxn ang="0">
                      <a:pos x="connsiteX1782" y="connsiteY1782"/>
                    </a:cxn>
                    <a:cxn ang="0">
                      <a:pos x="connsiteX1783" y="connsiteY1783"/>
                    </a:cxn>
                    <a:cxn ang="0">
                      <a:pos x="connsiteX1784" y="connsiteY1784"/>
                    </a:cxn>
                    <a:cxn ang="0">
                      <a:pos x="connsiteX1785" y="connsiteY1785"/>
                    </a:cxn>
                    <a:cxn ang="0">
                      <a:pos x="connsiteX1786" y="connsiteY1786"/>
                    </a:cxn>
                    <a:cxn ang="0">
                      <a:pos x="connsiteX1787" y="connsiteY1787"/>
                    </a:cxn>
                    <a:cxn ang="0">
                      <a:pos x="connsiteX1788" y="connsiteY1788"/>
                    </a:cxn>
                    <a:cxn ang="0">
                      <a:pos x="connsiteX1789" y="connsiteY1789"/>
                    </a:cxn>
                    <a:cxn ang="0">
                      <a:pos x="connsiteX1790" y="connsiteY1790"/>
                    </a:cxn>
                    <a:cxn ang="0">
                      <a:pos x="connsiteX1791" y="connsiteY1791"/>
                    </a:cxn>
                    <a:cxn ang="0">
                      <a:pos x="connsiteX1792" y="connsiteY1792"/>
                    </a:cxn>
                    <a:cxn ang="0">
                      <a:pos x="connsiteX1793" y="connsiteY1793"/>
                    </a:cxn>
                    <a:cxn ang="0">
                      <a:pos x="connsiteX1794" y="connsiteY1794"/>
                    </a:cxn>
                    <a:cxn ang="0">
                      <a:pos x="connsiteX1795" y="connsiteY1795"/>
                    </a:cxn>
                    <a:cxn ang="0">
                      <a:pos x="connsiteX1796" y="connsiteY1796"/>
                    </a:cxn>
                    <a:cxn ang="0">
                      <a:pos x="connsiteX1797" y="connsiteY1797"/>
                    </a:cxn>
                    <a:cxn ang="0">
                      <a:pos x="connsiteX1798" y="connsiteY1798"/>
                    </a:cxn>
                    <a:cxn ang="0">
                      <a:pos x="connsiteX1799" y="connsiteY1799"/>
                    </a:cxn>
                    <a:cxn ang="0">
                      <a:pos x="connsiteX1800" y="connsiteY1800"/>
                    </a:cxn>
                    <a:cxn ang="0">
                      <a:pos x="connsiteX1801" y="connsiteY1801"/>
                    </a:cxn>
                    <a:cxn ang="0">
                      <a:pos x="connsiteX1802" y="connsiteY1802"/>
                    </a:cxn>
                    <a:cxn ang="0">
                      <a:pos x="connsiteX1803" y="connsiteY1803"/>
                    </a:cxn>
                    <a:cxn ang="0">
                      <a:pos x="connsiteX1804" y="connsiteY1804"/>
                    </a:cxn>
                    <a:cxn ang="0">
                      <a:pos x="connsiteX1805" y="connsiteY1805"/>
                    </a:cxn>
                    <a:cxn ang="0">
                      <a:pos x="connsiteX1806" y="connsiteY1806"/>
                    </a:cxn>
                    <a:cxn ang="0">
                      <a:pos x="connsiteX1807" y="connsiteY1807"/>
                    </a:cxn>
                    <a:cxn ang="0">
                      <a:pos x="connsiteX1808" y="connsiteY1808"/>
                    </a:cxn>
                    <a:cxn ang="0">
                      <a:pos x="connsiteX1809" y="connsiteY1809"/>
                    </a:cxn>
                    <a:cxn ang="0">
                      <a:pos x="connsiteX1810" y="connsiteY1810"/>
                    </a:cxn>
                    <a:cxn ang="0">
                      <a:pos x="connsiteX1811" y="connsiteY1811"/>
                    </a:cxn>
                    <a:cxn ang="0">
                      <a:pos x="connsiteX1812" y="connsiteY1812"/>
                    </a:cxn>
                    <a:cxn ang="0">
                      <a:pos x="connsiteX1813" y="connsiteY1813"/>
                    </a:cxn>
                    <a:cxn ang="0">
                      <a:pos x="connsiteX1814" y="connsiteY1814"/>
                    </a:cxn>
                    <a:cxn ang="0">
                      <a:pos x="connsiteX1815" y="connsiteY1815"/>
                    </a:cxn>
                    <a:cxn ang="0">
                      <a:pos x="connsiteX1816" y="connsiteY1816"/>
                    </a:cxn>
                    <a:cxn ang="0">
                      <a:pos x="connsiteX1817" y="connsiteY1817"/>
                    </a:cxn>
                    <a:cxn ang="0">
                      <a:pos x="connsiteX1818" y="connsiteY1818"/>
                    </a:cxn>
                    <a:cxn ang="0">
                      <a:pos x="connsiteX1819" y="connsiteY1819"/>
                    </a:cxn>
                    <a:cxn ang="0">
                      <a:pos x="connsiteX1820" y="connsiteY1820"/>
                    </a:cxn>
                    <a:cxn ang="0">
                      <a:pos x="connsiteX1821" y="connsiteY1821"/>
                    </a:cxn>
                    <a:cxn ang="0">
                      <a:pos x="connsiteX1822" y="connsiteY1822"/>
                    </a:cxn>
                    <a:cxn ang="0">
                      <a:pos x="connsiteX1823" y="connsiteY1823"/>
                    </a:cxn>
                    <a:cxn ang="0">
                      <a:pos x="connsiteX1824" y="connsiteY1824"/>
                    </a:cxn>
                    <a:cxn ang="0">
                      <a:pos x="connsiteX1825" y="connsiteY1825"/>
                    </a:cxn>
                    <a:cxn ang="0">
                      <a:pos x="connsiteX1826" y="connsiteY1826"/>
                    </a:cxn>
                    <a:cxn ang="0">
                      <a:pos x="connsiteX1827" y="connsiteY1827"/>
                    </a:cxn>
                    <a:cxn ang="0">
                      <a:pos x="connsiteX1828" y="connsiteY1828"/>
                    </a:cxn>
                    <a:cxn ang="0">
                      <a:pos x="connsiteX1829" y="connsiteY1829"/>
                    </a:cxn>
                    <a:cxn ang="0">
                      <a:pos x="connsiteX1830" y="connsiteY1830"/>
                    </a:cxn>
                    <a:cxn ang="0">
                      <a:pos x="connsiteX1831" y="connsiteY1831"/>
                    </a:cxn>
                    <a:cxn ang="0">
                      <a:pos x="connsiteX1832" y="connsiteY1832"/>
                    </a:cxn>
                    <a:cxn ang="0">
                      <a:pos x="connsiteX1833" y="connsiteY1833"/>
                    </a:cxn>
                    <a:cxn ang="0">
                      <a:pos x="connsiteX1834" y="connsiteY1834"/>
                    </a:cxn>
                    <a:cxn ang="0">
                      <a:pos x="connsiteX1835" y="connsiteY1835"/>
                    </a:cxn>
                    <a:cxn ang="0">
                      <a:pos x="connsiteX1836" y="connsiteY1836"/>
                    </a:cxn>
                    <a:cxn ang="0">
                      <a:pos x="connsiteX1837" y="connsiteY1837"/>
                    </a:cxn>
                    <a:cxn ang="0">
                      <a:pos x="connsiteX1838" y="connsiteY1838"/>
                    </a:cxn>
                    <a:cxn ang="0">
                      <a:pos x="connsiteX1839" y="connsiteY1839"/>
                    </a:cxn>
                    <a:cxn ang="0">
                      <a:pos x="connsiteX1840" y="connsiteY1840"/>
                    </a:cxn>
                    <a:cxn ang="0">
                      <a:pos x="connsiteX1841" y="connsiteY1841"/>
                    </a:cxn>
                    <a:cxn ang="0">
                      <a:pos x="connsiteX1842" y="connsiteY1842"/>
                    </a:cxn>
                    <a:cxn ang="0">
                      <a:pos x="connsiteX1843" y="connsiteY1843"/>
                    </a:cxn>
                    <a:cxn ang="0">
                      <a:pos x="connsiteX1844" y="connsiteY1844"/>
                    </a:cxn>
                    <a:cxn ang="0">
                      <a:pos x="connsiteX1845" y="connsiteY1845"/>
                    </a:cxn>
                    <a:cxn ang="0">
                      <a:pos x="connsiteX1846" y="connsiteY1846"/>
                    </a:cxn>
                    <a:cxn ang="0">
                      <a:pos x="connsiteX1847" y="connsiteY1847"/>
                    </a:cxn>
                    <a:cxn ang="0">
                      <a:pos x="connsiteX1848" y="connsiteY1848"/>
                    </a:cxn>
                    <a:cxn ang="0">
                      <a:pos x="connsiteX1849" y="connsiteY1849"/>
                    </a:cxn>
                    <a:cxn ang="0">
                      <a:pos x="connsiteX1850" y="connsiteY1850"/>
                    </a:cxn>
                    <a:cxn ang="0">
                      <a:pos x="connsiteX1851" y="connsiteY1851"/>
                    </a:cxn>
                    <a:cxn ang="0">
                      <a:pos x="connsiteX1852" y="connsiteY1852"/>
                    </a:cxn>
                    <a:cxn ang="0">
                      <a:pos x="connsiteX1853" y="connsiteY1853"/>
                    </a:cxn>
                    <a:cxn ang="0">
                      <a:pos x="connsiteX1854" y="connsiteY1854"/>
                    </a:cxn>
                    <a:cxn ang="0">
                      <a:pos x="connsiteX1855" y="connsiteY1855"/>
                    </a:cxn>
                    <a:cxn ang="0">
                      <a:pos x="connsiteX1856" y="connsiteY1856"/>
                    </a:cxn>
                    <a:cxn ang="0">
                      <a:pos x="connsiteX1857" y="connsiteY1857"/>
                    </a:cxn>
                    <a:cxn ang="0">
                      <a:pos x="connsiteX1858" y="connsiteY1858"/>
                    </a:cxn>
                    <a:cxn ang="0">
                      <a:pos x="connsiteX1859" y="connsiteY1859"/>
                    </a:cxn>
                    <a:cxn ang="0">
                      <a:pos x="connsiteX1860" y="connsiteY1860"/>
                    </a:cxn>
                    <a:cxn ang="0">
                      <a:pos x="connsiteX1861" y="connsiteY1861"/>
                    </a:cxn>
                    <a:cxn ang="0">
                      <a:pos x="connsiteX1862" y="connsiteY1862"/>
                    </a:cxn>
                    <a:cxn ang="0">
                      <a:pos x="connsiteX1863" y="connsiteY1863"/>
                    </a:cxn>
                    <a:cxn ang="0">
                      <a:pos x="connsiteX1864" y="connsiteY1864"/>
                    </a:cxn>
                    <a:cxn ang="0">
                      <a:pos x="connsiteX1865" y="connsiteY1865"/>
                    </a:cxn>
                    <a:cxn ang="0">
                      <a:pos x="connsiteX1866" y="connsiteY1866"/>
                    </a:cxn>
                    <a:cxn ang="0">
                      <a:pos x="connsiteX1867" y="connsiteY1867"/>
                    </a:cxn>
                    <a:cxn ang="0">
                      <a:pos x="connsiteX1868" y="connsiteY1868"/>
                    </a:cxn>
                    <a:cxn ang="0">
                      <a:pos x="connsiteX1869" y="connsiteY1869"/>
                    </a:cxn>
                    <a:cxn ang="0">
                      <a:pos x="connsiteX1870" y="connsiteY1870"/>
                    </a:cxn>
                    <a:cxn ang="0">
                      <a:pos x="connsiteX1871" y="connsiteY1871"/>
                    </a:cxn>
                    <a:cxn ang="0">
                      <a:pos x="connsiteX1872" y="connsiteY1872"/>
                    </a:cxn>
                    <a:cxn ang="0">
                      <a:pos x="connsiteX1873" y="connsiteY1873"/>
                    </a:cxn>
                    <a:cxn ang="0">
                      <a:pos x="connsiteX1874" y="connsiteY1874"/>
                    </a:cxn>
                    <a:cxn ang="0">
                      <a:pos x="connsiteX1875" y="connsiteY1875"/>
                    </a:cxn>
                    <a:cxn ang="0">
                      <a:pos x="connsiteX1876" y="connsiteY1876"/>
                    </a:cxn>
                    <a:cxn ang="0">
                      <a:pos x="connsiteX1877" y="connsiteY1877"/>
                    </a:cxn>
                    <a:cxn ang="0">
                      <a:pos x="connsiteX1878" y="connsiteY1878"/>
                    </a:cxn>
                    <a:cxn ang="0">
                      <a:pos x="connsiteX1879" y="connsiteY1879"/>
                    </a:cxn>
                    <a:cxn ang="0">
                      <a:pos x="connsiteX1880" y="connsiteY1880"/>
                    </a:cxn>
                    <a:cxn ang="0">
                      <a:pos x="connsiteX1881" y="connsiteY1881"/>
                    </a:cxn>
                    <a:cxn ang="0">
                      <a:pos x="connsiteX1882" y="connsiteY1882"/>
                    </a:cxn>
                    <a:cxn ang="0">
                      <a:pos x="connsiteX1883" y="connsiteY1883"/>
                    </a:cxn>
                    <a:cxn ang="0">
                      <a:pos x="connsiteX1884" y="connsiteY1884"/>
                    </a:cxn>
                    <a:cxn ang="0">
                      <a:pos x="connsiteX1885" y="connsiteY1885"/>
                    </a:cxn>
                    <a:cxn ang="0">
                      <a:pos x="connsiteX1886" y="connsiteY1886"/>
                    </a:cxn>
                    <a:cxn ang="0">
                      <a:pos x="connsiteX1887" y="connsiteY1887"/>
                    </a:cxn>
                    <a:cxn ang="0">
                      <a:pos x="connsiteX1888" y="connsiteY1888"/>
                    </a:cxn>
                    <a:cxn ang="0">
                      <a:pos x="connsiteX1889" y="connsiteY1889"/>
                    </a:cxn>
                    <a:cxn ang="0">
                      <a:pos x="connsiteX1890" y="connsiteY1890"/>
                    </a:cxn>
                    <a:cxn ang="0">
                      <a:pos x="connsiteX1891" y="connsiteY1891"/>
                    </a:cxn>
                    <a:cxn ang="0">
                      <a:pos x="connsiteX1892" y="connsiteY1892"/>
                    </a:cxn>
                    <a:cxn ang="0">
                      <a:pos x="connsiteX1893" y="connsiteY1893"/>
                    </a:cxn>
                    <a:cxn ang="0">
                      <a:pos x="connsiteX1894" y="connsiteY1894"/>
                    </a:cxn>
                    <a:cxn ang="0">
                      <a:pos x="connsiteX1895" y="connsiteY1895"/>
                    </a:cxn>
                    <a:cxn ang="0">
                      <a:pos x="connsiteX1896" y="connsiteY1896"/>
                    </a:cxn>
                    <a:cxn ang="0">
                      <a:pos x="connsiteX1897" y="connsiteY1897"/>
                    </a:cxn>
                    <a:cxn ang="0">
                      <a:pos x="connsiteX1898" y="connsiteY1898"/>
                    </a:cxn>
                    <a:cxn ang="0">
                      <a:pos x="connsiteX1899" y="connsiteY1899"/>
                    </a:cxn>
                    <a:cxn ang="0">
                      <a:pos x="connsiteX1900" y="connsiteY1900"/>
                    </a:cxn>
                    <a:cxn ang="0">
                      <a:pos x="connsiteX1901" y="connsiteY1901"/>
                    </a:cxn>
                    <a:cxn ang="0">
                      <a:pos x="connsiteX1902" y="connsiteY1902"/>
                    </a:cxn>
                    <a:cxn ang="0">
                      <a:pos x="connsiteX1903" y="connsiteY1903"/>
                    </a:cxn>
                    <a:cxn ang="0">
                      <a:pos x="connsiteX1904" y="connsiteY1904"/>
                    </a:cxn>
                    <a:cxn ang="0">
                      <a:pos x="connsiteX1905" y="connsiteY1905"/>
                    </a:cxn>
                    <a:cxn ang="0">
                      <a:pos x="connsiteX1906" y="connsiteY1906"/>
                    </a:cxn>
                    <a:cxn ang="0">
                      <a:pos x="connsiteX1907" y="connsiteY1907"/>
                    </a:cxn>
                    <a:cxn ang="0">
                      <a:pos x="connsiteX1908" y="connsiteY1908"/>
                    </a:cxn>
                    <a:cxn ang="0">
                      <a:pos x="connsiteX1909" y="connsiteY1909"/>
                    </a:cxn>
                    <a:cxn ang="0">
                      <a:pos x="connsiteX1910" y="connsiteY1910"/>
                    </a:cxn>
                    <a:cxn ang="0">
                      <a:pos x="connsiteX1911" y="connsiteY1911"/>
                    </a:cxn>
                    <a:cxn ang="0">
                      <a:pos x="connsiteX1912" y="connsiteY1912"/>
                    </a:cxn>
                    <a:cxn ang="0">
                      <a:pos x="connsiteX1913" y="connsiteY1913"/>
                    </a:cxn>
                    <a:cxn ang="0">
                      <a:pos x="connsiteX1914" y="connsiteY1914"/>
                    </a:cxn>
                    <a:cxn ang="0">
                      <a:pos x="connsiteX1915" y="connsiteY1915"/>
                    </a:cxn>
                    <a:cxn ang="0">
                      <a:pos x="connsiteX1916" y="connsiteY1916"/>
                    </a:cxn>
                    <a:cxn ang="0">
                      <a:pos x="connsiteX1917" y="connsiteY1917"/>
                    </a:cxn>
                    <a:cxn ang="0">
                      <a:pos x="connsiteX1918" y="connsiteY1918"/>
                    </a:cxn>
                    <a:cxn ang="0">
                      <a:pos x="connsiteX1919" y="connsiteY1919"/>
                    </a:cxn>
                    <a:cxn ang="0">
                      <a:pos x="connsiteX1920" y="connsiteY1920"/>
                    </a:cxn>
                    <a:cxn ang="0">
                      <a:pos x="connsiteX1921" y="connsiteY1921"/>
                    </a:cxn>
                    <a:cxn ang="0">
                      <a:pos x="connsiteX1922" y="connsiteY1922"/>
                    </a:cxn>
                    <a:cxn ang="0">
                      <a:pos x="connsiteX1923" y="connsiteY1923"/>
                    </a:cxn>
                    <a:cxn ang="0">
                      <a:pos x="connsiteX1924" y="connsiteY1924"/>
                    </a:cxn>
                    <a:cxn ang="0">
                      <a:pos x="connsiteX1925" y="connsiteY1925"/>
                    </a:cxn>
                    <a:cxn ang="0">
                      <a:pos x="connsiteX1926" y="connsiteY1926"/>
                    </a:cxn>
                    <a:cxn ang="0">
                      <a:pos x="connsiteX1927" y="connsiteY1927"/>
                    </a:cxn>
                    <a:cxn ang="0">
                      <a:pos x="connsiteX1928" y="connsiteY1928"/>
                    </a:cxn>
                    <a:cxn ang="0">
                      <a:pos x="connsiteX1929" y="connsiteY1929"/>
                    </a:cxn>
                    <a:cxn ang="0">
                      <a:pos x="connsiteX1930" y="connsiteY1930"/>
                    </a:cxn>
                    <a:cxn ang="0">
                      <a:pos x="connsiteX1931" y="connsiteY1931"/>
                    </a:cxn>
                    <a:cxn ang="0">
                      <a:pos x="connsiteX1932" y="connsiteY1932"/>
                    </a:cxn>
                    <a:cxn ang="0">
                      <a:pos x="connsiteX1933" y="connsiteY1933"/>
                    </a:cxn>
                    <a:cxn ang="0">
                      <a:pos x="connsiteX1934" y="connsiteY1934"/>
                    </a:cxn>
                    <a:cxn ang="0">
                      <a:pos x="connsiteX1935" y="connsiteY1935"/>
                    </a:cxn>
                    <a:cxn ang="0">
                      <a:pos x="connsiteX1936" y="connsiteY1936"/>
                    </a:cxn>
                    <a:cxn ang="0">
                      <a:pos x="connsiteX1937" y="connsiteY1937"/>
                    </a:cxn>
                    <a:cxn ang="0">
                      <a:pos x="connsiteX1938" y="connsiteY1938"/>
                    </a:cxn>
                    <a:cxn ang="0">
                      <a:pos x="connsiteX1939" y="connsiteY1939"/>
                    </a:cxn>
                    <a:cxn ang="0">
                      <a:pos x="connsiteX1940" y="connsiteY1940"/>
                    </a:cxn>
                    <a:cxn ang="0">
                      <a:pos x="connsiteX1941" y="connsiteY1941"/>
                    </a:cxn>
                    <a:cxn ang="0">
                      <a:pos x="connsiteX1942" y="connsiteY1942"/>
                    </a:cxn>
                    <a:cxn ang="0">
                      <a:pos x="connsiteX1943" y="connsiteY1943"/>
                    </a:cxn>
                    <a:cxn ang="0">
                      <a:pos x="connsiteX1944" y="connsiteY1944"/>
                    </a:cxn>
                    <a:cxn ang="0">
                      <a:pos x="connsiteX1945" y="connsiteY1945"/>
                    </a:cxn>
                    <a:cxn ang="0">
                      <a:pos x="connsiteX1946" y="connsiteY1946"/>
                    </a:cxn>
                    <a:cxn ang="0">
                      <a:pos x="connsiteX1947" y="connsiteY1947"/>
                    </a:cxn>
                    <a:cxn ang="0">
                      <a:pos x="connsiteX1948" y="connsiteY1948"/>
                    </a:cxn>
                    <a:cxn ang="0">
                      <a:pos x="connsiteX1949" y="connsiteY1949"/>
                    </a:cxn>
                    <a:cxn ang="0">
                      <a:pos x="connsiteX1950" y="connsiteY1950"/>
                    </a:cxn>
                    <a:cxn ang="0">
                      <a:pos x="connsiteX1951" y="connsiteY1951"/>
                    </a:cxn>
                    <a:cxn ang="0">
                      <a:pos x="connsiteX1952" y="connsiteY1952"/>
                    </a:cxn>
                    <a:cxn ang="0">
                      <a:pos x="connsiteX1953" y="connsiteY1953"/>
                    </a:cxn>
                    <a:cxn ang="0">
                      <a:pos x="connsiteX1954" y="connsiteY1954"/>
                    </a:cxn>
                    <a:cxn ang="0">
                      <a:pos x="connsiteX1955" y="connsiteY1955"/>
                    </a:cxn>
                    <a:cxn ang="0">
                      <a:pos x="connsiteX1956" y="connsiteY1956"/>
                    </a:cxn>
                    <a:cxn ang="0">
                      <a:pos x="connsiteX1957" y="connsiteY1957"/>
                    </a:cxn>
                    <a:cxn ang="0">
                      <a:pos x="connsiteX1958" y="connsiteY1958"/>
                    </a:cxn>
                    <a:cxn ang="0">
                      <a:pos x="connsiteX1959" y="connsiteY1959"/>
                    </a:cxn>
                    <a:cxn ang="0">
                      <a:pos x="connsiteX1960" y="connsiteY1960"/>
                    </a:cxn>
                    <a:cxn ang="0">
                      <a:pos x="connsiteX1961" y="connsiteY1961"/>
                    </a:cxn>
                    <a:cxn ang="0">
                      <a:pos x="connsiteX1962" y="connsiteY1962"/>
                    </a:cxn>
                    <a:cxn ang="0">
                      <a:pos x="connsiteX1963" y="connsiteY1963"/>
                    </a:cxn>
                    <a:cxn ang="0">
                      <a:pos x="connsiteX1964" y="connsiteY1964"/>
                    </a:cxn>
                    <a:cxn ang="0">
                      <a:pos x="connsiteX1965" y="connsiteY1965"/>
                    </a:cxn>
                    <a:cxn ang="0">
                      <a:pos x="connsiteX1966" y="connsiteY1966"/>
                    </a:cxn>
                    <a:cxn ang="0">
                      <a:pos x="connsiteX1967" y="connsiteY1967"/>
                    </a:cxn>
                    <a:cxn ang="0">
                      <a:pos x="connsiteX1968" y="connsiteY1968"/>
                    </a:cxn>
                    <a:cxn ang="0">
                      <a:pos x="connsiteX1969" y="connsiteY1969"/>
                    </a:cxn>
                    <a:cxn ang="0">
                      <a:pos x="connsiteX1970" y="connsiteY1970"/>
                    </a:cxn>
                    <a:cxn ang="0">
                      <a:pos x="connsiteX1971" y="connsiteY1971"/>
                    </a:cxn>
                    <a:cxn ang="0">
                      <a:pos x="connsiteX1972" y="connsiteY1972"/>
                    </a:cxn>
                    <a:cxn ang="0">
                      <a:pos x="connsiteX1973" y="connsiteY1973"/>
                    </a:cxn>
                    <a:cxn ang="0">
                      <a:pos x="connsiteX1974" y="connsiteY1974"/>
                    </a:cxn>
                    <a:cxn ang="0">
                      <a:pos x="connsiteX1975" y="connsiteY1975"/>
                    </a:cxn>
                    <a:cxn ang="0">
                      <a:pos x="connsiteX1976" y="connsiteY1976"/>
                    </a:cxn>
                    <a:cxn ang="0">
                      <a:pos x="connsiteX1977" y="connsiteY1977"/>
                    </a:cxn>
                    <a:cxn ang="0">
                      <a:pos x="connsiteX1978" y="connsiteY1978"/>
                    </a:cxn>
                    <a:cxn ang="0">
                      <a:pos x="connsiteX1979" y="connsiteY1979"/>
                    </a:cxn>
                    <a:cxn ang="0">
                      <a:pos x="connsiteX1980" y="connsiteY1980"/>
                    </a:cxn>
                    <a:cxn ang="0">
                      <a:pos x="connsiteX1981" y="connsiteY1981"/>
                    </a:cxn>
                    <a:cxn ang="0">
                      <a:pos x="connsiteX1982" y="connsiteY1982"/>
                    </a:cxn>
                    <a:cxn ang="0">
                      <a:pos x="connsiteX1983" y="connsiteY1983"/>
                    </a:cxn>
                    <a:cxn ang="0">
                      <a:pos x="connsiteX1984" y="connsiteY1984"/>
                    </a:cxn>
                    <a:cxn ang="0">
                      <a:pos x="connsiteX1985" y="connsiteY1985"/>
                    </a:cxn>
                    <a:cxn ang="0">
                      <a:pos x="connsiteX1986" y="connsiteY1986"/>
                    </a:cxn>
                    <a:cxn ang="0">
                      <a:pos x="connsiteX1987" y="connsiteY1987"/>
                    </a:cxn>
                    <a:cxn ang="0">
                      <a:pos x="connsiteX1988" y="connsiteY1988"/>
                    </a:cxn>
                    <a:cxn ang="0">
                      <a:pos x="connsiteX1989" y="connsiteY1989"/>
                    </a:cxn>
                    <a:cxn ang="0">
                      <a:pos x="connsiteX1990" y="connsiteY1990"/>
                    </a:cxn>
                    <a:cxn ang="0">
                      <a:pos x="connsiteX1991" y="connsiteY1991"/>
                    </a:cxn>
                    <a:cxn ang="0">
                      <a:pos x="connsiteX1992" y="connsiteY1992"/>
                    </a:cxn>
                    <a:cxn ang="0">
                      <a:pos x="connsiteX1993" y="connsiteY1993"/>
                    </a:cxn>
                    <a:cxn ang="0">
                      <a:pos x="connsiteX1994" y="connsiteY1994"/>
                    </a:cxn>
                    <a:cxn ang="0">
                      <a:pos x="connsiteX1995" y="connsiteY1995"/>
                    </a:cxn>
                    <a:cxn ang="0">
                      <a:pos x="connsiteX1996" y="connsiteY1996"/>
                    </a:cxn>
                    <a:cxn ang="0">
                      <a:pos x="connsiteX1997" y="connsiteY1997"/>
                    </a:cxn>
                    <a:cxn ang="0">
                      <a:pos x="connsiteX1998" y="connsiteY1998"/>
                    </a:cxn>
                    <a:cxn ang="0">
                      <a:pos x="connsiteX1999" y="connsiteY1999"/>
                    </a:cxn>
                    <a:cxn ang="0">
                      <a:pos x="connsiteX2000" y="connsiteY2000"/>
                    </a:cxn>
                    <a:cxn ang="0">
                      <a:pos x="connsiteX2001" y="connsiteY2001"/>
                    </a:cxn>
                    <a:cxn ang="0">
                      <a:pos x="connsiteX2002" y="connsiteY2002"/>
                    </a:cxn>
                    <a:cxn ang="0">
                      <a:pos x="connsiteX2003" y="connsiteY2003"/>
                    </a:cxn>
                    <a:cxn ang="0">
                      <a:pos x="connsiteX2004" y="connsiteY2004"/>
                    </a:cxn>
                    <a:cxn ang="0">
                      <a:pos x="connsiteX2005" y="connsiteY2005"/>
                    </a:cxn>
                    <a:cxn ang="0">
                      <a:pos x="connsiteX2006" y="connsiteY2006"/>
                    </a:cxn>
                    <a:cxn ang="0">
                      <a:pos x="connsiteX2007" y="connsiteY2007"/>
                    </a:cxn>
                    <a:cxn ang="0">
                      <a:pos x="connsiteX2008" y="connsiteY2008"/>
                    </a:cxn>
                    <a:cxn ang="0">
                      <a:pos x="connsiteX2009" y="connsiteY2009"/>
                    </a:cxn>
                    <a:cxn ang="0">
                      <a:pos x="connsiteX2010" y="connsiteY2010"/>
                    </a:cxn>
                    <a:cxn ang="0">
                      <a:pos x="connsiteX2011" y="connsiteY2011"/>
                    </a:cxn>
                    <a:cxn ang="0">
                      <a:pos x="connsiteX2012" y="connsiteY2012"/>
                    </a:cxn>
                    <a:cxn ang="0">
                      <a:pos x="connsiteX2013" y="connsiteY2013"/>
                    </a:cxn>
                    <a:cxn ang="0">
                      <a:pos x="connsiteX2014" y="connsiteY2014"/>
                    </a:cxn>
                    <a:cxn ang="0">
                      <a:pos x="connsiteX2015" y="connsiteY2015"/>
                    </a:cxn>
                    <a:cxn ang="0">
                      <a:pos x="connsiteX2016" y="connsiteY2016"/>
                    </a:cxn>
                    <a:cxn ang="0">
                      <a:pos x="connsiteX2017" y="connsiteY2017"/>
                    </a:cxn>
                    <a:cxn ang="0">
                      <a:pos x="connsiteX2018" y="connsiteY2018"/>
                    </a:cxn>
                    <a:cxn ang="0">
                      <a:pos x="connsiteX2019" y="connsiteY2019"/>
                    </a:cxn>
                    <a:cxn ang="0">
                      <a:pos x="connsiteX2020" y="connsiteY2020"/>
                    </a:cxn>
                    <a:cxn ang="0">
                      <a:pos x="connsiteX2021" y="connsiteY2021"/>
                    </a:cxn>
                    <a:cxn ang="0">
                      <a:pos x="connsiteX2022" y="connsiteY2022"/>
                    </a:cxn>
                    <a:cxn ang="0">
                      <a:pos x="connsiteX2023" y="connsiteY2023"/>
                    </a:cxn>
                    <a:cxn ang="0">
                      <a:pos x="connsiteX2024" y="connsiteY2024"/>
                    </a:cxn>
                    <a:cxn ang="0">
                      <a:pos x="connsiteX2025" y="connsiteY2025"/>
                    </a:cxn>
                    <a:cxn ang="0">
                      <a:pos x="connsiteX2026" y="connsiteY2026"/>
                    </a:cxn>
                    <a:cxn ang="0">
                      <a:pos x="connsiteX2027" y="connsiteY2027"/>
                    </a:cxn>
                    <a:cxn ang="0">
                      <a:pos x="connsiteX2028" y="connsiteY2028"/>
                    </a:cxn>
                    <a:cxn ang="0">
                      <a:pos x="connsiteX2029" y="connsiteY2029"/>
                    </a:cxn>
                    <a:cxn ang="0">
                      <a:pos x="connsiteX2030" y="connsiteY2030"/>
                    </a:cxn>
                    <a:cxn ang="0">
                      <a:pos x="connsiteX2031" y="connsiteY2031"/>
                    </a:cxn>
                    <a:cxn ang="0">
                      <a:pos x="connsiteX2032" y="connsiteY2032"/>
                    </a:cxn>
                    <a:cxn ang="0">
                      <a:pos x="connsiteX2033" y="connsiteY2033"/>
                    </a:cxn>
                    <a:cxn ang="0">
                      <a:pos x="connsiteX2034" y="connsiteY2034"/>
                    </a:cxn>
                    <a:cxn ang="0">
                      <a:pos x="connsiteX2035" y="connsiteY2035"/>
                    </a:cxn>
                    <a:cxn ang="0">
                      <a:pos x="connsiteX2036" y="connsiteY2036"/>
                    </a:cxn>
                    <a:cxn ang="0">
                      <a:pos x="connsiteX2037" y="connsiteY2037"/>
                    </a:cxn>
                    <a:cxn ang="0">
                      <a:pos x="connsiteX2038" y="connsiteY2038"/>
                    </a:cxn>
                    <a:cxn ang="0">
                      <a:pos x="connsiteX2039" y="connsiteY2039"/>
                    </a:cxn>
                    <a:cxn ang="0">
                      <a:pos x="connsiteX2040" y="connsiteY2040"/>
                    </a:cxn>
                    <a:cxn ang="0">
                      <a:pos x="connsiteX2041" y="connsiteY2041"/>
                    </a:cxn>
                    <a:cxn ang="0">
                      <a:pos x="connsiteX2042" y="connsiteY2042"/>
                    </a:cxn>
                    <a:cxn ang="0">
                      <a:pos x="connsiteX2043" y="connsiteY2043"/>
                    </a:cxn>
                    <a:cxn ang="0">
                      <a:pos x="connsiteX2044" y="connsiteY2044"/>
                    </a:cxn>
                    <a:cxn ang="0">
                      <a:pos x="connsiteX2045" y="connsiteY2045"/>
                    </a:cxn>
                    <a:cxn ang="0">
                      <a:pos x="connsiteX2046" y="connsiteY2046"/>
                    </a:cxn>
                    <a:cxn ang="0">
                      <a:pos x="connsiteX2047" y="connsiteY2047"/>
                    </a:cxn>
                    <a:cxn ang="0">
                      <a:pos x="connsiteX2048" y="connsiteY2048"/>
                    </a:cxn>
                    <a:cxn ang="0">
                      <a:pos x="connsiteX2049" y="connsiteY2049"/>
                    </a:cxn>
                    <a:cxn ang="0">
                      <a:pos x="connsiteX2050" y="connsiteY2050"/>
                    </a:cxn>
                    <a:cxn ang="0">
                      <a:pos x="connsiteX2051" y="connsiteY2051"/>
                    </a:cxn>
                    <a:cxn ang="0">
                      <a:pos x="connsiteX2052" y="connsiteY2052"/>
                    </a:cxn>
                    <a:cxn ang="0">
                      <a:pos x="connsiteX2053" y="connsiteY2053"/>
                    </a:cxn>
                    <a:cxn ang="0">
                      <a:pos x="connsiteX2054" y="connsiteY2054"/>
                    </a:cxn>
                    <a:cxn ang="0">
                      <a:pos x="connsiteX2055" y="connsiteY2055"/>
                    </a:cxn>
                    <a:cxn ang="0">
                      <a:pos x="connsiteX2056" y="connsiteY2056"/>
                    </a:cxn>
                    <a:cxn ang="0">
                      <a:pos x="connsiteX2057" y="connsiteY2057"/>
                    </a:cxn>
                    <a:cxn ang="0">
                      <a:pos x="connsiteX2058" y="connsiteY2058"/>
                    </a:cxn>
                    <a:cxn ang="0">
                      <a:pos x="connsiteX2059" y="connsiteY2059"/>
                    </a:cxn>
                    <a:cxn ang="0">
                      <a:pos x="connsiteX2060" y="connsiteY2060"/>
                    </a:cxn>
                    <a:cxn ang="0">
                      <a:pos x="connsiteX2061" y="connsiteY2061"/>
                    </a:cxn>
                    <a:cxn ang="0">
                      <a:pos x="connsiteX2062" y="connsiteY2062"/>
                    </a:cxn>
                    <a:cxn ang="0">
                      <a:pos x="connsiteX2063" y="connsiteY2063"/>
                    </a:cxn>
                    <a:cxn ang="0">
                      <a:pos x="connsiteX2064" y="connsiteY2064"/>
                    </a:cxn>
                    <a:cxn ang="0">
                      <a:pos x="connsiteX2065" y="connsiteY2065"/>
                    </a:cxn>
                    <a:cxn ang="0">
                      <a:pos x="connsiteX2066" y="connsiteY2066"/>
                    </a:cxn>
                    <a:cxn ang="0">
                      <a:pos x="connsiteX2067" y="connsiteY2067"/>
                    </a:cxn>
                    <a:cxn ang="0">
                      <a:pos x="connsiteX2068" y="connsiteY2068"/>
                    </a:cxn>
                    <a:cxn ang="0">
                      <a:pos x="connsiteX2069" y="connsiteY2069"/>
                    </a:cxn>
                    <a:cxn ang="0">
                      <a:pos x="connsiteX2070" y="connsiteY2070"/>
                    </a:cxn>
                    <a:cxn ang="0">
                      <a:pos x="connsiteX2071" y="connsiteY2071"/>
                    </a:cxn>
                    <a:cxn ang="0">
                      <a:pos x="connsiteX2072" y="connsiteY2072"/>
                    </a:cxn>
                    <a:cxn ang="0">
                      <a:pos x="connsiteX2073" y="connsiteY2073"/>
                    </a:cxn>
                    <a:cxn ang="0">
                      <a:pos x="connsiteX2074" y="connsiteY2074"/>
                    </a:cxn>
                    <a:cxn ang="0">
                      <a:pos x="connsiteX2075" y="connsiteY2075"/>
                    </a:cxn>
                    <a:cxn ang="0">
                      <a:pos x="connsiteX2076" y="connsiteY2076"/>
                    </a:cxn>
                    <a:cxn ang="0">
                      <a:pos x="connsiteX2077" y="connsiteY2077"/>
                    </a:cxn>
                    <a:cxn ang="0">
                      <a:pos x="connsiteX2078" y="connsiteY2078"/>
                    </a:cxn>
                    <a:cxn ang="0">
                      <a:pos x="connsiteX2079" y="connsiteY2079"/>
                    </a:cxn>
                    <a:cxn ang="0">
                      <a:pos x="connsiteX2080" y="connsiteY2080"/>
                    </a:cxn>
                    <a:cxn ang="0">
                      <a:pos x="connsiteX2081" y="connsiteY2081"/>
                    </a:cxn>
                    <a:cxn ang="0">
                      <a:pos x="connsiteX2082" y="connsiteY2082"/>
                    </a:cxn>
                    <a:cxn ang="0">
                      <a:pos x="connsiteX2083" y="connsiteY2083"/>
                    </a:cxn>
                    <a:cxn ang="0">
                      <a:pos x="connsiteX2084" y="connsiteY2084"/>
                    </a:cxn>
                    <a:cxn ang="0">
                      <a:pos x="connsiteX2085" y="connsiteY2085"/>
                    </a:cxn>
                    <a:cxn ang="0">
                      <a:pos x="connsiteX2086" y="connsiteY2086"/>
                    </a:cxn>
                    <a:cxn ang="0">
                      <a:pos x="connsiteX2087" y="connsiteY2087"/>
                    </a:cxn>
                    <a:cxn ang="0">
                      <a:pos x="connsiteX2088" y="connsiteY2088"/>
                    </a:cxn>
                    <a:cxn ang="0">
                      <a:pos x="connsiteX2089" y="connsiteY2089"/>
                    </a:cxn>
                    <a:cxn ang="0">
                      <a:pos x="connsiteX2090" y="connsiteY2090"/>
                    </a:cxn>
                    <a:cxn ang="0">
                      <a:pos x="connsiteX2091" y="connsiteY2091"/>
                    </a:cxn>
                    <a:cxn ang="0">
                      <a:pos x="connsiteX2092" y="connsiteY2092"/>
                    </a:cxn>
                    <a:cxn ang="0">
                      <a:pos x="connsiteX2093" y="connsiteY2093"/>
                    </a:cxn>
                    <a:cxn ang="0">
                      <a:pos x="connsiteX2094" y="connsiteY2094"/>
                    </a:cxn>
                    <a:cxn ang="0">
                      <a:pos x="connsiteX2095" y="connsiteY2095"/>
                    </a:cxn>
                    <a:cxn ang="0">
                      <a:pos x="connsiteX2096" y="connsiteY2096"/>
                    </a:cxn>
                    <a:cxn ang="0">
                      <a:pos x="connsiteX2097" y="connsiteY2097"/>
                    </a:cxn>
                    <a:cxn ang="0">
                      <a:pos x="connsiteX2098" y="connsiteY2098"/>
                    </a:cxn>
                    <a:cxn ang="0">
                      <a:pos x="connsiteX2099" y="connsiteY2099"/>
                    </a:cxn>
                    <a:cxn ang="0">
                      <a:pos x="connsiteX2100" y="connsiteY2100"/>
                    </a:cxn>
                    <a:cxn ang="0">
                      <a:pos x="connsiteX2101" y="connsiteY2101"/>
                    </a:cxn>
                    <a:cxn ang="0">
                      <a:pos x="connsiteX2102" y="connsiteY2102"/>
                    </a:cxn>
                    <a:cxn ang="0">
                      <a:pos x="connsiteX2103" y="connsiteY2103"/>
                    </a:cxn>
                    <a:cxn ang="0">
                      <a:pos x="connsiteX2104" y="connsiteY2104"/>
                    </a:cxn>
                    <a:cxn ang="0">
                      <a:pos x="connsiteX2105" y="connsiteY2105"/>
                    </a:cxn>
                    <a:cxn ang="0">
                      <a:pos x="connsiteX2106" y="connsiteY2106"/>
                    </a:cxn>
                    <a:cxn ang="0">
                      <a:pos x="connsiteX2107" y="connsiteY2107"/>
                    </a:cxn>
                    <a:cxn ang="0">
                      <a:pos x="connsiteX2108" y="connsiteY2108"/>
                    </a:cxn>
                    <a:cxn ang="0">
                      <a:pos x="connsiteX2109" y="connsiteY2109"/>
                    </a:cxn>
                    <a:cxn ang="0">
                      <a:pos x="connsiteX2110" y="connsiteY2110"/>
                    </a:cxn>
                    <a:cxn ang="0">
                      <a:pos x="connsiteX2111" y="connsiteY2111"/>
                    </a:cxn>
                    <a:cxn ang="0">
                      <a:pos x="connsiteX2112" y="connsiteY2112"/>
                    </a:cxn>
                    <a:cxn ang="0">
                      <a:pos x="connsiteX2113" y="connsiteY2113"/>
                    </a:cxn>
                    <a:cxn ang="0">
                      <a:pos x="connsiteX2114" y="connsiteY2114"/>
                    </a:cxn>
                    <a:cxn ang="0">
                      <a:pos x="connsiteX2115" y="connsiteY2115"/>
                    </a:cxn>
                    <a:cxn ang="0">
                      <a:pos x="connsiteX2116" y="connsiteY2116"/>
                    </a:cxn>
                    <a:cxn ang="0">
                      <a:pos x="connsiteX2117" y="connsiteY2117"/>
                    </a:cxn>
                    <a:cxn ang="0">
                      <a:pos x="connsiteX2118" y="connsiteY2118"/>
                    </a:cxn>
                    <a:cxn ang="0">
                      <a:pos x="connsiteX2119" y="connsiteY2119"/>
                    </a:cxn>
                    <a:cxn ang="0">
                      <a:pos x="connsiteX2120" y="connsiteY2120"/>
                    </a:cxn>
                    <a:cxn ang="0">
                      <a:pos x="connsiteX2121" y="connsiteY2121"/>
                    </a:cxn>
                    <a:cxn ang="0">
                      <a:pos x="connsiteX2122" y="connsiteY2122"/>
                    </a:cxn>
                    <a:cxn ang="0">
                      <a:pos x="connsiteX2123" y="connsiteY2123"/>
                    </a:cxn>
                    <a:cxn ang="0">
                      <a:pos x="connsiteX2124" y="connsiteY2124"/>
                    </a:cxn>
                    <a:cxn ang="0">
                      <a:pos x="connsiteX2125" y="connsiteY2125"/>
                    </a:cxn>
                    <a:cxn ang="0">
                      <a:pos x="connsiteX2126" y="connsiteY2126"/>
                    </a:cxn>
                    <a:cxn ang="0">
                      <a:pos x="connsiteX2127" y="connsiteY2127"/>
                    </a:cxn>
                    <a:cxn ang="0">
                      <a:pos x="connsiteX2128" y="connsiteY2128"/>
                    </a:cxn>
                    <a:cxn ang="0">
                      <a:pos x="connsiteX2129" y="connsiteY2129"/>
                    </a:cxn>
                    <a:cxn ang="0">
                      <a:pos x="connsiteX2130" y="connsiteY2130"/>
                    </a:cxn>
                    <a:cxn ang="0">
                      <a:pos x="connsiteX2131" y="connsiteY2131"/>
                    </a:cxn>
                    <a:cxn ang="0">
                      <a:pos x="connsiteX2132" y="connsiteY2132"/>
                    </a:cxn>
                    <a:cxn ang="0">
                      <a:pos x="connsiteX2133" y="connsiteY2133"/>
                    </a:cxn>
                    <a:cxn ang="0">
                      <a:pos x="connsiteX2134" y="connsiteY2134"/>
                    </a:cxn>
                    <a:cxn ang="0">
                      <a:pos x="connsiteX2135" y="connsiteY2135"/>
                    </a:cxn>
                    <a:cxn ang="0">
                      <a:pos x="connsiteX2136" y="connsiteY2136"/>
                    </a:cxn>
                    <a:cxn ang="0">
                      <a:pos x="connsiteX2137" y="connsiteY2137"/>
                    </a:cxn>
                    <a:cxn ang="0">
                      <a:pos x="connsiteX2138" y="connsiteY2138"/>
                    </a:cxn>
                    <a:cxn ang="0">
                      <a:pos x="connsiteX2139" y="connsiteY2139"/>
                    </a:cxn>
                    <a:cxn ang="0">
                      <a:pos x="connsiteX2140" y="connsiteY2140"/>
                    </a:cxn>
                    <a:cxn ang="0">
                      <a:pos x="connsiteX2141" y="connsiteY2141"/>
                    </a:cxn>
                    <a:cxn ang="0">
                      <a:pos x="connsiteX2142" y="connsiteY2142"/>
                    </a:cxn>
                    <a:cxn ang="0">
                      <a:pos x="connsiteX2143" y="connsiteY2143"/>
                    </a:cxn>
                    <a:cxn ang="0">
                      <a:pos x="connsiteX2144" y="connsiteY2144"/>
                    </a:cxn>
                    <a:cxn ang="0">
                      <a:pos x="connsiteX2145" y="connsiteY2145"/>
                    </a:cxn>
                    <a:cxn ang="0">
                      <a:pos x="connsiteX2146" y="connsiteY2146"/>
                    </a:cxn>
                    <a:cxn ang="0">
                      <a:pos x="connsiteX2147" y="connsiteY2147"/>
                    </a:cxn>
                    <a:cxn ang="0">
                      <a:pos x="connsiteX2148" y="connsiteY2148"/>
                    </a:cxn>
                    <a:cxn ang="0">
                      <a:pos x="connsiteX2149" y="connsiteY2149"/>
                    </a:cxn>
                    <a:cxn ang="0">
                      <a:pos x="connsiteX2150" y="connsiteY2150"/>
                    </a:cxn>
                    <a:cxn ang="0">
                      <a:pos x="connsiteX2151" y="connsiteY2151"/>
                    </a:cxn>
                    <a:cxn ang="0">
                      <a:pos x="connsiteX2152" y="connsiteY2152"/>
                    </a:cxn>
                    <a:cxn ang="0">
                      <a:pos x="connsiteX2153" y="connsiteY2153"/>
                    </a:cxn>
                    <a:cxn ang="0">
                      <a:pos x="connsiteX2154" y="connsiteY2154"/>
                    </a:cxn>
                    <a:cxn ang="0">
                      <a:pos x="connsiteX2155" y="connsiteY2155"/>
                    </a:cxn>
                    <a:cxn ang="0">
                      <a:pos x="connsiteX2156" y="connsiteY2156"/>
                    </a:cxn>
                    <a:cxn ang="0">
                      <a:pos x="connsiteX2157" y="connsiteY2157"/>
                    </a:cxn>
                    <a:cxn ang="0">
                      <a:pos x="connsiteX2158" y="connsiteY2158"/>
                    </a:cxn>
                    <a:cxn ang="0">
                      <a:pos x="connsiteX2159" y="connsiteY2159"/>
                    </a:cxn>
                    <a:cxn ang="0">
                      <a:pos x="connsiteX2160" y="connsiteY2160"/>
                    </a:cxn>
                    <a:cxn ang="0">
                      <a:pos x="connsiteX2161" y="connsiteY2161"/>
                    </a:cxn>
                    <a:cxn ang="0">
                      <a:pos x="connsiteX2162" y="connsiteY2162"/>
                    </a:cxn>
                    <a:cxn ang="0">
                      <a:pos x="connsiteX2163" y="connsiteY2163"/>
                    </a:cxn>
                    <a:cxn ang="0">
                      <a:pos x="connsiteX2164" y="connsiteY2164"/>
                    </a:cxn>
                    <a:cxn ang="0">
                      <a:pos x="connsiteX2165" y="connsiteY2165"/>
                    </a:cxn>
                    <a:cxn ang="0">
                      <a:pos x="connsiteX2166" y="connsiteY2166"/>
                    </a:cxn>
                    <a:cxn ang="0">
                      <a:pos x="connsiteX2167" y="connsiteY2167"/>
                    </a:cxn>
                    <a:cxn ang="0">
                      <a:pos x="connsiteX2168" y="connsiteY2168"/>
                    </a:cxn>
                    <a:cxn ang="0">
                      <a:pos x="connsiteX2169" y="connsiteY2169"/>
                    </a:cxn>
                    <a:cxn ang="0">
                      <a:pos x="connsiteX2170" y="connsiteY2170"/>
                    </a:cxn>
                    <a:cxn ang="0">
                      <a:pos x="connsiteX2171" y="connsiteY2171"/>
                    </a:cxn>
                    <a:cxn ang="0">
                      <a:pos x="connsiteX2172" y="connsiteY2172"/>
                    </a:cxn>
                    <a:cxn ang="0">
                      <a:pos x="connsiteX2173" y="connsiteY2173"/>
                    </a:cxn>
                    <a:cxn ang="0">
                      <a:pos x="connsiteX2174" y="connsiteY2174"/>
                    </a:cxn>
                    <a:cxn ang="0">
                      <a:pos x="connsiteX2175" y="connsiteY2175"/>
                    </a:cxn>
                    <a:cxn ang="0">
                      <a:pos x="connsiteX2176" y="connsiteY2176"/>
                    </a:cxn>
                    <a:cxn ang="0">
                      <a:pos x="connsiteX2177" y="connsiteY2177"/>
                    </a:cxn>
                    <a:cxn ang="0">
                      <a:pos x="connsiteX2178" y="connsiteY2178"/>
                    </a:cxn>
                    <a:cxn ang="0">
                      <a:pos x="connsiteX2179" y="connsiteY2179"/>
                    </a:cxn>
                    <a:cxn ang="0">
                      <a:pos x="connsiteX2180" y="connsiteY2180"/>
                    </a:cxn>
                    <a:cxn ang="0">
                      <a:pos x="connsiteX2181" y="connsiteY2181"/>
                    </a:cxn>
                    <a:cxn ang="0">
                      <a:pos x="connsiteX2182" y="connsiteY2182"/>
                    </a:cxn>
                    <a:cxn ang="0">
                      <a:pos x="connsiteX2183" y="connsiteY2183"/>
                    </a:cxn>
                    <a:cxn ang="0">
                      <a:pos x="connsiteX2184" y="connsiteY2184"/>
                    </a:cxn>
                    <a:cxn ang="0">
                      <a:pos x="connsiteX2185" y="connsiteY2185"/>
                    </a:cxn>
                    <a:cxn ang="0">
                      <a:pos x="connsiteX2186" y="connsiteY2186"/>
                    </a:cxn>
                    <a:cxn ang="0">
                      <a:pos x="connsiteX2187" y="connsiteY2187"/>
                    </a:cxn>
                    <a:cxn ang="0">
                      <a:pos x="connsiteX2188" y="connsiteY2188"/>
                    </a:cxn>
                    <a:cxn ang="0">
                      <a:pos x="connsiteX2189" y="connsiteY2189"/>
                    </a:cxn>
                    <a:cxn ang="0">
                      <a:pos x="connsiteX2190" y="connsiteY2190"/>
                    </a:cxn>
                    <a:cxn ang="0">
                      <a:pos x="connsiteX2191" y="connsiteY2191"/>
                    </a:cxn>
                    <a:cxn ang="0">
                      <a:pos x="connsiteX2192" y="connsiteY2192"/>
                    </a:cxn>
                    <a:cxn ang="0">
                      <a:pos x="connsiteX2193" y="connsiteY2193"/>
                    </a:cxn>
                    <a:cxn ang="0">
                      <a:pos x="connsiteX2194" y="connsiteY2194"/>
                    </a:cxn>
                    <a:cxn ang="0">
                      <a:pos x="connsiteX2195" y="connsiteY2195"/>
                    </a:cxn>
                    <a:cxn ang="0">
                      <a:pos x="connsiteX2196" y="connsiteY2196"/>
                    </a:cxn>
                    <a:cxn ang="0">
                      <a:pos x="connsiteX2197" y="connsiteY2197"/>
                    </a:cxn>
                    <a:cxn ang="0">
                      <a:pos x="connsiteX2198" y="connsiteY2198"/>
                    </a:cxn>
                    <a:cxn ang="0">
                      <a:pos x="connsiteX2199" y="connsiteY2199"/>
                    </a:cxn>
                    <a:cxn ang="0">
                      <a:pos x="connsiteX2200" y="connsiteY2200"/>
                    </a:cxn>
                    <a:cxn ang="0">
                      <a:pos x="connsiteX2201" y="connsiteY2201"/>
                    </a:cxn>
                    <a:cxn ang="0">
                      <a:pos x="connsiteX2202" y="connsiteY2202"/>
                    </a:cxn>
                    <a:cxn ang="0">
                      <a:pos x="connsiteX2203" y="connsiteY2203"/>
                    </a:cxn>
                    <a:cxn ang="0">
                      <a:pos x="connsiteX2204" y="connsiteY2204"/>
                    </a:cxn>
                    <a:cxn ang="0">
                      <a:pos x="connsiteX2205" y="connsiteY2205"/>
                    </a:cxn>
                    <a:cxn ang="0">
                      <a:pos x="connsiteX2206" y="connsiteY2206"/>
                    </a:cxn>
                    <a:cxn ang="0">
                      <a:pos x="connsiteX2207" y="connsiteY2207"/>
                    </a:cxn>
                    <a:cxn ang="0">
                      <a:pos x="connsiteX2208" y="connsiteY2208"/>
                    </a:cxn>
                    <a:cxn ang="0">
                      <a:pos x="connsiteX2209" y="connsiteY2209"/>
                    </a:cxn>
                    <a:cxn ang="0">
                      <a:pos x="connsiteX2210" y="connsiteY2210"/>
                    </a:cxn>
                    <a:cxn ang="0">
                      <a:pos x="connsiteX2211" y="connsiteY2211"/>
                    </a:cxn>
                    <a:cxn ang="0">
                      <a:pos x="connsiteX2212" y="connsiteY2212"/>
                    </a:cxn>
                    <a:cxn ang="0">
                      <a:pos x="connsiteX2213" y="connsiteY2213"/>
                    </a:cxn>
                    <a:cxn ang="0">
                      <a:pos x="connsiteX2214" y="connsiteY2214"/>
                    </a:cxn>
                    <a:cxn ang="0">
                      <a:pos x="connsiteX2215" y="connsiteY2215"/>
                    </a:cxn>
                    <a:cxn ang="0">
                      <a:pos x="connsiteX2216" y="connsiteY2216"/>
                    </a:cxn>
                    <a:cxn ang="0">
                      <a:pos x="connsiteX2217" y="connsiteY2217"/>
                    </a:cxn>
                    <a:cxn ang="0">
                      <a:pos x="connsiteX2218" y="connsiteY2218"/>
                    </a:cxn>
                    <a:cxn ang="0">
                      <a:pos x="connsiteX2219" y="connsiteY2219"/>
                    </a:cxn>
                    <a:cxn ang="0">
                      <a:pos x="connsiteX2220" y="connsiteY2220"/>
                    </a:cxn>
                    <a:cxn ang="0">
                      <a:pos x="connsiteX2221" y="connsiteY2221"/>
                    </a:cxn>
                    <a:cxn ang="0">
                      <a:pos x="connsiteX2222" y="connsiteY2222"/>
                    </a:cxn>
                    <a:cxn ang="0">
                      <a:pos x="connsiteX2223" y="connsiteY2223"/>
                    </a:cxn>
                    <a:cxn ang="0">
                      <a:pos x="connsiteX2224" y="connsiteY2224"/>
                    </a:cxn>
                    <a:cxn ang="0">
                      <a:pos x="connsiteX2225" y="connsiteY2225"/>
                    </a:cxn>
                    <a:cxn ang="0">
                      <a:pos x="connsiteX2226" y="connsiteY2226"/>
                    </a:cxn>
                    <a:cxn ang="0">
                      <a:pos x="connsiteX2227" y="connsiteY2227"/>
                    </a:cxn>
                    <a:cxn ang="0">
                      <a:pos x="connsiteX2228" y="connsiteY2228"/>
                    </a:cxn>
                    <a:cxn ang="0">
                      <a:pos x="connsiteX2229" y="connsiteY2229"/>
                    </a:cxn>
                    <a:cxn ang="0">
                      <a:pos x="connsiteX2230" y="connsiteY2230"/>
                    </a:cxn>
                    <a:cxn ang="0">
                      <a:pos x="connsiteX2231" y="connsiteY2231"/>
                    </a:cxn>
                    <a:cxn ang="0">
                      <a:pos x="connsiteX2232" y="connsiteY2232"/>
                    </a:cxn>
                    <a:cxn ang="0">
                      <a:pos x="connsiteX2233" y="connsiteY2233"/>
                    </a:cxn>
                    <a:cxn ang="0">
                      <a:pos x="connsiteX2234" y="connsiteY2234"/>
                    </a:cxn>
                    <a:cxn ang="0">
                      <a:pos x="connsiteX2235" y="connsiteY2235"/>
                    </a:cxn>
                    <a:cxn ang="0">
                      <a:pos x="connsiteX2236" y="connsiteY2236"/>
                    </a:cxn>
                    <a:cxn ang="0">
                      <a:pos x="connsiteX2237" y="connsiteY2237"/>
                    </a:cxn>
                    <a:cxn ang="0">
                      <a:pos x="connsiteX2238" y="connsiteY2238"/>
                    </a:cxn>
                    <a:cxn ang="0">
                      <a:pos x="connsiteX2239" y="connsiteY2239"/>
                    </a:cxn>
                    <a:cxn ang="0">
                      <a:pos x="connsiteX2240" y="connsiteY2240"/>
                    </a:cxn>
                    <a:cxn ang="0">
                      <a:pos x="connsiteX2241" y="connsiteY2241"/>
                    </a:cxn>
                    <a:cxn ang="0">
                      <a:pos x="connsiteX2242" y="connsiteY2242"/>
                    </a:cxn>
                    <a:cxn ang="0">
                      <a:pos x="connsiteX2243" y="connsiteY2243"/>
                    </a:cxn>
                    <a:cxn ang="0">
                      <a:pos x="connsiteX2244" y="connsiteY2244"/>
                    </a:cxn>
                    <a:cxn ang="0">
                      <a:pos x="connsiteX2245" y="connsiteY2245"/>
                    </a:cxn>
                    <a:cxn ang="0">
                      <a:pos x="connsiteX2246" y="connsiteY2246"/>
                    </a:cxn>
                    <a:cxn ang="0">
                      <a:pos x="connsiteX2247" y="connsiteY2247"/>
                    </a:cxn>
                    <a:cxn ang="0">
                      <a:pos x="connsiteX2248" y="connsiteY2248"/>
                    </a:cxn>
                    <a:cxn ang="0">
                      <a:pos x="connsiteX2249" y="connsiteY2249"/>
                    </a:cxn>
                    <a:cxn ang="0">
                      <a:pos x="connsiteX2250" y="connsiteY2250"/>
                    </a:cxn>
                    <a:cxn ang="0">
                      <a:pos x="connsiteX2251" y="connsiteY2251"/>
                    </a:cxn>
                    <a:cxn ang="0">
                      <a:pos x="connsiteX2252" y="connsiteY2252"/>
                    </a:cxn>
                    <a:cxn ang="0">
                      <a:pos x="connsiteX2253" y="connsiteY2253"/>
                    </a:cxn>
                    <a:cxn ang="0">
                      <a:pos x="connsiteX2254" y="connsiteY2254"/>
                    </a:cxn>
                    <a:cxn ang="0">
                      <a:pos x="connsiteX2255" y="connsiteY2255"/>
                    </a:cxn>
                    <a:cxn ang="0">
                      <a:pos x="connsiteX2256" y="connsiteY2256"/>
                    </a:cxn>
                    <a:cxn ang="0">
                      <a:pos x="connsiteX2257" y="connsiteY2257"/>
                    </a:cxn>
                    <a:cxn ang="0">
                      <a:pos x="connsiteX2258" y="connsiteY2258"/>
                    </a:cxn>
                    <a:cxn ang="0">
                      <a:pos x="connsiteX2259" y="connsiteY2259"/>
                    </a:cxn>
                    <a:cxn ang="0">
                      <a:pos x="connsiteX2260" y="connsiteY2260"/>
                    </a:cxn>
                    <a:cxn ang="0">
                      <a:pos x="connsiteX2261" y="connsiteY2261"/>
                    </a:cxn>
                    <a:cxn ang="0">
                      <a:pos x="connsiteX2262" y="connsiteY2262"/>
                    </a:cxn>
                    <a:cxn ang="0">
                      <a:pos x="connsiteX2263" y="connsiteY2263"/>
                    </a:cxn>
                    <a:cxn ang="0">
                      <a:pos x="connsiteX2264" y="connsiteY2264"/>
                    </a:cxn>
                    <a:cxn ang="0">
                      <a:pos x="connsiteX2265" y="connsiteY2265"/>
                    </a:cxn>
                    <a:cxn ang="0">
                      <a:pos x="connsiteX2266" y="connsiteY2266"/>
                    </a:cxn>
                    <a:cxn ang="0">
                      <a:pos x="connsiteX2267" y="connsiteY2267"/>
                    </a:cxn>
                    <a:cxn ang="0">
                      <a:pos x="connsiteX2268" y="connsiteY2268"/>
                    </a:cxn>
                    <a:cxn ang="0">
                      <a:pos x="connsiteX2269" y="connsiteY2269"/>
                    </a:cxn>
                    <a:cxn ang="0">
                      <a:pos x="connsiteX2270" y="connsiteY2270"/>
                    </a:cxn>
                    <a:cxn ang="0">
                      <a:pos x="connsiteX2271" y="connsiteY2271"/>
                    </a:cxn>
                    <a:cxn ang="0">
                      <a:pos x="connsiteX2272" y="connsiteY2272"/>
                    </a:cxn>
                    <a:cxn ang="0">
                      <a:pos x="connsiteX2273" y="connsiteY2273"/>
                    </a:cxn>
                    <a:cxn ang="0">
                      <a:pos x="connsiteX2274" y="connsiteY2274"/>
                    </a:cxn>
                    <a:cxn ang="0">
                      <a:pos x="connsiteX2275" y="connsiteY2275"/>
                    </a:cxn>
                    <a:cxn ang="0">
                      <a:pos x="connsiteX2276" y="connsiteY2276"/>
                    </a:cxn>
                    <a:cxn ang="0">
                      <a:pos x="connsiteX2277" y="connsiteY2277"/>
                    </a:cxn>
                    <a:cxn ang="0">
                      <a:pos x="connsiteX2278" y="connsiteY2278"/>
                    </a:cxn>
                    <a:cxn ang="0">
                      <a:pos x="connsiteX2279" y="connsiteY2279"/>
                    </a:cxn>
                    <a:cxn ang="0">
                      <a:pos x="connsiteX2280" y="connsiteY2280"/>
                    </a:cxn>
                    <a:cxn ang="0">
                      <a:pos x="connsiteX2281" y="connsiteY2281"/>
                    </a:cxn>
                    <a:cxn ang="0">
                      <a:pos x="connsiteX2282" y="connsiteY2282"/>
                    </a:cxn>
                    <a:cxn ang="0">
                      <a:pos x="connsiteX2283" y="connsiteY2283"/>
                    </a:cxn>
                    <a:cxn ang="0">
                      <a:pos x="connsiteX2284" y="connsiteY2284"/>
                    </a:cxn>
                    <a:cxn ang="0">
                      <a:pos x="connsiteX2285" y="connsiteY2285"/>
                    </a:cxn>
                    <a:cxn ang="0">
                      <a:pos x="connsiteX2286" y="connsiteY2286"/>
                    </a:cxn>
                    <a:cxn ang="0">
                      <a:pos x="connsiteX2287" y="connsiteY2287"/>
                    </a:cxn>
                    <a:cxn ang="0">
                      <a:pos x="connsiteX2288" y="connsiteY2288"/>
                    </a:cxn>
                    <a:cxn ang="0">
                      <a:pos x="connsiteX2289" y="connsiteY2289"/>
                    </a:cxn>
                    <a:cxn ang="0">
                      <a:pos x="connsiteX2290" y="connsiteY2290"/>
                    </a:cxn>
                    <a:cxn ang="0">
                      <a:pos x="connsiteX2291" y="connsiteY2291"/>
                    </a:cxn>
                    <a:cxn ang="0">
                      <a:pos x="connsiteX2292" y="connsiteY2292"/>
                    </a:cxn>
                    <a:cxn ang="0">
                      <a:pos x="connsiteX2293" y="connsiteY2293"/>
                    </a:cxn>
                    <a:cxn ang="0">
                      <a:pos x="connsiteX2294" y="connsiteY2294"/>
                    </a:cxn>
                    <a:cxn ang="0">
                      <a:pos x="connsiteX2295" y="connsiteY2295"/>
                    </a:cxn>
                    <a:cxn ang="0">
                      <a:pos x="connsiteX2296" y="connsiteY2296"/>
                    </a:cxn>
                    <a:cxn ang="0">
                      <a:pos x="connsiteX2297" y="connsiteY2297"/>
                    </a:cxn>
                    <a:cxn ang="0">
                      <a:pos x="connsiteX2298" y="connsiteY2298"/>
                    </a:cxn>
                    <a:cxn ang="0">
                      <a:pos x="connsiteX2299" y="connsiteY2299"/>
                    </a:cxn>
                    <a:cxn ang="0">
                      <a:pos x="connsiteX2300" y="connsiteY2300"/>
                    </a:cxn>
                    <a:cxn ang="0">
                      <a:pos x="connsiteX2301" y="connsiteY2301"/>
                    </a:cxn>
                    <a:cxn ang="0">
                      <a:pos x="connsiteX2302" y="connsiteY2302"/>
                    </a:cxn>
                    <a:cxn ang="0">
                      <a:pos x="connsiteX2303" y="connsiteY2303"/>
                    </a:cxn>
                    <a:cxn ang="0">
                      <a:pos x="connsiteX2304" y="connsiteY2304"/>
                    </a:cxn>
                    <a:cxn ang="0">
                      <a:pos x="connsiteX2305" y="connsiteY2305"/>
                    </a:cxn>
                    <a:cxn ang="0">
                      <a:pos x="connsiteX2306" y="connsiteY2306"/>
                    </a:cxn>
                    <a:cxn ang="0">
                      <a:pos x="connsiteX2307" y="connsiteY2307"/>
                    </a:cxn>
                    <a:cxn ang="0">
                      <a:pos x="connsiteX2308" y="connsiteY2308"/>
                    </a:cxn>
                    <a:cxn ang="0">
                      <a:pos x="connsiteX2309" y="connsiteY2309"/>
                    </a:cxn>
                    <a:cxn ang="0">
                      <a:pos x="connsiteX2310" y="connsiteY2310"/>
                    </a:cxn>
                    <a:cxn ang="0">
                      <a:pos x="connsiteX2311" y="connsiteY2311"/>
                    </a:cxn>
                    <a:cxn ang="0">
                      <a:pos x="connsiteX2312" y="connsiteY2312"/>
                    </a:cxn>
                    <a:cxn ang="0">
                      <a:pos x="connsiteX2313" y="connsiteY2313"/>
                    </a:cxn>
                    <a:cxn ang="0">
                      <a:pos x="connsiteX2314" y="connsiteY2314"/>
                    </a:cxn>
                    <a:cxn ang="0">
                      <a:pos x="connsiteX2315" y="connsiteY2315"/>
                    </a:cxn>
                    <a:cxn ang="0">
                      <a:pos x="connsiteX2316" y="connsiteY2316"/>
                    </a:cxn>
                    <a:cxn ang="0">
                      <a:pos x="connsiteX2317" y="connsiteY2317"/>
                    </a:cxn>
                    <a:cxn ang="0">
                      <a:pos x="connsiteX2318" y="connsiteY2318"/>
                    </a:cxn>
                    <a:cxn ang="0">
                      <a:pos x="connsiteX2319" y="connsiteY2319"/>
                    </a:cxn>
                    <a:cxn ang="0">
                      <a:pos x="connsiteX2320" y="connsiteY2320"/>
                    </a:cxn>
                    <a:cxn ang="0">
                      <a:pos x="connsiteX2321" y="connsiteY2321"/>
                    </a:cxn>
                    <a:cxn ang="0">
                      <a:pos x="connsiteX2322" y="connsiteY2322"/>
                    </a:cxn>
                    <a:cxn ang="0">
                      <a:pos x="connsiteX2323" y="connsiteY2323"/>
                    </a:cxn>
                    <a:cxn ang="0">
                      <a:pos x="connsiteX2324" y="connsiteY2324"/>
                    </a:cxn>
                    <a:cxn ang="0">
                      <a:pos x="connsiteX2325" y="connsiteY2325"/>
                    </a:cxn>
                    <a:cxn ang="0">
                      <a:pos x="connsiteX2326" y="connsiteY2326"/>
                    </a:cxn>
                    <a:cxn ang="0">
                      <a:pos x="connsiteX2327" y="connsiteY2327"/>
                    </a:cxn>
                    <a:cxn ang="0">
                      <a:pos x="connsiteX2328" y="connsiteY2328"/>
                    </a:cxn>
                    <a:cxn ang="0">
                      <a:pos x="connsiteX2329" y="connsiteY2329"/>
                    </a:cxn>
                    <a:cxn ang="0">
                      <a:pos x="connsiteX2330" y="connsiteY2330"/>
                    </a:cxn>
                    <a:cxn ang="0">
                      <a:pos x="connsiteX2331" y="connsiteY2331"/>
                    </a:cxn>
                    <a:cxn ang="0">
                      <a:pos x="connsiteX2332" y="connsiteY2332"/>
                    </a:cxn>
                    <a:cxn ang="0">
                      <a:pos x="connsiteX2333" y="connsiteY2333"/>
                    </a:cxn>
                    <a:cxn ang="0">
                      <a:pos x="connsiteX2334" y="connsiteY2334"/>
                    </a:cxn>
                    <a:cxn ang="0">
                      <a:pos x="connsiteX2335" y="connsiteY2335"/>
                    </a:cxn>
                    <a:cxn ang="0">
                      <a:pos x="connsiteX2336" y="connsiteY2336"/>
                    </a:cxn>
                    <a:cxn ang="0">
                      <a:pos x="connsiteX2337" y="connsiteY2337"/>
                    </a:cxn>
                    <a:cxn ang="0">
                      <a:pos x="connsiteX2338" y="connsiteY2338"/>
                    </a:cxn>
                    <a:cxn ang="0">
                      <a:pos x="connsiteX2339" y="connsiteY2339"/>
                    </a:cxn>
                    <a:cxn ang="0">
                      <a:pos x="connsiteX2340" y="connsiteY2340"/>
                    </a:cxn>
                    <a:cxn ang="0">
                      <a:pos x="connsiteX2341" y="connsiteY2341"/>
                    </a:cxn>
                    <a:cxn ang="0">
                      <a:pos x="connsiteX2342" y="connsiteY2342"/>
                    </a:cxn>
                    <a:cxn ang="0">
                      <a:pos x="connsiteX2343" y="connsiteY2343"/>
                    </a:cxn>
                    <a:cxn ang="0">
                      <a:pos x="connsiteX2344" y="connsiteY2344"/>
                    </a:cxn>
                    <a:cxn ang="0">
                      <a:pos x="connsiteX2345" y="connsiteY2345"/>
                    </a:cxn>
                    <a:cxn ang="0">
                      <a:pos x="connsiteX2346" y="connsiteY2346"/>
                    </a:cxn>
                    <a:cxn ang="0">
                      <a:pos x="connsiteX2347" y="connsiteY2347"/>
                    </a:cxn>
                    <a:cxn ang="0">
                      <a:pos x="connsiteX2348" y="connsiteY2348"/>
                    </a:cxn>
                    <a:cxn ang="0">
                      <a:pos x="connsiteX2349" y="connsiteY2349"/>
                    </a:cxn>
                    <a:cxn ang="0">
                      <a:pos x="connsiteX2350" y="connsiteY2350"/>
                    </a:cxn>
                    <a:cxn ang="0">
                      <a:pos x="connsiteX2351" y="connsiteY2351"/>
                    </a:cxn>
                    <a:cxn ang="0">
                      <a:pos x="connsiteX2352" y="connsiteY2352"/>
                    </a:cxn>
                    <a:cxn ang="0">
                      <a:pos x="connsiteX2353" y="connsiteY2353"/>
                    </a:cxn>
                    <a:cxn ang="0">
                      <a:pos x="connsiteX2354" y="connsiteY2354"/>
                    </a:cxn>
                    <a:cxn ang="0">
                      <a:pos x="connsiteX2355" y="connsiteY2355"/>
                    </a:cxn>
                    <a:cxn ang="0">
                      <a:pos x="connsiteX2356" y="connsiteY2356"/>
                    </a:cxn>
                    <a:cxn ang="0">
                      <a:pos x="connsiteX2357" y="connsiteY2357"/>
                    </a:cxn>
                    <a:cxn ang="0">
                      <a:pos x="connsiteX2358" y="connsiteY2358"/>
                    </a:cxn>
                    <a:cxn ang="0">
                      <a:pos x="connsiteX2359" y="connsiteY2359"/>
                    </a:cxn>
                    <a:cxn ang="0">
                      <a:pos x="connsiteX2360" y="connsiteY2360"/>
                    </a:cxn>
                    <a:cxn ang="0">
                      <a:pos x="connsiteX2361" y="connsiteY2361"/>
                    </a:cxn>
                    <a:cxn ang="0">
                      <a:pos x="connsiteX2362" y="connsiteY2362"/>
                    </a:cxn>
                    <a:cxn ang="0">
                      <a:pos x="connsiteX2363" y="connsiteY2363"/>
                    </a:cxn>
                    <a:cxn ang="0">
                      <a:pos x="connsiteX2364" y="connsiteY2364"/>
                    </a:cxn>
                    <a:cxn ang="0">
                      <a:pos x="connsiteX2365" y="connsiteY2365"/>
                    </a:cxn>
                    <a:cxn ang="0">
                      <a:pos x="connsiteX2366" y="connsiteY2366"/>
                    </a:cxn>
                    <a:cxn ang="0">
                      <a:pos x="connsiteX2367" y="connsiteY2367"/>
                    </a:cxn>
                    <a:cxn ang="0">
                      <a:pos x="connsiteX2368" y="connsiteY2368"/>
                    </a:cxn>
                    <a:cxn ang="0">
                      <a:pos x="connsiteX2369" y="connsiteY2369"/>
                    </a:cxn>
                    <a:cxn ang="0">
                      <a:pos x="connsiteX2370" y="connsiteY2370"/>
                    </a:cxn>
                    <a:cxn ang="0">
                      <a:pos x="connsiteX2371" y="connsiteY2371"/>
                    </a:cxn>
                    <a:cxn ang="0">
                      <a:pos x="connsiteX2372" y="connsiteY2372"/>
                    </a:cxn>
                    <a:cxn ang="0">
                      <a:pos x="connsiteX2373" y="connsiteY2373"/>
                    </a:cxn>
                    <a:cxn ang="0">
                      <a:pos x="connsiteX2374" y="connsiteY2374"/>
                    </a:cxn>
                    <a:cxn ang="0">
                      <a:pos x="connsiteX2375" y="connsiteY2375"/>
                    </a:cxn>
                    <a:cxn ang="0">
                      <a:pos x="connsiteX2376" y="connsiteY2376"/>
                    </a:cxn>
                    <a:cxn ang="0">
                      <a:pos x="connsiteX2377" y="connsiteY2377"/>
                    </a:cxn>
                    <a:cxn ang="0">
                      <a:pos x="connsiteX2378" y="connsiteY2378"/>
                    </a:cxn>
                    <a:cxn ang="0">
                      <a:pos x="connsiteX2379" y="connsiteY2379"/>
                    </a:cxn>
                    <a:cxn ang="0">
                      <a:pos x="connsiteX2380" y="connsiteY2380"/>
                    </a:cxn>
                    <a:cxn ang="0">
                      <a:pos x="connsiteX2381" y="connsiteY2381"/>
                    </a:cxn>
                    <a:cxn ang="0">
                      <a:pos x="connsiteX2382" y="connsiteY2382"/>
                    </a:cxn>
                    <a:cxn ang="0">
                      <a:pos x="connsiteX2383" y="connsiteY2383"/>
                    </a:cxn>
                    <a:cxn ang="0">
                      <a:pos x="connsiteX2384" y="connsiteY2384"/>
                    </a:cxn>
                    <a:cxn ang="0">
                      <a:pos x="connsiteX2385" y="connsiteY2385"/>
                    </a:cxn>
                    <a:cxn ang="0">
                      <a:pos x="connsiteX2386" y="connsiteY2386"/>
                    </a:cxn>
                    <a:cxn ang="0">
                      <a:pos x="connsiteX2387" y="connsiteY2387"/>
                    </a:cxn>
                    <a:cxn ang="0">
                      <a:pos x="connsiteX2388" y="connsiteY2388"/>
                    </a:cxn>
                    <a:cxn ang="0">
                      <a:pos x="connsiteX2389" y="connsiteY2389"/>
                    </a:cxn>
                    <a:cxn ang="0">
                      <a:pos x="connsiteX2390" y="connsiteY2390"/>
                    </a:cxn>
                    <a:cxn ang="0">
                      <a:pos x="connsiteX2391" y="connsiteY2391"/>
                    </a:cxn>
                    <a:cxn ang="0">
                      <a:pos x="connsiteX2392" y="connsiteY2392"/>
                    </a:cxn>
                    <a:cxn ang="0">
                      <a:pos x="connsiteX2393" y="connsiteY2393"/>
                    </a:cxn>
                    <a:cxn ang="0">
                      <a:pos x="connsiteX2394" y="connsiteY2394"/>
                    </a:cxn>
                    <a:cxn ang="0">
                      <a:pos x="connsiteX2395" y="connsiteY2395"/>
                    </a:cxn>
                    <a:cxn ang="0">
                      <a:pos x="connsiteX2396" y="connsiteY2396"/>
                    </a:cxn>
                    <a:cxn ang="0">
                      <a:pos x="connsiteX2397" y="connsiteY2397"/>
                    </a:cxn>
                    <a:cxn ang="0">
                      <a:pos x="connsiteX2398" y="connsiteY2398"/>
                    </a:cxn>
                    <a:cxn ang="0">
                      <a:pos x="connsiteX2399" y="connsiteY2399"/>
                    </a:cxn>
                    <a:cxn ang="0">
                      <a:pos x="connsiteX2400" y="connsiteY2400"/>
                    </a:cxn>
                    <a:cxn ang="0">
                      <a:pos x="connsiteX2401" y="connsiteY2401"/>
                    </a:cxn>
                    <a:cxn ang="0">
                      <a:pos x="connsiteX2402" y="connsiteY2402"/>
                    </a:cxn>
                    <a:cxn ang="0">
                      <a:pos x="connsiteX2403" y="connsiteY2403"/>
                    </a:cxn>
                    <a:cxn ang="0">
                      <a:pos x="connsiteX2404" y="connsiteY2404"/>
                    </a:cxn>
                    <a:cxn ang="0">
                      <a:pos x="connsiteX2405" y="connsiteY2405"/>
                    </a:cxn>
                    <a:cxn ang="0">
                      <a:pos x="connsiteX2406" y="connsiteY2406"/>
                    </a:cxn>
                    <a:cxn ang="0">
                      <a:pos x="connsiteX2407" y="connsiteY2407"/>
                    </a:cxn>
                    <a:cxn ang="0">
                      <a:pos x="connsiteX2408" y="connsiteY2408"/>
                    </a:cxn>
                    <a:cxn ang="0">
                      <a:pos x="connsiteX2409" y="connsiteY2409"/>
                    </a:cxn>
                    <a:cxn ang="0">
                      <a:pos x="connsiteX2410" y="connsiteY2410"/>
                    </a:cxn>
                    <a:cxn ang="0">
                      <a:pos x="connsiteX2411" y="connsiteY2411"/>
                    </a:cxn>
                    <a:cxn ang="0">
                      <a:pos x="connsiteX2412" y="connsiteY2412"/>
                    </a:cxn>
                    <a:cxn ang="0">
                      <a:pos x="connsiteX2413" y="connsiteY2413"/>
                    </a:cxn>
                    <a:cxn ang="0">
                      <a:pos x="connsiteX2414" y="connsiteY2414"/>
                    </a:cxn>
                    <a:cxn ang="0">
                      <a:pos x="connsiteX2415" y="connsiteY2415"/>
                    </a:cxn>
                    <a:cxn ang="0">
                      <a:pos x="connsiteX2416" y="connsiteY2416"/>
                    </a:cxn>
                    <a:cxn ang="0">
                      <a:pos x="connsiteX2417" y="connsiteY2417"/>
                    </a:cxn>
                    <a:cxn ang="0">
                      <a:pos x="connsiteX2418" y="connsiteY2418"/>
                    </a:cxn>
                    <a:cxn ang="0">
                      <a:pos x="connsiteX2419" y="connsiteY2419"/>
                    </a:cxn>
                    <a:cxn ang="0">
                      <a:pos x="connsiteX2420" y="connsiteY2420"/>
                    </a:cxn>
                    <a:cxn ang="0">
                      <a:pos x="connsiteX2421" y="connsiteY2421"/>
                    </a:cxn>
                    <a:cxn ang="0">
                      <a:pos x="connsiteX2422" y="connsiteY2422"/>
                    </a:cxn>
                    <a:cxn ang="0">
                      <a:pos x="connsiteX2423" y="connsiteY2423"/>
                    </a:cxn>
                    <a:cxn ang="0">
                      <a:pos x="connsiteX2424" y="connsiteY2424"/>
                    </a:cxn>
                    <a:cxn ang="0">
                      <a:pos x="connsiteX2425" y="connsiteY2425"/>
                    </a:cxn>
                    <a:cxn ang="0">
                      <a:pos x="connsiteX2426" y="connsiteY2426"/>
                    </a:cxn>
                    <a:cxn ang="0">
                      <a:pos x="connsiteX2427" y="connsiteY2427"/>
                    </a:cxn>
                    <a:cxn ang="0">
                      <a:pos x="connsiteX2428" y="connsiteY2428"/>
                    </a:cxn>
                    <a:cxn ang="0">
                      <a:pos x="connsiteX2429" y="connsiteY2429"/>
                    </a:cxn>
                    <a:cxn ang="0">
                      <a:pos x="connsiteX2430" y="connsiteY2430"/>
                    </a:cxn>
                    <a:cxn ang="0">
                      <a:pos x="connsiteX2431" y="connsiteY2431"/>
                    </a:cxn>
                    <a:cxn ang="0">
                      <a:pos x="connsiteX2432" y="connsiteY2432"/>
                    </a:cxn>
                    <a:cxn ang="0">
                      <a:pos x="connsiteX2433" y="connsiteY2433"/>
                    </a:cxn>
                    <a:cxn ang="0">
                      <a:pos x="connsiteX2434" y="connsiteY2434"/>
                    </a:cxn>
                    <a:cxn ang="0">
                      <a:pos x="connsiteX2435" y="connsiteY2435"/>
                    </a:cxn>
                    <a:cxn ang="0">
                      <a:pos x="connsiteX2436" y="connsiteY2436"/>
                    </a:cxn>
                    <a:cxn ang="0">
                      <a:pos x="connsiteX2437" y="connsiteY2437"/>
                    </a:cxn>
                    <a:cxn ang="0">
                      <a:pos x="connsiteX2438" y="connsiteY2438"/>
                    </a:cxn>
                    <a:cxn ang="0">
                      <a:pos x="connsiteX2439" y="connsiteY2439"/>
                    </a:cxn>
                    <a:cxn ang="0">
                      <a:pos x="connsiteX2440" y="connsiteY2440"/>
                    </a:cxn>
                    <a:cxn ang="0">
                      <a:pos x="connsiteX2441" y="connsiteY2441"/>
                    </a:cxn>
                    <a:cxn ang="0">
                      <a:pos x="connsiteX2442" y="connsiteY2442"/>
                    </a:cxn>
                    <a:cxn ang="0">
                      <a:pos x="connsiteX2443" y="connsiteY2443"/>
                    </a:cxn>
                    <a:cxn ang="0">
                      <a:pos x="connsiteX2444" y="connsiteY2444"/>
                    </a:cxn>
                    <a:cxn ang="0">
                      <a:pos x="connsiteX2445" y="connsiteY2445"/>
                    </a:cxn>
                    <a:cxn ang="0">
                      <a:pos x="connsiteX2446" y="connsiteY2446"/>
                    </a:cxn>
                    <a:cxn ang="0">
                      <a:pos x="connsiteX2447" y="connsiteY2447"/>
                    </a:cxn>
                    <a:cxn ang="0">
                      <a:pos x="connsiteX2448" y="connsiteY2448"/>
                    </a:cxn>
                    <a:cxn ang="0">
                      <a:pos x="connsiteX2449" y="connsiteY2449"/>
                    </a:cxn>
                    <a:cxn ang="0">
                      <a:pos x="connsiteX2450" y="connsiteY2450"/>
                    </a:cxn>
                    <a:cxn ang="0">
                      <a:pos x="connsiteX2451" y="connsiteY2451"/>
                    </a:cxn>
                    <a:cxn ang="0">
                      <a:pos x="connsiteX2452" y="connsiteY2452"/>
                    </a:cxn>
                    <a:cxn ang="0">
                      <a:pos x="connsiteX2453" y="connsiteY2453"/>
                    </a:cxn>
                    <a:cxn ang="0">
                      <a:pos x="connsiteX2454" y="connsiteY2454"/>
                    </a:cxn>
                    <a:cxn ang="0">
                      <a:pos x="connsiteX2455" y="connsiteY2455"/>
                    </a:cxn>
                    <a:cxn ang="0">
                      <a:pos x="connsiteX2456" y="connsiteY2456"/>
                    </a:cxn>
                    <a:cxn ang="0">
                      <a:pos x="connsiteX2457" y="connsiteY2457"/>
                    </a:cxn>
                    <a:cxn ang="0">
                      <a:pos x="connsiteX2458" y="connsiteY2458"/>
                    </a:cxn>
                    <a:cxn ang="0">
                      <a:pos x="connsiteX2459" y="connsiteY2459"/>
                    </a:cxn>
                    <a:cxn ang="0">
                      <a:pos x="connsiteX2460" y="connsiteY2460"/>
                    </a:cxn>
                    <a:cxn ang="0">
                      <a:pos x="connsiteX2461" y="connsiteY2461"/>
                    </a:cxn>
                    <a:cxn ang="0">
                      <a:pos x="connsiteX2462" y="connsiteY2462"/>
                    </a:cxn>
                    <a:cxn ang="0">
                      <a:pos x="connsiteX2463" y="connsiteY2463"/>
                    </a:cxn>
                    <a:cxn ang="0">
                      <a:pos x="connsiteX2464" y="connsiteY2464"/>
                    </a:cxn>
                    <a:cxn ang="0">
                      <a:pos x="connsiteX2465" y="connsiteY2465"/>
                    </a:cxn>
                    <a:cxn ang="0">
                      <a:pos x="connsiteX2466" y="connsiteY2466"/>
                    </a:cxn>
                    <a:cxn ang="0">
                      <a:pos x="connsiteX2467" y="connsiteY2467"/>
                    </a:cxn>
                    <a:cxn ang="0">
                      <a:pos x="connsiteX2468" y="connsiteY2468"/>
                    </a:cxn>
                    <a:cxn ang="0">
                      <a:pos x="connsiteX2469" y="connsiteY2469"/>
                    </a:cxn>
                    <a:cxn ang="0">
                      <a:pos x="connsiteX2470" y="connsiteY2470"/>
                    </a:cxn>
                    <a:cxn ang="0">
                      <a:pos x="connsiteX2471" y="connsiteY2471"/>
                    </a:cxn>
                    <a:cxn ang="0">
                      <a:pos x="connsiteX2472" y="connsiteY2472"/>
                    </a:cxn>
                    <a:cxn ang="0">
                      <a:pos x="connsiteX2473" y="connsiteY2473"/>
                    </a:cxn>
                    <a:cxn ang="0">
                      <a:pos x="connsiteX2474" y="connsiteY2474"/>
                    </a:cxn>
                    <a:cxn ang="0">
                      <a:pos x="connsiteX2475" y="connsiteY2475"/>
                    </a:cxn>
                    <a:cxn ang="0">
                      <a:pos x="connsiteX2476" y="connsiteY2476"/>
                    </a:cxn>
                    <a:cxn ang="0">
                      <a:pos x="connsiteX2477" y="connsiteY2477"/>
                    </a:cxn>
                    <a:cxn ang="0">
                      <a:pos x="connsiteX2478" y="connsiteY2478"/>
                    </a:cxn>
                    <a:cxn ang="0">
                      <a:pos x="connsiteX2479" y="connsiteY2479"/>
                    </a:cxn>
                    <a:cxn ang="0">
                      <a:pos x="connsiteX2480" y="connsiteY2480"/>
                    </a:cxn>
                    <a:cxn ang="0">
                      <a:pos x="connsiteX2481" y="connsiteY2481"/>
                    </a:cxn>
                    <a:cxn ang="0">
                      <a:pos x="connsiteX2482" y="connsiteY2482"/>
                    </a:cxn>
                    <a:cxn ang="0">
                      <a:pos x="connsiteX2483" y="connsiteY2483"/>
                    </a:cxn>
                    <a:cxn ang="0">
                      <a:pos x="connsiteX2484" y="connsiteY2484"/>
                    </a:cxn>
                    <a:cxn ang="0">
                      <a:pos x="connsiteX2485" y="connsiteY2485"/>
                    </a:cxn>
                    <a:cxn ang="0">
                      <a:pos x="connsiteX2486" y="connsiteY2486"/>
                    </a:cxn>
                    <a:cxn ang="0">
                      <a:pos x="connsiteX2487" y="connsiteY2487"/>
                    </a:cxn>
                    <a:cxn ang="0">
                      <a:pos x="connsiteX2488" y="connsiteY2488"/>
                    </a:cxn>
                    <a:cxn ang="0">
                      <a:pos x="connsiteX2489" y="connsiteY2489"/>
                    </a:cxn>
                    <a:cxn ang="0">
                      <a:pos x="connsiteX2490" y="connsiteY2490"/>
                    </a:cxn>
                    <a:cxn ang="0">
                      <a:pos x="connsiteX2491" y="connsiteY2491"/>
                    </a:cxn>
                    <a:cxn ang="0">
                      <a:pos x="connsiteX2492" y="connsiteY2492"/>
                    </a:cxn>
                    <a:cxn ang="0">
                      <a:pos x="connsiteX2493" y="connsiteY2493"/>
                    </a:cxn>
                    <a:cxn ang="0">
                      <a:pos x="connsiteX2494" y="connsiteY2494"/>
                    </a:cxn>
                    <a:cxn ang="0">
                      <a:pos x="connsiteX2495" y="connsiteY2495"/>
                    </a:cxn>
                    <a:cxn ang="0">
                      <a:pos x="connsiteX2496" y="connsiteY2496"/>
                    </a:cxn>
                    <a:cxn ang="0">
                      <a:pos x="connsiteX2497" y="connsiteY2497"/>
                    </a:cxn>
                    <a:cxn ang="0">
                      <a:pos x="connsiteX2498" y="connsiteY2498"/>
                    </a:cxn>
                    <a:cxn ang="0">
                      <a:pos x="connsiteX2499" y="connsiteY2499"/>
                    </a:cxn>
                    <a:cxn ang="0">
                      <a:pos x="connsiteX2500" y="connsiteY2500"/>
                    </a:cxn>
                    <a:cxn ang="0">
                      <a:pos x="connsiteX2501" y="connsiteY2501"/>
                    </a:cxn>
                    <a:cxn ang="0">
                      <a:pos x="connsiteX2502" y="connsiteY2502"/>
                    </a:cxn>
                    <a:cxn ang="0">
                      <a:pos x="connsiteX2503" y="connsiteY2503"/>
                    </a:cxn>
                    <a:cxn ang="0">
                      <a:pos x="connsiteX2504" y="connsiteY2504"/>
                    </a:cxn>
                    <a:cxn ang="0">
                      <a:pos x="connsiteX2505" y="connsiteY2505"/>
                    </a:cxn>
                    <a:cxn ang="0">
                      <a:pos x="connsiteX2506" y="connsiteY2506"/>
                    </a:cxn>
                    <a:cxn ang="0">
                      <a:pos x="connsiteX2507" y="connsiteY2507"/>
                    </a:cxn>
                    <a:cxn ang="0">
                      <a:pos x="connsiteX2508" y="connsiteY2508"/>
                    </a:cxn>
                    <a:cxn ang="0">
                      <a:pos x="connsiteX2509" y="connsiteY2509"/>
                    </a:cxn>
                    <a:cxn ang="0">
                      <a:pos x="connsiteX2510" y="connsiteY2510"/>
                    </a:cxn>
                    <a:cxn ang="0">
                      <a:pos x="connsiteX2511" y="connsiteY2511"/>
                    </a:cxn>
                    <a:cxn ang="0">
                      <a:pos x="connsiteX2512" y="connsiteY2512"/>
                    </a:cxn>
                    <a:cxn ang="0">
                      <a:pos x="connsiteX2513" y="connsiteY2513"/>
                    </a:cxn>
                    <a:cxn ang="0">
                      <a:pos x="connsiteX2514" y="connsiteY2514"/>
                    </a:cxn>
                    <a:cxn ang="0">
                      <a:pos x="connsiteX2515" y="connsiteY2515"/>
                    </a:cxn>
                    <a:cxn ang="0">
                      <a:pos x="connsiteX2516" y="connsiteY2516"/>
                    </a:cxn>
                    <a:cxn ang="0">
                      <a:pos x="connsiteX2517" y="connsiteY2517"/>
                    </a:cxn>
                    <a:cxn ang="0">
                      <a:pos x="connsiteX2518" y="connsiteY2518"/>
                    </a:cxn>
                    <a:cxn ang="0">
                      <a:pos x="connsiteX2519" y="connsiteY2519"/>
                    </a:cxn>
                    <a:cxn ang="0">
                      <a:pos x="connsiteX2520" y="connsiteY2520"/>
                    </a:cxn>
                    <a:cxn ang="0">
                      <a:pos x="connsiteX2521" y="connsiteY2521"/>
                    </a:cxn>
                    <a:cxn ang="0">
                      <a:pos x="connsiteX2522" y="connsiteY2522"/>
                    </a:cxn>
                    <a:cxn ang="0">
                      <a:pos x="connsiteX2523" y="connsiteY2523"/>
                    </a:cxn>
                    <a:cxn ang="0">
                      <a:pos x="connsiteX2524" y="connsiteY2524"/>
                    </a:cxn>
                    <a:cxn ang="0">
                      <a:pos x="connsiteX2525" y="connsiteY2525"/>
                    </a:cxn>
                    <a:cxn ang="0">
                      <a:pos x="connsiteX2526" y="connsiteY2526"/>
                    </a:cxn>
                    <a:cxn ang="0">
                      <a:pos x="connsiteX2527" y="connsiteY2527"/>
                    </a:cxn>
                    <a:cxn ang="0">
                      <a:pos x="connsiteX2528" y="connsiteY2528"/>
                    </a:cxn>
                    <a:cxn ang="0">
                      <a:pos x="connsiteX2529" y="connsiteY2529"/>
                    </a:cxn>
                    <a:cxn ang="0">
                      <a:pos x="connsiteX2530" y="connsiteY2530"/>
                    </a:cxn>
                    <a:cxn ang="0">
                      <a:pos x="connsiteX2531" y="connsiteY2531"/>
                    </a:cxn>
                    <a:cxn ang="0">
                      <a:pos x="connsiteX2532" y="connsiteY2532"/>
                    </a:cxn>
                    <a:cxn ang="0">
                      <a:pos x="connsiteX2533" y="connsiteY2533"/>
                    </a:cxn>
                    <a:cxn ang="0">
                      <a:pos x="connsiteX2534" y="connsiteY2534"/>
                    </a:cxn>
                    <a:cxn ang="0">
                      <a:pos x="connsiteX2535" y="connsiteY2535"/>
                    </a:cxn>
                    <a:cxn ang="0">
                      <a:pos x="connsiteX2536" y="connsiteY2536"/>
                    </a:cxn>
                    <a:cxn ang="0">
                      <a:pos x="connsiteX2537" y="connsiteY2537"/>
                    </a:cxn>
                    <a:cxn ang="0">
                      <a:pos x="connsiteX2538" y="connsiteY2538"/>
                    </a:cxn>
                    <a:cxn ang="0">
                      <a:pos x="connsiteX2539" y="connsiteY2539"/>
                    </a:cxn>
                    <a:cxn ang="0">
                      <a:pos x="connsiteX2540" y="connsiteY2540"/>
                    </a:cxn>
                    <a:cxn ang="0">
                      <a:pos x="connsiteX2541" y="connsiteY2541"/>
                    </a:cxn>
                    <a:cxn ang="0">
                      <a:pos x="connsiteX2542" y="connsiteY2542"/>
                    </a:cxn>
                    <a:cxn ang="0">
                      <a:pos x="connsiteX2543" y="connsiteY2543"/>
                    </a:cxn>
                    <a:cxn ang="0">
                      <a:pos x="connsiteX2544" y="connsiteY2544"/>
                    </a:cxn>
                    <a:cxn ang="0">
                      <a:pos x="connsiteX2545" y="connsiteY2545"/>
                    </a:cxn>
                    <a:cxn ang="0">
                      <a:pos x="connsiteX2546" y="connsiteY2546"/>
                    </a:cxn>
                    <a:cxn ang="0">
                      <a:pos x="connsiteX2547" y="connsiteY2547"/>
                    </a:cxn>
                    <a:cxn ang="0">
                      <a:pos x="connsiteX2548" y="connsiteY2548"/>
                    </a:cxn>
                    <a:cxn ang="0">
                      <a:pos x="connsiteX2549" y="connsiteY2549"/>
                    </a:cxn>
                    <a:cxn ang="0">
                      <a:pos x="connsiteX2550" y="connsiteY2550"/>
                    </a:cxn>
                    <a:cxn ang="0">
                      <a:pos x="connsiteX2551" y="connsiteY2551"/>
                    </a:cxn>
                    <a:cxn ang="0">
                      <a:pos x="connsiteX2552" y="connsiteY2552"/>
                    </a:cxn>
                    <a:cxn ang="0">
                      <a:pos x="connsiteX2553" y="connsiteY2553"/>
                    </a:cxn>
                    <a:cxn ang="0">
                      <a:pos x="connsiteX2554" y="connsiteY2554"/>
                    </a:cxn>
                    <a:cxn ang="0">
                      <a:pos x="connsiteX2555" y="connsiteY2555"/>
                    </a:cxn>
                    <a:cxn ang="0">
                      <a:pos x="connsiteX2556" y="connsiteY2556"/>
                    </a:cxn>
                    <a:cxn ang="0">
                      <a:pos x="connsiteX2557" y="connsiteY2557"/>
                    </a:cxn>
                    <a:cxn ang="0">
                      <a:pos x="connsiteX2558" y="connsiteY2558"/>
                    </a:cxn>
                    <a:cxn ang="0">
                      <a:pos x="connsiteX2559" y="connsiteY2559"/>
                    </a:cxn>
                    <a:cxn ang="0">
                      <a:pos x="connsiteX2560" y="connsiteY2560"/>
                    </a:cxn>
                    <a:cxn ang="0">
                      <a:pos x="connsiteX2561" y="connsiteY2561"/>
                    </a:cxn>
                    <a:cxn ang="0">
                      <a:pos x="connsiteX2562" y="connsiteY2562"/>
                    </a:cxn>
                    <a:cxn ang="0">
                      <a:pos x="connsiteX2563" y="connsiteY2563"/>
                    </a:cxn>
                    <a:cxn ang="0">
                      <a:pos x="connsiteX2564" y="connsiteY2564"/>
                    </a:cxn>
                    <a:cxn ang="0">
                      <a:pos x="connsiteX2565" y="connsiteY2565"/>
                    </a:cxn>
                    <a:cxn ang="0">
                      <a:pos x="connsiteX2566" y="connsiteY2566"/>
                    </a:cxn>
                    <a:cxn ang="0">
                      <a:pos x="connsiteX2567" y="connsiteY2567"/>
                    </a:cxn>
                    <a:cxn ang="0">
                      <a:pos x="connsiteX2568" y="connsiteY2568"/>
                    </a:cxn>
                    <a:cxn ang="0">
                      <a:pos x="connsiteX2569" y="connsiteY2569"/>
                    </a:cxn>
                    <a:cxn ang="0">
                      <a:pos x="connsiteX2570" y="connsiteY2570"/>
                    </a:cxn>
                    <a:cxn ang="0">
                      <a:pos x="connsiteX2571" y="connsiteY2571"/>
                    </a:cxn>
                    <a:cxn ang="0">
                      <a:pos x="connsiteX2572" y="connsiteY2572"/>
                    </a:cxn>
                    <a:cxn ang="0">
                      <a:pos x="connsiteX2573" y="connsiteY2573"/>
                    </a:cxn>
                    <a:cxn ang="0">
                      <a:pos x="connsiteX2574" y="connsiteY2574"/>
                    </a:cxn>
                    <a:cxn ang="0">
                      <a:pos x="connsiteX2575" y="connsiteY2575"/>
                    </a:cxn>
                    <a:cxn ang="0">
                      <a:pos x="connsiteX2576" y="connsiteY2576"/>
                    </a:cxn>
                    <a:cxn ang="0">
                      <a:pos x="connsiteX2577" y="connsiteY2577"/>
                    </a:cxn>
                    <a:cxn ang="0">
                      <a:pos x="connsiteX2578" y="connsiteY2578"/>
                    </a:cxn>
                    <a:cxn ang="0">
                      <a:pos x="connsiteX2579" y="connsiteY2579"/>
                    </a:cxn>
                    <a:cxn ang="0">
                      <a:pos x="connsiteX2580" y="connsiteY2580"/>
                    </a:cxn>
                    <a:cxn ang="0">
                      <a:pos x="connsiteX2581" y="connsiteY2581"/>
                    </a:cxn>
                    <a:cxn ang="0">
                      <a:pos x="connsiteX2582" y="connsiteY2582"/>
                    </a:cxn>
                    <a:cxn ang="0">
                      <a:pos x="connsiteX2583" y="connsiteY2583"/>
                    </a:cxn>
                    <a:cxn ang="0">
                      <a:pos x="connsiteX2584" y="connsiteY2584"/>
                    </a:cxn>
                    <a:cxn ang="0">
                      <a:pos x="connsiteX2585" y="connsiteY2585"/>
                    </a:cxn>
                    <a:cxn ang="0">
                      <a:pos x="connsiteX2586" y="connsiteY2586"/>
                    </a:cxn>
                    <a:cxn ang="0">
                      <a:pos x="connsiteX2587" y="connsiteY2587"/>
                    </a:cxn>
                    <a:cxn ang="0">
                      <a:pos x="connsiteX2588" y="connsiteY2588"/>
                    </a:cxn>
                    <a:cxn ang="0">
                      <a:pos x="connsiteX2589" y="connsiteY2589"/>
                    </a:cxn>
                    <a:cxn ang="0">
                      <a:pos x="connsiteX2590" y="connsiteY2590"/>
                    </a:cxn>
                    <a:cxn ang="0">
                      <a:pos x="connsiteX2591" y="connsiteY2591"/>
                    </a:cxn>
                    <a:cxn ang="0">
                      <a:pos x="connsiteX2592" y="connsiteY2592"/>
                    </a:cxn>
                    <a:cxn ang="0">
                      <a:pos x="connsiteX2593" y="connsiteY2593"/>
                    </a:cxn>
                    <a:cxn ang="0">
                      <a:pos x="connsiteX2594" y="connsiteY2594"/>
                    </a:cxn>
                    <a:cxn ang="0">
                      <a:pos x="connsiteX2595" y="connsiteY2595"/>
                    </a:cxn>
                    <a:cxn ang="0">
                      <a:pos x="connsiteX2596" y="connsiteY2596"/>
                    </a:cxn>
                    <a:cxn ang="0">
                      <a:pos x="connsiteX2597" y="connsiteY2597"/>
                    </a:cxn>
                    <a:cxn ang="0">
                      <a:pos x="connsiteX2598" y="connsiteY2598"/>
                    </a:cxn>
                    <a:cxn ang="0">
                      <a:pos x="connsiteX2599" y="connsiteY2599"/>
                    </a:cxn>
                    <a:cxn ang="0">
                      <a:pos x="connsiteX2600" y="connsiteY2600"/>
                    </a:cxn>
                    <a:cxn ang="0">
                      <a:pos x="connsiteX2601" y="connsiteY2601"/>
                    </a:cxn>
                    <a:cxn ang="0">
                      <a:pos x="connsiteX2602" y="connsiteY2602"/>
                    </a:cxn>
                    <a:cxn ang="0">
                      <a:pos x="connsiteX2603" y="connsiteY2603"/>
                    </a:cxn>
                    <a:cxn ang="0">
                      <a:pos x="connsiteX2604" y="connsiteY2604"/>
                    </a:cxn>
                    <a:cxn ang="0">
                      <a:pos x="connsiteX2605" y="connsiteY2605"/>
                    </a:cxn>
                    <a:cxn ang="0">
                      <a:pos x="connsiteX2606" y="connsiteY2606"/>
                    </a:cxn>
                    <a:cxn ang="0">
                      <a:pos x="connsiteX2607" y="connsiteY2607"/>
                    </a:cxn>
                    <a:cxn ang="0">
                      <a:pos x="connsiteX2608" y="connsiteY2608"/>
                    </a:cxn>
                    <a:cxn ang="0">
                      <a:pos x="connsiteX2609" y="connsiteY2609"/>
                    </a:cxn>
                    <a:cxn ang="0">
                      <a:pos x="connsiteX2610" y="connsiteY2610"/>
                    </a:cxn>
                    <a:cxn ang="0">
                      <a:pos x="connsiteX2611" y="connsiteY2611"/>
                    </a:cxn>
                    <a:cxn ang="0">
                      <a:pos x="connsiteX2612" y="connsiteY2612"/>
                    </a:cxn>
                    <a:cxn ang="0">
                      <a:pos x="connsiteX2613" y="connsiteY2613"/>
                    </a:cxn>
                    <a:cxn ang="0">
                      <a:pos x="connsiteX2614" y="connsiteY2614"/>
                    </a:cxn>
                    <a:cxn ang="0">
                      <a:pos x="connsiteX2615" y="connsiteY2615"/>
                    </a:cxn>
                    <a:cxn ang="0">
                      <a:pos x="connsiteX2616" y="connsiteY2616"/>
                    </a:cxn>
                    <a:cxn ang="0">
                      <a:pos x="connsiteX2617" y="connsiteY2617"/>
                    </a:cxn>
                    <a:cxn ang="0">
                      <a:pos x="connsiteX2618" y="connsiteY2618"/>
                    </a:cxn>
                    <a:cxn ang="0">
                      <a:pos x="connsiteX2619" y="connsiteY2619"/>
                    </a:cxn>
                    <a:cxn ang="0">
                      <a:pos x="connsiteX2620" y="connsiteY2620"/>
                    </a:cxn>
                    <a:cxn ang="0">
                      <a:pos x="connsiteX2621" y="connsiteY2621"/>
                    </a:cxn>
                    <a:cxn ang="0">
                      <a:pos x="connsiteX2622" y="connsiteY2622"/>
                    </a:cxn>
                    <a:cxn ang="0">
                      <a:pos x="connsiteX2623" y="connsiteY2623"/>
                    </a:cxn>
                    <a:cxn ang="0">
                      <a:pos x="connsiteX2624" y="connsiteY2624"/>
                    </a:cxn>
                    <a:cxn ang="0">
                      <a:pos x="connsiteX2625" y="connsiteY2625"/>
                    </a:cxn>
                    <a:cxn ang="0">
                      <a:pos x="connsiteX2626" y="connsiteY2626"/>
                    </a:cxn>
                    <a:cxn ang="0">
                      <a:pos x="connsiteX2627" y="connsiteY2627"/>
                    </a:cxn>
                    <a:cxn ang="0">
                      <a:pos x="connsiteX2628" y="connsiteY2628"/>
                    </a:cxn>
                    <a:cxn ang="0">
                      <a:pos x="connsiteX2629" y="connsiteY2629"/>
                    </a:cxn>
                    <a:cxn ang="0">
                      <a:pos x="connsiteX2630" y="connsiteY2630"/>
                    </a:cxn>
                    <a:cxn ang="0">
                      <a:pos x="connsiteX2631" y="connsiteY2631"/>
                    </a:cxn>
                    <a:cxn ang="0">
                      <a:pos x="connsiteX2632" y="connsiteY2632"/>
                    </a:cxn>
                    <a:cxn ang="0">
                      <a:pos x="connsiteX2633" y="connsiteY2633"/>
                    </a:cxn>
                    <a:cxn ang="0">
                      <a:pos x="connsiteX2634" y="connsiteY2634"/>
                    </a:cxn>
                    <a:cxn ang="0">
                      <a:pos x="connsiteX2635" y="connsiteY2635"/>
                    </a:cxn>
                    <a:cxn ang="0">
                      <a:pos x="connsiteX2636" y="connsiteY2636"/>
                    </a:cxn>
                    <a:cxn ang="0">
                      <a:pos x="connsiteX2637" y="connsiteY2637"/>
                    </a:cxn>
                  </a:cxnLst>
                  <a:rect l="l" t="t" r="r" b="b"/>
                  <a:pathLst>
                    <a:path w="2328854" h="2163071">
                      <a:moveTo>
                        <a:pt x="623024" y="2160180"/>
                      </a:moveTo>
                      <a:cubicBezTo>
                        <a:pt x="623104" y="2160180"/>
                        <a:pt x="623184" y="2160180"/>
                        <a:pt x="623184" y="2160180"/>
                      </a:cubicBezTo>
                      <a:cubicBezTo>
                        <a:pt x="621819" y="2159458"/>
                        <a:pt x="621337" y="2158976"/>
                        <a:pt x="621417" y="2158333"/>
                      </a:cubicBezTo>
                      <a:cubicBezTo>
                        <a:pt x="621417" y="2158333"/>
                        <a:pt x="621337" y="2158413"/>
                        <a:pt x="621337" y="2158413"/>
                      </a:cubicBezTo>
                      <a:cubicBezTo>
                        <a:pt x="620453" y="2159297"/>
                        <a:pt x="619811" y="2160582"/>
                        <a:pt x="619489" y="2161225"/>
                      </a:cubicBezTo>
                      <a:cubicBezTo>
                        <a:pt x="620534" y="2161867"/>
                        <a:pt x="621658" y="2162430"/>
                        <a:pt x="622702" y="2163072"/>
                      </a:cubicBezTo>
                      <a:cubicBezTo>
                        <a:pt x="620453" y="2160823"/>
                        <a:pt x="622221" y="2160261"/>
                        <a:pt x="623024" y="2160180"/>
                      </a:cubicBezTo>
                      <a:moveTo>
                        <a:pt x="641580" y="2158011"/>
                      </a:moveTo>
                      <a:cubicBezTo>
                        <a:pt x="641740" y="2158011"/>
                        <a:pt x="642062" y="2158092"/>
                        <a:pt x="642222" y="2158092"/>
                      </a:cubicBezTo>
                      <a:cubicBezTo>
                        <a:pt x="639491" y="2157771"/>
                        <a:pt x="632181" y="2156646"/>
                        <a:pt x="624068" y="2153353"/>
                      </a:cubicBezTo>
                      <a:cubicBezTo>
                        <a:pt x="623988" y="2153433"/>
                        <a:pt x="623907" y="2153513"/>
                        <a:pt x="623827" y="2153593"/>
                      </a:cubicBezTo>
                      <a:cubicBezTo>
                        <a:pt x="623425" y="2154316"/>
                        <a:pt x="623506" y="2154798"/>
                        <a:pt x="624389" y="2155843"/>
                      </a:cubicBezTo>
                      <a:cubicBezTo>
                        <a:pt x="627843" y="2156003"/>
                        <a:pt x="628084" y="2156244"/>
                        <a:pt x="628325" y="2156485"/>
                      </a:cubicBezTo>
                      <a:cubicBezTo>
                        <a:pt x="628165" y="2156807"/>
                        <a:pt x="627683" y="2156967"/>
                        <a:pt x="625675" y="2157369"/>
                      </a:cubicBezTo>
                      <a:cubicBezTo>
                        <a:pt x="628727" y="2157931"/>
                        <a:pt x="630655" y="2158895"/>
                        <a:pt x="632502" y="2161064"/>
                      </a:cubicBezTo>
                      <a:cubicBezTo>
                        <a:pt x="632824" y="2160582"/>
                        <a:pt x="633225" y="2159940"/>
                        <a:pt x="633547" y="2159458"/>
                      </a:cubicBezTo>
                      <a:cubicBezTo>
                        <a:pt x="632743" y="2159056"/>
                        <a:pt x="631057" y="2158172"/>
                        <a:pt x="632342" y="2157771"/>
                      </a:cubicBezTo>
                      <a:cubicBezTo>
                        <a:pt x="633627" y="2157289"/>
                        <a:pt x="637804" y="2157690"/>
                        <a:pt x="641580" y="2158011"/>
                      </a:cubicBezTo>
                      <a:moveTo>
                        <a:pt x="635314" y="2151023"/>
                      </a:moveTo>
                      <a:cubicBezTo>
                        <a:pt x="635234" y="2151023"/>
                        <a:pt x="635073" y="2151023"/>
                        <a:pt x="634993" y="2150943"/>
                      </a:cubicBezTo>
                      <a:cubicBezTo>
                        <a:pt x="631298" y="2150621"/>
                        <a:pt x="627683" y="2150300"/>
                        <a:pt x="623988" y="2149978"/>
                      </a:cubicBezTo>
                      <a:cubicBezTo>
                        <a:pt x="623988" y="2150059"/>
                        <a:pt x="624068" y="2150059"/>
                        <a:pt x="624068" y="2150139"/>
                      </a:cubicBezTo>
                      <a:cubicBezTo>
                        <a:pt x="632021" y="2150782"/>
                        <a:pt x="635314" y="2151023"/>
                        <a:pt x="635314" y="2151023"/>
                      </a:cubicBezTo>
                      <a:moveTo>
                        <a:pt x="627763" y="2118008"/>
                      </a:moveTo>
                      <a:cubicBezTo>
                        <a:pt x="628004" y="2118088"/>
                        <a:pt x="628406" y="2118169"/>
                        <a:pt x="628647" y="2118169"/>
                      </a:cubicBezTo>
                      <a:cubicBezTo>
                        <a:pt x="624068" y="2116321"/>
                        <a:pt x="620293" y="2115197"/>
                        <a:pt x="614429" y="2114715"/>
                      </a:cubicBezTo>
                      <a:cubicBezTo>
                        <a:pt x="610894" y="2114554"/>
                        <a:pt x="608886" y="2114634"/>
                        <a:pt x="605753" y="2115197"/>
                      </a:cubicBezTo>
                      <a:cubicBezTo>
                        <a:pt x="607199" y="2117285"/>
                        <a:pt x="607360" y="2118570"/>
                        <a:pt x="606235" y="2120579"/>
                      </a:cubicBezTo>
                      <a:cubicBezTo>
                        <a:pt x="609609" y="2116723"/>
                        <a:pt x="616839" y="2115839"/>
                        <a:pt x="627763" y="2118008"/>
                      </a:cubicBezTo>
                      <a:moveTo>
                        <a:pt x="570570" y="2050693"/>
                      </a:moveTo>
                      <a:lnTo>
                        <a:pt x="574345" y="2051175"/>
                      </a:lnTo>
                      <a:cubicBezTo>
                        <a:pt x="573943" y="2050934"/>
                        <a:pt x="573301" y="2050452"/>
                        <a:pt x="572257" y="2050372"/>
                      </a:cubicBezTo>
                      <a:cubicBezTo>
                        <a:pt x="571614" y="2050372"/>
                        <a:pt x="571132" y="2050452"/>
                        <a:pt x="570570" y="2050693"/>
                      </a:cubicBezTo>
                      <a:moveTo>
                        <a:pt x="572738" y="2047159"/>
                      </a:moveTo>
                      <a:cubicBezTo>
                        <a:pt x="572819" y="2047159"/>
                        <a:pt x="572819" y="2047239"/>
                        <a:pt x="572899" y="2047239"/>
                      </a:cubicBezTo>
                      <a:cubicBezTo>
                        <a:pt x="572176" y="2046677"/>
                        <a:pt x="571614" y="2046034"/>
                        <a:pt x="570811" y="2045552"/>
                      </a:cubicBezTo>
                      <a:cubicBezTo>
                        <a:pt x="571453" y="2046114"/>
                        <a:pt x="572096" y="2046596"/>
                        <a:pt x="572738" y="2047159"/>
                      </a:cubicBezTo>
                      <a:moveTo>
                        <a:pt x="869791" y="1976631"/>
                      </a:moveTo>
                      <a:cubicBezTo>
                        <a:pt x="869872" y="1976551"/>
                        <a:pt x="870032" y="1976551"/>
                        <a:pt x="870193" y="1976470"/>
                      </a:cubicBezTo>
                      <a:cubicBezTo>
                        <a:pt x="870032" y="1976551"/>
                        <a:pt x="869872" y="1976631"/>
                        <a:pt x="869791" y="1976631"/>
                      </a:cubicBezTo>
                      <a:cubicBezTo>
                        <a:pt x="867301" y="1977514"/>
                        <a:pt x="864811" y="1978238"/>
                        <a:pt x="862321" y="1979201"/>
                      </a:cubicBezTo>
                      <a:cubicBezTo>
                        <a:pt x="862642" y="1979201"/>
                        <a:pt x="866659" y="1977755"/>
                        <a:pt x="869791" y="1976631"/>
                      </a:cubicBezTo>
                      <a:moveTo>
                        <a:pt x="879270" y="1973337"/>
                      </a:moveTo>
                      <a:lnTo>
                        <a:pt x="879270" y="1973337"/>
                      </a:lnTo>
                      <a:cubicBezTo>
                        <a:pt x="876941" y="1974060"/>
                        <a:pt x="874691" y="1974944"/>
                        <a:pt x="872442" y="1975747"/>
                      </a:cubicBezTo>
                      <a:cubicBezTo>
                        <a:pt x="874772" y="1974944"/>
                        <a:pt x="877021" y="1974221"/>
                        <a:pt x="879270" y="1973337"/>
                      </a:cubicBezTo>
                      <a:moveTo>
                        <a:pt x="694998" y="1953978"/>
                      </a:moveTo>
                      <a:cubicBezTo>
                        <a:pt x="694917" y="1953978"/>
                        <a:pt x="694837" y="1953978"/>
                        <a:pt x="694757" y="1953978"/>
                      </a:cubicBezTo>
                      <a:cubicBezTo>
                        <a:pt x="694757" y="1953978"/>
                        <a:pt x="694757" y="1953978"/>
                        <a:pt x="694757" y="1953978"/>
                      </a:cubicBezTo>
                      <a:cubicBezTo>
                        <a:pt x="694837" y="1953978"/>
                        <a:pt x="694917" y="1953978"/>
                        <a:pt x="694998" y="1953978"/>
                      </a:cubicBezTo>
                      <a:moveTo>
                        <a:pt x="686242" y="1953255"/>
                      </a:moveTo>
                      <a:cubicBezTo>
                        <a:pt x="686242" y="1953255"/>
                        <a:pt x="686242" y="1953255"/>
                        <a:pt x="686242" y="1953255"/>
                      </a:cubicBezTo>
                      <a:cubicBezTo>
                        <a:pt x="685840" y="1953255"/>
                        <a:pt x="685439" y="1953175"/>
                        <a:pt x="685037" y="1953175"/>
                      </a:cubicBezTo>
                      <a:cubicBezTo>
                        <a:pt x="685037" y="1953175"/>
                        <a:pt x="685037" y="1953175"/>
                        <a:pt x="685037" y="1953175"/>
                      </a:cubicBezTo>
                      <a:cubicBezTo>
                        <a:pt x="685439" y="1953175"/>
                        <a:pt x="685840" y="1953175"/>
                        <a:pt x="686242" y="1953255"/>
                      </a:cubicBezTo>
                      <a:moveTo>
                        <a:pt x="825129" y="1889555"/>
                      </a:moveTo>
                      <a:cubicBezTo>
                        <a:pt x="825370" y="1889475"/>
                        <a:pt x="825691" y="1889394"/>
                        <a:pt x="826013" y="1889314"/>
                      </a:cubicBezTo>
                      <a:cubicBezTo>
                        <a:pt x="824647" y="1887869"/>
                        <a:pt x="822880" y="1885458"/>
                        <a:pt x="822639" y="1882486"/>
                      </a:cubicBezTo>
                      <a:cubicBezTo>
                        <a:pt x="822639" y="1882647"/>
                        <a:pt x="822639" y="1882808"/>
                        <a:pt x="822639" y="1882968"/>
                      </a:cubicBezTo>
                      <a:cubicBezTo>
                        <a:pt x="822317" y="1885700"/>
                        <a:pt x="821434" y="1887788"/>
                        <a:pt x="819747" y="1889957"/>
                      </a:cubicBezTo>
                      <a:cubicBezTo>
                        <a:pt x="820309" y="1890599"/>
                        <a:pt x="821354" y="1891644"/>
                        <a:pt x="817418" y="1891483"/>
                      </a:cubicBezTo>
                      <a:cubicBezTo>
                        <a:pt x="816614" y="1891483"/>
                        <a:pt x="815891" y="1891323"/>
                        <a:pt x="815088" y="1891483"/>
                      </a:cubicBezTo>
                      <a:cubicBezTo>
                        <a:pt x="819024" y="1891885"/>
                        <a:pt x="820390" y="1892206"/>
                        <a:pt x="820470" y="1892608"/>
                      </a:cubicBezTo>
                      <a:cubicBezTo>
                        <a:pt x="820149" y="1892929"/>
                        <a:pt x="819104" y="1893170"/>
                        <a:pt x="816293" y="1893491"/>
                      </a:cubicBezTo>
                      <a:cubicBezTo>
                        <a:pt x="817337" y="1893652"/>
                        <a:pt x="818783" y="1893813"/>
                        <a:pt x="819827" y="1893893"/>
                      </a:cubicBezTo>
                      <a:cubicBezTo>
                        <a:pt x="819104" y="1895741"/>
                        <a:pt x="818703" y="1897668"/>
                        <a:pt x="823924" y="1896544"/>
                      </a:cubicBezTo>
                      <a:cubicBezTo>
                        <a:pt x="823683" y="1896303"/>
                        <a:pt x="823281" y="1896062"/>
                        <a:pt x="823040" y="1895901"/>
                      </a:cubicBezTo>
                      <a:lnTo>
                        <a:pt x="827217" y="1895098"/>
                      </a:lnTo>
                      <a:cubicBezTo>
                        <a:pt x="825852" y="1894616"/>
                        <a:pt x="821836" y="1893250"/>
                        <a:pt x="824165" y="1892126"/>
                      </a:cubicBezTo>
                      <a:cubicBezTo>
                        <a:pt x="824647" y="1891885"/>
                        <a:pt x="825370" y="1891724"/>
                        <a:pt x="825932" y="1891644"/>
                      </a:cubicBezTo>
                      <a:cubicBezTo>
                        <a:pt x="824808" y="1891162"/>
                        <a:pt x="823281" y="1890439"/>
                        <a:pt x="824567" y="1889796"/>
                      </a:cubicBezTo>
                      <a:cubicBezTo>
                        <a:pt x="824727" y="1889636"/>
                        <a:pt x="824968" y="1889555"/>
                        <a:pt x="825129" y="1889555"/>
                      </a:cubicBezTo>
                      <a:moveTo>
                        <a:pt x="881600" y="1834129"/>
                      </a:moveTo>
                      <a:cubicBezTo>
                        <a:pt x="881841" y="1834049"/>
                        <a:pt x="882162" y="1833888"/>
                        <a:pt x="882403" y="1833808"/>
                      </a:cubicBezTo>
                      <a:cubicBezTo>
                        <a:pt x="880154" y="1834531"/>
                        <a:pt x="877904" y="1835253"/>
                        <a:pt x="875655" y="1835977"/>
                      </a:cubicBezTo>
                      <a:cubicBezTo>
                        <a:pt x="875334" y="1834691"/>
                        <a:pt x="874932" y="1833888"/>
                        <a:pt x="873968" y="1832603"/>
                      </a:cubicBezTo>
                      <a:cubicBezTo>
                        <a:pt x="873968" y="1832844"/>
                        <a:pt x="874049" y="1833165"/>
                        <a:pt x="874049" y="1833406"/>
                      </a:cubicBezTo>
                      <a:cubicBezTo>
                        <a:pt x="874049" y="1836699"/>
                        <a:pt x="873085" y="1837422"/>
                        <a:pt x="872041" y="1837904"/>
                      </a:cubicBezTo>
                      <a:cubicBezTo>
                        <a:pt x="871960" y="1838386"/>
                        <a:pt x="871719" y="1839913"/>
                        <a:pt x="866980" y="1839350"/>
                      </a:cubicBezTo>
                      <a:cubicBezTo>
                        <a:pt x="867462" y="1841439"/>
                        <a:pt x="869631" y="1842162"/>
                        <a:pt x="874772" y="1842001"/>
                      </a:cubicBezTo>
                      <a:cubicBezTo>
                        <a:pt x="873647" y="1841600"/>
                        <a:pt x="872121" y="1841118"/>
                        <a:pt x="870996" y="1840716"/>
                      </a:cubicBezTo>
                      <a:cubicBezTo>
                        <a:pt x="871880" y="1840394"/>
                        <a:pt x="873808" y="1839672"/>
                        <a:pt x="877262" y="1839591"/>
                      </a:cubicBezTo>
                      <a:cubicBezTo>
                        <a:pt x="876619" y="1838788"/>
                        <a:pt x="875173" y="1836539"/>
                        <a:pt x="881600" y="1834129"/>
                      </a:cubicBezTo>
                      <a:moveTo>
                        <a:pt x="991809" y="1815734"/>
                      </a:moveTo>
                      <a:cubicBezTo>
                        <a:pt x="991890" y="1815734"/>
                        <a:pt x="992050" y="1815734"/>
                        <a:pt x="992131" y="1815734"/>
                      </a:cubicBezTo>
                      <a:cubicBezTo>
                        <a:pt x="991328" y="1815413"/>
                        <a:pt x="990364" y="1815011"/>
                        <a:pt x="989560" y="1814609"/>
                      </a:cubicBezTo>
                      <a:cubicBezTo>
                        <a:pt x="988757" y="1814850"/>
                        <a:pt x="986588" y="1815413"/>
                        <a:pt x="985785" y="1813244"/>
                      </a:cubicBezTo>
                      <a:cubicBezTo>
                        <a:pt x="985062" y="1811235"/>
                        <a:pt x="984339" y="1809950"/>
                        <a:pt x="982090" y="1810111"/>
                      </a:cubicBezTo>
                      <a:cubicBezTo>
                        <a:pt x="981849" y="1810111"/>
                        <a:pt x="981528" y="1810191"/>
                        <a:pt x="981287" y="1810272"/>
                      </a:cubicBezTo>
                      <a:cubicBezTo>
                        <a:pt x="982331" y="1811075"/>
                        <a:pt x="982250" y="1811798"/>
                        <a:pt x="979439" y="1813485"/>
                      </a:cubicBezTo>
                      <a:cubicBezTo>
                        <a:pt x="979439" y="1813645"/>
                        <a:pt x="979359" y="1813806"/>
                        <a:pt x="979359" y="1813967"/>
                      </a:cubicBezTo>
                      <a:cubicBezTo>
                        <a:pt x="980483" y="1813485"/>
                        <a:pt x="983536" y="1812039"/>
                        <a:pt x="982893" y="1813806"/>
                      </a:cubicBezTo>
                      <a:cubicBezTo>
                        <a:pt x="982813" y="1814047"/>
                        <a:pt x="982652" y="1814368"/>
                        <a:pt x="982491" y="1814529"/>
                      </a:cubicBezTo>
                      <a:cubicBezTo>
                        <a:pt x="983134" y="1814368"/>
                        <a:pt x="983937" y="1814127"/>
                        <a:pt x="984500" y="1813886"/>
                      </a:cubicBezTo>
                      <a:cubicBezTo>
                        <a:pt x="983777" y="1815493"/>
                        <a:pt x="983696" y="1815895"/>
                        <a:pt x="983857" y="1816216"/>
                      </a:cubicBezTo>
                      <a:cubicBezTo>
                        <a:pt x="984098" y="1816296"/>
                        <a:pt x="984339" y="1816296"/>
                        <a:pt x="985705" y="1815252"/>
                      </a:cubicBezTo>
                      <a:cubicBezTo>
                        <a:pt x="985303" y="1816778"/>
                        <a:pt x="984580" y="1817421"/>
                        <a:pt x="982572" y="1818304"/>
                      </a:cubicBezTo>
                      <a:cubicBezTo>
                        <a:pt x="986106" y="1816858"/>
                        <a:pt x="987713" y="1817421"/>
                        <a:pt x="988837" y="1818224"/>
                      </a:cubicBezTo>
                      <a:cubicBezTo>
                        <a:pt x="987954" y="1817340"/>
                        <a:pt x="986187" y="1815493"/>
                        <a:pt x="991167" y="1815573"/>
                      </a:cubicBezTo>
                      <a:cubicBezTo>
                        <a:pt x="991328" y="1815734"/>
                        <a:pt x="991569" y="1815734"/>
                        <a:pt x="991809" y="1815734"/>
                      </a:cubicBezTo>
                      <a:moveTo>
                        <a:pt x="2279467" y="1397305"/>
                      </a:moveTo>
                      <a:lnTo>
                        <a:pt x="2279628" y="1396984"/>
                      </a:lnTo>
                      <a:cubicBezTo>
                        <a:pt x="2278583" y="1397386"/>
                        <a:pt x="2277218" y="1397868"/>
                        <a:pt x="2274969" y="1399635"/>
                      </a:cubicBezTo>
                      <a:cubicBezTo>
                        <a:pt x="2273121" y="1401161"/>
                        <a:pt x="2273121" y="1401161"/>
                        <a:pt x="2271836" y="1403571"/>
                      </a:cubicBezTo>
                      <a:cubicBezTo>
                        <a:pt x="2266454" y="1411202"/>
                        <a:pt x="2261072" y="1424778"/>
                        <a:pt x="2261072" y="1425099"/>
                      </a:cubicBezTo>
                      <a:cubicBezTo>
                        <a:pt x="2261393" y="1424938"/>
                        <a:pt x="2261714" y="1424697"/>
                        <a:pt x="2265088" y="1419235"/>
                      </a:cubicBezTo>
                      <a:cubicBezTo>
                        <a:pt x="2265008" y="1419235"/>
                        <a:pt x="2264928" y="1419315"/>
                        <a:pt x="2264847" y="1419315"/>
                      </a:cubicBezTo>
                      <a:cubicBezTo>
                        <a:pt x="2265490" y="1417709"/>
                        <a:pt x="2267579" y="1412969"/>
                        <a:pt x="2270149" y="1409194"/>
                      </a:cubicBezTo>
                      <a:cubicBezTo>
                        <a:pt x="2270551" y="1408632"/>
                        <a:pt x="2271033" y="1407909"/>
                        <a:pt x="2271434" y="1407427"/>
                      </a:cubicBezTo>
                      <a:cubicBezTo>
                        <a:pt x="2271595" y="1407186"/>
                        <a:pt x="2271916" y="1406864"/>
                        <a:pt x="2272077" y="1406623"/>
                      </a:cubicBezTo>
                      <a:cubicBezTo>
                        <a:pt x="2272880" y="1405659"/>
                        <a:pt x="2273924" y="1404856"/>
                        <a:pt x="2274728" y="1403892"/>
                      </a:cubicBezTo>
                      <a:cubicBezTo>
                        <a:pt x="2275772" y="1402607"/>
                        <a:pt x="2276495" y="1401161"/>
                        <a:pt x="2277539" y="1399876"/>
                      </a:cubicBezTo>
                      <a:cubicBezTo>
                        <a:pt x="2278503" y="1398751"/>
                        <a:pt x="2278503" y="1398751"/>
                        <a:pt x="2279226" y="1398430"/>
                      </a:cubicBezTo>
                      <a:lnTo>
                        <a:pt x="2279467" y="1397305"/>
                      </a:lnTo>
                      <a:moveTo>
                        <a:pt x="533137" y="1793644"/>
                      </a:moveTo>
                      <a:cubicBezTo>
                        <a:pt x="533056" y="1793403"/>
                        <a:pt x="533056" y="1793242"/>
                        <a:pt x="532976" y="1793001"/>
                      </a:cubicBezTo>
                      <a:cubicBezTo>
                        <a:pt x="532976" y="1793001"/>
                        <a:pt x="532896" y="1793081"/>
                        <a:pt x="532896" y="1793081"/>
                      </a:cubicBezTo>
                      <a:cubicBezTo>
                        <a:pt x="532253" y="1794206"/>
                        <a:pt x="531691" y="1795170"/>
                        <a:pt x="532253" y="1795009"/>
                      </a:cubicBezTo>
                      <a:cubicBezTo>
                        <a:pt x="532574" y="1794929"/>
                        <a:pt x="533056" y="1794607"/>
                        <a:pt x="533297" y="1794367"/>
                      </a:cubicBezTo>
                      <a:cubicBezTo>
                        <a:pt x="533297" y="1794125"/>
                        <a:pt x="533217" y="1793885"/>
                        <a:pt x="533137" y="1793644"/>
                      </a:cubicBezTo>
                      <a:moveTo>
                        <a:pt x="532012" y="1791957"/>
                      </a:moveTo>
                      <a:cubicBezTo>
                        <a:pt x="532173" y="1791957"/>
                        <a:pt x="532494" y="1792037"/>
                        <a:pt x="532655" y="1792037"/>
                      </a:cubicBezTo>
                      <a:cubicBezTo>
                        <a:pt x="529843" y="1786173"/>
                        <a:pt x="523658" y="1784888"/>
                        <a:pt x="520284" y="1784727"/>
                      </a:cubicBezTo>
                      <a:cubicBezTo>
                        <a:pt x="519963" y="1784727"/>
                        <a:pt x="519481" y="1784727"/>
                        <a:pt x="519160" y="1784727"/>
                      </a:cubicBezTo>
                      <a:cubicBezTo>
                        <a:pt x="518115" y="1784727"/>
                        <a:pt x="517071" y="1785290"/>
                        <a:pt x="516027" y="1784808"/>
                      </a:cubicBezTo>
                      <a:cubicBezTo>
                        <a:pt x="514902" y="1784326"/>
                        <a:pt x="514340" y="1784245"/>
                        <a:pt x="514019" y="1784326"/>
                      </a:cubicBezTo>
                      <a:cubicBezTo>
                        <a:pt x="513215" y="1784326"/>
                        <a:pt x="512894" y="1784727"/>
                        <a:pt x="512653" y="1785129"/>
                      </a:cubicBezTo>
                      <a:cubicBezTo>
                        <a:pt x="520847" y="1789788"/>
                        <a:pt x="528879" y="1791475"/>
                        <a:pt x="532012" y="1791957"/>
                      </a:cubicBezTo>
                      <a:moveTo>
                        <a:pt x="2285090" y="1327099"/>
                      </a:moveTo>
                      <a:cubicBezTo>
                        <a:pt x="2285170" y="1327018"/>
                        <a:pt x="2285251" y="1326858"/>
                        <a:pt x="2285331" y="1326777"/>
                      </a:cubicBezTo>
                      <a:cubicBezTo>
                        <a:pt x="2285331" y="1326777"/>
                        <a:pt x="2285251" y="1326858"/>
                        <a:pt x="2285251" y="1326858"/>
                      </a:cubicBezTo>
                      <a:cubicBezTo>
                        <a:pt x="2284046" y="1328304"/>
                        <a:pt x="2282841" y="1329830"/>
                        <a:pt x="2281636" y="1331276"/>
                      </a:cubicBezTo>
                      <a:cubicBezTo>
                        <a:pt x="2282841" y="1329910"/>
                        <a:pt x="2283885" y="1328464"/>
                        <a:pt x="2285090" y="1327099"/>
                      </a:cubicBezTo>
                      <a:moveTo>
                        <a:pt x="2327503" y="1284927"/>
                      </a:moveTo>
                      <a:cubicBezTo>
                        <a:pt x="2327503" y="1283400"/>
                        <a:pt x="2327343" y="1283079"/>
                        <a:pt x="2327182" y="1282758"/>
                      </a:cubicBezTo>
                      <a:cubicBezTo>
                        <a:pt x="2327102" y="1282838"/>
                        <a:pt x="2326941" y="1282918"/>
                        <a:pt x="2326780" y="1282999"/>
                      </a:cubicBezTo>
                      <a:cubicBezTo>
                        <a:pt x="2325977" y="1284605"/>
                        <a:pt x="2321559" y="1303322"/>
                        <a:pt x="2327584" y="1327741"/>
                      </a:cubicBezTo>
                      <a:cubicBezTo>
                        <a:pt x="2329351" y="1323243"/>
                        <a:pt x="2329351" y="1323243"/>
                        <a:pt x="2327102" y="1314166"/>
                      </a:cubicBezTo>
                      <a:cubicBezTo>
                        <a:pt x="2324692" y="1304446"/>
                        <a:pt x="2327503" y="1294727"/>
                        <a:pt x="2327503" y="1284927"/>
                      </a:cubicBezTo>
                      <a:moveTo>
                        <a:pt x="1044505" y="1706648"/>
                      </a:moveTo>
                      <a:cubicBezTo>
                        <a:pt x="1044987" y="1706086"/>
                        <a:pt x="1045629" y="1705363"/>
                        <a:pt x="1046111" y="1704801"/>
                      </a:cubicBezTo>
                      <a:cubicBezTo>
                        <a:pt x="1045870" y="1704962"/>
                        <a:pt x="1045549" y="1705202"/>
                        <a:pt x="1045308" y="1705363"/>
                      </a:cubicBezTo>
                      <a:cubicBezTo>
                        <a:pt x="1042336" y="1707131"/>
                        <a:pt x="1036873" y="1709701"/>
                        <a:pt x="1024101" y="1711147"/>
                      </a:cubicBezTo>
                      <a:cubicBezTo>
                        <a:pt x="1024824" y="1711870"/>
                        <a:pt x="1027154" y="1714039"/>
                        <a:pt x="1021932" y="1714199"/>
                      </a:cubicBezTo>
                      <a:cubicBezTo>
                        <a:pt x="1021852" y="1714199"/>
                        <a:pt x="1021692" y="1714199"/>
                        <a:pt x="1021531" y="1714199"/>
                      </a:cubicBezTo>
                      <a:cubicBezTo>
                        <a:pt x="1021611" y="1716047"/>
                        <a:pt x="1019844" y="1715645"/>
                        <a:pt x="1016952" y="1714279"/>
                      </a:cubicBezTo>
                      <a:cubicBezTo>
                        <a:pt x="1016872" y="1714440"/>
                        <a:pt x="1016711" y="1714601"/>
                        <a:pt x="1016631" y="1714681"/>
                      </a:cubicBezTo>
                      <a:lnTo>
                        <a:pt x="1015346" y="1714922"/>
                      </a:lnTo>
                      <a:cubicBezTo>
                        <a:pt x="1021531" y="1716609"/>
                        <a:pt x="1021932" y="1717011"/>
                        <a:pt x="1022093" y="1717573"/>
                      </a:cubicBezTo>
                      <a:cubicBezTo>
                        <a:pt x="1021451" y="1717894"/>
                        <a:pt x="1021129" y="1718055"/>
                        <a:pt x="1018880" y="1718215"/>
                      </a:cubicBezTo>
                      <a:cubicBezTo>
                        <a:pt x="1019764" y="1719260"/>
                        <a:pt x="1021290" y="1721108"/>
                        <a:pt x="1017515" y="1720786"/>
                      </a:cubicBezTo>
                      <a:cubicBezTo>
                        <a:pt x="1016872" y="1720706"/>
                        <a:pt x="1016229" y="1720626"/>
                        <a:pt x="1015587" y="1720545"/>
                      </a:cubicBezTo>
                      <a:cubicBezTo>
                        <a:pt x="1016711" y="1721509"/>
                        <a:pt x="1018398" y="1722955"/>
                        <a:pt x="1017354" y="1723196"/>
                      </a:cubicBezTo>
                      <a:cubicBezTo>
                        <a:pt x="1016631" y="1723276"/>
                        <a:pt x="1014623" y="1722553"/>
                        <a:pt x="1013739" y="1722232"/>
                      </a:cubicBezTo>
                      <a:cubicBezTo>
                        <a:pt x="1014141" y="1722875"/>
                        <a:pt x="1015105" y="1724240"/>
                        <a:pt x="1012454" y="1726248"/>
                      </a:cubicBezTo>
                      <a:cubicBezTo>
                        <a:pt x="1011731" y="1726730"/>
                        <a:pt x="1011169" y="1727855"/>
                        <a:pt x="1010928" y="1728658"/>
                      </a:cubicBezTo>
                      <a:cubicBezTo>
                        <a:pt x="1013578" y="1728658"/>
                        <a:pt x="1015185" y="1728738"/>
                        <a:pt x="1017836" y="1729221"/>
                      </a:cubicBezTo>
                      <a:cubicBezTo>
                        <a:pt x="1020567" y="1723035"/>
                        <a:pt x="1023700" y="1716850"/>
                        <a:pt x="1025869" y="1722072"/>
                      </a:cubicBezTo>
                      <a:cubicBezTo>
                        <a:pt x="1026351" y="1723116"/>
                        <a:pt x="1026592" y="1724481"/>
                        <a:pt x="1026913" y="1725606"/>
                      </a:cubicBezTo>
                      <a:cubicBezTo>
                        <a:pt x="1029564" y="1722553"/>
                        <a:pt x="1030287" y="1719822"/>
                        <a:pt x="1025467" y="1715565"/>
                      </a:cubicBezTo>
                      <a:cubicBezTo>
                        <a:pt x="1029483" y="1715565"/>
                        <a:pt x="1031893" y="1715886"/>
                        <a:pt x="1035106" y="1716850"/>
                      </a:cubicBezTo>
                      <a:cubicBezTo>
                        <a:pt x="1037597" y="1714279"/>
                        <a:pt x="1043139" y="1708095"/>
                        <a:pt x="1044505" y="1706648"/>
                      </a:cubicBezTo>
                      <a:moveTo>
                        <a:pt x="2303887" y="1274002"/>
                      </a:moveTo>
                      <a:cubicBezTo>
                        <a:pt x="2303967" y="1274002"/>
                        <a:pt x="2304128" y="1274002"/>
                        <a:pt x="2304208" y="1273922"/>
                      </a:cubicBezTo>
                      <a:cubicBezTo>
                        <a:pt x="2302682" y="1274163"/>
                        <a:pt x="2301236" y="1274404"/>
                        <a:pt x="2299710" y="1274645"/>
                      </a:cubicBezTo>
                      <a:cubicBezTo>
                        <a:pt x="2299308" y="1274725"/>
                        <a:pt x="2298987" y="1274725"/>
                        <a:pt x="2298585" y="1274805"/>
                      </a:cubicBezTo>
                      <a:cubicBezTo>
                        <a:pt x="2298505" y="1274805"/>
                        <a:pt x="2298344" y="1274725"/>
                        <a:pt x="2298264" y="1274886"/>
                      </a:cubicBezTo>
                      <a:cubicBezTo>
                        <a:pt x="2300111" y="1274645"/>
                        <a:pt x="2301959" y="1274243"/>
                        <a:pt x="2303887" y="1274002"/>
                      </a:cubicBezTo>
                      <a:moveTo>
                        <a:pt x="882483" y="1672589"/>
                      </a:moveTo>
                      <a:cubicBezTo>
                        <a:pt x="882724" y="1672589"/>
                        <a:pt x="882965" y="1672589"/>
                        <a:pt x="883126" y="1672589"/>
                      </a:cubicBezTo>
                      <a:cubicBezTo>
                        <a:pt x="874852" y="1663673"/>
                        <a:pt x="871800" y="1660299"/>
                        <a:pt x="866659" y="1660781"/>
                      </a:cubicBezTo>
                      <a:cubicBezTo>
                        <a:pt x="865213" y="1661022"/>
                        <a:pt x="864329" y="1661344"/>
                        <a:pt x="862963" y="1662307"/>
                      </a:cubicBezTo>
                      <a:cubicBezTo>
                        <a:pt x="866257" y="1663191"/>
                        <a:pt x="866980" y="1663914"/>
                        <a:pt x="866337" y="1665440"/>
                      </a:cubicBezTo>
                      <a:cubicBezTo>
                        <a:pt x="871639" y="1671385"/>
                        <a:pt x="878065" y="1672589"/>
                        <a:pt x="882483" y="1672589"/>
                      </a:cubicBezTo>
                      <a:moveTo>
                        <a:pt x="2292962" y="1291192"/>
                      </a:moveTo>
                      <a:cubicBezTo>
                        <a:pt x="2293123" y="1291112"/>
                        <a:pt x="2293364" y="1291032"/>
                        <a:pt x="2293525" y="1290951"/>
                      </a:cubicBezTo>
                      <a:cubicBezTo>
                        <a:pt x="2269828" y="1252153"/>
                        <a:pt x="2269828" y="1252153"/>
                        <a:pt x="2268382" y="1250707"/>
                      </a:cubicBezTo>
                      <a:cubicBezTo>
                        <a:pt x="2268382" y="1250707"/>
                        <a:pt x="2268301" y="1250707"/>
                        <a:pt x="2268221" y="1250707"/>
                      </a:cubicBezTo>
                      <a:cubicBezTo>
                        <a:pt x="2269346" y="1256972"/>
                        <a:pt x="2269346" y="1263399"/>
                        <a:pt x="2271033" y="1269584"/>
                      </a:cubicBezTo>
                      <a:cubicBezTo>
                        <a:pt x="2273282" y="1277777"/>
                        <a:pt x="2275451" y="1278821"/>
                        <a:pt x="2276093" y="1279223"/>
                      </a:cubicBezTo>
                      <a:cubicBezTo>
                        <a:pt x="2276415" y="1279384"/>
                        <a:pt x="2284929" y="1283722"/>
                        <a:pt x="2287500" y="1294084"/>
                      </a:cubicBezTo>
                      <a:cubicBezTo>
                        <a:pt x="2290231" y="1292397"/>
                        <a:pt x="2292560" y="1291433"/>
                        <a:pt x="2292962" y="1291192"/>
                      </a:cubicBezTo>
                      <a:moveTo>
                        <a:pt x="2323648" y="1196646"/>
                      </a:moveTo>
                      <a:lnTo>
                        <a:pt x="2323648" y="1196646"/>
                      </a:lnTo>
                      <a:cubicBezTo>
                        <a:pt x="2323246" y="1197690"/>
                        <a:pt x="2323005" y="1198734"/>
                        <a:pt x="2322603" y="1199779"/>
                      </a:cubicBezTo>
                      <a:cubicBezTo>
                        <a:pt x="2323005" y="1198734"/>
                        <a:pt x="2323407" y="1197771"/>
                        <a:pt x="2323648" y="1196646"/>
                      </a:cubicBezTo>
                      <a:moveTo>
                        <a:pt x="2264767" y="1227412"/>
                      </a:moveTo>
                      <a:lnTo>
                        <a:pt x="2264767" y="1227412"/>
                      </a:lnTo>
                      <a:cubicBezTo>
                        <a:pt x="2264526" y="1227974"/>
                        <a:pt x="2262277" y="1236007"/>
                        <a:pt x="2262277" y="1236087"/>
                      </a:cubicBezTo>
                      <a:cubicBezTo>
                        <a:pt x="2262196" y="1236328"/>
                        <a:pt x="2262277" y="1236730"/>
                        <a:pt x="2262357" y="1236971"/>
                      </a:cubicBezTo>
                      <a:cubicBezTo>
                        <a:pt x="2264044" y="1230384"/>
                        <a:pt x="2264687" y="1227653"/>
                        <a:pt x="2264767" y="1227412"/>
                      </a:cubicBezTo>
                      <a:moveTo>
                        <a:pt x="2136644" y="1299064"/>
                      </a:moveTo>
                      <a:cubicBezTo>
                        <a:pt x="2136403" y="1296895"/>
                        <a:pt x="2134636" y="1297618"/>
                        <a:pt x="2133270" y="1298422"/>
                      </a:cubicBezTo>
                      <a:cubicBezTo>
                        <a:pt x="2132869" y="1298663"/>
                        <a:pt x="2132386" y="1298984"/>
                        <a:pt x="2131985" y="1299225"/>
                      </a:cubicBezTo>
                      <a:cubicBezTo>
                        <a:pt x="2133351" y="1299948"/>
                        <a:pt x="2134716" y="1300430"/>
                        <a:pt x="2136564" y="1300671"/>
                      </a:cubicBezTo>
                      <a:cubicBezTo>
                        <a:pt x="2136644" y="1300350"/>
                        <a:pt x="2136724" y="1299707"/>
                        <a:pt x="2136644" y="1299064"/>
                      </a:cubicBezTo>
                      <a:moveTo>
                        <a:pt x="2307180" y="1172628"/>
                      </a:moveTo>
                      <a:cubicBezTo>
                        <a:pt x="2306779" y="1167005"/>
                        <a:pt x="2302521" y="1169093"/>
                        <a:pt x="2299951" y="1170861"/>
                      </a:cubicBezTo>
                      <a:cubicBezTo>
                        <a:pt x="2299228" y="1171343"/>
                        <a:pt x="2298183" y="1171985"/>
                        <a:pt x="2297380" y="1171905"/>
                      </a:cubicBezTo>
                      <a:lnTo>
                        <a:pt x="2296336" y="1170218"/>
                      </a:lnTo>
                      <a:lnTo>
                        <a:pt x="2294970" y="1172066"/>
                      </a:lnTo>
                      <a:cubicBezTo>
                        <a:pt x="2294810" y="1174716"/>
                        <a:pt x="2294328" y="1177528"/>
                        <a:pt x="2291356" y="1179456"/>
                      </a:cubicBezTo>
                      <a:cubicBezTo>
                        <a:pt x="2291436" y="1179134"/>
                        <a:pt x="2291516" y="1178733"/>
                        <a:pt x="2291597" y="1178412"/>
                      </a:cubicBezTo>
                      <a:lnTo>
                        <a:pt x="2290793" y="1178010"/>
                      </a:lnTo>
                      <a:cubicBezTo>
                        <a:pt x="2284849" y="1191666"/>
                        <a:pt x="2284447" y="1204036"/>
                        <a:pt x="2289508" y="1216889"/>
                      </a:cubicBezTo>
                      <a:cubicBezTo>
                        <a:pt x="2289508" y="1217049"/>
                        <a:pt x="2289588" y="1217130"/>
                        <a:pt x="2289588" y="1217290"/>
                      </a:cubicBezTo>
                      <a:cubicBezTo>
                        <a:pt x="2289669" y="1217853"/>
                        <a:pt x="2289749" y="1218335"/>
                        <a:pt x="2289829" y="1218897"/>
                      </a:cubicBezTo>
                      <a:cubicBezTo>
                        <a:pt x="2289990" y="1217049"/>
                        <a:pt x="2290392" y="1216487"/>
                        <a:pt x="2291356" y="1216969"/>
                      </a:cubicBezTo>
                      <a:cubicBezTo>
                        <a:pt x="2291034" y="1211667"/>
                        <a:pt x="2292239" y="1209659"/>
                        <a:pt x="2295533" y="1210061"/>
                      </a:cubicBezTo>
                      <a:cubicBezTo>
                        <a:pt x="2296175" y="1209338"/>
                        <a:pt x="2298264" y="1207169"/>
                        <a:pt x="2298344" y="1211266"/>
                      </a:cubicBezTo>
                      <a:cubicBezTo>
                        <a:pt x="2298344" y="1212069"/>
                        <a:pt x="2298264" y="1213113"/>
                        <a:pt x="2298183" y="1213917"/>
                      </a:cubicBezTo>
                      <a:cubicBezTo>
                        <a:pt x="2298585" y="1212953"/>
                        <a:pt x="2299228" y="1211748"/>
                        <a:pt x="2299629" y="1210784"/>
                      </a:cubicBezTo>
                      <a:cubicBezTo>
                        <a:pt x="2298987" y="1209016"/>
                        <a:pt x="2297461" y="1205000"/>
                        <a:pt x="2302360" y="1203072"/>
                      </a:cubicBezTo>
                      <a:cubicBezTo>
                        <a:pt x="2303083" y="1202831"/>
                        <a:pt x="2304851" y="1198413"/>
                        <a:pt x="2304770" y="1197128"/>
                      </a:cubicBezTo>
                      <a:cubicBezTo>
                        <a:pt x="2304690" y="1197048"/>
                        <a:pt x="2304529" y="1197048"/>
                        <a:pt x="2304449" y="1196967"/>
                      </a:cubicBezTo>
                      <a:cubicBezTo>
                        <a:pt x="2303646" y="1197289"/>
                        <a:pt x="2303083" y="1197530"/>
                        <a:pt x="2300352" y="1200261"/>
                      </a:cubicBezTo>
                      <a:cubicBezTo>
                        <a:pt x="2300834" y="1198975"/>
                        <a:pt x="2301397" y="1197931"/>
                        <a:pt x="2302521" y="1196967"/>
                      </a:cubicBezTo>
                      <a:cubicBezTo>
                        <a:pt x="2302280" y="1196646"/>
                        <a:pt x="2301878" y="1196003"/>
                        <a:pt x="2300593" y="1197690"/>
                      </a:cubicBezTo>
                      <a:cubicBezTo>
                        <a:pt x="2302039" y="1192790"/>
                        <a:pt x="2302842" y="1191103"/>
                        <a:pt x="2304851" y="1188453"/>
                      </a:cubicBezTo>
                      <a:cubicBezTo>
                        <a:pt x="2304369" y="1188372"/>
                        <a:pt x="2303164" y="1188051"/>
                        <a:pt x="2304369" y="1186525"/>
                      </a:cubicBezTo>
                      <a:cubicBezTo>
                        <a:pt x="2305654" y="1185159"/>
                        <a:pt x="2307341" y="1175520"/>
                        <a:pt x="2307180" y="1172628"/>
                      </a:cubicBezTo>
                      <a:moveTo>
                        <a:pt x="2294488" y="1156482"/>
                      </a:moveTo>
                      <a:cubicBezTo>
                        <a:pt x="2294569" y="1156402"/>
                        <a:pt x="2294649" y="1156241"/>
                        <a:pt x="2294729" y="1156161"/>
                      </a:cubicBezTo>
                      <a:cubicBezTo>
                        <a:pt x="2294247" y="1156161"/>
                        <a:pt x="2293846" y="1156402"/>
                        <a:pt x="2293123" y="1157044"/>
                      </a:cubicBezTo>
                      <a:cubicBezTo>
                        <a:pt x="2291918" y="1158330"/>
                        <a:pt x="2291516" y="1159293"/>
                        <a:pt x="2291356" y="1159695"/>
                      </a:cubicBezTo>
                      <a:lnTo>
                        <a:pt x="2289267" y="1161944"/>
                      </a:lnTo>
                      <a:lnTo>
                        <a:pt x="2287259" y="1164435"/>
                      </a:lnTo>
                      <a:cubicBezTo>
                        <a:pt x="2287580" y="1165398"/>
                        <a:pt x="2287982" y="1165880"/>
                        <a:pt x="2289347" y="1165077"/>
                      </a:cubicBezTo>
                      <a:cubicBezTo>
                        <a:pt x="2289508" y="1163872"/>
                        <a:pt x="2289829" y="1163631"/>
                        <a:pt x="2290633" y="1164274"/>
                      </a:cubicBezTo>
                      <a:cubicBezTo>
                        <a:pt x="2290231" y="1161944"/>
                        <a:pt x="2291516" y="1161864"/>
                        <a:pt x="2293846" y="1162587"/>
                      </a:cubicBezTo>
                      <a:cubicBezTo>
                        <a:pt x="2293846" y="1161784"/>
                        <a:pt x="2293926" y="1160740"/>
                        <a:pt x="2293926" y="1159936"/>
                      </a:cubicBezTo>
                      <a:lnTo>
                        <a:pt x="2292962" y="1161061"/>
                      </a:lnTo>
                      <a:lnTo>
                        <a:pt x="2293284" y="1159776"/>
                      </a:lnTo>
                      <a:cubicBezTo>
                        <a:pt x="2292721" y="1159936"/>
                        <a:pt x="2291837" y="1160097"/>
                        <a:pt x="2292641" y="1158811"/>
                      </a:cubicBezTo>
                      <a:cubicBezTo>
                        <a:pt x="2293042" y="1158169"/>
                        <a:pt x="2293846" y="1157205"/>
                        <a:pt x="2294488" y="1156482"/>
                      </a:cubicBezTo>
                      <a:moveTo>
                        <a:pt x="2276093" y="1162667"/>
                      </a:moveTo>
                      <a:cubicBezTo>
                        <a:pt x="2276093" y="1162587"/>
                        <a:pt x="2276093" y="1162507"/>
                        <a:pt x="2276013" y="1162426"/>
                      </a:cubicBezTo>
                      <a:lnTo>
                        <a:pt x="2275692" y="1163069"/>
                      </a:lnTo>
                      <a:cubicBezTo>
                        <a:pt x="2272880" y="1169334"/>
                        <a:pt x="2269908" y="1178251"/>
                        <a:pt x="2270069" y="1183151"/>
                      </a:cubicBezTo>
                      <a:cubicBezTo>
                        <a:pt x="2274808" y="1178893"/>
                        <a:pt x="2276415" y="1165961"/>
                        <a:pt x="2276093" y="1162667"/>
                      </a:cubicBezTo>
                      <a:moveTo>
                        <a:pt x="2316016" y="1116800"/>
                      </a:moveTo>
                      <a:cubicBezTo>
                        <a:pt x="2315615" y="1116639"/>
                        <a:pt x="2315213" y="1116479"/>
                        <a:pt x="2314811" y="1116318"/>
                      </a:cubicBezTo>
                      <a:cubicBezTo>
                        <a:pt x="2314811" y="1116318"/>
                        <a:pt x="2314892" y="1116318"/>
                        <a:pt x="2314892" y="1116318"/>
                      </a:cubicBezTo>
                      <a:cubicBezTo>
                        <a:pt x="2315293" y="1116479"/>
                        <a:pt x="2315695" y="1116639"/>
                        <a:pt x="2316016" y="1116800"/>
                      </a:cubicBezTo>
                      <a:moveTo>
                        <a:pt x="748898" y="1562138"/>
                      </a:moveTo>
                      <a:lnTo>
                        <a:pt x="748898" y="1562138"/>
                      </a:lnTo>
                      <a:cubicBezTo>
                        <a:pt x="748175" y="1562299"/>
                        <a:pt x="746006" y="1563022"/>
                        <a:pt x="740463" y="1564950"/>
                      </a:cubicBezTo>
                      <a:cubicBezTo>
                        <a:pt x="740463" y="1565110"/>
                        <a:pt x="740383" y="1565271"/>
                        <a:pt x="740383" y="1565432"/>
                      </a:cubicBezTo>
                      <a:cubicBezTo>
                        <a:pt x="747612" y="1562701"/>
                        <a:pt x="748817" y="1562219"/>
                        <a:pt x="748898" y="1562138"/>
                      </a:cubicBezTo>
                      <a:moveTo>
                        <a:pt x="2315936" y="1066756"/>
                      </a:moveTo>
                      <a:cubicBezTo>
                        <a:pt x="2315936" y="1066675"/>
                        <a:pt x="2315936" y="1066515"/>
                        <a:pt x="2315936" y="1066434"/>
                      </a:cubicBezTo>
                      <a:cubicBezTo>
                        <a:pt x="2315936" y="1066515"/>
                        <a:pt x="2315856" y="1066595"/>
                        <a:pt x="2315775" y="1066675"/>
                      </a:cubicBezTo>
                      <a:cubicBezTo>
                        <a:pt x="2314570" y="1069326"/>
                        <a:pt x="2314410" y="1071575"/>
                        <a:pt x="2314490" y="1075029"/>
                      </a:cubicBezTo>
                      <a:cubicBezTo>
                        <a:pt x="2315454" y="1074146"/>
                        <a:pt x="2316097" y="1070451"/>
                        <a:pt x="2315936" y="1066756"/>
                      </a:cubicBezTo>
                      <a:moveTo>
                        <a:pt x="1834530" y="1333284"/>
                      </a:moveTo>
                      <a:lnTo>
                        <a:pt x="1834450" y="1330392"/>
                      </a:lnTo>
                      <a:lnTo>
                        <a:pt x="1833325" y="1331436"/>
                      </a:lnTo>
                      <a:lnTo>
                        <a:pt x="1833727" y="1330231"/>
                      </a:lnTo>
                      <a:cubicBezTo>
                        <a:pt x="1833004" y="1328705"/>
                        <a:pt x="1832763" y="1327982"/>
                        <a:pt x="1832442" y="1326697"/>
                      </a:cubicBezTo>
                      <a:cubicBezTo>
                        <a:pt x="1830434" y="1326617"/>
                        <a:pt x="1830112" y="1325813"/>
                        <a:pt x="1830755" y="1322199"/>
                      </a:cubicBezTo>
                      <a:cubicBezTo>
                        <a:pt x="1831157" y="1322038"/>
                        <a:pt x="1831639" y="1321717"/>
                        <a:pt x="1831960" y="1321556"/>
                      </a:cubicBezTo>
                      <a:cubicBezTo>
                        <a:pt x="1828184" y="1321877"/>
                        <a:pt x="1827622" y="1320914"/>
                        <a:pt x="1829309" y="1317459"/>
                      </a:cubicBezTo>
                      <a:cubicBezTo>
                        <a:pt x="1827140" y="1320512"/>
                        <a:pt x="1827461" y="1321556"/>
                        <a:pt x="1830594" y="1321717"/>
                      </a:cubicBezTo>
                      <a:cubicBezTo>
                        <a:pt x="1830032" y="1322359"/>
                        <a:pt x="1829389" y="1323243"/>
                        <a:pt x="1828827" y="1323886"/>
                      </a:cubicBezTo>
                      <a:cubicBezTo>
                        <a:pt x="1830675" y="1328866"/>
                        <a:pt x="1828425" y="1329990"/>
                        <a:pt x="1821196" y="1327581"/>
                      </a:cubicBezTo>
                      <a:cubicBezTo>
                        <a:pt x="1821919" y="1327179"/>
                        <a:pt x="1822963" y="1326697"/>
                        <a:pt x="1823686" y="1326376"/>
                      </a:cubicBezTo>
                      <a:cubicBezTo>
                        <a:pt x="1816617" y="1328545"/>
                        <a:pt x="1813966" y="1328063"/>
                        <a:pt x="1813243" y="1324448"/>
                      </a:cubicBezTo>
                      <a:cubicBezTo>
                        <a:pt x="1809307" y="1326697"/>
                        <a:pt x="1805612" y="1323323"/>
                        <a:pt x="1804006" y="1321797"/>
                      </a:cubicBezTo>
                      <a:cubicBezTo>
                        <a:pt x="1804006" y="1322038"/>
                        <a:pt x="1803925" y="1322279"/>
                        <a:pt x="1803925" y="1322520"/>
                      </a:cubicBezTo>
                      <a:cubicBezTo>
                        <a:pt x="1804006" y="1324046"/>
                        <a:pt x="1804488" y="1325010"/>
                        <a:pt x="1806657" y="1325813"/>
                      </a:cubicBezTo>
                      <a:cubicBezTo>
                        <a:pt x="1802158" y="1326295"/>
                        <a:pt x="1798945" y="1327741"/>
                        <a:pt x="1795089" y="1330955"/>
                      </a:cubicBezTo>
                      <a:cubicBezTo>
                        <a:pt x="1798061" y="1328786"/>
                        <a:pt x="1800150" y="1327902"/>
                        <a:pt x="1802721" y="1327822"/>
                      </a:cubicBezTo>
                      <a:cubicBezTo>
                        <a:pt x="1803122" y="1327822"/>
                        <a:pt x="1803684" y="1327902"/>
                        <a:pt x="1804166" y="1327982"/>
                      </a:cubicBezTo>
                      <a:cubicBezTo>
                        <a:pt x="1804568" y="1328063"/>
                        <a:pt x="1805130" y="1328384"/>
                        <a:pt x="1805532" y="1328464"/>
                      </a:cubicBezTo>
                      <a:cubicBezTo>
                        <a:pt x="1808986" y="1329107"/>
                        <a:pt x="1812922" y="1327018"/>
                        <a:pt x="1815975" y="1330231"/>
                      </a:cubicBezTo>
                      <a:cubicBezTo>
                        <a:pt x="1815975" y="1330312"/>
                        <a:pt x="1815975" y="1330392"/>
                        <a:pt x="1816055" y="1330392"/>
                      </a:cubicBezTo>
                      <a:lnTo>
                        <a:pt x="1817661" y="1328946"/>
                      </a:lnTo>
                      <a:cubicBezTo>
                        <a:pt x="1819670" y="1329187"/>
                        <a:pt x="1819911" y="1329348"/>
                        <a:pt x="1820393" y="1330231"/>
                      </a:cubicBezTo>
                      <a:cubicBezTo>
                        <a:pt x="1823686" y="1328223"/>
                        <a:pt x="1825453" y="1329428"/>
                        <a:pt x="1826738" y="1330794"/>
                      </a:cubicBezTo>
                      <a:cubicBezTo>
                        <a:pt x="1825855" y="1331196"/>
                        <a:pt x="1824811" y="1331758"/>
                        <a:pt x="1823927" y="1332159"/>
                      </a:cubicBezTo>
                      <a:cubicBezTo>
                        <a:pt x="1822642" y="1333123"/>
                        <a:pt x="1821517" y="1333846"/>
                        <a:pt x="1819509" y="1335212"/>
                      </a:cubicBezTo>
                      <a:cubicBezTo>
                        <a:pt x="1824007" y="1332802"/>
                        <a:pt x="1827060" y="1332481"/>
                        <a:pt x="1829229" y="1332481"/>
                      </a:cubicBezTo>
                      <a:cubicBezTo>
                        <a:pt x="1827863" y="1333043"/>
                        <a:pt x="1826016" y="1333846"/>
                        <a:pt x="1824650" y="1334489"/>
                      </a:cubicBezTo>
                      <a:lnTo>
                        <a:pt x="1828024" y="1334168"/>
                      </a:lnTo>
                      <a:lnTo>
                        <a:pt x="1828024" y="1333364"/>
                      </a:lnTo>
                      <a:cubicBezTo>
                        <a:pt x="1831157" y="1333525"/>
                        <a:pt x="1831879" y="1333686"/>
                        <a:pt x="1832281" y="1334409"/>
                      </a:cubicBezTo>
                      <a:cubicBezTo>
                        <a:pt x="1831960" y="1335212"/>
                        <a:pt x="1831558" y="1335372"/>
                        <a:pt x="1829871" y="1336336"/>
                      </a:cubicBezTo>
                      <a:cubicBezTo>
                        <a:pt x="1830353" y="1336417"/>
                        <a:pt x="1830996" y="1336497"/>
                        <a:pt x="1831478" y="1336497"/>
                      </a:cubicBezTo>
                      <a:cubicBezTo>
                        <a:pt x="1832602" y="1337622"/>
                        <a:pt x="1832522" y="1338184"/>
                        <a:pt x="1831157" y="1339148"/>
                      </a:cubicBezTo>
                      <a:cubicBezTo>
                        <a:pt x="1831558" y="1339228"/>
                        <a:pt x="1832120" y="1339228"/>
                        <a:pt x="1832602" y="1339308"/>
                      </a:cubicBezTo>
                      <a:cubicBezTo>
                        <a:pt x="1830353" y="1343164"/>
                        <a:pt x="1828024" y="1344289"/>
                        <a:pt x="1823847" y="1343325"/>
                      </a:cubicBezTo>
                      <a:cubicBezTo>
                        <a:pt x="1822883" y="1344932"/>
                        <a:pt x="1821517" y="1345413"/>
                        <a:pt x="1818545" y="1345092"/>
                      </a:cubicBezTo>
                      <a:cubicBezTo>
                        <a:pt x="1828988" y="1347582"/>
                        <a:pt x="1834048" y="1346056"/>
                        <a:pt x="1836699" y="1339790"/>
                      </a:cubicBezTo>
                      <a:cubicBezTo>
                        <a:pt x="1836378" y="1340112"/>
                        <a:pt x="1836057" y="1340594"/>
                        <a:pt x="1835735" y="1340915"/>
                      </a:cubicBezTo>
                      <a:cubicBezTo>
                        <a:pt x="1835012" y="1337782"/>
                        <a:pt x="1834611" y="1333284"/>
                        <a:pt x="1834530" y="1333284"/>
                      </a:cubicBezTo>
                      <a:moveTo>
                        <a:pt x="574988" y="1494823"/>
                      </a:moveTo>
                      <a:cubicBezTo>
                        <a:pt x="575068" y="1494823"/>
                        <a:pt x="575148" y="1494823"/>
                        <a:pt x="575148" y="1494823"/>
                      </a:cubicBezTo>
                      <a:cubicBezTo>
                        <a:pt x="573301" y="1494181"/>
                        <a:pt x="571614" y="149385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69525" y="1493699"/>
                        <a:pt x="569525" y="1493699"/>
                        <a:pt x="569525" y="1493699"/>
                      </a:cubicBezTo>
                      <a:cubicBezTo>
                        <a:pt x="571293" y="1494181"/>
                        <a:pt x="573140" y="1494502"/>
                        <a:pt x="574988" y="1494823"/>
                      </a:cubicBezTo>
                      <a:moveTo>
                        <a:pt x="2324692" y="978796"/>
                      </a:moveTo>
                      <a:cubicBezTo>
                        <a:pt x="2324611" y="978555"/>
                        <a:pt x="2324451" y="978395"/>
                        <a:pt x="2324370" y="978234"/>
                      </a:cubicBezTo>
                      <a:cubicBezTo>
                        <a:pt x="2324370" y="978314"/>
                        <a:pt x="2324370" y="978395"/>
                        <a:pt x="2324370" y="978475"/>
                      </a:cubicBezTo>
                      <a:cubicBezTo>
                        <a:pt x="2324451" y="978555"/>
                        <a:pt x="2324531" y="978636"/>
                        <a:pt x="2324611" y="978796"/>
                      </a:cubicBezTo>
                      <a:cubicBezTo>
                        <a:pt x="2324611" y="978716"/>
                        <a:pt x="2324611" y="978796"/>
                        <a:pt x="2324692" y="978796"/>
                      </a:cubicBezTo>
                      <a:lnTo>
                        <a:pt x="2324692" y="978796"/>
                      </a:lnTo>
                      <a:moveTo>
                        <a:pt x="2294569" y="1010847"/>
                      </a:moveTo>
                      <a:lnTo>
                        <a:pt x="2294569" y="1010847"/>
                      </a:lnTo>
                      <a:cubicBezTo>
                        <a:pt x="2293525" y="1012052"/>
                        <a:pt x="2292480" y="1013338"/>
                        <a:pt x="2291516" y="1014542"/>
                      </a:cubicBezTo>
                      <a:cubicBezTo>
                        <a:pt x="2292078" y="1013900"/>
                        <a:pt x="2292641" y="1013257"/>
                        <a:pt x="2293203" y="1012534"/>
                      </a:cubicBezTo>
                      <a:cubicBezTo>
                        <a:pt x="2293525" y="1012213"/>
                        <a:pt x="2293766" y="1011811"/>
                        <a:pt x="2294087" y="1011490"/>
                      </a:cubicBezTo>
                      <a:cubicBezTo>
                        <a:pt x="2294247" y="1011249"/>
                        <a:pt x="2294488" y="1011088"/>
                        <a:pt x="2294569" y="1010847"/>
                      </a:cubicBezTo>
                      <a:moveTo>
                        <a:pt x="212869" y="1424858"/>
                      </a:moveTo>
                      <a:cubicBezTo>
                        <a:pt x="213030" y="1424055"/>
                        <a:pt x="211102" y="1423412"/>
                        <a:pt x="209415" y="1423010"/>
                      </a:cubicBezTo>
                      <a:cubicBezTo>
                        <a:pt x="208692" y="1422850"/>
                        <a:pt x="207889" y="1422609"/>
                        <a:pt x="207166" y="1422448"/>
                      </a:cubicBezTo>
                      <a:cubicBezTo>
                        <a:pt x="209576" y="1424537"/>
                        <a:pt x="210379" y="1425500"/>
                        <a:pt x="210781" y="1426063"/>
                      </a:cubicBezTo>
                      <a:cubicBezTo>
                        <a:pt x="211423" y="1425822"/>
                        <a:pt x="212789" y="1425420"/>
                        <a:pt x="212869" y="1424858"/>
                      </a:cubicBezTo>
                      <a:moveTo>
                        <a:pt x="2053183" y="1166443"/>
                      </a:moveTo>
                      <a:cubicBezTo>
                        <a:pt x="2053424" y="1166362"/>
                        <a:pt x="2053665" y="1166202"/>
                        <a:pt x="2053906" y="1166041"/>
                      </a:cubicBezTo>
                      <a:cubicBezTo>
                        <a:pt x="2053826" y="1166121"/>
                        <a:pt x="2053665" y="1166202"/>
                        <a:pt x="2053585" y="1166202"/>
                      </a:cubicBezTo>
                      <a:cubicBezTo>
                        <a:pt x="2051737" y="1167166"/>
                        <a:pt x="2049890" y="1168130"/>
                        <a:pt x="2048042" y="1169174"/>
                      </a:cubicBezTo>
                      <a:cubicBezTo>
                        <a:pt x="2049729" y="1168371"/>
                        <a:pt x="2051496" y="1167407"/>
                        <a:pt x="2053183" y="1166443"/>
                      </a:cubicBezTo>
                      <a:moveTo>
                        <a:pt x="177204" y="1374492"/>
                      </a:moveTo>
                      <a:cubicBezTo>
                        <a:pt x="177284" y="1374412"/>
                        <a:pt x="177364" y="1374251"/>
                        <a:pt x="177444" y="1374171"/>
                      </a:cubicBezTo>
                      <a:cubicBezTo>
                        <a:pt x="177364" y="1374171"/>
                        <a:pt x="177284" y="1374251"/>
                        <a:pt x="177284" y="1374251"/>
                      </a:cubicBezTo>
                      <a:cubicBezTo>
                        <a:pt x="175356" y="1374894"/>
                        <a:pt x="173348" y="1375215"/>
                        <a:pt x="171018" y="1375215"/>
                      </a:cubicBezTo>
                      <a:cubicBezTo>
                        <a:pt x="172384" y="1376661"/>
                        <a:pt x="174472" y="1378187"/>
                        <a:pt x="177204" y="1374492"/>
                      </a:cubicBezTo>
                      <a:moveTo>
                        <a:pt x="115271" y="1346297"/>
                      </a:moveTo>
                      <a:cubicBezTo>
                        <a:pt x="115271" y="1346297"/>
                        <a:pt x="115271" y="1346297"/>
                        <a:pt x="115271" y="1346297"/>
                      </a:cubicBezTo>
                      <a:cubicBezTo>
                        <a:pt x="114949" y="1345815"/>
                        <a:pt x="114548" y="1345253"/>
                        <a:pt x="114226" y="1344771"/>
                      </a:cubicBezTo>
                      <a:cubicBezTo>
                        <a:pt x="114226" y="1344771"/>
                        <a:pt x="114226" y="1344771"/>
                        <a:pt x="114226" y="1344851"/>
                      </a:cubicBezTo>
                      <a:cubicBezTo>
                        <a:pt x="114307" y="1344932"/>
                        <a:pt x="114628" y="1345413"/>
                        <a:pt x="115271" y="1346297"/>
                      </a:cubicBezTo>
                      <a:moveTo>
                        <a:pt x="433450" y="1391040"/>
                      </a:moveTo>
                      <a:lnTo>
                        <a:pt x="433851" y="1390558"/>
                      </a:lnTo>
                      <a:cubicBezTo>
                        <a:pt x="432486" y="1389674"/>
                        <a:pt x="431683" y="1389433"/>
                        <a:pt x="430799" y="1389353"/>
                      </a:cubicBezTo>
                      <a:cubicBezTo>
                        <a:pt x="430156" y="1389353"/>
                        <a:pt x="429755" y="1389433"/>
                        <a:pt x="429112" y="1389754"/>
                      </a:cubicBezTo>
                      <a:cubicBezTo>
                        <a:pt x="431361" y="1391441"/>
                        <a:pt x="433369" y="1391040"/>
                        <a:pt x="433450" y="1391040"/>
                      </a:cubicBezTo>
                      <a:moveTo>
                        <a:pt x="41690" y="1258418"/>
                      </a:moveTo>
                      <a:lnTo>
                        <a:pt x="41771" y="1258258"/>
                      </a:lnTo>
                      <a:cubicBezTo>
                        <a:pt x="40887" y="1256410"/>
                        <a:pt x="40084" y="1255285"/>
                        <a:pt x="38879" y="1254482"/>
                      </a:cubicBezTo>
                      <a:cubicBezTo>
                        <a:pt x="38156" y="1254081"/>
                        <a:pt x="37754" y="1253920"/>
                        <a:pt x="36951" y="1253840"/>
                      </a:cubicBezTo>
                      <a:cubicBezTo>
                        <a:pt x="38397" y="1256169"/>
                        <a:pt x="40084" y="1257776"/>
                        <a:pt x="41690" y="1258418"/>
                      </a:cubicBezTo>
                      <a:moveTo>
                        <a:pt x="2213357" y="927547"/>
                      </a:moveTo>
                      <a:cubicBezTo>
                        <a:pt x="2213357" y="927467"/>
                        <a:pt x="2213438" y="927306"/>
                        <a:pt x="2213438" y="927226"/>
                      </a:cubicBezTo>
                      <a:cubicBezTo>
                        <a:pt x="2212393" y="927949"/>
                        <a:pt x="2211831" y="928431"/>
                        <a:pt x="2211108" y="929074"/>
                      </a:cubicBezTo>
                      <a:cubicBezTo>
                        <a:pt x="2209742" y="930519"/>
                        <a:pt x="2208939" y="931483"/>
                        <a:pt x="2207814" y="933251"/>
                      </a:cubicBezTo>
                      <a:cubicBezTo>
                        <a:pt x="2208296" y="933492"/>
                        <a:pt x="2208939" y="933813"/>
                        <a:pt x="2209421" y="934054"/>
                      </a:cubicBezTo>
                      <a:cubicBezTo>
                        <a:pt x="2207895" y="938954"/>
                        <a:pt x="2207333" y="943613"/>
                        <a:pt x="2207493" y="949075"/>
                      </a:cubicBezTo>
                      <a:cubicBezTo>
                        <a:pt x="2207654" y="944657"/>
                        <a:pt x="2208377" y="941283"/>
                        <a:pt x="2208939" y="939195"/>
                      </a:cubicBezTo>
                      <a:cubicBezTo>
                        <a:pt x="2209341" y="937909"/>
                        <a:pt x="2209983" y="936624"/>
                        <a:pt x="2210305" y="935339"/>
                      </a:cubicBezTo>
                      <a:cubicBezTo>
                        <a:pt x="2210706" y="933732"/>
                        <a:pt x="2210224" y="932046"/>
                        <a:pt x="2210947" y="930439"/>
                      </a:cubicBezTo>
                      <a:cubicBezTo>
                        <a:pt x="2211510" y="929154"/>
                        <a:pt x="2212152" y="929315"/>
                        <a:pt x="2212956" y="929957"/>
                      </a:cubicBezTo>
                      <a:cubicBezTo>
                        <a:pt x="2213116" y="929154"/>
                        <a:pt x="2213197" y="928350"/>
                        <a:pt x="2213357" y="927547"/>
                      </a:cubicBezTo>
                      <a:moveTo>
                        <a:pt x="2215124" y="917105"/>
                      </a:moveTo>
                      <a:lnTo>
                        <a:pt x="2214482" y="913490"/>
                      </a:lnTo>
                      <a:cubicBezTo>
                        <a:pt x="2213036" y="912205"/>
                        <a:pt x="2212393" y="911321"/>
                        <a:pt x="2211269" y="908911"/>
                      </a:cubicBezTo>
                      <a:cubicBezTo>
                        <a:pt x="2211349" y="909072"/>
                        <a:pt x="2211429" y="909313"/>
                        <a:pt x="2211510" y="909474"/>
                      </a:cubicBezTo>
                      <a:cubicBezTo>
                        <a:pt x="2212072" y="911160"/>
                        <a:pt x="2212313" y="912205"/>
                        <a:pt x="2212554" y="914132"/>
                      </a:cubicBezTo>
                      <a:cubicBezTo>
                        <a:pt x="2210867" y="914052"/>
                        <a:pt x="2211269" y="915096"/>
                        <a:pt x="2211429" y="915418"/>
                      </a:cubicBezTo>
                      <a:cubicBezTo>
                        <a:pt x="2211590" y="915257"/>
                        <a:pt x="2211750" y="915016"/>
                        <a:pt x="2211911" y="914855"/>
                      </a:cubicBezTo>
                      <a:lnTo>
                        <a:pt x="2211429" y="916542"/>
                      </a:lnTo>
                      <a:cubicBezTo>
                        <a:pt x="2213197" y="916141"/>
                        <a:pt x="2215365" y="916462"/>
                        <a:pt x="2214160" y="924575"/>
                      </a:cubicBezTo>
                      <a:cubicBezTo>
                        <a:pt x="2214642" y="923210"/>
                        <a:pt x="2215526" y="921201"/>
                        <a:pt x="2217213" y="919916"/>
                      </a:cubicBezTo>
                      <a:cubicBezTo>
                        <a:pt x="2215285" y="919595"/>
                        <a:pt x="2215285" y="919033"/>
                        <a:pt x="2215124" y="917105"/>
                      </a:cubicBezTo>
                      <a:moveTo>
                        <a:pt x="88361" y="1230786"/>
                      </a:moveTo>
                      <a:cubicBezTo>
                        <a:pt x="88521" y="1230384"/>
                        <a:pt x="88521" y="1230384"/>
                        <a:pt x="89003" y="1220263"/>
                      </a:cubicBezTo>
                      <a:cubicBezTo>
                        <a:pt x="88923" y="1220263"/>
                        <a:pt x="88923" y="1220263"/>
                        <a:pt x="88843" y="1220263"/>
                      </a:cubicBezTo>
                      <a:cubicBezTo>
                        <a:pt x="88361" y="1220182"/>
                        <a:pt x="88120" y="1220182"/>
                        <a:pt x="87477" y="1220263"/>
                      </a:cubicBezTo>
                      <a:cubicBezTo>
                        <a:pt x="88039" y="1223636"/>
                        <a:pt x="88039" y="1223636"/>
                        <a:pt x="86835" y="1229741"/>
                      </a:cubicBezTo>
                      <a:cubicBezTo>
                        <a:pt x="86513" y="1229821"/>
                        <a:pt x="85549" y="1230063"/>
                        <a:pt x="85871" y="1236810"/>
                      </a:cubicBezTo>
                      <a:cubicBezTo>
                        <a:pt x="86754" y="1234882"/>
                        <a:pt x="87638" y="1232874"/>
                        <a:pt x="88361" y="1230786"/>
                      </a:cubicBezTo>
                      <a:moveTo>
                        <a:pt x="77115" y="1196164"/>
                      </a:moveTo>
                      <a:cubicBezTo>
                        <a:pt x="77115" y="1196164"/>
                        <a:pt x="77757" y="1193513"/>
                        <a:pt x="75187" y="1189577"/>
                      </a:cubicBezTo>
                      <a:cubicBezTo>
                        <a:pt x="75187" y="1189657"/>
                        <a:pt x="75267" y="1189738"/>
                        <a:pt x="75267" y="1189818"/>
                      </a:cubicBezTo>
                      <a:cubicBezTo>
                        <a:pt x="75348" y="1190220"/>
                        <a:pt x="75669" y="1191264"/>
                        <a:pt x="75589" y="1192228"/>
                      </a:cubicBezTo>
                      <a:cubicBezTo>
                        <a:pt x="75589" y="1192549"/>
                        <a:pt x="75348" y="1192871"/>
                        <a:pt x="75348" y="1193192"/>
                      </a:cubicBezTo>
                      <a:cubicBezTo>
                        <a:pt x="75348" y="1193513"/>
                        <a:pt x="75508" y="1193835"/>
                        <a:pt x="75589" y="1194076"/>
                      </a:cubicBezTo>
                      <a:cubicBezTo>
                        <a:pt x="75669" y="1194397"/>
                        <a:pt x="75749" y="1194798"/>
                        <a:pt x="75830" y="1195120"/>
                      </a:cubicBezTo>
                      <a:cubicBezTo>
                        <a:pt x="76553" y="1197690"/>
                        <a:pt x="77115" y="1196244"/>
                        <a:pt x="77115" y="1196164"/>
                      </a:cubicBezTo>
                      <a:moveTo>
                        <a:pt x="294322" y="1247172"/>
                      </a:moveTo>
                      <a:cubicBezTo>
                        <a:pt x="294322" y="1247172"/>
                        <a:pt x="294322" y="1247253"/>
                        <a:pt x="294402" y="1247253"/>
                      </a:cubicBezTo>
                      <a:cubicBezTo>
                        <a:pt x="294402" y="1247012"/>
                        <a:pt x="294322" y="1246289"/>
                        <a:pt x="294402" y="1245485"/>
                      </a:cubicBezTo>
                      <a:cubicBezTo>
                        <a:pt x="294402" y="1245485"/>
                        <a:pt x="294402" y="1245405"/>
                        <a:pt x="294402" y="1245405"/>
                      </a:cubicBezTo>
                      <a:cubicBezTo>
                        <a:pt x="294402" y="1245164"/>
                        <a:pt x="294241" y="1244923"/>
                        <a:pt x="294081" y="1244682"/>
                      </a:cubicBezTo>
                      <a:cubicBezTo>
                        <a:pt x="293920" y="1244923"/>
                        <a:pt x="293759" y="1245164"/>
                        <a:pt x="293679" y="1245405"/>
                      </a:cubicBezTo>
                      <a:cubicBezTo>
                        <a:pt x="293840" y="1245967"/>
                        <a:pt x="294081" y="1246610"/>
                        <a:pt x="294322" y="1247172"/>
                      </a:cubicBezTo>
                      <a:moveTo>
                        <a:pt x="282032" y="1230866"/>
                      </a:moveTo>
                      <a:cubicBezTo>
                        <a:pt x="282192" y="1229821"/>
                        <a:pt x="281228" y="1228456"/>
                        <a:pt x="280505" y="1227572"/>
                      </a:cubicBezTo>
                      <a:cubicBezTo>
                        <a:pt x="280505" y="1227653"/>
                        <a:pt x="280505" y="1227653"/>
                        <a:pt x="280425" y="1227733"/>
                      </a:cubicBezTo>
                      <a:cubicBezTo>
                        <a:pt x="280023" y="1229098"/>
                        <a:pt x="280264" y="1230384"/>
                        <a:pt x="281228" y="1231910"/>
                      </a:cubicBezTo>
                      <a:cubicBezTo>
                        <a:pt x="281550" y="1231749"/>
                        <a:pt x="281951" y="1231428"/>
                        <a:pt x="282032" y="1230866"/>
                      </a:cubicBezTo>
                      <a:moveTo>
                        <a:pt x="67395" y="1151502"/>
                      </a:moveTo>
                      <a:cubicBezTo>
                        <a:pt x="67395" y="1151502"/>
                        <a:pt x="67395" y="1151421"/>
                        <a:pt x="67395" y="1151421"/>
                      </a:cubicBezTo>
                      <a:lnTo>
                        <a:pt x="67315" y="1149815"/>
                      </a:lnTo>
                      <a:lnTo>
                        <a:pt x="66913" y="1150618"/>
                      </a:lnTo>
                      <a:lnTo>
                        <a:pt x="66833" y="1150377"/>
                      </a:lnTo>
                      <a:cubicBezTo>
                        <a:pt x="65949" y="1149011"/>
                        <a:pt x="65548" y="1148449"/>
                        <a:pt x="65066" y="1148289"/>
                      </a:cubicBezTo>
                      <a:cubicBezTo>
                        <a:pt x="64664" y="1148208"/>
                        <a:pt x="64262" y="1149172"/>
                        <a:pt x="64664" y="1149735"/>
                      </a:cubicBezTo>
                      <a:cubicBezTo>
                        <a:pt x="65949" y="1151261"/>
                        <a:pt x="66994" y="1151421"/>
                        <a:pt x="67395" y="1151502"/>
                      </a:cubicBezTo>
                      <a:moveTo>
                        <a:pt x="168930" y="1188131"/>
                      </a:moveTo>
                      <a:cubicBezTo>
                        <a:pt x="168930" y="1188131"/>
                        <a:pt x="168930" y="1188212"/>
                        <a:pt x="168930" y="1188131"/>
                      </a:cubicBezTo>
                      <a:cubicBezTo>
                        <a:pt x="168769" y="1187649"/>
                        <a:pt x="168608" y="1187167"/>
                        <a:pt x="168367" y="1186685"/>
                      </a:cubicBezTo>
                      <a:lnTo>
                        <a:pt x="168367" y="1186685"/>
                      </a:lnTo>
                      <a:cubicBezTo>
                        <a:pt x="168528" y="1187167"/>
                        <a:pt x="168689" y="1187649"/>
                        <a:pt x="168930" y="1188131"/>
                      </a:cubicBezTo>
                      <a:moveTo>
                        <a:pt x="2296416" y="722631"/>
                      </a:moveTo>
                      <a:lnTo>
                        <a:pt x="2296336" y="722068"/>
                      </a:lnTo>
                      <a:cubicBezTo>
                        <a:pt x="2289829" y="729458"/>
                        <a:pt x="2279387" y="729940"/>
                        <a:pt x="2261474" y="723514"/>
                      </a:cubicBezTo>
                      <a:cubicBezTo>
                        <a:pt x="2261795" y="722229"/>
                        <a:pt x="2261795" y="721988"/>
                        <a:pt x="2261714" y="721506"/>
                      </a:cubicBezTo>
                      <a:cubicBezTo>
                        <a:pt x="2261634" y="721506"/>
                        <a:pt x="2261474" y="721426"/>
                        <a:pt x="2261393" y="721426"/>
                      </a:cubicBezTo>
                      <a:cubicBezTo>
                        <a:pt x="2261152" y="721586"/>
                        <a:pt x="2260911" y="721827"/>
                        <a:pt x="2260670" y="722068"/>
                      </a:cubicBezTo>
                      <a:cubicBezTo>
                        <a:pt x="2260831" y="722149"/>
                        <a:pt x="2260992" y="722309"/>
                        <a:pt x="2261072" y="722470"/>
                      </a:cubicBezTo>
                      <a:cubicBezTo>
                        <a:pt x="2261554" y="731467"/>
                        <a:pt x="2261875" y="733555"/>
                        <a:pt x="2263964" y="738455"/>
                      </a:cubicBezTo>
                      <a:cubicBezTo>
                        <a:pt x="2263964" y="738455"/>
                        <a:pt x="2261152" y="741668"/>
                        <a:pt x="2265410" y="744399"/>
                      </a:cubicBezTo>
                      <a:cubicBezTo>
                        <a:pt x="2269506" y="747050"/>
                        <a:pt x="2278985" y="753396"/>
                        <a:pt x="2279306" y="755645"/>
                      </a:cubicBezTo>
                      <a:cubicBezTo>
                        <a:pt x="2281957" y="756850"/>
                        <a:pt x="2283484" y="757332"/>
                        <a:pt x="2286054" y="757814"/>
                      </a:cubicBezTo>
                      <a:cubicBezTo>
                        <a:pt x="2288705" y="764481"/>
                        <a:pt x="2291918" y="769141"/>
                        <a:pt x="2297621" y="774281"/>
                      </a:cubicBezTo>
                      <a:cubicBezTo>
                        <a:pt x="2294087" y="763517"/>
                        <a:pt x="2293123" y="760385"/>
                        <a:pt x="2293042" y="759180"/>
                      </a:cubicBezTo>
                      <a:cubicBezTo>
                        <a:pt x="2293685" y="759903"/>
                        <a:pt x="2294328" y="760626"/>
                        <a:pt x="2299469" y="773157"/>
                      </a:cubicBezTo>
                      <a:cubicBezTo>
                        <a:pt x="2299629" y="772996"/>
                        <a:pt x="2299790" y="772836"/>
                        <a:pt x="2299951" y="772675"/>
                      </a:cubicBezTo>
                      <a:lnTo>
                        <a:pt x="2300915" y="775888"/>
                      </a:lnTo>
                      <a:cubicBezTo>
                        <a:pt x="2301156" y="775727"/>
                        <a:pt x="2301397" y="775567"/>
                        <a:pt x="2301477" y="774844"/>
                      </a:cubicBezTo>
                      <a:lnTo>
                        <a:pt x="2303325" y="750344"/>
                      </a:lnTo>
                      <a:cubicBezTo>
                        <a:pt x="2303325" y="747693"/>
                        <a:pt x="2303325" y="747693"/>
                        <a:pt x="2296416" y="722631"/>
                      </a:cubicBezTo>
                      <a:moveTo>
                        <a:pt x="2255529" y="729699"/>
                      </a:moveTo>
                      <a:lnTo>
                        <a:pt x="2255529" y="729218"/>
                      </a:lnTo>
                      <a:cubicBezTo>
                        <a:pt x="2254646" y="730181"/>
                        <a:pt x="2253682" y="731065"/>
                        <a:pt x="2252798" y="732029"/>
                      </a:cubicBezTo>
                      <a:cubicBezTo>
                        <a:pt x="2252637" y="732190"/>
                        <a:pt x="2252396" y="732431"/>
                        <a:pt x="2252236" y="732591"/>
                      </a:cubicBezTo>
                      <a:cubicBezTo>
                        <a:pt x="2252236" y="732672"/>
                        <a:pt x="2252155" y="732672"/>
                        <a:pt x="2252155" y="732752"/>
                      </a:cubicBezTo>
                      <a:cubicBezTo>
                        <a:pt x="2252236" y="732752"/>
                        <a:pt x="2253039" y="732109"/>
                        <a:pt x="2255529" y="729699"/>
                      </a:cubicBezTo>
                      <a:moveTo>
                        <a:pt x="2191749" y="806975"/>
                      </a:moveTo>
                      <a:cubicBezTo>
                        <a:pt x="2191749" y="806975"/>
                        <a:pt x="2191749" y="806895"/>
                        <a:pt x="2191749" y="806975"/>
                      </a:cubicBezTo>
                      <a:cubicBezTo>
                        <a:pt x="2191508" y="807136"/>
                        <a:pt x="2191187" y="807296"/>
                        <a:pt x="2190865" y="807537"/>
                      </a:cubicBezTo>
                      <a:lnTo>
                        <a:pt x="2190865" y="807537"/>
                      </a:lnTo>
                      <a:cubicBezTo>
                        <a:pt x="2191187" y="807376"/>
                        <a:pt x="2191428" y="807136"/>
                        <a:pt x="2191749" y="806975"/>
                      </a:cubicBezTo>
                      <a:moveTo>
                        <a:pt x="2189500" y="801834"/>
                      </a:moveTo>
                      <a:cubicBezTo>
                        <a:pt x="2189500" y="801754"/>
                        <a:pt x="2189580" y="801673"/>
                        <a:pt x="2189580" y="801673"/>
                      </a:cubicBezTo>
                      <a:cubicBezTo>
                        <a:pt x="2189580" y="801673"/>
                        <a:pt x="2189580" y="801673"/>
                        <a:pt x="2189500" y="801834"/>
                      </a:cubicBezTo>
                      <a:cubicBezTo>
                        <a:pt x="2189259" y="802557"/>
                        <a:pt x="2188937" y="803360"/>
                        <a:pt x="2188696" y="804163"/>
                      </a:cubicBezTo>
                      <a:cubicBezTo>
                        <a:pt x="2189098" y="803440"/>
                        <a:pt x="2189259" y="802557"/>
                        <a:pt x="2189500" y="801834"/>
                      </a:cubicBezTo>
                      <a:moveTo>
                        <a:pt x="2189741" y="801191"/>
                      </a:moveTo>
                      <a:cubicBezTo>
                        <a:pt x="2189741" y="801191"/>
                        <a:pt x="2189741" y="801191"/>
                        <a:pt x="2189741" y="801191"/>
                      </a:cubicBezTo>
                      <a:cubicBezTo>
                        <a:pt x="2189741" y="801191"/>
                        <a:pt x="2189741" y="801191"/>
                        <a:pt x="2189741" y="801191"/>
                      </a:cubicBezTo>
                      <a:lnTo>
                        <a:pt x="2189741" y="801191"/>
                      </a:lnTo>
                      <a:moveTo>
                        <a:pt x="2182431" y="787937"/>
                      </a:moveTo>
                      <a:lnTo>
                        <a:pt x="2182431" y="786813"/>
                      </a:lnTo>
                      <a:cubicBezTo>
                        <a:pt x="2181788" y="786170"/>
                        <a:pt x="2181467" y="785929"/>
                        <a:pt x="2181387" y="786090"/>
                      </a:cubicBezTo>
                      <a:cubicBezTo>
                        <a:pt x="2181306" y="786331"/>
                        <a:pt x="2182190" y="787535"/>
                        <a:pt x="2182431" y="787937"/>
                      </a:cubicBezTo>
                      <a:moveTo>
                        <a:pt x="2229423" y="732431"/>
                      </a:moveTo>
                      <a:cubicBezTo>
                        <a:pt x="2229423" y="732431"/>
                        <a:pt x="2229423" y="732350"/>
                        <a:pt x="2229503" y="732350"/>
                      </a:cubicBezTo>
                      <a:cubicBezTo>
                        <a:pt x="2228218" y="731065"/>
                        <a:pt x="2226692" y="729860"/>
                        <a:pt x="2225005" y="728977"/>
                      </a:cubicBezTo>
                      <a:cubicBezTo>
                        <a:pt x="2225005" y="729137"/>
                        <a:pt x="2225085" y="729298"/>
                        <a:pt x="2225085" y="729378"/>
                      </a:cubicBezTo>
                      <a:cubicBezTo>
                        <a:pt x="2226852" y="735242"/>
                        <a:pt x="2228298" y="734519"/>
                        <a:pt x="2229182" y="732913"/>
                      </a:cubicBezTo>
                      <a:cubicBezTo>
                        <a:pt x="2229262" y="732752"/>
                        <a:pt x="2229342" y="732591"/>
                        <a:pt x="2229423" y="732431"/>
                      </a:cubicBezTo>
                      <a:moveTo>
                        <a:pt x="2223800" y="727129"/>
                      </a:moveTo>
                      <a:cubicBezTo>
                        <a:pt x="2223639" y="726727"/>
                        <a:pt x="2222595" y="726245"/>
                        <a:pt x="2221872" y="726004"/>
                      </a:cubicBezTo>
                      <a:cubicBezTo>
                        <a:pt x="2222032" y="726647"/>
                        <a:pt x="2222193" y="727450"/>
                        <a:pt x="2222354" y="728013"/>
                      </a:cubicBezTo>
                      <a:cubicBezTo>
                        <a:pt x="2222836" y="727932"/>
                        <a:pt x="2224041" y="727691"/>
                        <a:pt x="2223800" y="727129"/>
                      </a:cubicBezTo>
                      <a:moveTo>
                        <a:pt x="278577" y="1170218"/>
                      </a:moveTo>
                      <a:cubicBezTo>
                        <a:pt x="278658" y="1170218"/>
                        <a:pt x="278818" y="1170299"/>
                        <a:pt x="278899" y="1170299"/>
                      </a:cubicBezTo>
                      <a:cubicBezTo>
                        <a:pt x="278497" y="1167889"/>
                        <a:pt x="276891" y="1165800"/>
                        <a:pt x="274320" y="1164274"/>
                      </a:cubicBezTo>
                      <a:cubicBezTo>
                        <a:pt x="274240" y="1164916"/>
                        <a:pt x="274240" y="1165800"/>
                        <a:pt x="274159" y="1166443"/>
                      </a:cubicBezTo>
                      <a:cubicBezTo>
                        <a:pt x="275846" y="1166362"/>
                        <a:pt x="277292" y="1167407"/>
                        <a:pt x="278095" y="1169254"/>
                      </a:cubicBezTo>
                      <a:cubicBezTo>
                        <a:pt x="276650" y="1169334"/>
                        <a:pt x="275204" y="1169334"/>
                        <a:pt x="273758" y="1169495"/>
                      </a:cubicBezTo>
                      <a:cubicBezTo>
                        <a:pt x="274641" y="1169656"/>
                        <a:pt x="276328" y="1169817"/>
                        <a:pt x="278577" y="1170218"/>
                      </a:cubicBezTo>
                      <a:moveTo>
                        <a:pt x="2219221" y="720301"/>
                      </a:moveTo>
                      <a:cubicBezTo>
                        <a:pt x="2218257" y="718373"/>
                        <a:pt x="2215606" y="717570"/>
                        <a:pt x="2214642" y="717329"/>
                      </a:cubicBezTo>
                      <a:cubicBezTo>
                        <a:pt x="2214723" y="717489"/>
                        <a:pt x="2214803" y="717730"/>
                        <a:pt x="2214803" y="717891"/>
                      </a:cubicBezTo>
                      <a:cubicBezTo>
                        <a:pt x="2215928" y="720703"/>
                        <a:pt x="2217454" y="722550"/>
                        <a:pt x="2219301" y="723434"/>
                      </a:cubicBezTo>
                      <a:cubicBezTo>
                        <a:pt x="2219462" y="722791"/>
                        <a:pt x="2219783" y="721506"/>
                        <a:pt x="2219221" y="720301"/>
                      </a:cubicBezTo>
                      <a:moveTo>
                        <a:pt x="4820" y="1019844"/>
                      </a:moveTo>
                      <a:cubicBezTo>
                        <a:pt x="5141" y="1018478"/>
                        <a:pt x="5221" y="1016711"/>
                        <a:pt x="4900" y="1014462"/>
                      </a:cubicBezTo>
                      <a:cubicBezTo>
                        <a:pt x="4900" y="1014542"/>
                        <a:pt x="4900" y="1014542"/>
                        <a:pt x="4900" y="1014623"/>
                      </a:cubicBezTo>
                      <a:cubicBezTo>
                        <a:pt x="4579" y="1016711"/>
                        <a:pt x="4739" y="1018960"/>
                        <a:pt x="4820" y="1019844"/>
                      </a:cubicBezTo>
                      <a:moveTo>
                        <a:pt x="218492" y="1142585"/>
                      </a:moveTo>
                      <a:lnTo>
                        <a:pt x="219295" y="1142585"/>
                      </a:lnTo>
                      <a:cubicBezTo>
                        <a:pt x="217528" y="1139533"/>
                        <a:pt x="215600" y="1137846"/>
                        <a:pt x="213030" y="1137123"/>
                      </a:cubicBezTo>
                      <a:cubicBezTo>
                        <a:pt x="211905" y="1136882"/>
                        <a:pt x="211182" y="1136882"/>
                        <a:pt x="209897" y="1137123"/>
                      </a:cubicBezTo>
                      <a:cubicBezTo>
                        <a:pt x="214476" y="1137605"/>
                        <a:pt x="216886" y="1140336"/>
                        <a:pt x="218492" y="1142585"/>
                      </a:cubicBezTo>
                      <a:moveTo>
                        <a:pt x="10844" y="996951"/>
                      </a:moveTo>
                      <a:cubicBezTo>
                        <a:pt x="10844" y="997111"/>
                        <a:pt x="10925" y="997272"/>
                        <a:pt x="10925" y="997352"/>
                      </a:cubicBezTo>
                      <a:cubicBezTo>
                        <a:pt x="10603" y="994300"/>
                        <a:pt x="10684" y="992934"/>
                        <a:pt x="11407" y="988516"/>
                      </a:cubicBezTo>
                      <a:cubicBezTo>
                        <a:pt x="11326" y="988677"/>
                        <a:pt x="11326" y="988918"/>
                        <a:pt x="11246" y="988998"/>
                      </a:cubicBezTo>
                      <a:cubicBezTo>
                        <a:pt x="10362" y="991649"/>
                        <a:pt x="9559" y="992211"/>
                        <a:pt x="8515" y="991006"/>
                      </a:cubicBezTo>
                      <a:cubicBezTo>
                        <a:pt x="9238" y="992051"/>
                        <a:pt x="10202" y="993497"/>
                        <a:pt x="10844" y="996951"/>
                      </a:cubicBezTo>
                      <a:moveTo>
                        <a:pt x="209897" y="1119451"/>
                      </a:moveTo>
                      <a:cubicBezTo>
                        <a:pt x="209897" y="1119370"/>
                        <a:pt x="211504" y="1112543"/>
                        <a:pt x="208210" y="1103787"/>
                      </a:cubicBezTo>
                      <a:cubicBezTo>
                        <a:pt x="208290" y="1104028"/>
                        <a:pt x="208371" y="1104349"/>
                        <a:pt x="208451" y="1104510"/>
                      </a:cubicBezTo>
                      <a:cubicBezTo>
                        <a:pt x="209415" y="1108687"/>
                        <a:pt x="209495" y="1111739"/>
                        <a:pt x="208692" y="1115193"/>
                      </a:cubicBezTo>
                      <a:cubicBezTo>
                        <a:pt x="208853" y="1114952"/>
                        <a:pt x="209013" y="1114711"/>
                        <a:pt x="209174" y="1114471"/>
                      </a:cubicBezTo>
                      <a:cubicBezTo>
                        <a:pt x="210138" y="1116479"/>
                        <a:pt x="209977" y="1117925"/>
                        <a:pt x="208612" y="1119692"/>
                      </a:cubicBezTo>
                      <a:cubicBezTo>
                        <a:pt x="209013" y="1119933"/>
                        <a:pt x="209576" y="1120174"/>
                        <a:pt x="209897" y="1119451"/>
                      </a:cubicBezTo>
                      <a:moveTo>
                        <a:pt x="241" y="951164"/>
                      </a:moveTo>
                      <a:cubicBezTo>
                        <a:pt x="241" y="951003"/>
                        <a:pt x="321" y="950923"/>
                        <a:pt x="321" y="950762"/>
                      </a:cubicBezTo>
                      <a:lnTo>
                        <a:pt x="0" y="951003"/>
                      </a:lnTo>
                      <a:lnTo>
                        <a:pt x="241" y="951164"/>
                      </a:lnTo>
                      <a:moveTo>
                        <a:pt x="30926" y="993095"/>
                      </a:moveTo>
                      <a:cubicBezTo>
                        <a:pt x="31007" y="993015"/>
                        <a:pt x="31167" y="992854"/>
                        <a:pt x="31328" y="992693"/>
                      </a:cubicBezTo>
                      <a:cubicBezTo>
                        <a:pt x="31248" y="992693"/>
                        <a:pt x="31248" y="992774"/>
                        <a:pt x="31167" y="992854"/>
                      </a:cubicBezTo>
                      <a:cubicBezTo>
                        <a:pt x="29721" y="994219"/>
                        <a:pt x="26990" y="996629"/>
                        <a:pt x="25785" y="997352"/>
                      </a:cubicBezTo>
                      <a:cubicBezTo>
                        <a:pt x="25625" y="997272"/>
                        <a:pt x="25464" y="997192"/>
                        <a:pt x="25303" y="997111"/>
                      </a:cubicBezTo>
                      <a:cubicBezTo>
                        <a:pt x="24661" y="997834"/>
                        <a:pt x="24339" y="997834"/>
                        <a:pt x="23697" y="997111"/>
                      </a:cubicBezTo>
                      <a:cubicBezTo>
                        <a:pt x="23697" y="997674"/>
                        <a:pt x="23616" y="998477"/>
                        <a:pt x="23616" y="999120"/>
                      </a:cubicBezTo>
                      <a:cubicBezTo>
                        <a:pt x="25223" y="998718"/>
                        <a:pt x="26589" y="998878"/>
                        <a:pt x="28115" y="999521"/>
                      </a:cubicBezTo>
                      <a:cubicBezTo>
                        <a:pt x="28034" y="998557"/>
                        <a:pt x="27793" y="996469"/>
                        <a:pt x="30926" y="993095"/>
                      </a:cubicBezTo>
                      <a:moveTo>
                        <a:pt x="2203638" y="663670"/>
                      </a:moveTo>
                      <a:cubicBezTo>
                        <a:pt x="2203638" y="663589"/>
                        <a:pt x="2203638" y="663589"/>
                        <a:pt x="2203638" y="663670"/>
                      </a:cubicBezTo>
                      <a:cubicBezTo>
                        <a:pt x="2199139" y="658609"/>
                        <a:pt x="2196167" y="657243"/>
                        <a:pt x="2194560" y="659412"/>
                      </a:cubicBezTo>
                      <a:cubicBezTo>
                        <a:pt x="2194641" y="659493"/>
                        <a:pt x="2194801" y="659653"/>
                        <a:pt x="2194882" y="659814"/>
                      </a:cubicBezTo>
                      <a:cubicBezTo>
                        <a:pt x="2200424" y="667043"/>
                        <a:pt x="2202754" y="665919"/>
                        <a:pt x="2203638" y="663670"/>
                      </a:cubicBezTo>
                      <a:moveTo>
                        <a:pt x="2182752" y="659894"/>
                      </a:moveTo>
                      <a:cubicBezTo>
                        <a:pt x="2182672" y="659573"/>
                        <a:pt x="2182591" y="659171"/>
                        <a:pt x="2182511" y="658931"/>
                      </a:cubicBezTo>
                      <a:cubicBezTo>
                        <a:pt x="2181868" y="659252"/>
                        <a:pt x="2181547" y="659734"/>
                        <a:pt x="2181226" y="660216"/>
                      </a:cubicBezTo>
                      <a:cubicBezTo>
                        <a:pt x="2180824" y="661019"/>
                        <a:pt x="2180021" y="662626"/>
                        <a:pt x="2180503" y="672667"/>
                      </a:cubicBezTo>
                      <a:cubicBezTo>
                        <a:pt x="2182029" y="669453"/>
                        <a:pt x="2183796" y="670016"/>
                        <a:pt x="2184600" y="670257"/>
                      </a:cubicBezTo>
                      <a:cubicBezTo>
                        <a:pt x="2184118" y="666963"/>
                        <a:pt x="2183796" y="664955"/>
                        <a:pt x="2182752" y="659894"/>
                      </a:cubicBezTo>
                      <a:moveTo>
                        <a:pt x="7310" y="922487"/>
                      </a:moveTo>
                      <a:cubicBezTo>
                        <a:pt x="7551" y="922005"/>
                        <a:pt x="7471" y="921523"/>
                        <a:pt x="7551" y="921041"/>
                      </a:cubicBezTo>
                      <a:cubicBezTo>
                        <a:pt x="7551" y="921041"/>
                        <a:pt x="7551" y="921121"/>
                        <a:pt x="7551" y="921121"/>
                      </a:cubicBezTo>
                      <a:cubicBezTo>
                        <a:pt x="7471" y="921523"/>
                        <a:pt x="7310" y="922005"/>
                        <a:pt x="7310" y="922487"/>
                      </a:cubicBezTo>
                      <a:lnTo>
                        <a:pt x="7310" y="922487"/>
                      </a:lnTo>
                      <a:moveTo>
                        <a:pt x="2127567" y="730663"/>
                      </a:moveTo>
                      <a:cubicBezTo>
                        <a:pt x="2127647" y="730583"/>
                        <a:pt x="2127808" y="730503"/>
                        <a:pt x="2127888" y="730422"/>
                      </a:cubicBezTo>
                      <a:cubicBezTo>
                        <a:pt x="2126282" y="728173"/>
                        <a:pt x="2124113" y="726567"/>
                        <a:pt x="2121462" y="725683"/>
                      </a:cubicBezTo>
                      <a:cubicBezTo>
                        <a:pt x="2121462" y="725844"/>
                        <a:pt x="2121542" y="726004"/>
                        <a:pt x="2121542" y="726165"/>
                      </a:cubicBezTo>
                      <a:cubicBezTo>
                        <a:pt x="2123551" y="733876"/>
                        <a:pt x="2126603" y="731386"/>
                        <a:pt x="2127567" y="730663"/>
                      </a:cubicBezTo>
                      <a:moveTo>
                        <a:pt x="7631" y="920478"/>
                      </a:moveTo>
                      <a:cubicBezTo>
                        <a:pt x="7631" y="920478"/>
                        <a:pt x="7631" y="920478"/>
                        <a:pt x="7631" y="920478"/>
                      </a:cubicBezTo>
                      <a:cubicBezTo>
                        <a:pt x="7711" y="920077"/>
                        <a:pt x="7792" y="919675"/>
                        <a:pt x="7792" y="919274"/>
                      </a:cubicBezTo>
                      <a:lnTo>
                        <a:pt x="7792" y="919274"/>
                      </a:lnTo>
                      <a:cubicBezTo>
                        <a:pt x="7711" y="919675"/>
                        <a:pt x="7711" y="920077"/>
                        <a:pt x="7631" y="920478"/>
                      </a:cubicBezTo>
                      <a:moveTo>
                        <a:pt x="35184" y="952690"/>
                      </a:moveTo>
                      <a:cubicBezTo>
                        <a:pt x="35184" y="952690"/>
                        <a:pt x="35184" y="952690"/>
                        <a:pt x="35184" y="952690"/>
                      </a:cubicBezTo>
                      <a:cubicBezTo>
                        <a:pt x="35505" y="951324"/>
                        <a:pt x="35505" y="950119"/>
                        <a:pt x="35184" y="949236"/>
                      </a:cubicBezTo>
                      <a:cubicBezTo>
                        <a:pt x="35184" y="949316"/>
                        <a:pt x="35184" y="949316"/>
                        <a:pt x="35103" y="949397"/>
                      </a:cubicBezTo>
                      <a:cubicBezTo>
                        <a:pt x="34621" y="950762"/>
                        <a:pt x="34220" y="952208"/>
                        <a:pt x="33818" y="953574"/>
                      </a:cubicBezTo>
                      <a:cubicBezTo>
                        <a:pt x="34220" y="952931"/>
                        <a:pt x="34621" y="952610"/>
                        <a:pt x="35184" y="952690"/>
                      </a:cubicBezTo>
                      <a:moveTo>
                        <a:pt x="2179700" y="630976"/>
                      </a:moveTo>
                      <a:cubicBezTo>
                        <a:pt x="2179619" y="630896"/>
                        <a:pt x="2178977" y="630575"/>
                        <a:pt x="2174478" y="629771"/>
                      </a:cubicBezTo>
                      <a:cubicBezTo>
                        <a:pt x="2174639" y="630093"/>
                        <a:pt x="2174800" y="630414"/>
                        <a:pt x="2174960" y="630735"/>
                      </a:cubicBezTo>
                      <a:cubicBezTo>
                        <a:pt x="2178896" y="631137"/>
                        <a:pt x="2179539" y="631057"/>
                        <a:pt x="2179700" y="630976"/>
                      </a:cubicBezTo>
                      <a:cubicBezTo>
                        <a:pt x="2179700" y="630976"/>
                        <a:pt x="2179700" y="630976"/>
                        <a:pt x="2179700" y="630976"/>
                      </a:cubicBezTo>
                      <a:moveTo>
                        <a:pt x="12210" y="885937"/>
                      </a:moveTo>
                      <a:cubicBezTo>
                        <a:pt x="12210" y="885937"/>
                        <a:pt x="12210" y="885937"/>
                        <a:pt x="12210" y="885937"/>
                      </a:cubicBezTo>
                      <a:cubicBezTo>
                        <a:pt x="12210" y="884973"/>
                        <a:pt x="12531" y="884090"/>
                        <a:pt x="12611" y="883768"/>
                      </a:cubicBezTo>
                      <a:cubicBezTo>
                        <a:pt x="12451" y="883929"/>
                        <a:pt x="12290" y="884090"/>
                        <a:pt x="12130" y="884250"/>
                      </a:cubicBezTo>
                      <a:lnTo>
                        <a:pt x="12290" y="883367"/>
                      </a:lnTo>
                      <a:cubicBezTo>
                        <a:pt x="11889" y="884331"/>
                        <a:pt x="11487" y="885616"/>
                        <a:pt x="12210" y="885937"/>
                      </a:cubicBezTo>
                      <a:moveTo>
                        <a:pt x="2173595" y="482932"/>
                      </a:moveTo>
                      <a:lnTo>
                        <a:pt x="2173193" y="482369"/>
                      </a:lnTo>
                      <a:cubicBezTo>
                        <a:pt x="2173193" y="482369"/>
                        <a:pt x="2173193" y="482369"/>
                        <a:pt x="2173193" y="482369"/>
                      </a:cubicBezTo>
                      <a:cubicBezTo>
                        <a:pt x="2173193" y="482450"/>
                        <a:pt x="2173515" y="483092"/>
                        <a:pt x="2173836" y="483655"/>
                      </a:cubicBezTo>
                      <a:cubicBezTo>
                        <a:pt x="2174237" y="484297"/>
                        <a:pt x="2174800" y="484779"/>
                        <a:pt x="2174800" y="484779"/>
                      </a:cubicBezTo>
                      <a:cubicBezTo>
                        <a:pt x="2174800" y="484699"/>
                        <a:pt x="2174077" y="483574"/>
                        <a:pt x="2173595" y="482932"/>
                      </a:cubicBezTo>
                      <a:moveTo>
                        <a:pt x="36871" y="941283"/>
                      </a:moveTo>
                      <a:cubicBezTo>
                        <a:pt x="37353" y="940882"/>
                        <a:pt x="37353" y="940882"/>
                        <a:pt x="37513" y="934134"/>
                      </a:cubicBezTo>
                      <a:cubicBezTo>
                        <a:pt x="37674" y="929797"/>
                        <a:pt x="37513" y="928833"/>
                        <a:pt x="37272" y="928591"/>
                      </a:cubicBezTo>
                      <a:cubicBezTo>
                        <a:pt x="36790" y="928672"/>
                        <a:pt x="35907" y="931965"/>
                        <a:pt x="34541" y="939195"/>
                      </a:cubicBezTo>
                      <a:cubicBezTo>
                        <a:pt x="34782" y="938874"/>
                        <a:pt x="35023" y="938391"/>
                        <a:pt x="35264" y="937990"/>
                      </a:cubicBezTo>
                      <a:cubicBezTo>
                        <a:pt x="34943" y="939597"/>
                        <a:pt x="34220" y="943292"/>
                        <a:pt x="36228" y="941846"/>
                      </a:cubicBezTo>
                      <a:cubicBezTo>
                        <a:pt x="36389" y="941685"/>
                        <a:pt x="36710" y="941444"/>
                        <a:pt x="36871" y="941283"/>
                      </a:cubicBezTo>
                      <a:moveTo>
                        <a:pt x="19118" y="879511"/>
                      </a:move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19118" y="879511"/>
                      </a:moveTo>
                      <a:lnTo>
                        <a:pt x="19118" y="879511"/>
                      </a:lnTo>
                      <a:lnTo>
                        <a:pt x="19118" y="879511"/>
                      </a:lnTo>
                      <a:moveTo>
                        <a:pt x="45064" y="927949"/>
                      </a:moveTo>
                      <a:cubicBezTo>
                        <a:pt x="45225" y="927467"/>
                        <a:pt x="45144" y="927467"/>
                        <a:pt x="45144" y="927467"/>
                      </a:cubicBezTo>
                      <a:cubicBezTo>
                        <a:pt x="44984" y="927467"/>
                        <a:pt x="44100" y="928913"/>
                        <a:pt x="44100" y="928913"/>
                      </a:cubicBezTo>
                      <a:cubicBezTo>
                        <a:pt x="43859" y="929475"/>
                        <a:pt x="43859" y="930359"/>
                        <a:pt x="43779" y="930921"/>
                      </a:cubicBezTo>
                      <a:cubicBezTo>
                        <a:pt x="44261" y="930037"/>
                        <a:pt x="44743" y="928993"/>
                        <a:pt x="45064" y="927949"/>
                      </a:cubicBezTo>
                      <a:moveTo>
                        <a:pt x="2187973" y="536832"/>
                      </a:moveTo>
                      <a:cubicBezTo>
                        <a:pt x="2187572" y="535707"/>
                        <a:pt x="2183395" y="531771"/>
                        <a:pt x="2183074" y="532253"/>
                      </a:cubicBezTo>
                      <a:cubicBezTo>
                        <a:pt x="2183074" y="532334"/>
                        <a:pt x="2183074" y="532414"/>
                        <a:pt x="2183074" y="532494"/>
                      </a:cubicBezTo>
                      <a:cubicBezTo>
                        <a:pt x="2183556" y="534261"/>
                        <a:pt x="2187652" y="540607"/>
                        <a:pt x="2187652" y="540688"/>
                      </a:cubicBezTo>
                      <a:cubicBezTo>
                        <a:pt x="2187652" y="540688"/>
                        <a:pt x="2188375" y="541089"/>
                        <a:pt x="2188616" y="540527"/>
                      </a:cubicBezTo>
                      <a:cubicBezTo>
                        <a:pt x="2188937" y="540045"/>
                        <a:pt x="2188696" y="538840"/>
                        <a:pt x="2187973" y="536832"/>
                      </a:cubicBezTo>
                      <a:moveTo>
                        <a:pt x="1968357" y="780547"/>
                      </a:moveTo>
                      <a:cubicBezTo>
                        <a:pt x="1968437" y="780547"/>
                        <a:pt x="1968517" y="780467"/>
                        <a:pt x="1968517" y="780467"/>
                      </a:cubicBezTo>
                      <a:cubicBezTo>
                        <a:pt x="1967875" y="779663"/>
                        <a:pt x="1966911" y="778941"/>
                        <a:pt x="1965706" y="778459"/>
                      </a:cubicBezTo>
                      <a:cubicBezTo>
                        <a:pt x="1965626" y="778539"/>
                        <a:pt x="1965626" y="778619"/>
                        <a:pt x="1965545" y="778619"/>
                      </a:cubicBezTo>
                      <a:cubicBezTo>
                        <a:pt x="1964662" y="779422"/>
                        <a:pt x="1963858" y="779904"/>
                        <a:pt x="1962814" y="780226"/>
                      </a:cubicBezTo>
                      <a:cubicBezTo>
                        <a:pt x="1965144" y="781591"/>
                        <a:pt x="1967312" y="781029"/>
                        <a:pt x="1968357" y="780547"/>
                      </a:cubicBezTo>
                      <a:moveTo>
                        <a:pt x="19359" y="866819"/>
                      </a:moveTo>
                      <a:cubicBezTo>
                        <a:pt x="19359" y="866900"/>
                        <a:pt x="19359" y="866980"/>
                        <a:pt x="19359" y="867060"/>
                      </a:cubicBezTo>
                      <a:cubicBezTo>
                        <a:pt x="19921" y="865213"/>
                        <a:pt x="20403" y="863285"/>
                        <a:pt x="20966" y="861437"/>
                      </a:cubicBezTo>
                      <a:cubicBezTo>
                        <a:pt x="20966" y="861437"/>
                        <a:pt x="20885" y="861518"/>
                        <a:pt x="20885" y="861518"/>
                      </a:cubicBezTo>
                      <a:cubicBezTo>
                        <a:pt x="20564" y="861919"/>
                        <a:pt x="19761" y="863205"/>
                        <a:pt x="19359" y="866819"/>
                      </a:cubicBezTo>
                      <a:moveTo>
                        <a:pt x="369509" y="1055911"/>
                      </a:moveTo>
                      <a:lnTo>
                        <a:pt x="370553" y="1054225"/>
                      </a:lnTo>
                      <a:lnTo>
                        <a:pt x="370312" y="1054064"/>
                      </a:lnTo>
                      <a:lnTo>
                        <a:pt x="370232" y="1054144"/>
                      </a:lnTo>
                      <a:cubicBezTo>
                        <a:pt x="369268" y="1055028"/>
                        <a:pt x="368625" y="1055911"/>
                        <a:pt x="368063" y="1057197"/>
                      </a:cubicBezTo>
                      <a:cubicBezTo>
                        <a:pt x="368545" y="1056875"/>
                        <a:pt x="369107" y="1056393"/>
                        <a:pt x="369509" y="1055911"/>
                      </a:cubicBezTo>
                      <a:moveTo>
                        <a:pt x="372802" y="1056956"/>
                      </a:moveTo>
                      <a:cubicBezTo>
                        <a:pt x="373364" y="1053903"/>
                        <a:pt x="372722" y="1051574"/>
                        <a:pt x="372481" y="1050851"/>
                      </a:cubicBezTo>
                      <a:cubicBezTo>
                        <a:pt x="372481" y="1050931"/>
                        <a:pt x="372481" y="1051011"/>
                        <a:pt x="372481" y="1051092"/>
                      </a:cubicBezTo>
                      <a:cubicBezTo>
                        <a:pt x="372240" y="1053261"/>
                        <a:pt x="372240" y="1055429"/>
                        <a:pt x="372561" y="1058080"/>
                      </a:cubicBezTo>
                      <a:cubicBezTo>
                        <a:pt x="372641" y="1057679"/>
                        <a:pt x="372722" y="1057277"/>
                        <a:pt x="372802" y="1056956"/>
                      </a:cubicBezTo>
                      <a:moveTo>
                        <a:pt x="366537" y="1052859"/>
                      </a:moveTo>
                      <a:lnTo>
                        <a:pt x="368143" y="1051172"/>
                      </a:lnTo>
                      <a:lnTo>
                        <a:pt x="368223" y="1049967"/>
                      </a:lnTo>
                      <a:lnTo>
                        <a:pt x="366537" y="1052859"/>
                      </a:lnTo>
                      <a:moveTo>
                        <a:pt x="379148" y="1053582"/>
                      </a:moveTo>
                      <a:cubicBezTo>
                        <a:pt x="379228" y="1053582"/>
                        <a:pt x="379228" y="1053582"/>
                        <a:pt x="379309" y="1053582"/>
                      </a:cubicBezTo>
                      <a:lnTo>
                        <a:pt x="378666" y="1051011"/>
                      </a:lnTo>
                      <a:lnTo>
                        <a:pt x="379148" y="1053582"/>
                      </a:lnTo>
                      <a:moveTo>
                        <a:pt x="377461" y="1057438"/>
                      </a:moveTo>
                      <a:cubicBezTo>
                        <a:pt x="377542" y="1057518"/>
                        <a:pt x="377622" y="1057598"/>
                        <a:pt x="377702" y="1057679"/>
                      </a:cubicBezTo>
                      <a:cubicBezTo>
                        <a:pt x="376417" y="1055510"/>
                        <a:pt x="375774" y="1053020"/>
                        <a:pt x="375935" y="1050289"/>
                      </a:cubicBezTo>
                      <a:cubicBezTo>
                        <a:pt x="375935" y="1050369"/>
                        <a:pt x="375855" y="1050449"/>
                        <a:pt x="375774" y="1050529"/>
                      </a:cubicBezTo>
                      <a:cubicBezTo>
                        <a:pt x="374730" y="1053020"/>
                        <a:pt x="375292" y="1055349"/>
                        <a:pt x="377461" y="1057438"/>
                      </a:cubicBezTo>
                      <a:moveTo>
                        <a:pt x="380996" y="1052538"/>
                      </a:moveTo>
                      <a:lnTo>
                        <a:pt x="382120" y="1053743"/>
                      </a:lnTo>
                      <a:lnTo>
                        <a:pt x="380433" y="1050690"/>
                      </a:lnTo>
                      <a:lnTo>
                        <a:pt x="380996" y="1052538"/>
                      </a:lnTo>
                      <a:moveTo>
                        <a:pt x="345812" y="1046834"/>
                      </a:moveTo>
                      <a:cubicBezTo>
                        <a:pt x="346214" y="1045308"/>
                        <a:pt x="346696" y="1041934"/>
                        <a:pt x="341555" y="1042979"/>
                      </a:cubicBezTo>
                      <a:cubicBezTo>
                        <a:pt x="330309" y="1045870"/>
                        <a:pt x="329184" y="1047397"/>
                        <a:pt x="328541" y="1048360"/>
                      </a:cubicBezTo>
                      <a:cubicBezTo>
                        <a:pt x="315850" y="1041854"/>
                        <a:pt x="308620" y="1044505"/>
                        <a:pt x="303158" y="1048039"/>
                      </a:cubicBezTo>
                      <a:cubicBezTo>
                        <a:pt x="303238" y="1047798"/>
                        <a:pt x="303399" y="1047397"/>
                        <a:pt x="303479" y="1047156"/>
                      </a:cubicBezTo>
                      <a:cubicBezTo>
                        <a:pt x="298981" y="1047236"/>
                        <a:pt x="296410" y="1048360"/>
                        <a:pt x="293920" y="1051172"/>
                      </a:cubicBezTo>
                      <a:cubicBezTo>
                        <a:pt x="291671" y="1044826"/>
                        <a:pt x="290787" y="1042898"/>
                        <a:pt x="289904" y="1042336"/>
                      </a:cubicBezTo>
                      <a:cubicBezTo>
                        <a:pt x="288940" y="1042818"/>
                        <a:pt x="289020" y="1046513"/>
                        <a:pt x="290145" y="1056715"/>
                      </a:cubicBezTo>
                      <a:cubicBezTo>
                        <a:pt x="288297" y="1056474"/>
                        <a:pt x="287253" y="1056474"/>
                        <a:pt x="285727" y="1056795"/>
                      </a:cubicBezTo>
                      <a:cubicBezTo>
                        <a:pt x="317777" y="1062900"/>
                        <a:pt x="345330" y="1048441"/>
                        <a:pt x="345812" y="1046834"/>
                      </a:cubicBezTo>
                      <a:moveTo>
                        <a:pt x="389912" y="1048601"/>
                      </a:moveTo>
                      <a:lnTo>
                        <a:pt x="390876" y="1048441"/>
                      </a:lnTo>
                      <a:cubicBezTo>
                        <a:pt x="387904" y="1047477"/>
                        <a:pt x="386619" y="1047156"/>
                        <a:pt x="386297" y="1047075"/>
                      </a:cubicBezTo>
                      <a:cubicBezTo>
                        <a:pt x="386297" y="1047075"/>
                        <a:pt x="386297" y="1047075"/>
                        <a:pt x="386297" y="1047075"/>
                      </a:cubicBezTo>
                      <a:cubicBezTo>
                        <a:pt x="386458" y="1047316"/>
                        <a:pt x="389912" y="1048601"/>
                        <a:pt x="389912" y="1048601"/>
                      </a:cubicBezTo>
                      <a:moveTo>
                        <a:pt x="27713" y="869711"/>
                      </a:moveTo>
                      <a:cubicBezTo>
                        <a:pt x="27713" y="869711"/>
                        <a:pt x="27713" y="869791"/>
                        <a:pt x="27713" y="869791"/>
                      </a:cubicBezTo>
                      <a:cubicBezTo>
                        <a:pt x="27713" y="869229"/>
                        <a:pt x="27793" y="868667"/>
                        <a:pt x="27793" y="868104"/>
                      </a:cubicBezTo>
                      <a:cubicBezTo>
                        <a:pt x="27713" y="868747"/>
                        <a:pt x="27713" y="869229"/>
                        <a:pt x="27713" y="869711"/>
                      </a:cubicBezTo>
                      <a:moveTo>
                        <a:pt x="457950" y="1050610"/>
                      </a:moveTo>
                      <a:cubicBezTo>
                        <a:pt x="458030" y="1050369"/>
                        <a:pt x="456906" y="1049083"/>
                        <a:pt x="455942" y="1048039"/>
                      </a:cubicBezTo>
                      <a:cubicBezTo>
                        <a:pt x="455701" y="1048360"/>
                        <a:pt x="455460" y="1048682"/>
                        <a:pt x="455219" y="1049003"/>
                      </a:cubicBezTo>
                      <a:cubicBezTo>
                        <a:pt x="455861" y="1049405"/>
                        <a:pt x="457789" y="1050851"/>
                        <a:pt x="457950" y="1050610"/>
                      </a:cubicBezTo>
                      <a:moveTo>
                        <a:pt x="126517" y="975101"/>
                      </a:moveTo>
                      <a:cubicBezTo>
                        <a:pt x="126758" y="975262"/>
                        <a:pt x="127079" y="975423"/>
                        <a:pt x="127320" y="975503"/>
                      </a:cubicBezTo>
                      <a:cubicBezTo>
                        <a:pt x="123946" y="969880"/>
                        <a:pt x="123223" y="964016"/>
                        <a:pt x="125151" y="958072"/>
                      </a:cubicBezTo>
                      <a:cubicBezTo>
                        <a:pt x="125071" y="958232"/>
                        <a:pt x="124990" y="958393"/>
                        <a:pt x="124910" y="958554"/>
                      </a:cubicBezTo>
                      <a:cubicBezTo>
                        <a:pt x="120894" y="967711"/>
                        <a:pt x="126436" y="975021"/>
                        <a:pt x="126517" y="975101"/>
                      </a:cubicBezTo>
                      <a:moveTo>
                        <a:pt x="556111" y="1047959"/>
                      </a:moveTo>
                      <a:lnTo>
                        <a:pt x="556673" y="1046995"/>
                      </a:lnTo>
                      <a:lnTo>
                        <a:pt x="554584" y="1046513"/>
                      </a:lnTo>
                      <a:lnTo>
                        <a:pt x="554263" y="1046674"/>
                      </a:lnTo>
                      <a:cubicBezTo>
                        <a:pt x="553781" y="1046995"/>
                        <a:pt x="552496" y="1047798"/>
                        <a:pt x="553701" y="1048039"/>
                      </a:cubicBezTo>
                      <a:cubicBezTo>
                        <a:pt x="554424" y="1048119"/>
                        <a:pt x="555629" y="1047959"/>
                        <a:pt x="556111" y="1047959"/>
                      </a:cubicBezTo>
                      <a:moveTo>
                        <a:pt x="391840" y="1028359"/>
                      </a:moveTo>
                      <a:cubicBezTo>
                        <a:pt x="391920" y="1028278"/>
                        <a:pt x="391920" y="1028037"/>
                        <a:pt x="392001" y="1027957"/>
                      </a:cubicBezTo>
                      <a:cubicBezTo>
                        <a:pt x="391760" y="1027636"/>
                        <a:pt x="391679" y="1027556"/>
                        <a:pt x="390635" y="1027475"/>
                      </a:cubicBezTo>
                      <a:cubicBezTo>
                        <a:pt x="385896" y="1027716"/>
                        <a:pt x="377782" y="1030287"/>
                        <a:pt x="376738" y="1030688"/>
                      </a:cubicBezTo>
                      <a:cubicBezTo>
                        <a:pt x="376899" y="1030688"/>
                        <a:pt x="377060" y="1030688"/>
                        <a:pt x="377220" y="1030688"/>
                      </a:cubicBezTo>
                      <a:lnTo>
                        <a:pt x="377140" y="1030688"/>
                      </a:lnTo>
                      <a:cubicBezTo>
                        <a:pt x="376578" y="1030769"/>
                        <a:pt x="375855" y="1030849"/>
                        <a:pt x="375292" y="1030849"/>
                      </a:cubicBezTo>
                      <a:lnTo>
                        <a:pt x="375533" y="1030287"/>
                      </a:lnTo>
                      <a:cubicBezTo>
                        <a:pt x="371356" y="1029564"/>
                        <a:pt x="368866" y="1030367"/>
                        <a:pt x="367340" y="1030849"/>
                      </a:cubicBezTo>
                      <a:cubicBezTo>
                        <a:pt x="368545" y="1030769"/>
                        <a:pt x="370071" y="1030608"/>
                        <a:pt x="371276" y="1030528"/>
                      </a:cubicBezTo>
                      <a:lnTo>
                        <a:pt x="370874" y="1031090"/>
                      </a:lnTo>
                      <a:cubicBezTo>
                        <a:pt x="371196" y="1031170"/>
                        <a:pt x="371517" y="1031170"/>
                        <a:pt x="371758" y="1031251"/>
                      </a:cubicBezTo>
                      <a:cubicBezTo>
                        <a:pt x="371999" y="1031251"/>
                        <a:pt x="372240" y="1031331"/>
                        <a:pt x="372481" y="1031331"/>
                      </a:cubicBezTo>
                      <a:cubicBezTo>
                        <a:pt x="372722" y="1031331"/>
                        <a:pt x="372882" y="1031411"/>
                        <a:pt x="373123" y="1031411"/>
                      </a:cubicBezTo>
                      <a:cubicBezTo>
                        <a:pt x="373284" y="1031411"/>
                        <a:pt x="373525" y="1031492"/>
                        <a:pt x="373686" y="1031492"/>
                      </a:cubicBezTo>
                      <a:cubicBezTo>
                        <a:pt x="373927" y="1031492"/>
                        <a:pt x="374087" y="1031572"/>
                        <a:pt x="374328" y="1031572"/>
                      </a:cubicBezTo>
                      <a:cubicBezTo>
                        <a:pt x="374569" y="1031652"/>
                        <a:pt x="374891" y="1031652"/>
                        <a:pt x="375132" y="1031733"/>
                      </a:cubicBezTo>
                      <a:cubicBezTo>
                        <a:pt x="375453" y="1031813"/>
                        <a:pt x="375774" y="1031813"/>
                        <a:pt x="376176" y="1031893"/>
                      </a:cubicBezTo>
                      <a:cubicBezTo>
                        <a:pt x="376658" y="1031974"/>
                        <a:pt x="377060" y="1032054"/>
                        <a:pt x="377542" y="1032134"/>
                      </a:cubicBezTo>
                      <a:lnTo>
                        <a:pt x="374569" y="1034223"/>
                      </a:lnTo>
                      <a:lnTo>
                        <a:pt x="377060" y="1034223"/>
                      </a:lnTo>
                      <a:cubicBezTo>
                        <a:pt x="373766" y="1035669"/>
                        <a:pt x="372481" y="1035508"/>
                        <a:pt x="372481" y="1033821"/>
                      </a:cubicBezTo>
                      <a:cubicBezTo>
                        <a:pt x="371356" y="1033902"/>
                        <a:pt x="371276" y="1033902"/>
                        <a:pt x="370955" y="1033821"/>
                      </a:cubicBezTo>
                      <a:cubicBezTo>
                        <a:pt x="371115" y="1033661"/>
                        <a:pt x="371356" y="1033500"/>
                        <a:pt x="371597" y="1033420"/>
                      </a:cubicBezTo>
                      <a:cubicBezTo>
                        <a:pt x="369268" y="1033580"/>
                        <a:pt x="368223" y="1032857"/>
                        <a:pt x="367501" y="1032054"/>
                      </a:cubicBezTo>
                      <a:cubicBezTo>
                        <a:pt x="367581" y="1032054"/>
                        <a:pt x="367741" y="1032054"/>
                        <a:pt x="367902" y="1032054"/>
                      </a:cubicBezTo>
                      <a:cubicBezTo>
                        <a:pt x="360673" y="1031411"/>
                        <a:pt x="354568" y="1031251"/>
                        <a:pt x="346294" y="1031251"/>
                      </a:cubicBezTo>
                      <a:cubicBezTo>
                        <a:pt x="346615" y="1049485"/>
                        <a:pt x="371356" y="1042497"/>
                        <a:pt x="386056" y="1036713"/>
                      </a:cubicBezTo>
                      <a:cubicBezTo>
                        <a:pt x="386699" y="1037034"/>
                        <a:pt x="387181" y="1036713"/>
                        <a:pt x="388627" y="1035428"/>
                      </a:cubicBezTo>
                      <a:cubicBezTo>
                        <a:pt x="388064" y="1035347"/>
                        <a:pt x="387422" y="1035187"/>
                        <a:pt x="386860" y="1035106"/>
                      </a:cubicBezTo>
                      <a:cubicBezTo>
                        <a:pt x="387181" y="1034705"/>
                        <a:pt x="387181" y="1034705"/>
                        <a:pt x="387341" y="1034303"/>
                      </a:cubicBezTo>
                      <a:cubicBezTo>
                        <a:pt x="387261" y="1034223"/>
                        <a:pt x="387261" y="1034142"/>
                        <a:pt x="387181" y="1034062"/>
                      </a:cubicBezTo>
                      <a:cubicBezTo>
                        <a:pt x="386779" y="1033982"/>
                        <a:pt x="386538" y="1033982"/>
                        <a:pt x="385333" y="1034303"/>
                      </a:cubicBezTo>
                      <a:cubicBezTo>
                        <a:pt x="385173" y="1033982"/>
                        <a:pt x="385012" y="1033500"/>
                        <a:pt x="384851" y="1033179"/>
                      </a:cubicBezTo>
                      <a:cubicBezTo>
                        <a:pt x="387020" y="1031813"/>
                        <a:pt x="391197" y="1029484"/>
                        <a:pt x="391840" y="1028359"/>
                      </a:cubicBezTo>
                      <a:moveTo>
                        <a:pt x="60166" y="899352"/>
                      </a:moveTo>
                      <a:lnTo>
                        <a:pt x="60487" y="901200"/>
                      </a:lnTo>
                      <a:cubicBezTo>
                        <a:pt x="61130" y="898951"/>
                        <a:pt x="61290" y="897826"/>
                        <a:pt x="60969" y="897504"/>
                      </a:cubicBezTo>
                      <a:cubicBezTo>
                        <a:pt x="60728" y="897344"/>
                        <a:pt x="60326" y="897585"/>
                        <a:pt x="59603" y="898308"/>
                      </a:cubicBezTo>
                      <a:cubicBezTo>
                        <a:pt x="59844" y="898227"/>
                        <a:pt x="60085" y="898147"/>
                        <a:pt x="60166" y="898388"/>
                      </a:cubicBezTo>
                      <a:cubicBezTo>
                        <a:pt x="60487" y="898790"/>
                        <a:pt x="60246" y="899031"/>
                        <a:pt x="60166" y="899352"/>
                      </a:cubicBezTo>
                      <a:moveTo>
                        <a:pt x="346133" y="1020647"/>
                      </a:moveTo>
                      <a:cubicBezTo>
                        <a:pt x="346214" y="1020487"/>
                        <a:pt x="346374" y="1020246"/>
                        <a:pt x="346214" y="1020085"/>
                      </a:cubicBezTo>
                      <a:cubicBezTo>
                        <a:pt x="345812" y="1019121"/>
                        <a:pt x="345009" y="1017996"/>
                        <a:pt x="344446" y="1017113"/>
                      </a:cubicBezTo>
                      <a:lnTo>
                        <a:pt x="344205" y="1017354"/>
                      </a:lnTo>
                      <a:cubicBezTo>
                        <a:pt x="341635" y="1019764"/>
                        <a:pt x="340912" y="1021531"/>
                        <a:pt x="341233" y="1024182"/>
                      </a:cubicBezTo>
                      <a:cubicBezTo>
                        <a:pt x="344045" y="1023459"/>
                        <a:pt x="345651" y="1022254"/>
                        <a:pt x="346133" y="1020647"/>
                      </a:cubicBezTo>
                      <a:moveTo>
                        <a:pt x="432807" y="1027716"/>
                      </a:moveTo>
                      <a:cubicBezTo>
                        <a:pt x="433450" y="1024905"/>
                        <a:pt x="432405" y="1024423"/>
                        <a:pt x="431602" y="1024342"/>
                      </a:cubicBezTo>
                      <a:cubicBezTo>
                        <a:pt x="431361" y="1024342"/>
                        <a:pt x="431040" y="1024342"/>
                        <a:pt x="430799" y="1024423"/>
                      </a:cubicBezTo>
                      <a:cubicBezTo>
                        <a:pt x="425497" y="1037918"/>
                        <a:pt x="426301" y="1041613"/>
                        <a:pt x="426863" y="1044344"/>
                      </a:cubicBezTo>
                      <a:cubicBezTo>
                        <a:pt x="426783" y="1040408"/>
                        <a:pt x="427746" y="1037516"/>
                        <a:pt x="430317" y="1033821"/>
                      </a:cubicBezTo>
                      <a:cubicBezTo>
                        <a:pt x="430317" y="1033821"/>
                        <a:pt x="430397" y="1033902"/>
                        <a:pt x="430397" y="1033902"/>
                      </a:cubicBezTo>
                      <a:cubicBezTo>
                        <a:pt x="431040" y="1032456"/>
                        <a:pt x="432325" y="1029725"/>
                        <a:pt x="432807" y="1027716"/>
                      </a:cubicBezTo>
                      <a:moveTo>
                        <a:pt x="426140" y="1013097"/>
                      </a:moveTo>
                      <a:cubicBezTo>
                        <a:pt x="426220" y="1013016"/>
                        <a:pt x="426381" y="1012936"/>
                        <a:pt x="426542" y="1012856"/>
                      </a:cubicBezTo>
                      <a:cubicBezTo>
                        <a:pt x="426461" y="1012856"/>
                        <a:pt x="426381" y="1012936"/>
                        <a:pt x="426301" y="1012936"/>
                      </a:cubicBezTo>
                      <a:cubicBezTo>
                        <a:pt x="424453" y="1013338"/>
                        <a:pt x="421401" y="1013980"/>
                        <a:pt x="417866" y="1014703"/>
                      </a:cubicBezTo>
                      <a:cubicBezTo>
                        <a:pt x="419151" y="1015185"/>
                        <a:pt x="419874" y="1015587"/>
                        <a:pt x="420678" y="1016229"/>
                      </a:cubicBezTo>
                      <a:cubicBezTo>
                        <a:pt x="422445" y="1015105"/>
                        <a:pt x="424292" y="1014141"/>
                        <a:pt x="426140" y="1013097"/>
                      </a:cubicBezTo>
                      <a:moveTo>
                        <a:pt x="520204" y="1023218"/>
                      </a:moveTo>
                      <a:cubicBezTo>
                        <a:pt x="520284" y="1023218"/>
                        <a:pt x="520284" y="1023218"/>
                        <a:pt x="520365" y="1023218"/>
                      </a:cubicBezTo>
                      <a:cubicBezTo>
                        <a:pt x="520284" y="1022816"/>
                        <a:pt x="520204" y="1022334"/>
                        <a:pt x="520124" y="1022013"/>
                      </a:cubicBezTo>
                      <a:cubicBezTo>
                        <a:pt x="518838" y="1022575"/>
                        <a:pt x="516991" y="1022977"/>
                        <a:pt x="515465" y="1020406"/>
                      </a:cubicBezTo>
                      <a:cubicBezTo>
                        <a:pt x="515143" y="1020487"/>
                        <a:pt x="514661" y="1020647"/>
                        <a:pt x="514340" y="1020728"/>
                      </a:cubicBezTo>
                      <a:cubicBezTo>
                        <a:pt x="515947" y="1023138"/>
                        <a:pt x="518678" y="1023298"/>
                        <a:pt x="520204" y="1023218"/>
                      </a:cubicBezTo>
                      <a:moveTo>
                        <a:pt x="2073104" y="623586"/>
                      </a:moveTo>
                      <a:cubicBezTo>
                        <a:pt x="2073104" y="623586"/>
                        <a:pt x="2073104" y="623506"/>
                        <a:pt x="2073104" y="623506"/>
                      </a:cubicBezTo>
                      <a:cubicBezTo>
                        <a:pt x="2073104" y="623586"/>
                        <a:pt x="2073104" y="623586"/>
                        <a:pt x="2073104" y="623586"/>
                      </a:cubicBezTo>
                      <a:cubicBezTo>
                        <a:pt x="2073104" y="623988"/>
                        <a:pt x="2073104" y="624470"/>
                        <a:pt x="2073185" y="624871"/>
                      </a:cubicBezTo>
                      <a:cubicBezTo>
                        <a:pt x="2073426" y="624229"/>
                        <a:pt x="2073426" y="624229"/>
                        <a:pt x="2073104" y="623586"/>
                      </a:cubicBezTo>
                      <a:moveTo>
                        <a:pt x="2082583" y="633145"/>
                      </a:moveTo>
                      <a:cubicBezTo>
                        <a:pt x="2082583" y="633065"/>
                        <a:pt x="2082583" y="632984"/>
                        <a:pt x="2082664" y="632984"/>
                      </a:cubicBezTo>
                      <a:cubicBezTo>
                        <a:pt x="2082503" y="632824"/>
                        <a:pt x="2082342" y="632503"/>
                        <a:pt x="2081378" y="632101"/>
                      </a:cubicBezTo>
                      <a:cubicBezTo>
                        <a:pt x="2079450" y="631137"/>
                        <a:pt x="2077442" y="630655"/>
                        <a:pt x="2075514" y="629691"/>
                      </a:cubicBezTo>
                      <a:cubicBezTo>
                        <a:pt x="2073908" y="628888"/>
                        <a:pt x="2072623" y="627522"/>
                        <a:pt x="2070855" y="627040"/>
                      </a:cubicBezTo>
                      <a:cubicBezTo>
                        <a:pt x="2069650" y="626719"/>
                        <a:pt x="2069008" y="626960"/>
                        <a:pt x="2065955" y="628245"/>
                      </a:cubicBezTo>
                      <a:cubicBezTo>
                        <a:pt x="2066036" y="628326"/>
                        <a:pt x="2066116" y="628486"/>
                        <a:pt x="2066116" y="628567"/>
                      </a:cubicBezTo>
                      <a:cubicBezTo>
                        <a:pt x="2066518" y="629289"/>
                        <a:pt x="2066598" y="629450"/>
                        <a:pt x="2066759" y="630173"/>
                      </a:cubicBezTo>
                      <a:cubicBezTo>
                        <a:pt x="2064429" y="631217"/>
                        <a:pt x="2064268" y="631458"/>
                        <a:pt x="2063947" y="631940"/>
                      </a:cubicBezTo>
                      <a:cubicBezTo>
                        <a:pt x="2064268" y="632422"/>
                        <a:pt x="2064590" y="632583"/>
                        <a:pt x="2069088" y="632503"/>
                      </a:cubicBezTo>
                      <a:cubicBezTo>
                        <a:pt x="2068847" y="632101"/>
                        <a:pt x="2068606" y="631619"/>
                        <a:pt x="2068365" y="631217"/>
                      </a:cubicBezTo>
                      <a:cubicBezTo>
                        <a:pt x="2071417" y="629771"/>
                        <a:pt x="2072221" y="630012"/>
                        <a:pt x="2072783" y="632422"/>
                      </a:cubicBezTo>
                      <a:cubicBezTo>
                        <a:pt x="2080816" y="633466"/>
                        <a:pt x="2081780" y="633627"/>
                        <a:pt x="2082583" y="633145"/>
                      </a:cubicBezTo>
                      <a:moveTo>
                        <a:pt x="185477" y="948754"/>
                      </a:moveTo>
                      <a:cubicBezTo>
                        <a:pt x="185477" y="948834"/>
                        <a:pt x="185477" y="948834"/>
                        <a:pt x="185477" y="948915"/>
                      </a:cubicBezTo>
                      <a:cubicBezTo>
                        <a:pt x="185317" y="947950"/>
                        <a:pt x="185156" y="946906"/>
                        <a:pt x="184995" y="945942"/>
                      </a:cubicBezTo>
                      <a:lnTo>
                        <a:pt x="184995" y="945942"/>
                      </a:lnTo>
                      <a:cubicBezTo>
                        <a:pt x="185156" y="946826"/>
                        <a:pt x="185317" y="947790"/>
                        <a:pt x="185477" y="948754"/>
                      </a:cubicBezTo>
                      <a:moveTo>
                        <a:pt x="347419" y="991408"/>
                      </a:moveTo>
                      <a:cubicBezTo>
                        <a:pt x="347419" y="991408"/>
                        <a:pt x="347499" y="991328"/>
                        <a:pt x="347499" y="991328"/>
                      </a:cubicBezTo>
                      <a:cubicBezTo>
                        <a:pt x="347499" y="991006"/>
                        <a:pt x="346856" y="990765"/>
                        <a:pt x="344848" y="990444"/>
                      </a:cubicBezTo>
                      <a:cubicBezTo>
                        <a:pt x="344125" y="990283"/>
                        <a:pt x="336735" y="989320"/>
                        <a:pt x="335610" y="989320"/>
                      </a:cubicBezTo>
                      <a:cubicBezTo>
                        <a:pt x="338823" y="990042"/>
                        <a:pt x="340189" y="990846"/>
                        <a:pt x="341073" y="992292"/>
                      </a:cubicBezTo>
                      <a:cubicBezTo>
                        <a:pt x="342920" y="992131"/>
                        <a:pt x="346776" y="991810"/>
                        <a:pt x="347419" y="991408"/>
                      </a:cubicBezTo>
                      <a:moveTo>
                        <a:pt x="2072783" y="620453"/>
                      </a:moveTo>
                      <a:cubicBezTo>
                        <a:pt x="2072221" y="619650"/>
                        <a:pt x="2071578" y="619248"/>
                        <a:pt x="2071257" y="619088"/>
                      </a:cubicBezTo>
                      <a:cubicBezTo>
                        <a:pt x="2071257" y="619168"/>
                        <a:pt x="2071257" y="619168"/>
                        <a:pt x="2071337" y="619248"/>
                      </a:cubicBezTo>
                      <a:cubicBezTo>
                        <a:pt x="2071899" y="620935"/>
                        <a:pt x="2072462" y="622221"/>
                        <a:pt x="2073024" y="623506"/>
                      </a:cubicBezTo>
                      <a:cubicBezTo>
                        <a:pt x="2072944" y="622542"/>
                        <a:pt x="2073024" y="621578"/>
                        <a:pt x="2072944" y="620614"/>
                      </a:cubicBezTo>
                      <a:cubicBezTo>
                        <a:pt x="2072944" y="620614"/>
                        <a:pt x="2072864" y="620534"/>
                        <a:pt x="2072783" y="620453"/>
                      </a:cubicBezTo>
                      <a:moveTo>
                        <a:pt x="1770991" y="801593"/>
                      </a:moveTo>
                      <a:cubicBezTo>
                        <a:pt x="1771071" y="801593"/>
                        <a:pt x="1771232" y="801513"/>
                        <a:pt x="1771312" y="801513"/>
                      </a:cubicBezTo>
                      <a:cubicBezTo>
                        <a:pt x="1769143" y="801352"/>
                        <a:pt x="1767537" y="801352"/>
                        <a:pt x="1765609" y="802316"/>
                      </a:cubicBezTo>
                      <a:cubicBezTo>
                        <a:pt x="1763279" y="803601"/>
                        <a:pt x="1762235" y="805609"/>
                        <a:pt x="1761994" y="808823"/>
                      </a:cubicBezTo>
                      <a:cubicBezTo>
                        <a:pt x="1762557" y="807457"/>
                        <a:pt x="1764243" y="803521"/>
                        <a:pt x="1770991" y="801593"/>
                      </a:cubicBezTo>
                      <a:moveTo>
                        <a:pt x="122982" y="938391"/>
                      </a:moveTo>
                      <a:cubicBezTo>
                        <a:pt x="123625" y="937588"/>
                        <a:pt x="126918" y="926583"/>
                        <a:pt x="128043" y="911562"/>
                      </a:cubicBezTo>
                      <a:cubicBezTo>
                        <a:pt x="128043" y="911964"/>
                        <a:pt x="127962" y="912446"/>
                        <a:pt x="127962" y="912767"/>
                      </a:cubicBezTo>
                      <a:cubicBezTo>
                        <a:pt x="127159" y="919354"/>
                        <a:pt x="125472" y="924896"/>
                        <a:pt x="123705" y="927146"/>
                      </a:cubicBezTo>
                      <a:cubicBezTo>
                        <a:pt x="124187" y="929074"/>
                        <a:pt x="124428" y="930600"/>
                        <a:pt x="124428" y="932528"/>
                      </a:cubicBezTo>
                      <a:cubicBezTo>
                        <a:pt x="123625" y="932206"/>
                        <a:pt x="123143" y="932046"/>
                        <a:pt x="122340" y="931965"/>
                      </a:cubicBezTo>
                      <a:cubicBezTo>
                        <a:pt x="123625" y="934295"/>
                        <a:pt x="124348" y="937187"/>
                        <a:pt x="119930" y="940480"/>
                      </a:cubicBezTo>
                      <a:cubicBezTo>
                        <a:pt x="119608" y="939838"/>
                        <a:pt x="119126" y="939034"/>
                        <a:pt x="118725" y="938391"/>
                      </a:cubicBezTo>
                      <a:cubicBezTo>
                        <a:pt x="117520" y="938874"/>
                        <a:pt x="116315" y="939034"/>
                        <a:pt x="114949" y="938954"/>
                      </a:cubicBezTo>
                      <a:cubicBezTo>
                        <a:pt x="116556" y="942328"/>
                        <a:pt x="118805" y="946906"/>
                        <a:pt x="119367" y="945300"/>
                      </a:cubicBezTo>
                      <a:cubicBezTo>
                        <a:pt x="119689" y="944577"/>
                        <a:pt x="119367" y="942328"/>
                        <a:pt x="119207" y="940801"/>
                      </a:cubicBezTo>
                      <a:cubicBezTo>
                        <a:pt x="119849" y="940721"/>
                        <a:pt x="121295" y="940480"/>
                        <a:pt x="122982" y="938391"/>
                      </a:cubicBezTo>
                      <a:moveTo>
                        <a:pt x="2141624" y="462368"/>
                      </a:moveTo>
                      <a:cubicBezTo>
                        <a:pt x="2140821" y="461163"/>
                        <a:pt x="2140821" y="461163"/>
                        <a:pt x="2137206" y="460119"/>
                      </a:cubicBezTo>
                      <a:cubicBezTo>
                        <a:pt x="2137367" y="460199"/>
                        <a:pt x="2137528" y="460360"/>
                        <a:pt x="2137688" y="460440"/>
                      </a:cubicBezTo>
                      <a:cubicBezTo>
                        <a:pt x="2138170" y="460842"/>
                        <a:pt x="2138411" y="461002"/>
                        <a:pt x="2138893" y="461725"/>
                      </a:cubicBezTo>
                      <a:lnTo>
                        <a:pt x="2142347" y="467027"/>
                      </a:lnTo>
                      <a:cubicBezTo>
                        <a:pt x="2144034" y="469758"/>
                        <a:pt x="2147006" y="475461"/>
                        <a:pt x="2149175" y="479558"/>
                      </a:cubicBezTo>
                      <a:cubicBezTo>
                        <a:pt x="2149095" y="479478"/>
                        <a:pt x="2148934" y="479317"/>
                        <a:pt x="2148854" y="479237"/>
                      </a:cubicBezTo>
                      <a:cubicBezTo>
                        <a:pt x="2149255" y="481004"/>
                        <a:pt x="2158654" y="492973"/>
                        <a:pt x="2160903" y="493374"/>
                      </a:cubicBezTo>
                      <a:cubicBezTo>
                        <a:pt x="2161305" y="491768"/>
                        <a:pt x="2154798" y="481325"/>
                        <a:pt x="2141624" y="462368"/>
                      </a:cubicBezTo>
                      <a:moveTo>
                        <a:pt x="1913091" y="722631"/>
                      </a:moveTo>
                      <a:cubicBezTo>
                        <a:pt x="1913252" y="722470"/>
                        <a:pt x="1913412" y="722309"/>
                        <a:pt x="1913573" y="722149"/>
                      </a:cubicBezTo>
                      <a:cubicBezTo>
                        <a:pt x="1913493" y="722229"/>
                        <a:pt x="1913412" y="722309"/>
                        <a:pt x="1913332" y="722390"/>
                      </a:cubicBezTo>
                      <a:cubicBezTo>
                        <a:pt x="1911083" y="724799"/>
                        <a:pt x="1908834" y="727129"/>
                        <a:pt x="1906585" y="729539"/>
                      </a:cubicBezTo>
                      <a:cubicBezTo>
                        <a:pt x="1908834" y="727209"/>
                        <a:pt x="1911003" y="724880"/>
                        <a:pt x="1913091" y="722631"/>
                      </a:cubicBezTo>
                      <a:moveTo>
                        <a:pt x="2193998" y="564947"/>
                      </a:moveTo>
                      <a:cubicBezTo>
                        <a:pt x="2185805" y="557557"/>
                        <a:pt x="2184278" y="557878"/>
                        <a:pt x="2183315" y="558039"/>
                      </a:cubicBezTo>
                      <a:cubicBezTo>
                        <a:pt x="2182511" y="559484"/>
                        <a:pt x="2183154" y="562055"/>
                        <a:pt x="2189339" y="572738"/>
                      </a:cubicBezTo>
                      <a:cubicBezTo>
                        <a:pt x="2182190" y="567598"/>
                        <a:pt x="2172390" y="560529"/>
                        <a:pt x="2168373" y="556512"/>
                      </a:cubicBezTo>
                      <a:cubicBezTo>
                        <a:pt x="2166124" y="554263"/>
                        <a:pt x="2163233" y="551211"/>
                        <a:pt x="2161224" y="548721"/>
                      </a:cubicBezTo>
                      <a:cubicBezTo>
                        <a:pt x="2159457" y="546551"/>
                        <a:pt x="2158573" y="542776"/>
                        <a:pt x="2156887" y="540607"/>
                      </a:cubicBezTo>
                      <a:cubicBezTo>
                        <a:pt x="2155280" y="538439"/>
                        <a:pt x="2152549" y="537555"/>
                        <a:pt x="2150942" y="535386"/>
                      </a:cubicBezTo>
                      <a:cubicBezTo>
                        <a:pt x="2148291" y="531691"/>
                        <a:pt x="2148372" y="526791"/>
                        <a:pt x="2151344" y="520847"/>
                      </a:cubicBezTo>
                      <a:cubicBezTo>
                        <a:pt x="2142588" y="510645"/>
                        <a:pt x="2133832" y="501488"/>
                        <a:pt x="2131904" y="511288"/>
                      </a:cubicBezTo>
                      <a:cubicBezTo>
                        <a:pt x="2131744" y="513376"/>
                        <a:pt x="2131423" y="517312"/>
                        <a:pt x="2133029" y="527032"/>
                      </a:cubicBezTo>
                      <a:cubicBezTo>
                        <a:pt x="2133270" y="528317"/>
                        <a:pt x="2133832" y="530245"/>
                        <a:pt x="2133351" y="531450"/>
                      </a:cubicBezTo>
                      <a:cubicBezTo>
                        <a:pt x="2134475" y="533378"/>
                        <a:pt x="2137126" y="537957"/>
                        <a:pt x="2137528" y="551773"/>
                      </a:cubicBezTo>
                      <a:cubicBezTo>
                        <a:pt x="2137046" y="551693"/>
                        <a:pt x="2136483" y="551612"/>
                        <a:pt x="2136082" y="551612"/>
                      </a:cubicBezTo>
                      <a:cubicBezTo>
                        <a:pt x="2139214" y="555629"/>
                        <a:pt x="2141142" y="559002"/>
                        <a:pt x="2143472" y="564706"/>
                      </a:cubicBezTo>
                      <a:cubicBezTo>
                        <a:pt x="2143231" y="564625"/>
                        <a:pt x="2142910" y="564545"/>
                        <a:pt x="2142669" y="564465"/>
                      </a:cubicBezTo>
                      <a:cubicBezTo>
                        <a:pt x="2146524" y="571212"/>
                        <a:pt x="2149496" y="574104"/>
                        <a:pt x="2156646" y="578040"/>
                      </a:cubicBezTo>
                      <a:cubicBezTo>
                        <a:pt x="2154959" y="576032"/>
                        <a:pt x="2154396" y="574827"/>
                        <a:pt x="2154075" y="572819"/>
                      </a:cubicBezTo>
                      <a:cubicBezTo>
                        <a:pt x="2167731" y="589607"/>
                        <a:pt x="2180824" y="598524"/>
                        <a:pt x="2192874" y="599327"/>
                      </a:cubicBezTo>
                      <a:cubicBezTo>
                        <a:pt x="2192231" y="606476"/>
                        <a:pt x="2193998" y="611858"/>
                        <a:pt x="2200505" y="622542"/>
                      </a:cubicBezTo>
                      <a:cubicBezTo>
                        <a:pt x="2200103" y="622301"/>
                        <a:pt x="2199621" y="621980"/>
                        <a:pt x="2199219" y="621739"/>
                      </a:cubicBezTo>
                      <a:cubicBezTo>
                        <a:pt x="2218819" y="648568"/>
                        <a:pt x="2223639" y="634511"/>
                        <a:pt x="2224764" y="627201"/>
                      </a:cubicBezTo>
                      <a:cubicBezTo>
                        <a:pt x="2225888" y="619891"/>
                        <a:pt x="2226772" y="614589"/>
                        <a:pt x="2207011" y="591053"/>
                      </a:cubicBezTo>
                      <a:cubicBezTo>
                        <a:pt x="2206770" y="591053"/>
                        <a:pt x="2206449" y="591134"/>
                        <a:pt x="2206208" y="591134"/>
                      </a:cubicBezTo>
                      <a:cubicBezTo>
                        <a:pt x="2205646" y="592098"/>
                        <a:pt x="2205646" y="592098"/>
                        <a:pt x="2205887" y="593463"/>
                      </a:cubicBezTo>
                      <a:cubicBezTo>
                        <a:pt x="2205244" y="592981"/>
                        <a:pt x="2204441" y="592419"/>
                        <a:pt x="2203316" y="589286"/>
                      </a:cubicBezTo>
                      <a:cubicBezTo>
                        <a:pt x="2203557" y="589286"/>
                        <a:pt x="2203798" y="589206"/>
                        <a:pt x="2204039" y="589206"/>
                      </a:cubicBezTo>
                      <a:cubicBezTo>
                        <a:pt x="2204360" y="588322"/>
                        <a:pt x="2204762" y="587037"/>
                        <a:pt x="2200746" y="584707"/>
                      </a:cubicBezTo>
                      <a:cubicBezTo>
                        <a:pt x="2200264" y="585591"/>
                        <a:pt x="2200264" y="585591"/>
                        <a:pt x="2201629" y="588563"/>
                      </a:cubicBezTo>
                      <a:cubicBezTo>
                        <a:pt x="2197533" y="585430"/>
                        <a:pt x="2194801" y="581816"/>
                        <a:pt x="2190785" y="574104"/>
                      </a:cubicBezTo>
                      <a:cubicBezTo>
                        <a:pt x="2196006" y="575550"/>
                        <a:pt x="2195364" y="569766"/>
                        <a:pt x="2195364" y="569686"/>
                      </a:cubicBezTo>
                      <a:cubicBezTo>
                        <a:pt x="2195042" y="567999"/>
                        <a:pt x="2193677" y="566714"/>
                        <a:pt x="2193998" y="564947"/>
                      </a:cubicBezTo>
                      <a:moveTo>
                        <a:pt x="401881" y="991488"/>
                      </a:moveTo>
                      <a:cubicBezTo>
                        <a:pt x="402443" y="990685"/>
                        <a:pt x="402042" y="989320"/>
                        <a:pt x="402122" y="988355"/>
                      </a:cubicBezTo>
                      <a:lnTo>
                        <a:pt x="401961" y="988436"/>
                      </a:lnTo>
                      <a:cubicBezTo>
                        <a:pt x="399873" y="989480"/>
                        <a:pt x="398748" y="990203"/>
                        <a:pt x="397222" y="991649"/>
                      </a:cubicBezTo>
                      <a:cubicBezTo>
                        <a:pt x="398828" y="992533"/>
                        <a:pt x="400596" y="993256"/>
                        <a:pt x="401881" y="991488"/>
                      </a:cubicBezTo>
                      <a:moveTo>
                        <a:pt x="183710" y="930359"/>
                      </a:moveTo>
                      <a:lnTo>
                        <a:pt x="184112" y="929716"/>
                      </a:lnTo>
                      <a:lnTo>
                        <a:pt x="183469" y="929636"/>
                      </a:lnTo>
                      <a:lnTo>
                        <a:pt x="184192" y="928029"/>
                      </a:lnTo>
                      <a:lnTo>
                        <a:pt x="183951" y="928109"/>
                      </a:lnTo>
                      <a:cubicBezTo>
                        <a:pt x="182826" y="928431"/>
                        <a:pt x="181943" y="928431"/>
                        <a:pt x="180818" y="928029"/>
                      </a:cubicBezTo>
                      <a:cubicBezTo>
                        <a:pt x="180658" y="928752"/>
                        <a:pt x="180497" y="929716"/>
                        <a:pt x="180417" y="930439"/>
                      </a:cubicBezTo>
                      <a:cubicBezTo>
                        <a:pt x="181461" y="930600"/>
                        <a:pt x="182023" y="930519"/>
                        <a:pt x="183710" y="930359"/>
                      </a:cubicBezTo>
                      <a:moveTo>
                        <a:pt x="45948" y="790267"/>
                      </a:moveTo>
                      <a:cubicBezTo>
                        <a:pt x="45948" y="790267"/>
                        <a:pt x="46028" y="790267"/>
                        <a:pt x="45948" y="790267"/>
                      </a:cubicBezTo>
                      <a:cubicBezTo>
                        <a:pt x="46430" y="788741"/>
                        <a:pt x="46510" y="788339"/>
                        <a:pt x="46510" y="788178"/>
                      </a:cubicBezTo>
                      <a:cubicBezTo>
                        <a:pt x="46510" y="788178"/>
                        <a:pt x="46510" y="788178"/>
                        <a:pt x="46510" y="788178"/>
                      </a:cubicBezTo>
                      <a:cubicBezTo>
                        <a:pt x="46349" y="788178"/>
                        <a:pt x="46108" y="788500"/>
                        <a:pt x="45385" y="789945"/>
                      </a:cubicBezTo>
                      <a:cubicBezTo>
                        <a:pt x="45385" y="790106"/>
                        <a:pt x="45626" y="790347"/>
                        <a:pt x="45948" y="790267"/>
                      </a:cubicBezTo>
                      <a:moveTo>
                        <a:pt x="386378" y="978395"/>
                      </a:moveTo>
                      <a:cubicBezTo>
                        <a:pt x="386458" y="978475"/>
                        <a:pt x="386538" y="978555"/>
                        <a:pt x="386619" y="978555"/>
                      </a:cubicBezTo>
                      <a:cubicBezTo>
                        <a:pt x="385896" y="977190"/>
                        <a:pt x="383968" y="975744"/>
                        <a:pt x="382843" y="975021"/>
                      </a:cubicBezTo>
                      <a:cubicBezTo>
                        <a:pt x="382843" y="975101"/>
                        <a:pt x="382763" y="975182"/>
                        <a:pt x="382763" y="975262"/>
                      </a:cubicBezTo>
                      <a:cubicBezTo>
                        <a:pt x="382441" y="976065"/>
                        <a:pt x="382040" y="977431"/>
                        <a:pt x="382281" y="979439"/>
                      </a:cubicBezTo>
                      <a:cubicBezTo>
                        <a:pt x="382682" y="979198"/>
                        <a:pt x="383164" y="978877"/>
                        <a:pt x="383566" y="978636"/>
                      </a:cubicBezTo>
                      <a:cubicBezTo>
                        <a:pt x="383727" y="978073"/>
                        <a:pt x="384209" y="976869"/>
                        <a:pt x="386378" y="978395"/>
                      </a:cubicBezTo>
                      <a:moveTo>
                        <a:pt x="365492" y="971487"/>
                      </a:moveTo>
                      <a:cubicBezTo>
                        <a:pt x="365573" y="971487"/>
                        <a:pt x="365573" y="971487"/>
                        <a:pt x="365653" y="971487"/>
                      </a:cubicBezTo>
                      <a:cubicBezTo>
                        <a:pt x="365573" y="971487"/>
                        <a:pt x="365492" y="971487"/>
                        <a:pt x="365492" y="971487"/>
                      </a:cubicBezTo>
                      <a:cubicBezTo>
                        <a:pt x="364609" y="971567"/>
                        <a:pt x="363645" y="971647"/>
                        <a:pt x="362761" y="971647"/>
                      </a:cubicBezTo>
                      <a:cubicBezTo>
                        <a:pt x="363645" y="971647"/>
                        <a:pt x="364528" y="971567"/>
                        <a:pt x="365492" y="971487"/>
                      </a:cubicBezTo>
                      <a:moveTo>
                        <a:pt x="2061135" y="605593"/>
                      </a:moveTo>
                      <a:cubicBezTo>
                        <a:pt x="2061216" y="605512"/>
                        <a:pt x="2061376" y="605432"/>
                        <a:pt x="2061537" y="605352"/>
                      </a:cubicBezTo>
                      <a:cubicBezTo>
                        <a:pt x="2058967" y="604709"/>
                        <a:pt x="2057119" y="604629"/>
                        <a:pt x="2055432" y="606557"/>
                      </a:cubicBezTo>
                      <a:cubicBezTo>
                        <a:pt x="2053585" y="609288"/>
                        <a:pt x="2053424" y="613545"/>
                        <a:pt x="2055031" y="621176"/>
                      </a:cubicBezTo>
                      <a:cubicBezTo>
                        <a:pt x="2054950" y="621176"/>
                        <a:pt x="2054870" y="621176"/>
                        <a:pt x="2054870" y="621176"/>
                      </a:cubicBezTo>
                      <a:cubicBezTo>
                        <a:pt x="2055352" y="622381"/>
                        <a:pt x="2055754" y="623666"/>
                        <a:pt x="2056236" y="624871"/>
                      </a:cubicBezTo>
                      <a:cubicBezTo>
                        <a:pt x="2055111" y="620694"/>
                        <a:pt x="2052621" y="611055"/>
                        <a:pt x="2061135" y="605593"/>
                      </a:cubicBezTo>
                      <a:moveTo>
                        <a:pt x="393205" y="984660"/>
                      </a:moveTo>
                      <a:cubicBezTo>
                        <a:pt x="393607" y="983697"/>
                        <a:pt x="392081" y="979841"/>
                        <a:pt x="391438" y="978154"/>
                      </a:cubicBezTo>
                      <a:cubicBezTo>
                        <a:pt x="391679" y="977832"/>
                        <a:pt x="391920" y="977431"/>
                        <a:pt x="392161" y="977110"/>
                      </a:cubicBezTo>
                      <a:lnTo>
                        <a:pt x="390394" y="977672"/>
                      </a:lnTo>
                      <a:lnTo>
                        <a:pt x="393687" y="975342"/>
                      </a:lnTo>
                      <a:lnTo>
                        <a:pt x="393205" y="975503"/>
                      </a:lnTo>
                      <a:cubicBezTo>
                        <a:pt x="388707" y="977270"/>
                        <a:pt x="387823" y="979680"/>
                        <a:pt x="390314" y="983375"/>
                      </a:cubicBezTo>
                      <a:cubicBezTo>
                        <a:pt x="390314" y="983215"/>
                        <a:pt x="390233" y="982974"/>
                        <a:pt x="390153" y="982733"/>
                      </a:cubicBezTo>
                      <a:cubicBezTo>
                        <a:pt x="390956" y="983697"/>
                        <a:pt x="392804" y="985544"/>
                        <a:pt x="393205" y="984660"/>
                      </a:cubicBezTo>
                      <a:moveTo>
                        <a:pt x="1790350" y="770506"/>
                      </a:moveTo>
                      <a:lnTo>
                        <a:pt x="1793724" y="768819"/>
                      </a:lnTo>
                      <a:lnTo>
                        <a:pt x="1791153" y="768418"/>
                      </a:lnTo>
                      <a:lnTo>
                        <a:pt x="1790350" y="770506"/>
                      </a:lnTo>
                      <a:moveTo>
                        <a:pt x="1803122" y="767453"/>
                      </a:moveTo>
                      <a:lnTo>
                        <a:pt x="1803122" y="767212"/>
                      </a:lnTo>
                      <a:cubicBezTo>
                        <a:pt x="1799748" y="767052"/>
                        <a:pt x="1795893" y="767132"/>
                        <a:pt x="1792599" y="767453"/>
                      </a:cubicBezTo>
                      <a:cubicBezTo>
                        <a:pt x="1792760" y="767534"/>
                        <a:pt x="1792920" y="767694"/>
                        <a:pt x="1793081" y="767775"/>
                      </a:cubicBezTo>
                      <a:cubicBezTo>
                        <a:pt x="1794286" y="768418"/>
                        <a:pt x="1797660" y="770506"/>
                        <a:pt x="1803122" y="767453"/>
                      </a:cubicBezTo>
                      <a:moveTo>
                        <a:pt x="98080" y="872041"/>
                      </a:moveTo>
                      <a:lnTo>
                        <a:pt x="98562" y="871719"/>
                      </a:lnTo>
                      <a:cubicBezTo>
                        <a:pt x="99848" y="867622"/>
                        <a:pt x="100330" y="865213"/>
                        <a:pt x="99125" y="864490"/>
                      </a:cubicBezTo>
                      <a:cubicBezTo>
                        <a:pt x="98241" y="864329"/>
                        <a:pt x="97438" y="864731"/>
                        <a:pt x="95590" y="866096"/>
                      </a:cubicBezTo>
                      <a:cubicBezTo>
                        <a:pt x="94144" y="865052"/>
                        <a:pt x="92698" y="863927"/>
                        <a:pt x="91333" y="862883"/>
                      </a:cubicBezTo>
                      <a:cubicBezTo>
                        <a:pt x="90851" y="863686"/>
                        <a:pt x="90128" y="864891"/>
                        <a:pt x="89244" y="863686"/>
                      </a:cubicBezTo>
                      <a:cubicBezTo>
                        <a:pt x="89244" y="864650"/>
                        <a:pt x="89084" y="865293"/>
                        <a:pt x="88602" y="866498"/>
                      </a:cubicBezTo>
                      <a:cubicBezTo>
                        <a:pt x="89887" y="865454"/>
                        <a:pt x="93261" y="862803"/>
                        <a:pt x="95510" y="867863"/>
                      </a:cubicBezTo>
                      <a:cubicBezTo>
                        <a:pt x="95831" y="867301"/>
                        <a:pt x="96715" y="866096"/>
                        <a:pt x="97839" y="867542"/>
                      </a:cubicBezTo>
                      <a:cubicBezTo>
                        <a:pt x="98643" y="866900"/>
                        <a:pt x="99366" y="866418"/>
                        <a:pt x="99366" y="867622"/>
                      </a:cubicBezTo>
                      <a:cubicBezTo>
                        <a:pt x="99285" y="868667"/>
                        <a:pt x="98482" y="870916"/>
                        <a:pt x="98080" y="872041"/>
                      </a:cubicBezTo>
                      <a:moveTo>
                        <a:pt x="128203" y="895095"/>
                      </a:moveTo>
                      <a:lnTo>
                        <a:pt x="130533" y="894693"/>
                      </a:lnTo>
                      <a:cubicBezTo>
                        <a:pt x="123223" y="893408"/>
                        <a:pt x="123946" y="887865"/>
                        <a:pt x="125071" y="883768"/>
                      </a:cubicBezTo>
                      <a:cubicBezTo>
                        <a:pt x="124589" y="883447"/>
                        <a:pt x="123303" y="882242"/>
                        <a:pt x="121456" y="880234"/>
                      </a:cubicBezTo>
                      <a:cubicBezTo>
                        <a:pt x="121617" y="880555"/>
                        <a:pt x="121777" y="880877"/>
                        <a:pt x="121858" y="881198"/>
                      </a:cubicBezTo>
                      <a:cubicBezTo>
                        <a:pt x="122741" y="884009"/>
                        <a:pt x="122661" y="886018"/>
                        <a:pt x="121536" y="889633"/>
                      </a:cubicBezTo>
                      <a:cubicBezTo>
                        <a:pt x="125071" y="893809"/>
                        <a:pt x="128123" y="895095"/>
                        <a:pt x="128203" y="895095"/>
                      </a:cubicBezTo>
                      <a:moveTo>
                        <a:pt x="66512" y="828664"/>
                      </a:moveTo>
                      <a:cubicBezTo>
                        <a:pt x="67154" y="827218"/>
                        <a:pt x="67476" y="825129"/>
                        <a:pt x="67556" y="824486"/>
                      </a:cubicBezTo>
                      <a:cubicBezTo>
                        <a:pt x="67395" y="824727"/>
                        <a:pt x="67154" y="824968"/>
                        <a:pt x="66994" y="825209"/>
                      </a:cubicBezTo>
                      <a:cubicBezTo>
                        <a:pt x="65869" y="827378"/>
                        <a:pt x="65628" y="828021"/>
                        <a:pt x="65146" y="830190"/>
                      </a:cubicBezTo>
                      <a:cubicBezTo>
                        <a:pt x="65307" y="830109"/>
                        <a:pt x="65869" y="830029"/>
                        <a:pt x="66512" y="828664"/>
                      </a:cubicBezTo>
                      <a:moveTo>
                        <a:pt x="117199" y="876057"/>
                      </a:moveTo>
                      <a:cubicBezTo>
                        <a:pt x="117199" y="876057"/>
                        <a:pt x="117279" y="876057"/>
                        <a:pt x="117199" y="876057"/>
                      </a:cubicBezTo>
                      <a:cubicBezTo>
                        <a:pt x="117118" y="875977"/>
                        <a:pt x="117038" y="875816"/>
                        <a:pt x="116877" y="875736"/>
                      </a:cubicBezTo>
                      <a:cubicBezTo>
                        <a:pt x="116877" y="875736"/>
                        <a:pt x="117038" y="875977"/>
                        <a:pt x="117199" y="876057"/>
                      </a:cubicBezTo>
                      <a:moveTo>
                        <a:pt x="52936" y="794524"/>
                      </a:moveTo>
                      <a:lnTo>
                        <a:pt x="52695" y="796372"/>
                      </a:lnTo>
                      <a:cubicBezTo>
                        <a:pt x="53338" y="793078"/>
                        <a:pt x="53980" y="789785"/>
                        <a:pt x="54703" y="786411"/>
                      </a:cubicBezTo>
                      <a:cubicBezTo>
                        <a:pt x="54703" y="786572"/>
                        <a:pt x="54623" y="786732"/>
                        <a:pt x="54543" y="786893"/>
                      </a:cubicBezTo>
                      <a:cubicBezTo>
                        <a:pt x="53338" y="791793"/>
                        <a:pt x="52936" y="794524"/>
                        <a:pt x="52936" y="794524"/>
                      </a:cubicBezTo>
                      <a:moveTo>
                        <a:pt x="61772" y="812196"/>
                      </a:moveTo>
                      <a:lnTo>
                        <a:pt x="62174" y="812277"/>
                      </a:lnTo>
                      <a:cubicBezTo>
                        <a:pt x="62656" y="810429"/>
                        <a:pt x="62736" y="809545"/>
                        <a:pt x="62415" y="809064"/>
                      </a:cubicBezTo>
                      <a:cubicBezTo>
                        <a:pt x="62254" y="808903"/>
                        <a:pt x="62174" y="808903"/>
                        <a:pt x="61853" y="808983"/>
                      </a:cubicBezTo>
                      <a:cubicBezTo>
                        <a:pt x="62736" y="810509"/>
                        <a:pt x="60808" y="812598"/>
                        <a:pt x="60085" y="813321"/>
                      </a:cubicBezTo>
                      <a:cubicBezTo>
                        <a:pt x="60487" y="813241"/>
                        <a:pt x="60969" y="812919"/>
                        <a:pt x="61772" y="812196"/>
                      </a:cubicBezTo>
                      <a:moveTo>
                        <a:pt x="699737" y="983295"/>
                      </a:moveTo>
                      <a:cubicBezTo>
                        <a:pt x="699737" y="983295"/>
                        <a:pt x="699817" y="983215"/>
                        <a:pt x="699817" y="983215"/>
                      </a:cubicBezTo>
                      <a:cubicBezTo>
                        <a:pt x="699335" y="982652"/>
                        <a:pt x="698934" y="982572"/>
                        <a:pt x="698532" y="982652"/>
                      </a:cubicBezTo>
                      <a:cubicBezTo>
                        <a:pt x="697648" y="982893"/>
                        <a:pt x="697006" y="983536"/>
                        <a:pt x="695962" y="985303"/>
                      </a:cubicBezTo>
                      <a:cubicBezTo>
                        <a:pt x="697327" y="984821"/>
                        <a:pt x="698612" y="984178"/>
                        <a:pt x="699737" y="983295"/>
                      </a:cubicBezTo>
                      <a:moveTo>
                        <a:pt x="306451" y="945219"/>
                      </a:moveTo>
                      <a:cubicBezTo>
                        <a:pt x="306532" y="945139"/>
                        <a:pt x="306612" y="945139"/>
                        <a:pt x="306612" y="945059"/>
                      </a:cubicBezTo>
                      <a:cubicBezTo>
                        <a:pt x="306451" y="945059"/>
                        <a:pt x="306291" y="945139"/>
                        <a:pt x="306210" y="945139"/>
                      </a:cubicBezTo>
                      <a:cubicBezTo>
                        <a:pt x="306210" y="945139"/>
                        <a:pt x="300346" y="946665"/>
                        <a:pt x="299623" y="946826"/>
                      </a:cubicBezTo>
                      <a:cubicBezTo>
                        <a:pt x="302917" y="947549"/>
                        <a:pt x="305166" y="946344"/>
                        <a:pt x="306451" y="945219"/>
                      </a:cubicBezTo>
                      <a:moveTo>
                        <a:pt x="338261" y="1015346"/>
                      </a:moveTo>
                      <a:cubicBezTo>
                        <a:pt x="338984" y="1015265"/>
                        <a:pt x="339948" y="1015265"/>
                        <a:pt x="340591" y="1015185"/>
                      </a:cubicBezTo>
                      <a:cubicBezTo>
                        <a:pt x="340591" y="1014703"/>
                        <a:pt x="340671" y="1013980"/>
                        <a:pt x="340671" y="1013418"/>
                      </a:cubicBezTo>
                      <a:cubicBezTo>
                        <a:pt x="336815" y="1008357"/>
                        <a:pt x="336092" y="1001610"/>
                        <a:pt x="331674" y="996951"/>
                      </a:cubicBezTo>
                      <a:cubicBezTo>
                        <a:pt x="330228" y="995424"/>
                        <a:pt x="327256" y="992292"/>
                        <a:pt x="319625" y="991087"/>
                      </a:cubicBezTo>
                      <a:cubicBezTo>
                        <a:pt x="319464" y="990765"/>
                        <a:pt x="319223" y="990283"/>
                        <a:pt x="319063" y="989962"/>
                      </a:cubicBezTo>
                      <a:cubicBezTo>
                        <a:pt x="319223" y="989802"/>
                        <a:pt x="319545" y="989641"/>
                        <a:pt x="319705" y="989480"/>
                      </a:cubicBezTo>
                      <a:cubicBezTo>
                        <a:pt x="319545" y="989320"/>
                        <a:pt x="319384" y="989079"/>
                        <a:pt x="319304" y="988918"/>
                      </a:cubicBezTo>
                      <a:cubicBezTo>
                        <a:pt x="318741" y="988998"/>
                        <a:pt x="318099" y="989159"/>
                        <a:pt x="317536" y="989320"/>
                      </a:cubicBezTo>
                      <a:cubicBezTo>
                        <a:pt x="308299" y="981447"/>
                        <a:pt x="295607" y="979359"/>
                        <a:pt x="286530" y="971005"/>
                      </a:cubicBezTo>
                      <a:cubicBezTo>
                        <a:pt x="286450" y="970924"/>
                        <a:pt x="278015" y="963052"/>
                        <a:pt x="270063" y="950119"/>
                      </a:cubicBezTo>
                      <a:cubicBezTo>
                        <a:pt x="265886" y="943292"/>
                        <a:pt x="263315" y="939115"/>
                        <a:pt x="260905" y="937187"/>
                      </a:cubicBezTo>
                      <a:cubicBezTo>
                        <a:pt x="256568" y="933813"/>
                        <a:pt x="252551" y="931805"/>
                        <a:pt x="242590" y="930519"/>
                      </a:cubicBezTo>
                      <a:cubicBezTo>
                        <a:pt x="243715" y="929475"/>
                        <a:pt x="244117" y="929154"/>
                        <a:pt x="245563" y="927065"/>
                      </a:cubicBezTo>
                      <a:cubicBezTo>
                        <a:pt x="244036" y="927788"/>
                        <a:pt x="242028" y="928752"/>
                        <a:pt x="240582" y="929475"/>
                      </a:cubicBezTo>
                      <a:cubicBezTo>
                        <a:pt x="226445" y="935901"/>
                        <a:pt x="217207" y="939436"/>
                        <a:pt x="202427" y="944175"/>
                      </a:cubicBezTo>
                      <a:cubicBezTo>
                        <a:pt x="212468" y="945460"/>
                        <a:pt x="215841" y="947147"/>
                        <a:pt x="215520" y="950842"/>
                      </a:cubicBezTo>
                      <a:cubicBezTo>
                        <a:pt x="220822" y="949959"/>
                        <a:pt x="236807" y="947228"/>
                        <a:pt x="240020" y="955742"/>
                      </a:cubicBezTo>
                      <a:cubicBezTo>
                        <a:pt x="240100" y="955903"/>
                        <a:pt x="248053" y="968514"/>
                        <a:pt x="280264" y="968595"/>
                      </a:cubicBezTo>
                      <a:cubicBezTo>
                        <a:pt x="286530" y="976708"/>
                        <a:pt x="294322" y="986910"/>
                        <a:pt x="264038" y="982974"/>
                      </a:cubicBezTo>
                      <a:cubicBezTo>
                        <a:pt x="261628" y="982652"/>
                        <a:pt x="258415" y="982090"/>
                        <a:pt x="256005" y="981688"/>
                      </a:cubicBezTo>
                      <a:cubicBezTo>
                        <a:pt x="256005" y="980001"/>
                        <a:pt x="256166" y="979520"/>
                        <a:pt x="257692" y="977752"/>
                      </a:cubicBezTo>
                      <a:cubicBezTo>
                        <a:pt x="253756" y="979520"/>
                        <a:pt x="251909" y="979761"/>
                        <a:pt x="252953" y="975905"/>
                      </a:cubicBezTo>
                      <a:cubicBezTo>
                        <a:pt x="235682" y="1005385"/>
                        <a:pt x="235682" y="1005385"/>
                        <a:pt x="234879" y="1007634"/>
                      </a:cubicBezTo>
                      <a:cubicBezTo>
                        <a:pt x="230943" y="1019764"/>
                        <a:pt x="231104" y="1038319"/>
                        <a:pt x="231987" y="1039766"/>
                      </a:cubicBezTo>
                      <a:cubicBezTo>
                        <a:pt x="242430" y="1025146"/>
                        <a:pt x="254399" y="1011731"/>
                        <a:pt x="265002" y="997272"/>
                      </a:cubicBezTo>
                      <a:cubicBezTo>
                        <a:pt x="264841" y="997433"/>
                        <a:pt x="264600" y="997674"/>
                        <a:pt x="264440" y="997834"/>
                      </a:cubicBezTo>
                      <a:cubicBezTo>
                        <a:pt x="264841" y="997433"/>
                        <a:pt x="265323" y="996870"/>
                        <a:pt x="265645" y="996469"/>
                      </a:cubicBezTo>
                      <a:lnTo>
                        <a:pt x="265484" y="996308"/>
                      </a:lnTo>
                      <a:cubicBezTo>
                        <a:pt x="270786" y="990685"/>
                        <a:pt x="270786" y="990685"/>
                        <a:pt x="275204" y="990444"/>
                      </a:cubicBezTo>
                      <a:cubicBezTo>
                        <a:pt x="273436" y="988114"/>
                        <a:pt x="273597" y="986669"/>
                        <a:pt x="275927" y="984660"/>
                      </a:cubicBezTo>
                      <a:cubicBezTo>
                        <a:pt x="285004" y="988436"/>
                        <a:pt x="290145" y="993015"/>
                        <a:pt x="294322" y="1001128"/>
                      </a:cubicBezTo>
                      <a:cubicBezTo>
                        <a:pt x="292554" y="1004983"/>
                        <a:pt x="291430" y="1009161"/>
                        <a:pt x="289100" y="1012775"/>
                      </a:cubicBezTo>
                      <a:cubicBezTo>
                        <a:pt x="287414" y="1015346"/>
                        <a:pt x="284281" y="1016470"/>
                        <a:pt x="282594" y="1019121"/>
                      </a:cubicBezTo>
                      <a:cubicBezTo>
                        <a:pt x="282674" y="1019362"/>
                        <a:pt x="282835" y="1019684"/>
                        <a:pt x="282915" y="1019925"/>
                      </a:cubicBezTo>
                      <a:cubicBezTo>
                        <a:pt x="285004" y="1020005"/>
                        <a:pt x="286691" y="1018318"/>
                        <a:pt x="288779" y="1018478"/>
                      </a:cubicBezTo>
                      <a:cubicBezTo>
                        <a:pt x="292554" y="1018719"/>
                        <a:pt x="295928" y="1020969"/>
                        <a:pt x="299704" y="1021049"/>
                      </a:cubicBezTo>
                      <a:cubicBezTo>
                        <a:pt x="302274" y="1021129"/>
                        <a:pt x="305809" y="1020969"/>
                        <a:pt x="308379" y="1020406"/>
                      </a:cubicBezTo>
                      <a:cubicBezTo>
                        <a:pt x="315850" y="1018800"/>
                        <a:pt x="320268" y="1013579"/>
                        <a:pt x="322115" y="1011410"/>
                      </a:cubicBezTo>
                      <a:cubicBezTo>
                        <a:pt x="321874" y="1011410"/>
                        <a:pt x="321553" y="1011490"/>
                        <a:pt x="321312" y="1011490"/>
                      </a:cubicBezTo>
                      <a:cubicBezTo>
                        <a:pt x="322918" y="1010205"/>
                        <a:pt x="322918" y="1010205"/>
                        <a:pt x="323641" y="1009080"/>
                      </a:cubicBezTo>
                      <a:cubicBezTo>
                        <a:pt x="323240" y="1009723"/>
                        <a:pt x="322758" y="1010446"/>
                        <a:pt x="322356" y="1011088"/>
                      </a:cubicBezTo>
                      <a:cubicBezTo>
                        <a:pt x="324284" y="1012454"/>
                        <a:pt x="324284" y="1012454"/>
                        <a:pt x="323400" y="1014542"/>
                      </a:cubicBezTo>
                      <a:cubicBezTo>
                        <a:pt x="332718" y="1015587"/>
                        <a:pt x="333441" y="1015667"/>
                        <a:pt x="338261" y="1015346"/>
                      </a:cubicBezTo>
                      <a:moveTo>
                        <a:pt x="428951" y="968836"/>
                      </a:moveTo>
                      <a:lnTo>
                        <a:pt x="429755" y="968755"/>
                      </a:lnTo>
                      <a:cubicBezTo>
                        <a:pt x="427265" y="963936"/>
                        <a:pt x="424774" y="961847"/>
                        <a:pt x="421240" y="961526"/>
                      </a:cubicBezTo>
                      <a:cubicBezTo>
                        <a:pt x="418268" y="961446"/>
                        <a:pt x="415456" y="962490"/>
                        <a:pt x="411601" y="965301"/>
                      </a:cubicBezTo>
                      <a:cubicBezTo>
                        <a:pt x="412564" y="965542"/>
                        <a:pt x="413850" y="965864"/>
                        <a:pt x="414894" y="966185"/>
                      </a:cubicBezTo>
                      <a:cubicBezTo>
                        <a:pt x="414974" y="964498"/>
                        <a:pt x="415778" y="963775"/>
                        <a:pt x="417786" y="963213"/>
                      </a:cubicBezTo>
                      <a:cubicBezTo>
                        <a:pt x="416420" y="965221"/>
                        <a:pt x="415778" y="966426"/>
                        <a:pt x="414894" y="968273"/>
                      </a:cubicBezTo>
                      <a:cubicBezTo>
                        <a:pt x="418268" y="963775"/>
                        <a:pt x="419874" y="963695"/>
                        <a:pt x="421481" y="968032"/>
                      </a:cubicBezTo>
                      <a:cubicBezTo>
                        <a:pt x="423971" y="966105"/>
                        <a:pt x="426220" y="966346"/>
                        <a:pt x="428951" y="968836"/>
                      </a:cubicBezTo>
                      <a:moveTo>
                        <a:pt x="460681" y="970201"/>
                      </a:moveTo>
                      <a:cubicBezTo>
                        <a:pt x="460601" y="969960"/>
                        <a:pt x="460520" y="969720"/>
                        <a:pt x="460360" y="969559"/>
                      </a:cubicBezTo>
                      <a:cubicBezTo>
                        <a:pt x="459797" y="968193"/>
                        <a:pt x="459155" y="966908"/>
                        <a:pt x="458592" y="965542"/>
                      </a:cubicBezTo>
                      <a:cubicBezTo>
                        <a:pt x="458592" y="965623"/>
                        <a:pt x="458673" y="965703"/>
                        <a:pt x="458673" y="965703"/>
                      </a:cubicBezTo>
                      <a:cubicBezTo>
                        <a:pt x="459637" y="967872"/>
                        <a:pt x="460681" y="970121"/>
                        <a:pt x="460681" y="970201"/>
                      </a:cubicBezTo>
                      <a:moveTo>
                        <a:pt x="360191" y="955100"/>
                      </a:moveTo>
                      <a:cubicBezTo>
                        <a:pt x="361396" y="951967"/>
                        <a:pt x="355532" y="949236"/>
                        <a:pt x="352078" y="948593"/>
                      </a:cubicBezTo>
                      <a:cubicBezTo>
                        <a:pt x="349668" y="948191"/>
                        <a:pt x="349668" y="948191"/>
                        <a:pt x="349105" y="948673"/>
                      </a:cubicBezTo>
                      <a:cubicBezTo>
                        <a:pt x="354568" y="951405"/>
                        <a:pt x="357460" y="953734"/>
                        <a:pt x="358905" y="956787"/>
                      </a:cubicBezTo>
                      <a:cubicBezTo>
                        <a:pt x="359387" y="956224"/>
                        <a:pt x="359950" y="955742"/>
                        <a:pt x="360191" y="955100"/>
                      </a:cubicBezTo>
                      <a:moveTo>
                        <a:pt x="206282" y="915257"/>
                      </a:moveTo>
                      <a:lnTo>
                        <a:pt x="206604" y="915096"/>
                      </a:lnTo>
                      <a:cubicBezTo>
                        <a:pt x="204917" y="912767"/>
                        <a:pt x="204676" y="912446"/>
                        <a:pt x="205479" y="911562"/>
                      </a:cubicBezTo>
                      <a:cubicBezTo>
                        <a:pt x="204595" y="911000"/>
                        <a:pt x="203230" y="910437"/>
                        <a:pt x="202025" y="910196"/>
                      </a:cubicBezTo>
                      <a:cubicBezTo>
                        <a:pt x="202186" y="909955"/>
                        <a:pt x="202427" y="909634"/>
                        <a:pt x="202587" y="909474"/>
                      </a:cubicBezTo>
                      <a:cubicBezTo>
                        <a:pt x="200820" y="910277"/>
                        <a:pt x="201222" y="908349"/>
                        <a:pt x="201864" y="905377"/>
                      </a:cubicBezTo>
                      <a:cubicBezTo>
                        <a:pt x="201382" y="905377"/>
                        <a:pt x="200820" y="905377"/>
                        <a:pt x="200338" y="905296"/>
                      </a:cubicBezTo>
                      <a:lnTo>
                        <a:pt x="200258" y="906341"/>
                      </a:lnTo>
                      <a:lnTo>
                        <a:pt x="198812" y="905859"/>
                      </a:lnTo>
                      <a:lnTo>
                        <a:pt x="198571" y="905859"/>
                      </a:lnTo>
                      <a:cubicBezTo>
                        <a:pt x="199936" y="906662"/>
                        <a:pt x="200579" y="908188"/>
                        <a:pt x="200017" y="909233"/>
                      </a:cubicBezTo>
                      <a:cubicBezTo>
                        <a:pt x="200017" y="909233"/>
                        <a:pt x="199615" y="910116"/>
                        <a:pt x="200177" y="910919"/>
                      </a:cubicBezTo>
                      <a:cubicBezTo>
                        <a:pt x="200499" y="911401"/>
                        <a:pt x="200499" y="911401"/>
                        <a:pt x="203471" y="912365"/>
                      </a:cubicBezTo>
                      <a:lnTo>
                        <a:pt x="205479" y="914454"/>
                      </a:lnTo>
                      <a:cubicBezTo>
                        <a:pt x="204033" y="915418"/>
                        <a:pt x="203390" y="915980"/>
                        <a:pt x="203310" y="916221"/>
                      </a:cubicBezTo>
                      <a:cubicBezTo>
                        <a:pt x="203631" y="916542"/>
                        <a:pt x="206041" y="915498"/>
                        <a:pt x="206443" y="915257"/>
                      </a:cubicBezTo>
                      <a:cubicBezTo>
                        <a:pt x="206443" y="915177"/>
                        <a:pt x="206363" y="915177"/>
                        <a:pt x="206282" y="915257"/>
                      </a:cubicBezTo>
                      <a:cubicBezTo>
                        <a:pt x="206363" y="915177"/>
                        <a:pt x="206282" y="915177"/>
                        <a:pt x="206282" y="915257"/>
                      </a:cubicBezTo>
                      <a:moveTo>
                        <a:pt x="692909" y="967711"/>
                      </a:moveTo>
                      <a:lnTo>
                        <a:pt x="693230" y="965864"/>
                      </a:lnTo>
                      <a:lnTo>
                        <a:pt x="692748" y="966265"/>
                      </a:lnTo>
                      <a:cubicBezTo>
                        <a:pt x="687367" y="970282"/>
                        <a:pt x="682145" y="973575"/>
                        <a:pt x="675317" y="977431"/>
                      </a:cubicBezTo>
                      <a:cubicBezTo>
                        <a:pt x="685760" y="974539"/>
                        <a:pt x="692909" y="967791"/>
                        <a:pt x="692909" y="967711"/>
                      </a:cubicBezTo>
                      <a:moveTo>
                        <a:pt x="2031414" y="598042"/>
                      </a:moveTo>
                      <a:lnTo>
                        <a:pt x="2030611" y="596435"/>
                      </a:lnTo>
                      <a:cubicBezTo>
                        <a:pt x="2027799" y="595311"/>
                        <a:pt x="2024988" y="594186"/>
                        <a:pt x="2022177" y="592981"/>
                      </a:cubicBezTo>
                      <a:cubicBezTo>
                        <a:pt x="2022257" y="593142"/>
                        <a:pt x="2022337" y="593383"/>
                        <a:pt x="2022337" y="593624"/>
                      </a:cubicBezTo>
                      <a:cubicBezTo>
                        <a:pt x="2022900" y="596435"/>
                        <a:pt x="2021373" y="597640"/>
                        <a:pt x="2016313" y="598283"/>
                      </a:cubicBezTo>
                      <a:cubicBezTo>
                        <a:pt x="2021293" y="598845"/>
                        <a:pt x="2026755" y="598765"/>
                        <a:pt x="2031414" y="598042"/>
                      </a:cubicBezTo>
                      <a:moveTo>
                        <a:pt x="66110" y="784965"/>
                      </a:moveTo>
                      <a:lnTo>
                        <a:pt x="66271" y="785126"/>
                      </a:lnTo>
                      <a:cubicBezTo>
                        <a:pt x="66753" y="782154"/>
                        <a:pt x="67636" y="779583"/>
                        <a:pt x="69082" y="777013"/>
                      </a:cubicBezTo>
                      <a:cubicBezTo>
                        <a:pt x="69082" y="777093"/>
                        <a:pt x="69002" y="777173"/>
                        <a:pt x="68921" y="777173"/>
                      </a:cubicBezTo>
                      <a:cubicBezTo>
                        <a:pt x="67556" y="779342"/>
                        <a:pt x="66592" y="781993"/>
                        <a:pt x="66110" y="784965"/>
                      </a:cubicBezTo>
                      <a:moveTo>
                        <a:pt x="195277" y="898629"/>
                      </a:moveTo>
                      <a:cubicBezTo>
                        <a:pt x="195518" y="898710"/>
                        <a:pt x="195920" y="898710"/>
                        <a:pt x="196241" y="898790"/>
                      </a:cubicBezTo>
                      <a:cubicBezTo>
                        <a:pt x="193671" y="895898"/>
                        <a:pt x="190940" y="892685"/>
                        <a:pt x="192707" y="892765"/>
                      </a:cubicBezTo>
                      <a:cubicBezTo>
                        <a:pt x="193590" y="892765"/>
                        <a:pt x="195840" y="893890"/>
                        <a:pt x="195840" y="893970"/>
                      </a:cubicBezTo>
                      <a:cubicBezTo>
                        <a:pt x="195840" y="893970"/>
                        <a:pt x="196402" y="894532"/>
                        <a:pt x="196482" y="895898"/>
                      </a:cubicBezTo>
                      <a:cubicBezTo>
                        <a:pt x="197687" y="889633"/>
                        <a:pt x="197928" y="886178"/>
                        <a:pt x="195920" y="885696"/>
                      </a:cubicBezTo>
                      <a:cubicBezTo>
                        <a:pt x="194635" y="885777"/>
                        <a:pt x="193510" y="886500"/>
                        <a:pt x="191100" y="888669"/>
                      </a:cubicBezTo>
                      <a:cubicBezTo>
                        <a:pt x="190859" y="887945"/>
                        <a:pt x="190297" y="886178"/>
                        <a:pt x="189253" y="887945"/>
                      </a:cubicBezTo>
                      <a:cubicBezTo>
                        <a:pt x="189012" y="888427"/>
                        <a:pt x="188851" y="889070"/>
                        <a:pt x="188610" y="889552"/>
                      </a:cubicBezTo>
                      <a:cubicBezTo>
                        <a:pt x="188610" y="889552"/>
                        <a:pt x="188530" y="889633"/>
                        <a:pt x="188530" y="889633"/>
                      </a:cubicBezTo>
                      <a:cubicBezTo>
                        <a:pt x="188449" y="889713"/>
                        <a:pt x="187485" y="890677"/>
                        <a:pt x="187004" y="892364"/>
                      </a:cubicBezTo>
                      <a:cubicBezTo>
                        <a:pt x="186923" y="892605"/>
                        <a:pt x="186682" y="893729"/>
                        <a:pt x="187325" y="894854"/>
                      </a:cubicBezTo>
                      <a:cubicBezTo>
                        <a:pt x="188289" y="896621"/>
                        <a:pt x="191020" y="897906"/>
                        <a:pt x="195277" y="898629"/>
                      </a:cubicBezTo>
                      <a:moveTo>
                        <a:pt x="494258" y="959036"/>
                      </a:moveTo>
                      <a:lnTo>
                        <a:pt x="494901" y="958956"/>
                      </a:lnTo>
                      <a:cubicBezTo>
                        <a:pt x="493535" y="953574"/>
                        <a:pt x="490322" y="952047"/>
                        <a:pt x="490322" y="952047"/>
                      </a:cubicBezTo>
                      <a:cubicBezTo>
                        <a:pt x="490081" y="951967"/>
                        <a:pt x="488715" y="951485"/>
                        <a:pt x="487992" y="948834"/>
                      </a:cubicBezTo>
                      <a:cubicBezTo>
                        <a:pt x="487912" y="949156"/>
                        <a:pt x="487912" y="949638"/>
                        <a:pt x="487832" y="949959"/>
                      </a:cubicBezTo>
                      <a:cubicBezTo>
                        <a:pt x="487430" y="951485"/>
                        <a:pt x="486466" y="954939"/>
                        <a:pt x="480522" y="952690"/>
                      </a:cubicBezTo>
                      <a:cubicBezTo>
                        <a:pt x="479317" y="953895"/>
                        <a:pt x="478674" y="954778"/>
                        <a:pt x="477871" y="956224"/>
                      </a:cubicBezTo>
                      <a:cubicBezTo>
                        <a:pt x="479719" y="953734"/>
                        <a:pt x="480843" y="953734"/>
                        <a:pt x="481807" y="956224"/>
                      </a:cubicBezTo>
                      <a:cubicBezTo>
                        <a:pt x="483092" y="955341"/>
                        <a:pt x="483815" y="955501"/>
                        <a:pt x="484297" y="956787"/>
                      </a:cubicBezTo>
                      <a:cubicBezTo>
                        <a:pt x="487269" y="952931"/>
                        <a:pt x="489037" y="952931"/>
                        <a:pt x="490724" y="956867"/>
                      </a:cubicBezTo>
                      <a:cubicBezTo>
                        <a:pt x="493455" y="955180"/>
                        <a:pt x="494097" y="956465"/>
                        <a:pt x="494258" y="959036"/>
                      </a:cubicBezTo>
                      <a:moveTo>
                        <a:pt x="258254" y="910196"/>
                      </a:moveTo>
                      <a:cubicBezTo>
                        <a:pt x="258977" y="908509"/>
                        <a:pt x="258736" y="906341"/>
                        <a:pt x="258736" y="906260"/>
                      </a:cubicBezTo>
                      <a:cubicBezTo>
                        <a:pt x="258656" y="905377"/>
                        <a:pt x="259459" y="904332"/>
                        <a:pt x="260022" y="903609"/>
                      </a:cubicBezTo>
                      <a:cubicBezTo>
                        <a:pt x="260182" y="901923"/>
                        <a:pt x="259700" y="900878"/>
                        <a:pt x="258335" y="899834"/>
                      </a:cubicBezTo>
                      <a:cubicBezTo>
                        <a:pt x="258254" y="899834"/>
                        <a:pt x="258254" y="899914"/>
                        <a:pt x="258174" y="899995"/>
                      </a:cubicBezTo>
                      <a:cubicBezTo>
                        <a:pt x="257531" y="900557"/>
                        <a:pt x="257531" y="900557"/>
                        <a:pt x="250463" y="905055"/>
                      </a:cubicBezTo>
                      <a:cubicBezTo>
                        <a:pt x="250382" y="905537"/>
                        <a:pt x="250061" y="907144"/>
                        <a:pt x="248936" y="905618"/>
                      </a:cubicBezTo>
                      <a:cubicBezTo>
                        <a:pt x="248374" y="906742"/>
                        <a:pt x="248133" y="907626"/>
                        <a:pt x="249981" y="907224"/>
                      </a:cubicBezTo>
                      <a:cubicBezTo>
                        <a:pt x="249981" y="908349"/>
                        <a:pt x="249900" y="910598"/>
                        <a:pt x="248454" y="910036"/>
                      </a:cubicBezTo>
                      <a:cubicBezTo>
                        <a:pt x="249740" y="910839"/>
                        <a:pt x="250061" y="911000"/>
                        <a:pt x="250945" y="911723"/>
                      </a:cubicBezTo>
                      <a:cubicBezTo>
                        <a:pt x="251266" y="911964"/>
                        <a:pt x="251427" y="912124"/>
                        <a:pt x="251748" y="912124"/>
                      </a:cubicBezTo>
                      <a:cubicBezTo>
                        <a:pt x="252230" y="912124"/>
                        <a:pt x="252631" y="911803"/>
                        <a:pt x="253113" y="911964"/>
                      </a:cubicBezTo>
                      <a:cubicBezTo>
                        <a:pt x="253676" y="912124"/>
                        <a:pt x="254881" y="912606"/>
                        <a:pt x="256327" y="912205"/>
                      </a:cubicBezTo>
                      <a:cubicBezTo>
                        <a:pt x="256648" y="912044"/>
                        <a:pt x="257612" y="911642"/>
                        <a:pt x="258254" y="910196"/>
                      </a:cubicBezTo>
                      <a:moveTo>
                        <a:pt x="440679" y="936223"/>
                      </a:moveTo>
                      <a:cubicBezTo>
                        <a:pt x="440760" y="935821"/>
                        <a:pt x="440840" y="935419"/>
                        <a:pt x="440920" y="935098"/>
                      </a:cubicBezTo>
                      <a:cubicBezTo>
                        <a:pt x="440920" y="935178"/>
                        <a:pt x="440840" y="935259"/>
                        <a:pt x="440840" y="935339"/>
                      </a:cubicBezTo>
                      <a:cubicBezTo>
                        <a:pt x="439635" y="937749"/>
                        <a:pt x="437627" y="939195"/>
                        <a:pt x="434173" y="940159"/>
                      </a:cubicBezTo>
                      <a:cubicBezTo>
                        <a:pt x="438591" y="940078"/>
                        <a:pt x="440117" y="937990"/>
                        <a:pt x="440679" y="936223"/>
                      </a:cubicBezTo>
                      <a:moveTo>
                        <a:pt x="2073908" y="366537"/>
                      </a:moveTo>
                      <a:cubicBezTo>
                        <a:pt x="2073747" y="366376"/>
                        <a:pt x="2073586" y="366135"/>
                        <a:pt x="2073426" y="365974"/>
                      </a:cubicBezTo>
                      <a:cubicBezTo>
                        <a:pt x="2073506" y="366054"/>
                        <a:pt x="2073586" y="366215"/>
                        <a:pt x="2073667" y="366295"/>
                      </a:cubicBezTo>
                      <a:cubicBezTo>
                        <a:pt x="2076960" y="370553"/>
                        <a:pt x="2078888" y="373204"/>
                        <a:pt x="2078968" y="372400"/>
                      </a:cubicBezTo>
                      <a:cubicBezTo>
                        <a:pt x="2078968" y="372320"/>
                        <a:pt x="2078968" y="372240"/>
                        <a:pt x="2078968" y="372159"/>
                      </a:cubicBezTo>
                      <a:cubicBezTo>
                        <a:pt x="2078004" y="371356"/>
                        <a:pt x="2076719" y="370151"/>
                        <a:pt x="2073908" y="366537"/>
                      </a:cubicBezTo>
                      <a:moveTo>
                        <a:pt x="240904" y="878467"/>
                      </a:moveTo>
                      <a:lnTo>
                        <a:pt x="240823" y="878386"/>
                      </a:lnTo>
                      <a:cubicBezTo>
                        <a:pt x="240020" y="878306"/>
                        <a:pt x="238092" y="878386"/>
                        <a:pt x="232469" y="878467"/>
                      </a:cubicBezTo>
                      <a:cubicBezTo>
                        <a:pt x="232309" y="878628"/>
                        <a:pt x="232148" y="878869"/>
                        <a:pt x="232068" y="879110"/>
                      </a:cubicBezTo>
                      <a:cubicBezTo>
                        <a:pt x="238253" y="878708"/>
                        <a:pt x="240743" y="878547"/>
                        <a:pt x="240904" y="878467"/>
                      </a:cubicBezTo>
                      <a:moveTo>
                        <a:pt x="380032" y="914614"/>
                      </a:moveTo>
                      <a:cubicBezTo>
                        <a:pt x="380032" y="914614"/>
                        <a:pt x="380112" y="914614"/>
                        <a:pt x="380032" y="914614"/>
                      </a:cubicBezTo>
                      <a:cubicBezTo>
                        <a:pt x="379309" y="913891"/>
                        <a:pt x="378184" y="912847"/>
                        <a:pt x="377381" y="912124"/>
                      </a:cubicBezTo>
                      <a:lnTo>
                        <a:pt x="377060" y="911964"/>
                      </a:lnTo>
                      <a:lnTo>
                        <a:pt x="377060" y="912124"/>
                      </a:lnTo>
                      <a:cubicBezTo>
                        <a:pt x="376738" y="913490"/>
                        <a:pt x="377782" y="914373"/>
                        <a:pt x="380032" y="914614"/>
                      </a:cubicBezTo>
                      <a:moveTo>
                        <a:pt x="232630" y="876619"/>
                      </a:moveTo>
                      <a:cubicBezTo>
                        <a:pt x="232630" y="876619"/>
                        <a:pt x="232630" y="876619"/>
                        <a:pt x="232630" y="876619"/>
                      </a:cubicBezTo>
                      <a:cubicBezTo>
                        <a:pt x="232871" y="875736"/>
                        <a:pt x="232951" y="874772"/>
                        <a:pt x="231746" y="874370"/>
                      </a:cubicBezTo>
                      <a:cubicBezTo>
                        <a:pt x="231264" y="874209"/>
                        <a:pt x="231264" y="874209"/>
                        <a:pt x="230622" y="874290"/>
                      </a:cubicBezTo>
                      <a:cubicBezTo>
                        <a:pt x="230943" y="875575"/>
                        <a:pt x="231586" y="876298"/>
                        <a:pt x="232630" y="876619"/>
                      </a:cubicBezTo>
                      <a:moveTo>
                        <a:pt x="459155" y="922487"/>
                      </a:moveTo>
                      <a:cubicBezTo>
                        <a:pt x="459396" y="922406"/>
                        <a:pt x="459717" y="922246"/>
                        <a:pt x="459958" y="922085"/>
                      </a:cubicBezTo>
                      <a:cubicBezTo>
                        <a:pt x="455219" y="922005"/>
                        <a:pt x="455138" y="921764"/>
                        <a:pt x="454897" y="920077"/>
                      </a:cubicBezTo>
                      <a:cubicBezTo>
                        <a:pt x="455299" y="919675"/>
                        <a:pt x="455861" y="919193"/>
                        <a:pt x="456343" y="918872"/>
                      </a:cubicBezTo>
                      <a:lnTo>
                        <a:pt x="455299" y="919193"/>
                      </a:lnTo>
                      <a:cubicBezTo>
                        <a:pt x="447828" y="921603"/>
                        <a:pt x="443812" y="924736"/>
                        <a:pt x="443651" y="924896"/>
                      </a:cubicBezTo>
                      <a:cubicBezTo>
                        <a:pt x="442848" y="925539"/>
                        <a:pt x="442848" y="925539"/>
                        <a:pt x="436583" y="934295"/>
                      </a:cubicBezTo>
                      <a:cubicBezTo>
                        <a:pt x="437466" y="934134"/>
                        <a:pt x="438591" y="933893"/>
                        <a:pt x="439474" y="933732"/>
                      </a:cubicBezTo>
                      <a:cubicBezTo>
                        <a:pt x="439956" y="932367"/>
                        <a:pt x="440438" y="931724"/>
                        <a:pt x="441563" y="930760"/>
                      </a:cubicBezTo>
                      <a:cubicBezTo>
                        <a:pt x="441563" y="932528"/>
                        <a:pt x="441402" y="933411"/>
                        <a:pt x="440920" y="934777"/>
                      </a:cubicBezTo>
                      <a:cubicBezTo>
                        <a:pt x="441001" y="934857"/>
                        <a:pt x="441161" y="935018"/>
                        <a:pt x="441242" y="935098"/>
                      </a:cubicBezTo>
                      <a:cubicBezTo>
                        <a:pt x="444053" y="931885"/>
                        <a:pt x="446865" y="928672"/>
                        <a:pt x="449676" y="925459"/>
                      </a:cubicBezTo>
                      <a:cubicBezTo>
                        <a:pt x="450319" y="924736"/>
                        <a:pt x="450881" y="923932"/>
                        <a:pt x="451604" y="923370"/>
                      </a:cubicBezTo>
                      <a:cubicBezTo>
                        <a:pt x="451363" y="923772"/>
                        <a:pt x="451202" y="924013"/>
                        <a:pt x="447427" y="928672"/>
                      </a:cubicBezTo>
                      <a:cubicBezTo>
                        <a:pt x="450319" y="926985"/>
                        <a:pt x="454576" y="924575"/>
                        <a:pt x="459155" y="922487"/>
                      </a:cubicBezTo>
                      <a:moveTo>
                        <a:pt x="407664" y="913249"/>
                      </a:moveTo>
                      <a:cubicBezTo>
                        <a:pt x="407745" y="913249"/>
                        <a:pt x="407825" y="913169"/>
                        <a:pt x="407905" y="913088"/>
                      </a:cubicBezTo>
                      <a:cubicBezTo>
                        <a:pt x="407102" y="912606"/>
                        <a:pt x="406299" y="912205"/>
                        <a:pt x="405014" y="912044"/>
                      </a:cubicBezTo>
                      <a:cubicBezTo>
                        <a:pt x="403809" y="911964"/>
                        <a:pt x="402845" y="912124"/>
                        <a:pt x="401479" y="912767"/>
                      </a:cubicBezTo>
                      <a:cubicBezTo>
                        <a:pt x="402283" y="913329"/>
                        <a:pt x="404612" y="914775"/>
                        <a:pt x="407664" y="913249"/>
                      </a:cubicBezTo>
                      <a:moveTo>
                        <a:pt x="170456" y="863686"/>
                      </a:moveTo>
                      <a:cubicBezTo>
                        <a:pt x="170536" y="863686"/>
                        <a:pt x="170697" y="863686"/>
                        <a:pt x="170858" y="863686"/>
                      </a:cubicBezTo>
                      <a:cubicBezTo>
                        <a:pt x="170938" y="861678"/>
                        <a:pt x="170938" y="860152"/>
                        <a:pt x="171500" y="853485"/>
                      </a:cubicBezTo>
                      <a:cubicBezTo>
                        <a:pt x="172223" y="844006"/>
                        <a:pt x="172304" y="841516"/>
                        <a:pt x="171741" y="840632"/>
                      </a:cubicBezTo>
                      <a:cubicBezTo>
                        <a:pt x="171420" y="840632"/>
                        <a:pt x="171259" y="840713"/>
                        <a:pt x="170376" y="842480"/>
                      </a:cubicBezTo>
                      <a:cubicBezTo>
                        <a:pt x="170938" y="839267"/>
                        <a:pt x="171099" y="837419"/>
                        <a:pt x="171179" y="835009"/>
                      </a:cubicBezTo>
                      <a:cubicBezTo>
                        <a:pt x="171018" y="834929"/>
                        <a:pt x="170858" y="834849"/>
                        <a:pt x="170697" y="834768"/>
                      </a:cubicBezTo>
                      <a:cubicBezTo>
                        <a:pt x="169331" y="834527"/>
                        <a:pt x="168287" y="835652"/>
                        <a:pt x="166922" y="837419"/>
                      </a:cubicBezTo>
                      <a:cubicBezTo>
                        <a:pt x="168126" y="837981"/>
                        <a:pt x="170777" y="840150"/>
                        <a:pt x="168287" y="848826"/>
                      </a:cubicBezTo>
                      <a:cubicBezTo>
                        <a:pt x="168287" y="848022"/>
                        <a:pt x="168207" y="847059"/>
                        <a:pt x="168207" y="846255"/>
                      </a:cubicBezTo>
                      <a:cubicBezTo>
                        <a:pt x="166681" y="851075"/>
                        <a:pt x="162905" y="863606"/>
                        <a:pt x="170456" y="863686"/>
                      </a:cubicBezTo>
                      <a:moveTo>
                        <a:pt x="525345" y="920318"/>
                      </a:moveTo>
                      <a:cubicBezTo>
                        <a:pt x="525425" y="920157"/>
                        <a:pt x="525425" y="919916"/>
                        <a:pt x="525506" y="919756"/>
                      </a:cubicBezTo>
                      <a:cubicBezTo>
                        <a:pt x="521248" y="921121"/>
                        <a:pt x="521329" y="919354"/>
                        <a:pt x="522132" y="917185"/>
                      </a:cubicBezTo>
                      <a:cubicBezTo>
                        <a:pt x="522052" y="917265"/>
                        <a:pt x="521971" y="917346"/>
                        <a:pt x="521971" y="917426"/>
                      </a:cubicBezTo>
                      <a:cubicBezTo>
                        <a:pt x="521891" y="917506"/>
                        <a:pt x="521570" y="917908"/>
                        <a:pt x="521329" y="918068"/>
                      </a:cubicBezTo>
                      <a:cubicBezTo>
                        <a:pt x="520847" y="918390"/>
                        <a:pt x="518437" y="919515"/>
                        <a:pt x="518437" y="919515"/>
                      </a:cubicBezTo>
                      <a:cubicBezTo>
                        <a:pt x="517392" y="919756"/>
                        <a:pt x="516589" y="919033"/>
                        <a:pt x="516348" y="918792"/>
                      </a:cubicBezTo>
                      <a:cubicBezTo>
                        <a:pt x="514099" y="920559"/>
                        <a:pt x="513215" y="920398"/>
                        <a:pt x="513376" y="918149"/>
                      </a:cubicBezTo>
                      <a:cubicBezTo>
                        <a:pt x="512814" y="919434"/>
                        <a:pt x="512091" y="919595"/>
                        <a:pt x="510725" y="918792"/>
                      </a:cubicBezTo>
                      <a:cubicBezTo>
                        <a:pt x="511689" y="925459"/>
                        <a:pt x="512733" y="930278"/>
                        <a:pt x="514501" y="936624"/>
                      </a:cubicBezTo>
                      <a:cubicBezTo>
                        <a:pt x="518999" y="932528"/>
                        <a:pt x="523417" y="927868"/>
                        <a:pt x="525345" y="920318"/>
                      </a:cubicBezTo>
                      <a:moveTo>
                        <a:pt x="232389" y="859670"/>
                      </a:moveTo>
                      <a:lnTo>
                        <a:pt x="232630" y="860634"/>
                      </a:lnTo>
                      <a:lnTo>
                        <a:pt x="233112" y="859108"/>
                      </a:lnTo>
                      <a:lnTo>
                        <a:pt x="232710" y="859349"/>
                      </a:lnTo>
                      <a:lnTo>
                        <a:pt x="232389" y="859670"/>
                      </a:lnTo>
                      <a:moveTo>
                        <a:pt x="640857" y="913329"/>
                      </a:moveTo>
                      <a:cubicBezTo>
                        <a:pt x="640937" y="913410"/>
                        <a:pt x="641017" y="913490"/>
                        <a:pt x="641098" y="913490"/>
                      </a:cubicBezTo>
                      <a:cubicBezTo>
                        <a:pt x="639893" y="911562"/>
                        <a:pt x="638447" y="910277"/>
                        <a:pt x="636037" y="908992"/>
                      </a:cubicBezTo>
                      <a:cubicBezTo>
                        <a:pt x="634029" y="907947"/>
                        <a:pt x="634029" y="907947"/>
                        <a:pt x="631137" y="908188"/>
                      </a:cubicBezTo>
                      <a:cubicBezTo>
                        <a:pt x="636599" y="910116"/>
                        <a:pt x="639732" y="912446"/>
                        <a:pt x="640857" y="913329"/>
                      </a:cubicBezTo>
                      <a:moveTo>
                        <a:pt x="86433" y="739660"/>
                      </a:moveTo>
                      <a:lnTo>
                        <a:pt x="86915" y="739018"/>
                      </a:lnTo>
                      <a:cubicBezTo>
                        <a:pt x="86995" y="735724"/>
                        <a:pt x="88120" y="730422"/>
                        <a:pt x="89887" y="725040"/>
                      </a:cubicBezTo>
                      <a:cubicBezTo>
                        <a:pt x="89807" y="725201"/>
                        <a:pt x="89726" y="725442"/>
                        <a:pt x="89646" y="725603"/>
                      </a:cubicBezTo>
                      <a:cubicBezTo>
                        <a:pt x="86915" y="732832"/>
                        <a:pt x="85790" y="737812"/>
                        <a:pt x="86433" y="739660"/>
                      </a:cubicBezTo>
                      <a:cubicBezTo>
                        <a:pt x="86433" y="739580"/>
                        <a:pt x="86433" y="739580"/>
                        <a:pt x="86433" y="739660"/>
                      </a:cubicBezTo>
                      <a:moveTo>
                        <a:pt x="82256" y="689857"/>
                      </a:moveTo>
                      <a:cubicBezTo>
                        <a:pt x="82176" y="690017"/>
                        <a:pt x="82095" y="690178"/>
                        <a:pt x="82095" y="690339"/>
                      </a:cubicBezTo>
                      <a:cubicBezTo>
                        <a:pt x="83862" y="686001"/>
                        <a:pt x="85308" y="683270"/>
                        <a:pt x="87076" y="680619"/>
                      </a:cubicBezTo>
                      <a:cubicBezTo>
                        <a:pt x="87076" y="680699"/>
                        <a:pt x="86995" y="680699"/>
                        <a:pt x="86915" y="680780"/>
                      </a:cubicBezTo>
                      <a:cubicBezTo>
                        <a:pt x="85549" y="682306"/>
                        <a:pt x="84103" y="684153"/>
                        <a:pt x="82417" y="686483"/>
                      </a:cubicBezTo>
                      <a:cubicBezTo>
                        <a:pt x="83461" y="685278"/>
                        <a:pt x="83461" y="686483"/>
                        <a:pt x="83461" y="686483"/>
                      </a:cubicBezTo>
                      <a:cubicBezTo>
                        <a:pt x="83380" y="686965"/>
                        <a:pt x="83139" y="687447"/>
                        <a:pt x="82979" y="687929"/>
                      </a:cubicBezTo>
                      <a:cubicBezTo>
                        <a:pt x="82738" y="688491"/>
                        <a:pt x="82497" y="689134"/>
                        <a:pt x="82256" y="689857"/>
                      </a:cubicBezTo>
                      <a:moveTo>
                        <a:pt x="2059770" y="362841"/>
                      </a:moveTo>
                      <a:cubicBezTo>
                        <a:pt x="2059127" y="362199"/>
                        <a:pt x="2058806" y="362038"/>
                        <a:pt x="2058645" y="361958"/>
                      </a:cubicBezTo>
                      <a:cubicBezTo>
                        <a:pt x="2058726" y="362038"/>
                        <a:pt x="2058806" y="362118"/>
                        <a:pt x="2058806" y="362199"/>
                      </a:cubicBezTo>
                      <a:cubicBezTo>
                        <a:pt x="2060734" y="364528"/>
                        <a:pt x="2062662" y="366778"/>
                        <a:pt x="2064590" y="369027"/>
                      </a:cubicBezTo>
                      <a:cubicBezTo>
                        <a:pt x="2063786" y="367742"/>
                        <a:pt x="2061376" y="364448"/>
                        <a:pt x="2059770" y="362841"/>
                      </a:cubicBezTo>
                      <a:moveTo>
                        <a:pt x="268697" y="851959"/>
                      </a:moveTo>
                      <a:cubicBezTo>
                        <a:pt x="268777" y="851878"/>
                        <a:pt x="268858" y="851798"/>
                        <a:pt x="268938" y="851718"/>
                      </a:cubicBezTo>
                      <a:cubicBezTo>
                        <a:pt x="267974" y="851155"/>
                        <a:pt x="267572" y="850995"/>
                        <a:pt x="267010" y="850834"/>
                      </a:cubicBezTo>
                      <a:cubicBezTo>
                        <a:pt x="266448" y="850673"/>
                        <a:pt x="265002" y="850352"/>
                        <a:pt x="263315" y="851477"/>
                      </a:cubicBezTo>
                      <a:cubicBezTo>
                        <a:pt x="263074" y="851637"/>
                        <a:pt x="262753" y="851637"/>
                        <a:pt x="262512" y="851718"/>
                      </a:cubicBezTo>
                      <a:cubicBezTo>
                        <a:pt x="264761" y="853645"/>
                        <a:pt x="266850" y="853726"/>
                        <a:pt x="268697" y="851959"/>
                      </a:cubicBezTo>
                      <a:moveTo>
                        <a:pt x="166279" y="835250"/>
                      </a:moveTo>
                      <a:cubicBezTo>
                        <a:pt x="166440" y="835411"/>
                        <a:pt x="166600" y="835491"/>
                        <a:pt x="166761" y="835652"/>
                      </a:cubicBezTo>
                      <a:cubicBezTo>
                        <a:pt x="167243" y="834367"/>
                        <a:pt x="167725" y="833001"/>
                        <a:pt x="168126" y="831716"/>
                      </a:cubicBezTo>
                      <a:cubicBezTo>
                        <a:pt x="167725" y="832118"/>
                        <a:pt x="167163" y="832680"/>
                        <a:pt x="166761" y="833082"/>
                      </a:cubicBezTo>
                      <a:cubicBezTo>
                        <a:pt x="170697" y="808260"/>
                        <a:pt x="170697" y="808260"/>
                        <a:pt x="170697" y="807617"/>
                      </a:cubicBezTo>
                      <a:cubicBezTo>
                        <a:pt x="170697" y="807617"/>
                        <a:pt x="170617" y="807617"/>
                        <a:pt x="170617" y="807617"/>
                      </a:cubicBezTo>
                      <a:cubicBezTo>
                        <a:pt x="169894" y="808742"/>
                        <a:pt x="167323" y="819426"/>
                        <a:pt x="164672" y="832278"/>
                      </a:cubicBezTo>
                      <a:cubicBezTo>
                        <a:pt x="165958" y="830752"/>
                        <a:pt x="166279" y="828824"/>
                        <a:pt x="167082" y="827057"/>
                      </a:cubicBezTo>
                      <a:cubicBezTo>
                        <a:pt x="166681" y="828824"/>
                        <a:pt x="165636" y="830350"/>
                        <a:pt x="165476" y="832198"/>
                      </a:cubicBezTo>
                      <a:cubicBezTo>
                        <a:pt x="165315" y="833242"/>
                        <a:pt x="165556" y="834447"/>
                        <a:pt x="166279" y="835250"/>
                      </a:cubicBezTo>
                      <a:moveTo>
                        <a:pt x="498435" y="894934"/>
                      </a:moveTo>
                      <a:cubicBezTo>
                        <a:pt x="498596" y="894773"/>
                        <a:pt x="498756" y="894613"/>
                        <a:pt x="498917" y="894452"/>
                      </a:cubicBezTo>
                      <a:cubicBezTo>
                        <a:pt x="496427" y="894131"/>
                        <a:pt x="495222" y="893649"/>
                        <a:pt x="493294" y="892364"/>
                      </a:cubicBezTo>
                      <a:cubicBezTo>
                        <a:pt x="493535" y="892765"/>
                        <a:pt x="493776" y="893247"/>
                        <a:pt x="494017" y="893649"/>
                      </a:cubicBezTo>
                      <a:cubicBezTo>
                        <a:pt x="490242" y="895818"/>
                        <a:pt x="490242" y="895818"/>
                        <a:pt x="490242" y="895898"/>
                      </a:cubicBezTo>
                      <a:cubicBezTo>
                        <a:pt x="490402" y="895978"/>
                        <a:pt x="491045" y="895818"/>
                        <a:pt x="492812" y="895255"/>
                      </a:cubicBezTo>
                      <a:cubicBezTo>
                        <a:pt x="492652" y="896621"/>
                        <a:pt x="493053" y="897504"/>
                        <a:pt x="494499" y="898629"/>
                      </a:cubicBezTo>
                      <a:cubicBezTo>
                        <a:pt x="495945" y="897504"/>
                        <a:pt x="496588" y="897745"/>
                        <a:pt x="496909" y="899192"/>
                      </a:cubicBezTo>
                      <a:cubicBezTo>
                        <a:pt x="496829" y="898227"/>
                        <a:pt x="496989" y="896621"/>
                        <a:pt x="498435" y="894934"/>
                      </a:cubicBezTo>
                      <a:moveTo>
                        <a:pt x="1706407" y="716526"/>
                      </a:moveTo>
                      <a:cubicBezTo>
                        <a:pt x="1706488" y="716365"/>
                        <a:pt x="1706648" y="716204"/>
                        <a:pt x="1706809" y="716044"/>
                      </a:cubicBezTo>
                      <a:cubicBezTo>
                        <a:pt x="1704319" y="714196"/>
                        <a:pt x="1703194" y="712991"/>
                        <a:pt x="1701106" y="709939"/>
                      </a:cubicBezTo>
                      <a:cubicBezTo>
                        <a:pt x="1698133" y="711465"/>
                        <a:pt x="1696206" y="710903"/>
                        <a:pt x="1695242" y="708172"/>
                      </a:cubicBezTo>
                      <a:cubicBezTo>
                        <a:pt x="1695161" y="708413"/>
                        <a:pt x="1695081" y="708654"/>
                        <a:pt x="1695001" y="708895"/>
                      </a:cubicBezTo>
                      <a:cubicBezTo>
                        <a:pt x="1693474" y="713393"/>
                        <a:pt x="1693956" y="715481"/>
                        <a:pt x="1695804" y="718775"/>
                      </a:cubicBezTo>
                      <a:cubicBezTo>
                        <a:pt x="1696687" y="720462"/>
                        <a:pt x="1698374" y="722068"/>
                        <a:pt x="1701427" y="720622"/>
                      </a:cubicBezTo>
                      <a:cubicBezTo>
                        <a:pt x="1702873" y="719980"/>
                        <a:pt x="1704560" y="718614"/>
                        <a:pt x="1706407" y="716526"/>
                      </a:cubicBezTo>
                      <a:moveTo>
                        <a:pt x="2025711" y="316573"/>
                      </a:moveTo>
                      <a:cubicBezTo>
                        <a:pt x="2025631" y="316492"/>
                        <a:pt x="2025470" y="316412"/>
                        <a:pt x="2025390" y="316332"/>
                      </a:cubicBezTo>
                      <a:cubicBezTo>
                        <a:pt x="2025550" y="316573"/>
                        <a:pt x="2025791" y="316814"/>
                        <a:pt x="2025952" y="317055"/>
                      </a:cubicBezTo>
                      <a:cubicBezTo>
                        <a:pt x="2026434" y="317537"/>
                        <a:pt x="2026996" y="317938"/>
                        <a:pt x="2027719" y="318500"/>
                      </a:cubicBezTo>
                      <a:cubicBezTo>
                        <a:pt x="2027076" y="317858"/>
                        <a:pt x="2026434" y="317215"/>
                        <a:pt x="2025711" y="316573"/>
                      </a:cubicBezTo>
                      <a:moveTo>
                        <a:pt x="417545" y="875575"/>
                      </a:moveTo>
                      <a:cubicBezTo>
                        <a:pt x="417625" y="875495"/>
                        <a:pt x="417625" y="875414"/>
                        <a:pt x="417705" y="875334"/>
                      </a:cubicBezTo>
                      <a:cubicBezTo>
                        <a:pt x="417063" y="875575"/>
                        <a:pt x="416260" y="875977"/>
                        <a:pt x="415617" y="876218"/>
                      </a:cubicBezTo>
                      <a:lnTo>
                        <a:pt x="415617" y="875334"/>
                      </a:lnTo>
                      <a:cubicBezTo>
                        <a:pt x="414733" y="875655"/>
                        <a:pt x="413207" y="876298"/>
                        <a:pt x="412564" y="877824"/>
                      </a:cubicBezTo>
                      <a:cubicBezTo>
                        <a:pt x="412404" y="878226"/>
                        <a:pt x="412404" y="878628"/>
                        <a:pt x="412324" y="879029"/>
                      </a:cubicBezTo>
                      <a:cubicBezTo>
                        <a:pt x="412243" y="879190"/>
                        <a:pt x="412163" y="879270"/>
                        <a:pt x="412083" y="879351"/>
                      </a:cubicBezTo>
                      <a:cubicBezTo>
                        <a:pt x="412083" y="879431"/>
                        <a:pt x="411199" y="880555"/>
                        <a:pt x="411119" y="881760"/>
                      </a:cubicBezTo>
                      <a:cubicBezTo>
                        <a:pt x="411038" y="883046"/>
                        <a:pt x="411842" y="883608"/>
                        <a:pt x="412243" y="883849"/>
                      </a:cubicBezTo>
                      <a:cubicBezTo>
                        <a:pt x="414653" y="880395"/>
                        <a:pt x="416019" y="878386"/>
                        <a:pt x="417545" y="875575"/>
                      </a:cubicBezTo>
                      <a:moveTo>
                        <a:pt x="493937" y="885134"/>
                      </a:moveTo>
                      <a:cubicBezTo>
                        <a:pt x="493133" y="884090"/>
                        <a:pt x="492250" y="883206"/>
                        <a:pt x="491366" y="882323"/>
                      </a:cubicBezTo>
                      <a:cubicBezTo>
                        <a:pt x="491447" y="882403"/>
                        <a:pt x="491447" y="882483"/>
                        <a:pt x="491527" y="882483"/>
                      </a:cubicBezTo>
                      <a:cubicBezTo>
                        <a:pt x="492009" y="882965"/>
                        <a:pt x="492410" y="883447"/>
                        <a:pt x="492892" y="883929"/>
                      </a:cubicBezTo>
                      <a:cubicBezTo>
                        <a:pt x="493214" y="884331"/>
                        <a:pt x="493535" y="884813"/>
                        <a:pt x="493937" y="885134"/>
                      </a:cubicBezTo>
                      <a:moveTo>
                        <a:pt x="266930" y="835813"/>
                      </a:moveTo>
                      <a:cubicBezTo>
                        <a:pt x="267091" y="835732"/>
                        <a:pt x="267332" y="835652"/>
                        <a:pt x="267492" y="835652"/>
                      </a:cubicBezTo>
                      <a:cubicBezTo>
                        <a:pt x="265805" y="833323"/>
                        <a:pt x="264520" y="832680"/>
                        <a:pt x="263395" y="832359"/>
                      </a:cubicBezTo>
                      <a:cubicBezTo>
                        <a:pt x="261950" y="832118"/>
                        <a:pt x="260825" y="832439"/>
                        <a:pt x="260102" y="833242"/>
                      </a:cubicBezTo>
                      <a:cubicBezTo>
                        <a:pt x="261387" y="834849"/>
                        <a:pt x="263476" y="836777"/>
                        <a:pt x="266930" y="835813"/>
                      </a:cubicBezTo>
                      <a:moveTo>
                        <a:pt x="525747" y="883287"/>
                      </a:moveTo>
                      <a:cubicBezTo>
                        <a:pt x="526470" y="881198"/>
                        <a:pt x="525345" y="879832"/>
                        <a:pt x="522694" y="876539"/>
                      </a:cubicBezTo>
                      <a:cubicBezTo>
                        <a:pt x="522052" y="876459"/>
                        <a:pt x="521329" y="876459"/>
                        <a:pt x="520686" y="876378"/>
                      </a:cubicBezTo>
                      <a:cubicBezTo>
                        <a:pt x="521088" y="877583"/>
                        <a:pt x="521489" y="878708"/>
                        <a:pt x="522373" y="880796"/>
                      </a:cubicBezTo>
                      <a:cubicBezTo>
                        <a:pt x="523337" y="883046"/>
                        <a:pt x="523738" y="884090"/>
                        <a:pt x="523819" y="884893"/>
                      </a:cubicBezTo>
                      <a:cubicBezTo>
                        <a:pt x="524381" y="884732"/>
                        <a:pt x="525345" y="884491"/>
                        <a:pt x="525747" y="883287"/>
                      </a:cubicBezTo>
                      <a:moveTo>
                        <a:pt x="445097" y="875896"/>
                      </a:moveTo>
                      <a:cubicBezTo>
                        <a:pt x="445178" y="875896"/>
                        <a:pt x="445258" y="875816"/>
                        <a:pt x="445258" y="875736"/>
                      </a:cubicBezTo>
                      <a:cubicBezTo>
                        <a:pt x="444937" y="875173"/>
                        <a:pt x="443169" y="874772"/>
                        <a:pt x="435699" y="873567"/>
                      </a:cubicBezTo>
                      <a:cubicBezTo>
                        <a:pt x="439153" y="873487"/>
                        <a:pt x="441563" y="872764"/>
                        <a:pt x="443651" y="871157"/>
                      </a:cubicBezTo>
                      <a:cubicBezTo>
                        <a:pt x="432887" y="870755"/>
                        <a:pt x="426783" y="870675"/>
                        <a:pt x="416501" y="870595"/>
                      </a:cubicBezTo>
                      <a:cubicBezTo>
                        <a:pt x="420356" y="868667"/>
                        <a:pt x="423007" y="867141"/>
                        <a:pt x="426863" y="864650"/>
                      </a:cubicBezTo>
                      <a:cubicBezTo>
                        <a:pt x="426542" y="864409"/>
                        <a:pt x="426220" y="864088"/>
                        <a:pt x="425899" y="863847"/>
                      </a:cubicBezTo>
                      <a:lnTo>
                        <a:pt x="423328" y="864088"/>
                      </a:lnTo>
                      <a:cubicBezTo>
                        <a:pt x="413448" y="865293"/>
                        <a:pt x="404371" y="869470"/>
                        <a:pt x="404291" y="869551"/>
                      </a:cubicBezTo>
                      <a:lnTo>
                        <a:pt x="406781" y="870755"/>
                      </a:lnTo>
                      <a:cubicBezTo>
                        <a:pt x="420115" y="874772"/>
                        <a:pt x="428791" y="874772"/>
                        <a:pt x="429594" y="874691"/>
                      </a:cubicBezTo>
                      <a:cubicBezTo>
                        <a:pt x="431120" y="874450"/>
                        <a:pt x="436663" y="874691"/>
                        <a:pt x="438350" y="876539"/>
                      </a:cubicBezTo>
                      <a:cubicBezTo>
                        <a:pt x="440519" y="876378"/>
                        <a:pt x="444374" y="876218"/>
                        <a:pt x="445097" y="875896"/>
                      </a:cubicBezTo>
                      <a:moveTo>
                        <a:pt x="179694" y="811072"/>
                      </a:moveTo>
                      <a:cubicBezTo>
                        <a:pt x="179774" y="810991"/>
                        <a:pt x="179935" y="810831"/>
                        <a:pt x="180015" y="810750"/>
                      </a:cubicBezTo>
                      <a:cubicBezTo>
                        <a:pt x="175436" y="804645"/>
                        <a:pt x="177043" y="799183"/>
                        <a:pt x="184835" y="794203"/>
                      </a:cubicBezTo>
                      <a:cubicBezTo>
                        <a:pt x="183148" y="795247"/>
                        <a:pt x="179212" y="797657"/>
                        <a:pt x="180256" y="792918"/>
                      </a:cubicBezTo>
                      <a:cubicBezTo>
                        <a:pt x="180336" y="792677"/>
                        <a:pt x="180336" y="792436"/>
                        <a:pt x="180417" y="792275"/>
                      </a:cubicBezTo>
                      <a:cubicBezTo>
                        <a:pt x="181702" y="791713"/>
                        <a:pt x="182987" y="791150"/>
                        <a:pt x="184272" y="790668"/>
                      </a:cubicBezTo>
                      <a:cubicBezTo>
                        <a:pt x="183951" y="790427"/>
                        <a:pt x="183549" y="790267"/>
                        <a:pt x="183228" y="790026"/>
                      </a:cubicBezTo>
                      <a:cubicBezTo>
                        <a:pt x="180176" y="788901"/>
                        <a:pt x="179131" y="791150"/>
                        <a:pt x="178730" y="793319"/>
                      </a:cubicBezTo>
                      <a:cubicBezTo>
                        <a:pt x="177685" y="799103"/>
                        <a:pt x="175356" y="798621"/>
                        <a:pt x="174151" y="798380"/>
                      </a:cubicBezTo>
                      <a:cubicBezTo>
                        <a:pt x="174151" y="798541"/>
                        <a:pt x="174071" y="798862"/>
                        <a:pt x="174071" y="799023"/>
                      </a:cubicBezTo>
                      <a:cubicBezTo>
                        <a:pt x="170054" y="803681"/>
                        <a:pt x="174954" y="807296"/>
                        <a:pt x="178167" y="808983"/>
                      </a:cubicBezTo>
                      <a:cubicBezTo>
                        <a:pt x="178007" y="810027"/>
                        <a:pt x="177605" y="812678"/>
                        <a:pt x="179292" y="811473"/>
                      </a:cubicBezTo>
                      <a:cubicBezTo>
                        <a:pt x="179292" y="811393"/>
                        <a:pt x="179533" y="811232"/>
                        <a:pt x="179694" y="811072"/>
                      </a:cubicBezTo>
                      <a:moveTo>
                        <a:pt x="185879" y="865855"/>
                      </a:moveTo>
                      <a:cubicBezTo>
                        <a:pt x="187084" y="862883"/>
                        <a:pt x="189976" y="855895"/>
                        <a:pt x="189654" y="847701"/>
                      </a:cubicBezTo>
                      <a:cubicBezTo>
                        <a:pt x="189654" y="847460"/>
                        <a:pt x="192948" y="812518"/>
                        <a:pt x="198812" y="801031"/>
                      </a:cubicBezTo>
                      <a:cubicBezTo>
                        <a:pt x="197366" y="800790"/>
                        <a:pt x="196482" y="801111"/>
                        <a:pt x="195197" y="802316"/>
                      </a:cubicBezTo>
                      <a:cubicBezTo>
                        <a:pt x="196241" y="800067"/>
                        <a:pt x="198089" y="798219"/>
                        <a:pt x="198812" y="795729"/>
                      </a:cubicBezTo>
                      <a:cubicBezTo>
                        <a:pt x="196643" y="796693"/>
                        <a:pt x="191422" y="799103"/>
                        <a:pt x="188771" y="803681"/>
                      </a:cubicBezTo>
                      <a:cubicBezTo>
                        <a:pt x="188208" y="804645"/>
                        <a:pt x="187405" y="806011"/>
                        <a:pt x="186682" y="808180"/>
                      </a:cubicBezTo>
                      <a:cubicBezTo>
                        <a:pt x="185799" y="810750"/>
                        <a:pt x="186281" y="813562"/>
                        <a:pt x="185477" y="816213"/>
                      </a:cubicBezTo>
                      <a:cubicBezTo>
                        <a:pt x="184594" y="819265"/>
                        <a:pt x="182425" y="821836"/>
                        <a:pt x="181702" y="825049"/>
                      </a:cubicBezTo>
                      <a:cubicBezTo>
                        <a:pt x="181461" y="826093"/>
                        <a:pt x="181059" y="829627"/>
                        <a:pt x="181943" y="832278"/>
                      </a:cubicBezTo>
                      <a:cubicBezTo>
                        <a:pt x="182585" y="834206"/>
                        <a:pt x="184674" y="834929"/>
                        <a:pt x="185477" y="836616"/>
                      </a:cubicBezTo>
                      <a:cubicBezTo>
                        <a:pt x="186763" y="839347"/>
                        <a:pt x="184513" y="845291"/>
                        <a:pt x="184433" y="845532"/>
                      </a:cubicBezTo>
                      <a:cubicBezTo>
                        <a:pt x="182585" y="850432"/>
                        <a:pt x="184031" y="857903"/>
                        <a:pt x="184433" y="863124"/>
                      </a:cubicBezTo>
                      <a:cubicBezTo>
                        <a:pt x="184433" y="864490"/>
                        <a:pt x="184754" y="865213"/>
                        <a:pt x="185638" y="865695"/>
                      </a:cubicBezTo>
                      <a:cubicBezTo>
                        <a:pt x="185718" y="865775"/>
                        <a:pt x="185799" y="865855"/>
                        <a:pt x="185879" y="865855"/>
                      </a:cubicBezTo>
                      <a:moveTo>
                        <a:pt x="518437" y="876218"/>
                      </a:moveTo>
                      <a:cubicBezTo>
                        <a:pt x="518597" y="876218"/>
                        <a:pt x="518758" y="876137"/>
                        <a:pt x="518919" y="876137"/>
                      </a:cubicBezTo>
                      <a:cubicBezTo>
                        <a:pt x="518437" y="875655"/>
                        <a:pt x="517794" y="875093"/>
                        <a:pt x="517312" y="874611"/>
                      </a:cubicBezTo>
                      <a:cubicBezTo>
                        <a:pt x="515706" y="874852"/>
                        <a:pt x="514661" y="874772"/>
                        <a:pt x="514179" y="874290"/>
                      </a:cubicBezTo>
                      <a:cubicBezTo>
                        <a:pt x="513858" y="873968"/>
                        <a:pt x="513778" y="873727"/>
                        <a:pt x="513778" y="873326"/>
                      </a:cubicBezTo>
                      <a:cubicBezTo>
                        <a:pt x="513778" y="872683"/>
                        <a:pt x="514019" y="872201"/>
                        <a:pt x="514099" y="871559"/>
                      </a:cubicBezTo>
                      <a:cubicBezTo>
                        <a:pt x="513537" y="870755"/>
                        <a:pt x="512733" y="869551"/>
                        <a:pt x="510645" y="869390"/>
                      </a:cubicBezTo>
                      <a:cubicBezTo>
                        <a:pt x="510002" y="869390"/>
                        <a:pt x="509601" y="869470"/>
                        <a:pt x="508878" y="869631"/>
                      </a:cubicBezTo>
                      <a:cubicBezTo>
                        <a:pt x="510243" y="870032"/>
                        <a:pt x="512974" y="870996"/>
                        <a:pt x="508396" y="873326"/>
                      </a:cubicBezTo>
                      <a:cubicBezTo>
                        <a:pt x="508074" y="873487"/>
                        <a:pt x="507592" y="873727"/>
                        <a:pt x="507271" y="873888"/>
                      </a:cubicBezTo>
                      <a:cubicBezTo>
                        <a:pt x="511770" y="873888"/>
                        <a:pt x="513215" y="874611"/>
                        <a:pt x="511609" y="876137"/>
                      </a:cubicBezTo>
                      <a:cubicBezTo>
                        <a:pt x="511207" y="876459"/>
                        <a:pt x="510645" y="876860"/>
                        <a:pt x="510243" y="877182"/>
                      </a:cubicBezTo>
                      <a:cubicBezTo>
                        <a:pt x="514340" y="876780"/>
                        <a:pt x="518035" y="876298"/>
                        <a:pt x="518437" y="876218"/>
                      </a:cubicBezTo>
                      <a:moveTo>
                        <a:pt x="150776" y="763437"/>
                      </a:moveTo>
                      <a:cubicBezTo>
                        <a:pt x="151579" y="761991"/>
                        <a:pt x="151338" y="760947"/>
                        <a:pt x="151258" y="760465"/>
                      </a:cubicBezTo>
                      <a:cubicBezTo>
                        <a:pt x="151177" y="760545"/>
                        <a:pt x="151177" y="760626"/>
                        <a:pt x="151097" y="760626"/>
                      </a:cubicBezTo>
                      <a:cubicBezTo>
                        <a:pt x="149249" y="762714"/>
                        <a:pt x="147723" y="765445"/>
                        <a:pt x="147000" y="768096"/>
                      </a:cubicBezTo>
                      <a:cubicBezTo>
                        <a:pt x="148044" y="766570"/>
                        <a:pt x="149089" y="765365"/>
                        <a:pt x="150133" y="764321"/>
                      </a:cubicBezTo>
                      <a:cubicBezTo>
                        <a:pt x="150294" y="764160"/>
                        <a:pt x="150454" y="763999"/>
                        <a:pt x="150776" y="763437"/>
                      </a:cubicBezTo>
                      <a:moveTo>
                        <a:pt x="581976" y="877985"/>
                      </a:moveTo>
                      <a:cubicBezTo>
                        <a:pt x="581976" y="878065"/>
                        <a:pt x="582057" y="878145"/>
                        <a:pt x="582137" y="878226"/>
                      </a:cubicBezTo>
                      <a:cubicBezTo>
                        <a:pt x="581012" y="871237"/>
                        <a:pt x="580691" y="869390"/>
                        <a:pt x="579245" y="869551"/>
                      </a:cubicBezTo>
                      <a:cubicBezTo>
                        <a:pt x="578522" y="869872"/>
                        <a:pt x="577960" y="870434"/>
                        <a:pt x="576996" y="872121"/>
                      </a:cubicBezTo>
                      <a:cubicBezTo>
                        <a:pt x="578924" y="873647"/>
                        <a:pt x="580611" y="875655"/>
                        <a:pt x="581976" y="877985"/>
                      </a:cubicBezTo>
                      <a:moveTo>
                        <a:pt x="173026" y="773317"/>
                      </a:moveTo>
                      <a:lnTo>
                        <a:pt x="173026" y="773317"/>
                      </a:lnTo>
                      <a:cubicBezTo>
                        <a:pt x="172143" y="773719"/>
                        <a:pt x="171259" y="774121"/>
                        <a:pt x="170295" y="774603"/>
                      </a:cubicBezTo>
                      <a:cubicBezTo>
                        <a:pt x="171099" y="774201"/>
                        <a:pt x="172946" y="773398"/>
                        <a:pt x="173026" y="773317"/>
                      </a:cubicBezTo>
                      <a:moveTo>
                        <a:pt x="1857343" y="597319"/>
                      </a:moveTo>
                      <a:lnTo>
                        <a:pt x="1859191" y="594025"/>
                      </a:lnTo>
                      <a:lnTo>
                        <a:pt x="1858789" y="594266"/>
                      </a:lnTo>
                      <a:cubicBezTo>
                        <a:pt x="1854693" y="597078"/>
                        <a:pt x="1852604" y="600853"/>
                        <a:pt x="1851881" y="606637"/>
                      </a:cubicBezTo>
                      <a:cubicBezTo>
                        <a:pt x="1852604" y="606155"/>
                        <a:pt x="1853970" y="605030"/>
                        <a:pt x="1855335" y="602701"/>
                      </a:cubicBezTo>
                      <a:cubicBezTo>
                        <a:pt x="1856621" y="600452"/>
                        <a:pt x="1857102" y="598283"/>
                        <a:pt x="1857183" y="598042"/>
                      </a:cubicBezTo>
                      <a:cubicBezTo>
                        <a:pt x="1857263" y="597801"/>
                        <a:pt x="1857263" y="597480"/>
                        <a:pt x="1857343" y="597319"/>
                      </a:cubicBezTo>
                      <a:moveTo>
                        <a:pt x="513135" y="867783"/>
                      </a:moveTo>
                      <a:cubicBezTo>
                        <a:pt x="513296" y="867783"/>
                        <a:pt x="513537" y="867783"/>
                        <a:pt x="513778" y="867863"/>
                      </a:cubicBezTo>
                      <a:cubicBezTo>
                        <a:pt x="513697" y="865293"/>
                        <a:pt x="513697" y="863365"/>
                        <a:pt x="512171" y="863285"/>
                      </a:cubicBezTo>
                      <a:cubicBezTo>
                        <a:pt x="511850" y="863285"/>
                        <a:pt x="511529" y="863365"/>
                        <a:pt x="511127" y="863606"/>
                      </a:cubicBezTo>
                      <a:cubicBezTo>
                        <a:pt x="514099" y="869069"/>
                        <a:pt x="503415" y="867462"/>
                        <a:pt x="503335" y="867462"/>
                      </a:cubicBezTo>
                      <a:lnTo>
                        <a:pt x="504379" y="869069"/>
                      </a:lnTo>
                      <a:cubicBezTo>
                        <a:pt x="506548" y="868185"/>
                        <a:pt x="509199" y="867542"/>
                        <a:pt x="513135" y="867783"/>
                      </a:cubicBezTo>
                      <a:moveTo>
                        <a:pt x="1512335" y="744319"/>
                      </a:moveTo>
                      <a:cubicBezTo>
                        <a:pt x="1512255" y="743998"/>
                        <a:pt x="1511050" y="743194"/>
                        <a:pt x="1508800" y="742070"/>
                      </a:cubicBezTo>
                      <a:cubicBezTo>
                        <a:pt x="1508800" y="742632"/>
                        <a:pt x="1508720" y="743435"/>
                        <a:pt x="1508720" y="743998"/>
                      </a:cubicBezTo>
                      <a:cubicBezTo>
                        <a:pt x="1509684" y="744239"/>
                        <a:pt x="1512415" y="744881"/>
                        <a:pt x="1512335" y="744319"/>
                      </a:cubicBezTo>
                      <a:moveTo>
                        <a:pt x="606637" y="880475"/>
                      </a:moveTo>
                      <a:cubicBezTo>
                        <a:pt x="606798" y="880234"/>
                        <a:pt x="606958" y="879752"/>
                        <a:pt x="607039" y="879511"/>
                      </a:cubicBezTo>
                      <a:cubicBezTo>
                        <a:pt x="600211" y="879672"/>
                        <a:pt x="591937" y="877744"/>
                        <a:pt x="590812" y="867462"/>
                      </a:cubicBezTo>
                      <a:cubicBezTo>
                        <a:pt x="590571" y="867944"/>
                        <a:pt x="590250" y="868667"/>
                        <a:pt x="590009" y="869229"/>
                      </a:cubicBezTo>
                      <a:cubicBezTo>
                        <a:pt x="588402" y="873808"/>
                        <a:pt x="588804" y="875816"/>
                        <a:pt x="591776" y="878065"/>
                      </a:cubicBezTo>
                      <a:cubicBezTo>
                        <a:pt x="586394" y="877744"/>
                        <a:pt x="583101" y="878065"/>
                        <a:pt x="582057" y="878226"/>
                      </a:cubicBezTo>
                      <a:cubicBezTo>
                        <a:pt x="582298" y="878628"/>
                        <a:pt x="582538" y="879110"/>
                        <a:pt x="582699" y="879511"/>
                      </a:cubicBezTo>
                      <a:cubicBezTo>
                        <a:pt x="581173" y="879752"/>
                        <a:pt x="579406" y="879672"/>
                        <a:pt x="577478" y="879351"/>
                      </a:cubicBezTo>
                      <a:cubicBezTo>
                        <a:pt x="577719" y="879752"/>
                        <a:pt x="578040" y="880234"/>
                        <a:pt x="578281" y="880555"/>
                      </a:cubicBezTo>
                      <a:cubicBezTo>
                        <a:pt x="577638" y="880475"/>
                        <a:pt x="575711" y="880154"/>
                        <a:pt x="574265" y="880395"/>
                      </a:cubicBezTo>
                      <a:cubicBezTo>
                        <a:pt x="574184" y="880395"/>
                        <a:pt x="574104" y="880475"/>
                        <a:pt x="574024" y="880475"/>
                      </a:cubicBezTo>
                      <a:cubicBezTo>
                        <a:pt x="572257" y="879672"/>
                        <a:pt x="571453" y="877744"/>
                        <a:pt x="569847" y="876780"/>
                      </a:cubicBezTo>
                      <a:cubicBezTo>
                        <a:pt x="573542" y="881921"/>
                        <a:pt x="573542" y="884893"/>
                        <a:pt x="569766" y="888910"/>
                      </a:cubicBezTo>
                      <a:cubicBezTo>
                        <a:pt x="573381" y="891560"/>
                        <a:pt x="577397" y="891078"/>
                        <a:pt x="578522" y="890918"/>
                      </a:cubicBezTo>
                      <a:cubicBezTo>
                        <a:pt x="578442" y="886901"/>
                        <a:pt x="578120" y="876137"/>
                        <a:pt x="599568" y="882644"/>
                      </a:cubicBezTo>
                      <a:cubicBezTo>
                        <a:pt x="604468" y="884090"/>
                        <a:pt x="606396" y="880877"/>
                        <a:pt x="606637" y="880475"/>
                      </a:cubicBezTo>
                      <a:moveTo>
                        <a:pt x="237048" y="803601"/>
                      </a:moveTo>
                      <a:cubicBezTo>
                        <a:pt x="237128" y="803601"/>
                        <a:pt x="237289" y="803601"/>
                        <a:pt x="237449" y="803601"/>
                      </a:cubicBezTo>
                      <a:cubicBezTo>
                        <a:pt x="236405" y="802396"/>
                        <a:pt x="235441" y="801593"/>
                        <a:pt x="233674" y="800950"/>
                      </a:cubicBezTo>
                      <a:cubicBezTo>
                        <a:pt x="232469" y="800549"/>
                        <a:pt x="231746" y="800468"/>
                        <a:pt x="230461" y="800468"/>
                      </a:cubicBezTo>
                      <a:cubicBezTo>
                        <a:pt x="229176" y="802959"/>
                        <a:pt x="227890" y="804244"/>
                        <a:pt x="225561" y="805288"/>
                      </a:cubicBezTo>
                      <a:cubicBezTo>
                        <a:pt x="225400" y="805690"/>
                        <a:pt x="225240" y="806011"/>
                        <a:pt x="225079" y="806413"/>
                      </a:cubicBezTo>
                      <a:cubicBezTo>
                        <a:pt x="226686" y="805690"/>
                        <a:pt x="231505" y="803922"/>
                        <a:pt x="237048" y="803601"/>
                      </a:cubicBezTo>
                      <a:moveTo>
                        <a:pt x="566071" y="873005"/>
                      </a:moveTo>
                      <a:cubicBezTo>
                        <a:pt x="566152" y="873085"/>
                        <a:pt x="566312" y="873165"/>
                        <a:pt x="566393" y="873246"/>
                      </a:cubicBezTo>
                      <a:cubicBezTo>
                        <a:pt x="563902" y="867783"/>
                        <a:pt x="562537" y="863847"/>
                        <a:pt x="561493" y="859108"/>
                      </a:cubicBezTo>
                      <a:cubicBezTo>
                        <a:pt x="561412" y="859269"/>
                        <a:pt x="561412" y="859429"/>
                        <a:pt x="561332" y="859590"/>
                      </a:cubicBezTo>
                      <a:cubicBezTo>
                        <a:pt x="560609" y="862160"/>
                        <a:pt x="560207" y="864570"/>
                        <a:pt x="559966" y="868024"/>
                      </a:cubicBezTo>
                      <a:cubicBezTo>
                        <a:pt x="559645" y="868024"/>
                        <a:pt x="559163" y="868024"/>
                        <a:pt x="558761" y="868024"/>
                      </a:cubicBezTo>
                      <a:cubicBezTo>
                        <a:pt x="558038" y="871559"/>
                        <a:pt x="558842" y="874531"/>
                        <a:pt x="561252" y="877101"/>
                      </a:cubicBezTo>
                      <a:cubicBezTo>
                        <a:pt x="561171" y="874531"/>
                        <a:pt x="561091" y="871960"/>
                        <a:pt x="561091" y="869310"/>
                      </a:cubicBezTo>
                      <a:cubicBezTo>
                        <a:pt x="561814" y="869872"/>
                        <a:pt x="563983" y="871237"/>
                        <a:pt x="566071" y="873005"/>
                      </a:cubicBezTo>
                      <a:moveTo>
                        <a:pt x="483012" y="850031"/>
                      </a:moveTo>
                      <a:cubicBezTo>
                        <a:pt x="483333" y="849790"/>
                        <a:pt x="483655" y="849549"/>
                        <a:pt x="483976" y="849308"/>
                      </a:cubicBezTo>
                      <a:cubicBezTo>
                        <a:pt x="483655" y="849308"/>
                        <a:pt x="483173" y="849388"/>
                        <a:pt x="482771" y="849388"/>
                      </a:cubicBezTo>
                      <a:cubicBezTo>
                        <a:pt x="475301" y="850031"/>
                        <a:pt x="468473" y="851718"/>
                        <a:pt x="466465" y="852682"/>
                      </a:cubicBezTo>
                      <a:cubicBezTo>
                        <a:pt x="466304" y="853645"/>
                        <a:pt x="465661" y="853886"/>
                        <a:pt x="463814" y="853886"/>
                      </a:cubicBezTo>
                      <a:cubicBezTo>
                        <a:pt x="470642" y="855172"/>
                        <a:pt x="477630" y="853806"/>
                        <a:pt x="483012" y="850031"/>
                      </a:cubicBezTo>
                      <a:moveTo>
                        <a:pt x="223874" y="786732"/>
                      </a:moveTo>
                      <a:cubicBezTo>
                        <a:pt x="223954" y="786732"/>
                        <a:pt x="224035" y="786652"/>
                        <a:pt x="224115" y="786652"/>
                      </a:cubicBezTo>
                      <a:cubicBezTo>
                        <a:pt x="224517" y="785688"/>
                        <a:pt x="224517" y="785045"/>
                        <a:pt x="223794" y="784804"/>
                      </a:cubicBezTo>
                      <a:cubicBezTo>
                        <a:pt x="222830" y="784644"/>
                        <a:pt x="221625" y="784965"/>
                        <a:pt x="219215" y="785849"/>
                      </a:cubicBezTo>
                      <a:cubicBezTo>
                        <a:pt x="220661" y="787616"/>
                        <a:pt x="222990" y="787054"/>
                        <a:pt x="223874" y="786732"/>
                      </a:cubicBezTo>
                      <a:moveTo>
                        <a:pt x="113102" y="624791"/>
                      </a:moveTo>
                      <a:cubicBezTo>
                        <a:pt x="113102" y="624791"/>
                        <a:pt x="113102" y="624791"/>
                        <a:pt x="113102" y="624791"/>
                      </a:cubicBezTo>
                      <a:cubicBezTo>
                        <a:pt x="112941" y="624630"/>
                        <a:pt x="113343" y="623666"/>
                        <a:pt x="114387" y="621899"/>
                      </a:cubicBezTo>
                      <a:cubicBezTo>
                        <a:pt x="114387" y="621980"/>
                        <a:pt x="114307" y="622060"/>
                        <a:pt x="114307" y="622060"/>
                      </a:cubicBezTo>
                      <a:cubicBezTo>
                        <a:pt x="113182" y="623988"/>
                        <a:pt x="112218" y="625434"/>
                        <a:pt x="111335" y="626799"/>
                      </a:cubicBezTo>
                      <a:cubicBezTo>
                        <a:pt x="111817" y="626157"/>
                        <a:pt x="112459" y="625434"/>
                        <a:pt x="113102" y="624791"/>
                      </a:cubicBezTo>
                      <a:moveTo>
                        <a:pt x="227087" y="782154"/>
                      </a:moveTo>
                      <a:lnTo>
                        <a:pt x="227730" y="781511"/>
                      </a:lnTo>
                      <a:lnTo>
                        <a:pt x="227569" y="781511"/>
                      </a:lnTo>
                      <a:cubicBezTo>
                        <a:pt x="225963" y="781431"/>
                        <a:pt x="224677" y="782234"/>
                        <a:pt x="223633" y="784001"/>
                      </a:cubicBezTo>
                      <a:cubicBezTo>
                        <a:pt x="224115" y="784081"/>
                        <a:pt x="224677" y="784162"/>
                        <a:pt x="225561" y="783760"/>
                      </a:cubicBezTo>
                      <a:cubicBezTo>
                        <a:pt x="226043" y="783519"/>
                        <a:pt x="226043" y="783519"/>
                        <a:pt x="227087" y="782154"/>
                      </a:cubicBezTo>
                      <a:moveTo>
                        <a:pt x="158005" y="737411"/>
                      </a:moveTo>
                      <a:cubicBezTo>
                        <a:pt x="158326" y="736849"/>
                        <a:pt x="158648" y="736206"/>
                        <a:pt x="158969" y="735644"/>
                      </a:cubicBezTo>
                      <a:lnTo>
                        <a:pt x="158808" y="735644"/>
                      </a:lnTo>
                      <a:cubicBezTo>
                        <a:pt x="157041" y="736126"/>
                        <a:pt x="156640" y="736688"/>
                        <a:pt x="157603" y="737170"/>
                      </a:cubicBezTo>
                      <a:cubicBezTo>
                        <a:pt x="157764" y="737250"/>
                        <a:pt x="157925" y="737330"/>
                        <a:pt x="158005" y="737411"/>
                      </a:cubicBezTo>
                      <a:moveTo>
                        <a:pt x="2012296" y="313038"/>
                      </a:moveTo>
                      <a:lnTo>
                        <a:pt x="2012055" y="312717"/>
                      </a:lnTo>
                      <a:cubicBezTo>
                        <a:pt x="2012376" y="313199"/>
                        <a:pt x="2012617" y="313681"/>
                        <a:pt x="2012939" y="314163"/>
                      </a:cubicBezTo>
                      <a:cubicBezTo>
                        <a:pt x="2012939" y="314163"/>
                        <a:pt x="2013019" y="314243"/>
                        <a:pt x="2013019" y="314243"/>
                      </a:cubicBezTo>
                      <a:cubicBezTo>
                        <a:pt x="2012939" y="314243"/>
                        <a:pt x="2012296" y="313038"/>
                        <a:pt x="2012296" y="313038"/>
                      </a:cubicBezTo>
                      <a:moveTo>
                        <a:pt x="2025309" y="396740"/>
                      </a:moveTo>
                      <a:cubicBezTo>
                        <a:pt x="2025149" y="396418"/>
                        <a:pt x="2024988" y="395936"/>
                        <a:pt x="2024908" y="395535"/>
                      </a:cubicBezTo>
                      <a:cubicBezTo>
                        <a:pt x="2025550" y="397624"/>
                        <a:pt x="2025390" y="397784"/>
                        <a:pt x="2024988" y="398186"/>
                      </a:cubicBezTo>
                      <a:cubicBezTo>
                        <a:pt x="2024345" y="398186"/>
                        <a:pt x="2023703" y="397704"/>
                        <a:pt x="2022257" y="396177"/>
                      </a:cubicBezTo>
                      <a:cubicBezTo>
                        <a:pt x="2022659" y="396740"/>
                        <a:pt x="2023221" y="397463"/>
                        <a:pt x="2023622" y="398025"/>
                      </a:cubicBezTo>
                      <a:cubicBezTo>
                        <a:pt x="2027960" y="405255"/>
                        <a:pt x="2027639" y="409833"/>
                        <a:pt x="2022659" y="411761"/>
                      </a:cubicBezTo>
                      <a:cubicBezTo>
                        <a:pt x="2023622" y="413046"/>
                        <a:pt x="2024426" y="413850"/>
                        <a:pt x="2025550" y="414573"/>
                      </a:cubicBezTo>
                      <a:cubicBezTo>
                        <a:pt x="2025309" y="414974"/>
                        <a:pt x="2024988" y="415537"/>
                        <a:pt x="2022900" y="414332"/>
                      </a:cubicBezTo>
                      <a:cubicBezTo>
                        <a:pt x="2030370" y="422043"/>
                        <a:pt x="2034306" y="428068"/>
                        <a:pt x="2035993" y="430960"/>
                      </a:cubicBezTo>
                      <a:cubicBezTo>
                        <a:pt x="2036395" y="431683"/>
                        <a:pt x="2036796" y="432887"/>
                        <a:pt x="2037439" y="433450"/>
                      </a:cubicBezTo>
                      <a:cubicBezTo>
                        <a:pt x="2037519" y="433530"/>
                        <a:pt x="2051094" y="442045"/>
                        <a:pt x="2051817" y="442045"/>
                      </a:cubicBezTo>
                      <a:cubicBezTo>
                        <a:pt x="2051817" y="436181"/>
                        <a:pt x="2048685" y="436422"/>
                        <a:pt x="2048604" y="436422"/>
                      </a:cubicBezTo>
                      <a:cubicBezTo>
                        <a:pt x="2048604" y="436422"/>
                        <a:pt x="2044106" y="435056"/>
                        <a:pt x="2041937" y="427425"/>
                      </a:cubicBezTo>
                      <a:cubicBezTo>
                        <a:pt x="2042098" y="430719"/>
                        <a:pt x="2041937" y="434896"/>
                        <a:pt x="2039286" y="433048"/>
                      </a:cubicBezTo>
                      <a:cubicBezTo>
                        <a:pt x="2037599" y="431843"/>
                        <a:pt x="2031093" y="421883"/>
                        <a:pt x="2029486" y="417625"/>
                      </a:cubicBezTo>
                      <a:cubicBezTo>
                        <a:pt x="2027960" y="413689"/>
                        <a:pt x="2027478" y="409191"/>
                        <a:pt x="2028281" y="405737"/>
                      </a:cubicBezTo>
                      <a:cubicBezTo>
                        <a:pt x="2028362" y="405255"/>
                        <a:pt x="2028924" y="404853"/>
                        <a:pt x="2028683" y="404210"/>
                      </a:cubicBezTo>
                      <a:cubicBezTo>
                        <a:pt x="2027799" y="401801"/>
                        <a:pt x="2026273" y="399391"/>
                        <a:pt x="2025309" y="396740"/>
                      </a:cubicBezTo>
                      <a:moveTo>
                        <a:pt x="151338" y="731386"/>
                      </a:moveTo>
                      <a:cubicBezTo>
                        <a:pt x="152543" y="729137"/>
                        <a:pt x="153346" y="727450"/>
                        <a:pt x="153748" y="726567"/>
                      </a:cubicBezTo>
                      <a:cubicBezTo>
                        <a:pt x="153667" y="726727"/>
                        <a:pt x="153507" y="726968"/>
                        <a:pt x="153426" y="727209"/>
                      </a:cubicBezTo>
                      <a:cubicBezTo>
                        <a:pt x="152141" y="729378"/>
                        <a:pt x="151418" y="730101"/>
                        <a:pt x="151097" y="730342"/>
                      </a:cubicBezTo>
                      <a:cubicBezTo>
                        <a:pt x="150776" y="730583"/>
                        <a:pt x="150535" y="731065"/>
                        <a:pt x="150374" y="731386"/>
                      </a:cubicBezTo>
                      <a:cubicBezTo>
                        <a:pt x="148848" y="731547"/>
                        <a:pt x="147884" y="733635"/>
                        <a:pt x="146920" y="738857"/>
                      </a:cubicBezTo>
                      <a:cubicBezTo>
                        <a:pt x="147482" y="738054"/>
                        <a:pt x="149249" y="735322"/>
                        <a:pt x="151338" y="731386"/>
                      </a:cubicBezTo>
                      <a:moveTo>
                        <a:pt x="157363" y="730021"/>
                      </a:moveTo>
                      <a:lnTo>
                        <a:pt x="157363" y="730021"/>
                      </a:lnTo>
                      <a:cubicBezTo>
                        <a:pt x="157041" y="730663"/>
                        <a:pt x="156640" y="731226"/>
                        <a:pt x="156318" y="731868"/>
                      </a:cubicBezTo>
                      <a:cubicBezTo>
                        <a:pt x="156720" y="731226"/>
                        <a:pt x="157041" y="730663"/>
                        <a:pt x="157363" y="730021"/>
                      </a:cubicBezTo>
                      <a:moveTo>
                        <a:pt x="151017" y="724639"/>
                      </a:moveTo>
                      <a:cubicBezTo>
                        <a:pt x="151338" y="724478"/>
                        <a:pt x="151338" y="724478"/>
                        <a:pt x="154069" y="718373"/>
                      </a:cubicBezTo>
                      <a:cubicBezTo>
                        <a:pt x="153989" y="718454"/>
                        <a:pt x="153908" y="718614"/>
                        <a:pt x="153828" y="718775"/>
                      </a:cubicBezTo>
                      <a:cubicBezTo>
                        <a:pt x="152302" y="720944"/>
                        <a:pt x="150776" y="722711"/>
                        <a:pt x="149089" y="724157"/>
                      </a:cubicBezTo>
                      <a:cubicBezTo>
                        <a:pt x="149490" y="720060"/>
                        <a:pt x="149571" y="718454"/>
                        <a:pt x="149330" y="718132"/>
                      </a:cubicBezTo>
                      <a:cubicBezTo>
                        <a:pt x="149330" y="718132"/>
                        <a:pt x="149249" y="718132"/>
                        <a:pt x="149249" y="718132"/>
                      </a:cubicBezTo>
                      <a:cubicBezTo>
                        <a:pt x="148607" y="718936"/>
                        <a:pt x="147643" y="723032"/>
                        <a:pt x="146197" y="729218"/>
                      </a:cubicBezTo>
                      <a:cubicBezTo>
                        <a:pt x="146759" y="728254"/>
                        <a:pt x="148366" y="725844"/>
                        <a:pt x="151017" y="724639"/>
                      </a:cubicBezTo>
                      <a:moveTo>
                        <a:pt x="463171" y="831073"/>
                      </a:moveTo>
                      <a:cubicBezTo>
                        <a:pt x="463974" y="828744"/>
                        <a:pt x="461404" y="827137"/>
                        <a:pt x="455942" y="826414"/>
                      </a:cubicBezTo>
                      <a:cubicBezTo>
                        <a:pt x="455701" y="826414"/>
                        <a:pt x="455379" y="826334"/>
                        <a:pt x="455138" y="826334"/>
                      </a:cubicBezTo>
                      <a:cubicBezTo>
                        <a:pt x="454656" y="829708"/>
                        <a:pt x="456424" y="831555"/>
                        <a:pt x="461163" y="832841"/>
                      </a:cubicBezTo>
                      <a:cubicBezTo>
                        <a:pt x="460922" y="833001"/>
                        <a:pt x="460601" y="833242"/>
                        <a:pt x="460360" y="833403"/>
                      </a:cubicBezTo>
                      <a:lnTo>
                        <a:pt x="461002" y="833804"/>
                      </a:lnTo>
                      <a:cubicBezTo>
                        <a:pt x="461645" y="833242"/>
                        <a:pt x="462769" y="832278"/>
                        <a:pt x="463171" y="831073"/>
                      </a:cubicBezTo>
                      <a:moveTo>
                        <a:pt x="231184" y="768498"/>
                      </a:moveTo>
                      <a:cubicBezTo>
                        <a:pt x="231264" y="768418"/>
                        <a:pt x="231425" y="768337"/>
                        <a:pt x="231505" y="768337"/>
                      </a:cubicBezTo>
                      <a:cubicBezTo>
                        <a:pt x="231425" y="768337"/>
                        <a:pt x="231264" y="768337"/>
                        <a:pt x="231104" y="768337"/>
                      </a:cubicBezTo>
                      <a:cubicBezTo>
                        <a:pt x="228694" y="768337"/>
                        <a:pt x="227087" y="768337"/>
                        <a:pt x="225159" y="768498"/>
                      </a:cubicBezTo>
                      <a:cubicBezTo>
                        <a:pt x="224838" y="768900"/>
                        <a:pt x="224356" y="769462"/>
                        <a:pt x="224035" y="769863"/>
                      </a:cubicBezTo>
                      <a:cubicBezTo>
                        <a:pt x="224677" y="769863"/>
                        <a:pt x="226284" y="770024"/>
                        <a:pt x="227971" y="771309"/>
                      </a:cubicBezTo>
                      <a:cubicBezTo>
                        <a:pt x="228212" y="770586"/>
                        <a:pt x="228533" y="769703"/>
                        <a:pt x="228774" y="768980"/>
                      </a:cubicBezTo>
                      <a:cubicBezTo>
                        <a:pt x="229176" y="768900"/>
                        <a:pt x="230140" y="768980"/>
                        <a:pt x="231184" y="768498"/>
                      </a:cubicBezTo>
                      <a:moveTo>
                        <a:pt x="116235" y="650898"/>
                      </a:moveTo>
                      <a:cubicBezTo>
                        <a:pt x="116797" y="643507"/>
                        <a:pt x="118082" y="640134"/>
                        <a:pt x="118966" y="637885"/>
                      </a:cubicBezTo>
                      <a:cubicBezTo>
                        <a:pt x="118805" y="638206"/>
                        <a:pt x="118564" y="638688"/>
                        <a:pt x="118403" y="639009"/>
                      </a:cubicBezTo>
                      <a:cubicBezTo>
                        <a:pt x="117279" y="641258"/>
                        <a:pt x="116958" y="641901"/>
                        <a:pt x="116476" y="642303"/>
                      </a:cubicBezTo>
                      <a:cubicBezTo>
                        <a:pt x="116395" y="642303"/>
                        <a:pt x="116395" y="642303"/>
                        <a:pt x="116315" y="642303"/>
                      </a:cubicBezTo>
                      <a:cubicBezTo>
                        <a:pt x="116235" y="641821"/>
                        <a:pt x="116235" y="641821"/>
                        <a:pt x="116315" y="641258"/>
                      </a:cubicBezTo>
                      <a:cubicBezTo>
                        <a:pt x="115190" y="645194"/>
                        <a:pt x="113825" y="649050"/>
                        <a:pt x="111736" y="654191"/>
                      </a:cubicBezTo>
                      <a:cubicBezTo>
                        <a:pt x="113503" y="650657"/>
                        <a:pt x="115351" y="647363"/>
                        <a:pt x="115994" y="649612"/>
                      </a:cubicBezTo>
                      <a:cubicBezTo>
                        <a:pt x="116154" y="650014"/>
                        <a:pt x="116235" y="650496"/>
                        <a:pt x="116235" y="650898"/>
                      </a:cubicBezTo>
                      <a:moveTo>
                        <a:pt x="439555" y="826093"/>
                      </a:moveTo>
                      <a:cubicBezTo>
                        <a:pt x="440037" y="825209"/>
                        <a:pt x="438591" y="823282"/>
                        <a:pt x="437306" y="821755"/>
                      </a:cubicBezTo>
                      <a:cubicBezTo>
                        <a:pt x="437787" y="820631"/>
                        <a:pt x="437787" y="819667"/>
                        <a:pt x="437225" y="818301"/>
                      </a:cubicBezTo>
                      <a:cubicBezTo>
                        <a:pt x="437145" y="818462"/>
                        <a:pt x="437065" y="818623"/>
                        <a:pt x="437065" y="818783"/>
                      </a:cubicBezTo>
                      <a:cubicBezTo>
                        <a:pt x="435217" y="823282"/>
                        <a:pt x="432646" y="825370"/>
                        <a:pt x="432566" y="825370"/>
                      </a:cubicBezTo>
                      <a:cubicBezTo>
                        <a:pt x="436663" y="826736"/>
                        <a:pt x="439073" y="826977"/>
                        <a:pt x="439555" y="826093"/>
                      </a:cubicBezTo>
                      <a:moveTo>
                        <a:pt x="533860" y="838544"/>
                      </a:moveTo>
                      <a:cubicBezTo>
                        <a:pt x="533940" y="838624"/>
                        <a:pt x="534101" y="838705"/>
                        <a:pt x="534181" y="838785"/>
                      </a:cubicBezTo>
                      <a:cubicBezTo>
                        <a:pt x="530727" y="835170"/>
                        <a:pt x="530165" y="831395"/>
                        <a:pt x="532414" y="826977"/>
                      </a:cubicBezTo>
                      <a:cubicBezTo>
                        <a:pt x="531932" y="827458"/>
                        <a:pt x="531289" y="828021"/>
                        <a:pt x="530807" y="828503"/>
                      </a:cubicBezTo>
                      <a:cubicBezTo>
                        <a:pt x="529040" y="833082"/>
                        <a:pt x="531450" y="836455"/>
                        <a:pt x="533860" y="838544"/>
                      </a:cubicBezTo>
                      <a:moveTo>
                        <a:pt x="154471" y="717088"/>
                      </a:moveTo>
                      <a:cubicBezTo>
                        <a:pt x="154471" y="717168"/>
                        <a:pt x="154551" y="717248"/>
                        <a:pt x="154551" y="717329"/>
                      </a:cubicBezTo>
                      <a:cubicBezTo>
                        <a:pt x="156800" y="712349"/>
                        <a:pt x="158085" y="709296"/>
                        <a:pt x="158085" y="708814"/>
                      </a:cubicBezTo>
                      <a:cubicBezTo>
                        <a:pt x="158085" y="708814"/>
                        <a:pt x="158085" y="708814"/>
                        <a:pt x="158005" y="708814"/>
                      </a:cubicBezTo>
                      <a:cubicBezTo>
                        <a:pt x="157603" y="708975"/>
                        <a:pt x="155274" y="712831"/>
                        <a:pt x="154872" y="713794"/>
                      </a:cubicBezTo>
                      <a:cubicBezTo>
                        <a:pt x="154712" y="714357"/>
                        <a:pt x="154069" y="715803"/>
                        <a:pt x="154471" y="717088"/>
                      </a:cubicBezTo>
                      <a:moveTo>
                        <a:pt x="224597" y="740383"/>
                      </a:moveTo>
                      <a:cubicBezTo>
                        <a:pt x="224758" y="740222"/>
                        <a:pt x="224999" y="740062"/>
                        <a:pt x="225159" y="739981"/>
                      </a:cubicBezTo>
                      <a:cubicBezTo>
                        <a:pt x="223472" y="738214"/>
                        <a:pt x="223713" y="736768"/>
                        <a:pt x="226204" y="734117"/>
                      </a:cubicBezTo>
                      <a:cubicBezTo>
                        <a:pt x="226043" y="734117"/>
                        <a:pt x="225882" y="734198"/>
                        <a:pt x="225802" y="734198"/>
                      </a:cubicBezTo>
                      <a:cubicBezTo>
                        <a:pt x="224838" y="734439"/>
                        <a:pt x="223874" y="734680"/>
                        <a:pt x="222910" y="735001"/>
                      </a:cubicBezTo>
                      <a:cubicBezTo>
                        <a:pt x="223071" y="734599"/>
                        <a:pt x="223231" y="734037"/>
                        <a:pt x="223392" y="733635"/>
                      </a:cubicBezTo>
                      <a:cubicBezTo>
                        <a:pt x="220581" y="738777"/>
                        <a:pt x="216645" y="745845"/>
                        <a:pt x="215199" y="741668"/>
                      </a:cubicBezTo>
                      <a:cubicBezTo>
                        <a:pt x="214958" y="741829"/>
                        <a:pt x="214717" y="741990"/>
                        <a:pt x="214476" y="742150"/>
                      </a:cubicBezTo>
                      <a:cubicBezTo>
                        <a:pt x="210620" y="742713"/>
                        <a:pt x="208853" y="744801"/>
                        <a:pt x="207327" y="747693"/>
                      </a:cubicBezTo>
                      <a:cubicBezTo>
                        <a:pt x="213913" y="747130"/>
                        <a:pt x="220420" y="743435"/>
                        <a:pt x="224597" y="740383"/>
                      </a:cubicBezTo>
                      <a:moveTo>
                        <a:pt x="176240" y="706163"/>
                      </a:moveTo>
                      <a:cubicBezTo>
                        <a:pt x="176400" y="706163"/>
                        <a:pt x="176561" y="706083"/>
                        <a:pt x="176722" y="706003"/>
                      </a:cubicBezTo>
                      <a:cubicBezTo>
                        <a:pt x="177766" y="703593"/>
                        <a:pt x="178569" y="701344"/>
                        <a:pt x="177284" y="700460"/>
                      </a:cubicBezTo>
                      <a:cubicBezTo>
                        <a:pt x="175597" y="699657"/>
                        <a:pt x="172143" y="701504"/>
                        <a:pt x="172143" y="701585"/>
                      </a:cubicBezTo>
                      <a:cubicBezTo>
                        <a:pt x="172143" y="701585"/>
                        <a:pt x="170617" y="704316"/>
                        <a:pt x="170938" y="705681"/>
                      </a:cubicBezTo>
                      <a:cubicBezTo>
                        <a:pt x="171259" y="706886"/>
                        <a:pt x="172866" y="707047"/>
                        <a:pt x="176240" y="706163"/>
                      </a:cubicBezTo>
                      <a:moveTo>
                        <a:pt x="205720" y="717409"/>
                      </a:moveTo>
                      <a:cubicBezTo>
                        <a:pt x="205961" y="717007"/>
                        <a:pt x="206363" y="716526"/>
                        <a:pt x="206684" y="716204"/>
                      </a:cubicBezTo>
                      <a:cubicBezTo>
                        <a:pt x="205720" y="715481"/>
                        <a:pt x="204997" y="715883"/>
                        <a:pt x="204194" y="716526"/>
                      </a:cubicBezTo>
                      <a:cubicBezTo>
                        <a:pt x="204836" y="714919"/>
                        <a:pt x="205399" y="713794"/>
                        <a:pt x="206363" y="712429"/>
                      </a:cubicBezTo>
                      <a:cubicBezTo>
                        <a:pt x="205800" y="712831"/>
                        <a:pt x="204997" y="713312"/>
                        <a:pt x="204435" y="713714"/>
                      </a:cubicBezTo>
                      <a:cubicBezTo>
                        <a:pt x="204997" y="712509"/>
                        <a:pt x="205238" y="711786"/>
                        <a:pt x="205399" y="710662"/>
                      </a:cubicBezTo>
                      <a:cubicBezTo>
                        <a:pt x="205238" y="710822"/>
                        <a:pt x="204997" y="710983"/>
                        <a:pt x="204756" y="711063"/>
                      </a:cubicBezTo>
                      <a:cubicBezTo>
                        <a:pt x="204274" y="711385"/>
                        <a:pt x="202989" y="712349"/>
                        <a:pt x="201623" y="713312"/>
                      </a:cubicBezTo>
                      <a:cubicBezTo>
                        <a:pt x="201463" y="713473"/>
                        <a:pt x="201222" y="713634"/>
                        <a:pt x="200981" y="713794"/>
                      </a:cubicBezTo>
                      <a:cubicBezTo>
                        <a:pt x="200820" y="713955"/>
                        <a:pt x="200579" y="714116"/>
                        <a:pt x="200338" y="714276"/>
                      </a:cubicBezTo>
                      <a:cubicBezTo>
                        <a:pt x="198812" y="715481"/>
                        <a:pt x="197526" y="717007"/>
                        <a:pt x="196000" y="718213"/>
                      </a:cubicBezTo>
                      <a:cubicBezTo>
                        <a:pt x="195277" y="718775"/>
                        <a:pt x="194394" y="719016"/>
                        <a:pt x="193751" y="719658"/>
                      </a:cubicBezTo>
                      <a:cubicBezTo>
                        <a:pt x="192386" y="720944"/>
                        <a:pt x="191984" y="722711"/>
                        <a:pt x="191743" y="723434"/>
                      </a:cubicBezTo>
                      <a:cubicBezTo>
                        <a:pt x="190458" y="728495"/>
                        <a:pt x="189413" y="731868"/>
                        <a:pt x="188530" y="733073"/>
                      </a:cubicBezTo>
                      <a:cubicBezTo>
                        <a:pt x="187405" y="734519"/>
                        <a:pt x="187405" y="730744"/>
                        <a:pt x="186682" y="729699"/>
                      </a:cubicBezTo>
                      <a:cubicBezTo>
                        <a:pt x="185397" y="731788"/>
                        <a:pt x="184674" y="732913"/>
                        <a:pt x="183469" y="734599"/>
                      </a:cubicBezTo>
                      <a:cubicBezTo>
                        <a:pt x="187485" y="739580"/>
                        <a:pt x="199133" y="726004"/>
                        <a:pt x="205720" y="717409"/>
                      </a:cubicBezTo>
                      <a:moveTo>
                        <a:pt x="1865296" y="506628"/>
                      </a:moveTo>
                      <a:lnTo>
                        <a:pt x="1863930" y="504299"/>
                      </a:lnTo>
                      <a:cubicBezTo>
                        <a:pt x="1862163" y="503656"/>
                        <a:pt x="1861360" y="503415"/>
                        <a:pt x="1861280" y="503576"/>
                      </a:cubicBezTo>
                      <a:cubicBezTo>
                        <a:pt x="1861199" y="503897"/>
                        <a:pt x="1862806" y="505022"/>
                        <a:pt x="1865296" y="506628"/>
                      </a:cubicBezTo>
                      <a:moveTo>
                        <a:pt x="1905139" y="474015"/>
                      </a:moveTo>
                      <a:lnTo>
                        <a:pt x="1905540" y="473774"/>
                      </a:lnTo>
                      <a:cubicBezTo>
                        <a:pt x="1904335" y="472891"/>
                        <a:pt x="1903532" y="472248"/>
                        <a:pt x="1902407" y="471284"/>
                      </a:cubicBezTo>
                      <a:cubicBezTo>
                        <a:pt x="1902247" y="471525"/>
                        <a:pt x="1902006" y="471927"/>
                        <a:pt x="1901845" y="472168"/>
                      </a:cubicBezTo>
                      <a:lnTo>
                        <a:pt x="1898793" y="471847"/>
                      </a:lnTo>
                      <a:lnTo>
                        <a:pt x="1898873" y="472328"/>
                      </a:lnTo>
                      <a:cubicBezTo>
                        <a:pt x="1899757" y="480763"/>
                        <a:pt x="1902889" y="476907"/>
                        <a:pt x="1903934" y="475622"/>
                      </a:cubicBezTo>
                      <a:cubicBezTo>
                        <a:pt x="1904335" y="475140"/>
                        <a:pt x="1904657" y="474658"/>
                        <a:pt x="1904978" y="474176"/>
                      </a:cubicBezTo>
                      <a:cubicBezTo>
                        <a:pt x="1904978" y="474176"/>
                        <a:pt x="1905058" y="474015"/>
                        <a:pt x="1905139" y="474015"/>
                      </a:cubicBezTo>
                      <a:moveTo>
                        <a:pt x="203712" y="700540"/>
                      </a:moveTo>
                      <a:cubicBezTo>
                        <a:pt x="203953" y="700058"/>
                        <a:pt x="204274" y="699576"/>
                        <a:pt x="204515" y="699095"/>
                      </a:cubicBezTo>
                      <a:cubicBezTo>
                        <a:pt x="204435" y="699014"/>
                        <a:pt x="204274" y="699014"/>
                        <a:pt x="204194" y="698934"/>
                      </a:cubicBezTo>
                      <a:cubicBezTo>
                        <a:pt x="200659" y="697327"/>
                        <a:pt x="200177" y="697970"/>
                        <a:pt x="198731" y="699737"/>
                      </a:cubicBezTo>
                      <a:cubicBezTo>
                        <a:pt x="191663" y="708252"/>
                        <a:pt x="192707" y="711063"/>
                        <a:pt x="193189" y="712349"/>
                      </a:cubicBezTo>
                      <a:cubicBezTo>
                        <a:pt x="193269" y="712670"/>
                        <a:pt x="193430" y="712911"/>
                        <a:pt x="193590" y="713152"/>
                      </a:cubicBezTo>
                      <a:cubicBezTo>
                        <a:pt x="196563" y="710340"/>
                        <a:pt x="200418" y="706404"/>
                        <a:pt x="203712" y="700540"/>
                      </a:cubicBezTo>
                      <a:moveTo>
                        <a:pt x="200659" y="695962"/>
                      </a:moveTo>
                      <a:lnTo>
                        <a:pt x="202266" y="694034"/>
                      </a:lnTo>
                      <a:cubicBezTo>
                        <a:pt x="201945" y="693632"/>
                        <a:pt x="201784" y="693552"/>
                        <a:pt x="201623" y="693391"/>
                      </a:cubicBezTo>
                      <a:cubicBezTo>
                        <a:pt x="200900" y="692990"/>
                        <a:pt x="200579" y="693793"/>
                        <a:pt x="200659" y="695962"/>
                      </a:cubicBezTo>
                      <a:moveTo>
                        <a:pt x="164271" y="660939"/>
                      </a:moveTo>
                      <a:cubicBezTo>
                        <a:pt x="165556" y="658931"/>
                        <a:pt x="166038" y="656601"/>
                        <a:pt x="166118" y="655958"/>
                      </a:cubicBezTo>
                      <a:cubicBezTo>
                        <a:pt x="166199" y="655637"/>
                        <a:pt x="166359" y="655235"/>
                        <a:pt x="166520" y="654994"/>
                      </a:cubicBezTo>
                      <a:lnTo>
                        <a:pt x="166279" y="654994"/>
                      </a:lnTo>
                      <a:cubicBezTo>
                        <a:pt x="163789" y="655396"/>
                        <a:pt x="162263" y="657806"/>
                        <a:pt x="161138" y="663509"/>
                      </a:cubicBezTo>
                      <a:cubicBezTo>
                        <a:pt x="161620" y="663348"/>
                        <a:pt x="162985" y="662947"/>
                        <a:pt x="164271" y="660939"/>
                      </a:cubicBezTo>
                      <a:moveTo>
                        <a:pt x="1750909" y="558119"/>
                      </a:moveTo>
                      <a:cubicBezTo>
                        <a:pt x="1750829" y="558039"/>
                        <a:pt x="1750829" y="558039"/>
                        <a:pt x="1750748" y="557958"/>
                      </a:cubicBezTo>
                      <a:lnTo>
                        <a:pt x="1750507" y="558601"/>
                      </a:lnTo>
                      <a:cubicBezTo>
                        <a:pt x="1748499" y="565911"/>
                        <a:pt x="1750186" y="573542"/>
                        <a:pt x="1755327" y="580048"/>
                      </a:cubicBezTo>
                      <a:cubicBezTo>
                        <a:pt x="1756773" y="567598"/>
                        <a:pt x="1751953" y="559645"/>
                        <a:pt x="1750909" y="558119"/>
                      </a:cubicBezTo>
                      <a:moveTo>
                        <a:pt x="197848" y="679896"/>
                      </a:moveTo>
                      <a:cubicBezTo>
                        <a:pt x="197848" y="679655"/>
                        <a:pt x="197205" y="676201"/>
                        <a:pt x="197125" y="676121"/>
                      </a:cubicBezTo>
                      <a:cubicBezTo>
                        <a:pt x="197125" y="676442"/>
                        <a:pt x="197767" y="679655"/>
                        <a:pt x="197848" y="679896"/>
                      </a:cubicBezTo>
                      <a:moveTo>
                        <a:pt x="1944660" y="431763"/>
                      </a:moveTo>
                      <a:cubicBezTo>
                        <a:pt x="1944580" y="431602"/>
                        <a:pt x="1944499" y="431442"/>
                        <a:pt x="1944419" y="431281"/>
                      </a:cubicBezTo>
                      <a:cubicBezTo>
                        <a:pt x="1936627" y="429594"/>
                        <a:pt x="1930040" y="427747"/>
                        <a:pt x="1928835" y="421320"/>
                      </a:cubicBezTo>
                      <a:cubicBezTo>
                        <a:pt x="1928835" y="421481"/>
                        <a:pt x="1928755" y="421642"/>
                        <a:pt x="1928675" y="421802"/>
                      </a:cubicBezTo>
                      <a:cubicBezTo>
                        <a:pt x="1928193" y="423489"/>
                        <a:pt x="1928193" y="423489"/>
                        <a:pt x="1925301" y="425819"/>
                      </a:cubicBezTo>
                      <a:cubicBezTo>
                        <a:pt x="1927148" y="427827"/>
                        <a:pt x="1928273" y="429273"/>
                        <a:pt x="1929558" y="431281"/>
                      </a:cubicBezTo>
                      <a:cubicBezTo>
                        <a:pt x="1928514" y="427425"/>
                        <a:pt x="1931727" y="428309"/>
                        <a:pt x="1931808" y="428309"/>
                      </a:cubicBezTo>
                      <a:cubicBezTo>
                        <a:pt x="1932530" y="428630"/>
                        <a:pt x="1933173" y="429433"/>
                        <a:pt x="1933816" y="429915"/>
                      </a:cubicBezTo>
                      <a:cubicBezTo>
                        <a:pt x="1934458" y="430799"/>
                        <a:pt x="1935262" y="431442"/>
                        <a:pt x="1937270" y="432646"/>
                      </a:cubicBezTo>
                      <a:cubicBezTo>
                        <a:pt x="1935985" y="432887"/>
                        <a:pt x="1934780" y="433289"/>
                        <a:pt x="1933494" y="433691"/>
                      </a:cubicBezTo>
                      <a:cubicBezTo>
                        <a:pt x="1934458" y="434815"/>
                        <a:pt x="1934458" y="434976"/>
                        <a:pt x="1934378" y="435217"/>
                      </a:cubicBezTo>
                      <a:cubicBezTo>
                        <a:pt x="1933976" y="435297"/>
                        <a:pt x="1933334" y="434976"/>
                        <a:pt x="1931004" y="433530"/>
                      </a:cubicBezTo>
                      <a:cubicBezTo>
                        <a:pt x="1929960" y="433851"/>
                        <a:pt x="1929157" y="433771"/>
                        <a:pt x="1927711" y="433289"/>
                      </a:cubicBezTo>
                      <a:cubicBezTo>
                        <a:pt x="1933976" y="435779"/>
                        <a:pt x="1941126" y="437627"/>
                        <a:pt x="1947150" y="438430"/>
                      </a:cubicBezTo>
                      <a:cubicBezTo>
                        <a:pt x="1946668" y="436743"/>
                        <a:pt x="1946347" y="436100"/>
                        <a:pt x="1944981" y="434253"/>
                      </a:cubicBezTo>
                      <a:cubicBezTo>
                        <a:pt x="1945704" y="434414"/>
                        <a:pt x="1946588" y="434574"/>
                        <a:pt x="1947230" y="434655"/>
                      </a:cubicBezTo>
                      <a:cubicBezTo>
                        <a:pt x="1946909" y="434414"/>
                        <a:pt x="1945704" y="433450"/>
                        <a:pt x="1944660" y="431763"/>
                      </a:cubicBezTo>
                      <a:moveTo>
                        <a:pt x="1759665" y="542615"/>
                      </a:moveTo>
                      <a:cubicBezTo>
                        <a:pt x="1759745" y="542455"/>
                        <a:pt x="1759825" y="542294"/>
                        <a:pt x="1759825" y="542134"/>
                      </a:cubicBezTo>
                      <a:cubicBezTo>
                        <a:pt x="1759263" y="542615"/>
                        <a:pt x="1758460" y="543258"/>
                        <a:pt x="1757817" y="543740"/>
                      </a:cubicBezTo>
                      <a:cubicBezTo>
                        <a:pt x="1754283" y="544945"/>
                        <a:pt x="1751632" y="546471"/>
                        <a:pt x="1749222" y="548721"/>
                      </a:cubicBezTo>
                      <a:cubicBezTo>
                        <a:pt x="1753158" y="548961"/>
                        <a:pt x="1757415" y="548480"/>
                        <a:pt x="1759665" y="542615"/>
                      </a:cubicBezTo>
                      <a:moveTo>
                        <a:pt x="1738378" y="559243"/>
                      </a:moveTo>
                      <a:cubicBezTo>
                        <a:pt x="1738217" y="559002"/>
                        <a:pt x="1738056" y="558842"/>
                        <a:pt x="1737896" y="558601"/>
                      </a:cubicBezTo>
                      <a:cubicBezTo>
                        <a:pt x="1736370" y="557155"/>
                        <a:pt x="1733558" y="554343"/>
                        <a:pt x="1726810" y="557798"/>
                      </a:cubicBezTo>
                      <a:cubicBezTo>
                        <a:pt x="1725847" y="558280"/>
                        <a:pt x="1725284" y="558681"/>
                        <a:pt x="1724320" y="559324"/>
                      </a:cubicBezTo>
                      <a:cubicBezTo>
                        <a:pt x="1730184" y="565027"/>
                        <a:pt x="1729622" y="567035"/>
                        <a:pt x="1724481" y="571855"/>
                      </a:cubicBezTo>
                      <a:cubicBezTo>
                        <a:pt x="1723758" y="571373"/>
                        <a:pt x="1722714" y="570811"/>
                        <a:pt x="1721991" y="570409"/>
                      </a:cubicBezTo>
                      <a:cubicBezTo>
                        <a:pt x="1726248" y="573943"/>
                        <a:pt x="1727292" y="575952"/>
                        <a:pt x="1727534" y="580771"/>
                      </a:cubicBezTo>
                      <a:cubicBezTo>
                        <a:pt x="1728015" y="580450"/>
                        <a:pt x="1728417" y="580209"/>
                        <a:pt x="1728819" y="579727"/>
                      </a:cubicBezTo>
                      <a:cubicBezTo>
                        <a:pt x="1729140" y="579325"/>
                        <a:pt x="1729220" y="578763"/>
                        <a:pt x="1729542" y="578442"/>
                      </a:cubicBezTo>
                      <a:cubicBezTo>
                        <a:pt x="1729783" y="578201"/>
                        <a:pt x="1730265" y="578040"/>
                        <a:pt x="1730506" y="577880"/>
                      </a:cubicBezTo>
                      <a:cubicBezTo>
                        <a:pt x="1731229" y="577478"/>
                        <a:pt x="1733879" y="575630"/>
                        <a:pt x="1736129" y="571212"/>
                      </a:cubicBezTo>
                      <a:cubicBezTo>
                        <a:pt x="1738699" y="565911"/>
                        <a:pt x="1738458" y="559484"/>
                        <a:pt x="1738378" y="559243"/>
                      </a:cubicBezTo>
                      <a:moveTo>
                        <a:pt x="193028" y="668168"/>
                      </a:moveTo>
                      <a:cubicBezTo>
                        <a:pt x="193108" y="668168"/>
                        <a:pt x="193108" y="668168"/>
                        <a:pt x="193189" y="668168"/>
                      </a:cubicBezTo>
                      <a:cubicBezTo>
                        <a:pt x="191181" y="662706"/>
                        <a:pt x="188690" y="659734"/>
                        <a:pt x="184915" y="658368"/>
                      </a:cubicBezTo>
                      <a:cubicBezTo>
                        <a:pt x="185397" y="657806"/>
                        <a:pt x="186040" y="657002"/>
                        <a:pt x="186522" y="656440"/>
                      </a:cubicBezTo>
                      <a:cubicBezTo>
                        <a:pt x="186361" y="653789"/>
                        <a:pt x="185879" y="653147"/>
                        <a:pt x="185236" y="652585"/>
                      </a:cubicBezTo>
                      <a:cubicBezTo>
                        <a:pt x="184754" y="652424"/>
                        <a:pt x="183871" y="652022"/>
                        <a:pt x="168769" y="660296"/>
                      </a:cubicBezTo>
                      <a:cubicBezTo>
                        <a:pt x="168769" y="660055"/>
                        <a:pt x="168769" y="659814"/>
                        <a:pt x="168689" y="659653"/>
                      </a:cubicBezTo>
                      <a:cubicBezTo>
                        <a:pt x="168608" y="659653"/>
                        <a:pt x="168528" y="659573"/>
                        <a:pt x="168448" y="659573"/>
                      </a:cubicBezTo>
                      <a:cubicBezTo>
                        <a:pt x="167966" y="660216"/>
                        <a:pt x="167966" y="660457"/>
                        <a:pt x="166440" y="665035"/>
                      </a:cubicBezTo>
                      <a:cubicBezTo>
                        <a:pt x="167644" y="663830"/>
                        <a:pt x="167966" y="663589"/>
                        <a:pt x="168287" y="663429"/>
                      </a:cubicBezTo>
                      <a:cubicBezTo>
                        <a:pt x="168287" y="663429"/>
                        <a:pt x="168367" y="663509"/>
                        <a:pt x="168448" y="663589"/>
                      </a:cubicBezTo>
                      <a:cubicBezTo>
                        <a:pt x="168448" y="663991"/>
                        <a:pt x="168207" y="664553"/>
                        <a:pt x="167484" y="665919"/>
                      </a:cubicBezTo>
                      <a:cubicBezTo>
                        <a:pt x="173749" y="664955"/>
                        <a:pt x="179533" y="665035"/>
                        <a:pt x="191904" y="667847"/>
                      </a:cubicBezTo>
                      <a:cubicBezTo>
                        <a:pt x="192145" y="668008"/>
                        <a:pt x="192626" y="668168"/>
                        <a:pt x="193028" y="668168"/>
                      </a:cubicBezTo>
                      <a:moveTo>
                        <a:pt x="1927791" y="407263"/>
                      </a:moveTo>
                      <a:cubicBezTo>
                        <a:pt x="1927711" y="407183"/>
                        <a:pt x="1927550" y="407022"/>
                        <a:pt x="1927389" y="406861"/>
                      </a:cubicBezTo>
                      <a:cubicBezTo>
                        <a:pt x="1925381" y="407504"/>
                        <a:pt x="1922971" y="407665"/>
                        <a:pt x="1920321" y="407343"/>
                      </a:cubicBezTo>
                      <a:cubicBezTo>
                        <a:pt x="1920401" y="407424"/>
                        <a:pt x="1920562" y="407424"/>
                        <a:pt x="1920642" y="407504"/>
                      </a:cubicBezTo>
                      <a:cubicBezTo>
                        <a:pt x="1923855" y="408869"/>
                        <a:pt x="1927068" y="409592"/>
                        <a:pt x="1929880" y="409432"/>
                      </a:cubicBezTo>
                      <a:cubicBezTo>
                        <a:pt x="1929237" y="408709"/>
                        <a:pt x="1928514" y="407986"/>
                        <a:pt x="1927791" y="407263"/>
                      </a:cubicBezTo>
                      <a:moveTo>
                        <a:pt x="208210" y="656360"/>
                      </a:moveTo>
                      <a:cubicBezTo>
                        <a:pt x="208290" y="656360"/>
                        <a:pt x="208371" y="656360"/>
                        <a:pt x="208451" y="656360"/>
                      </a:cubicBezTo>
                      <a:cubicBezTo>
                        <a:pt x="208210" y="655557"/>
                        <a:pt x="207969" y="655316"/>
                        <a:pt x="207648" y="655155"/>
                      </a:cubicBezTo>
                      <a:cubicBezTo>
                        <a:pt x="206764" y="654753"/>
                        <a:pt x="205640" y="655476"/>
                        <a:pt x="204113" y="657565"/>
                      </a:cubicBezTo>
                      <a:cubicBezTo>
                        <a:pt x="204435" y="656440"/>
                        <a:pt x="204515" y="655717"/>
                        <a:pt x="204033" y="655476"/>
                      </a:cubicBezTo>
                      <a:cubicBezTo>
                        <a:pt x="201543" y="659252"/>
                        <a:pt x="200659" y="660698"/>
                        <a:pt x="202025" y="660457"/>
                      </a:cubicBezTo>
                      <a:cubicBezTo>
                        <a:pt x="202105" y="661019"/>
                        <a:pt x="202427" y="661260"/>
                        <a:pt x="202748" y="661099"/>
                      </a:cubicBezTo>
                      <a:cubicBezTo>
                        <a:pt x="203631" y="660778"/>
                        <a:pt x="205399" y="659091"/>
                        <a:pt x="205399" y="659091"/>
                      </a:cubicBezTo>
                      <a:cubicBezTo>
                        <a:pt x="205399" y="659091"/>
                        <a:pt x="206363" y="657645"/>
                        <a:pt x="205077" y="657645"/>
                      </a:cubicBezTo>
                      <a:cubicBezTo>
                        <a:pt x="205479" y="657243"/>
                        <a:pt x="206363" y="656360"/>
                        <a:pt x="208210" y="656360"/>
                      </a:cubicBezTo>
                      <a:moveTo>
                        <a:pt x="173990" y="614991"/>
                      </a:moveTo>
                      <a:cubicBezTo>
                        <a:pt x="174071" y="614991"/>
                        <a:pt x="174071" y="614991"/>
                        <a:pt x="174151" y="614991"/>
                      </a:cubicBezTo>
                      <a:cubicBezTo>
                        <a:pt x="174071" y="611778"/>
                        <a:pt x="173910" y="611376"/>
                        <a:pt x="173830" y="611296"/>
                      </a:cubicBezTo>
                      <a:cubicBezTo>
                        <a:pt x="173508" y="611055"/>
                        <a:pt x="173107" y="612662"/>
                        <a:pt x="172544" y="616196"/>
                      </a:cubicBezTo>
                      <a:cubicBezTo>
                        <a:pt x="172705" y="615875"/>
                        <a:pt x="173348" y="615071"/>
                        <a:pt x="173990" y="614991"/>
                      </a:cubicBezTo>
                      <a:moveTo>
                        <a:pt x="1634433" y="576594"/>
                      </a:moveTo>
                      <a:cubicBezTo>
                        <a:pt x="1634433" y="576594"/>
                        <a:pt x="1634433" y="576514"/>
                        <a:pt x="1634433" y="576514"/>
                      </a:cubicBezTo>
                      <a:cubicBezTo>
                        <a:pt x="1634433" y="576514"/>
                        <a:pt x="1634433" y="576594"/>
                        <a:pt x="1634433" y="576594"/>
                      </a:cubicBezTo>
                      <a:cubicBezTo>
                        <a:pt x="1634192" y="576996"/>
                        <a:pt x="1633951" y="577398"/>
                        <a:pt x="1633710" y="577880"/>
                      </a:cubicBezTo>
                      <a:cubicBezTo>
                        <a:pt x="1634112" y="578442"/>
                        <a:pt x="1634433" y="578843"/>
                        <a:pt x="1634835" y="579486"/>
                      </a:cubicBezTo>
                      <a:cubicBezTo>
                        <a:pt x="1634674" y="579165"/>
                        <a:pt x="1634273" y="577960"/>
                        <a:pt x="1634433" y="576594"/>
                      </a:cubicBezTo>
                      <a:moveTo>
                        <a:pt x="164190" y="538599"/>
                      </a:moveTo>
                      <a:cubicBezTo>
                        <a:pt x="164271" y="538439"/>
                        <a:pt x="174231" y="522373"/>
                        <a:pt x="174553" y="521730"/>
                      </a:cubicBezTo>
                      <a:lnTo>
                        <a:pt x="173910" y="522774"/>
                      </a:lnTo>
                      <a:cubicBezTo>
                        <a:pt x="167725" y="532574"/>
                        <a:pt x="164190" y="538599"/>
                        <a:pt x="164190" y="538599"/>
                      </a:cubicBezTo>
                      <a:moveTo>
                        <a:pt x="226284" y="674594"/>
                      </a:moveTo>
                      <a:lnTo>
                        <a:pt x="226525" y="675478"/>
                      </a:lnTo>
                      <a:cubicBezTo>
                        <a:pt x="231907" y="663429"/>
                        <a:pt x="232228" y="662706"/>
                        <a:pt x="231827" y="662224"/>
                      </a:cubicBezTo>
                      <a:cubicBezTo>
                        <a:pt x="231827" y="662224"/>
                        <a:pt x="231746" y="662224"/>
                        <a:pt x="231746" y="662224"/>
                      </a:cubicBezTo>
                      <a:cubicBezTo>
                        <a:pt x="230300" y="662867"/>
                        <a:pt x="229899" y="664393"/>
                        <a:pt x="228854" y="665437"/>
                      </a:cubicBezTo>
                      <a:cubicBezTo>
                        <a:pt x="228051" y="666160"/>
                        <a:pt x="227328" y="666481"/>
                        <a:pt x="227168" y="666562"/>
                      </a:cubicBezTo>
                      <a:cubicBezTo>
                        <a:pt x="227087" y="666562"/>
                        <a:pt x="226927" y="666562"/>
                        <a:pt x="226846" y="666642"/>
                      </a:cubicBezTo>
                      <a:cubicBezTo>
                        <a:pt x="226605" y="667124"/>
                        <a:pt x="225882" y="670417"/>
                        <a:pt x="225079" y="675960"/>
                      </a:cubicBezTo>
                      <a:cubicBezTo>
                        <a:pt x="225481" y="675558"/>
                        <a:pt x="225963" y="674996"/>
                        <a:pt x="226284" y="674594"/>
                      </a:cubicBezTo>
                      <a:moveTo>
                        <a:pt x="168930" y="580048"/>
                      </a:moveTo>
                      <a:cubicBezTo>
                        <a:pt x="170376" y="578121"/>
                        <a:pt x="170858" y="576434"/>
                        <a:pt x="171018" y="575711"/>
                      </a:cubicBezTo>
                      <a:cubicBezTo>
                        <a:pt x="170938" y="575791"/>
                        <a:pt x="170938" y="575871"/>
                        <a:pt x="170858" y="575952"/>
                      </a:cubicBezTo>
                      <a:cubicBezTo>
                        <a:pt x="169171" y="578603"/>
                        <a:pt x="167885" y="580048"/>
                        <a:pt x="166520" y="580611"/>
                      </a:cubicBezTo>
                      <a:cubicBezTo>
                        <a:pt x="166279" y="581494"/>
                        <a:pt x="166118" y="582458"/>
                        <a:pt x="167082" y="581896"/>
                      </a:cubicBezTo>
                      <a:cubicBezTo>
                        <a:pt x="167404" y="581655"/>
                        <a:pt x="167966" y="581334"/>
                        <a:pt x="168930" y="580048"/>
                      </a:cubicBezTo>
                      <a:moveTo>
                        <a:pt x="1909396" y="396338"/>
                      </a:moveTo>
                      <a:cubicBezTo>
                        <a:pt x="1907227" y="394250"/>
                        <a:pt x="1904817" y="394491"/>
                        <a:pt x="1904014" y="394571"/>
                      </a:cubicBezTo>
                      <a:cubicBezTo>
                        <a:pt x="1904094" y="394651"/>
                        <a:pt x="1904175" y="394732"/>
                        <a:pt x="1904255" y="394732"/>
                      </a:cubicBezTo>
                      <a:cubicBezTo>
                        <a:pt x="1905299" y="395696"/>
                        <a:pt x="1906263" y="396418"/>
                        <a:pt x="1907468" y="397302"/>
                      </a:cubicBezTo>
                      <a:cubicBezTo>
                        <a:pt x="1908593" y="396740"/>
                        <a:pt x="1909717" y="397302"/>
                        <a:pt x="1911083" y="399230"/>
                      </a:cubicBezTo>
                      <a:cubicBezTo>
                        <a:pt x="1911163" y="399310"/>
                        <a:pt x="1911324" y="399391"/>
                        <a:pt x="1911404" y="399471"/>
                      </a:cubicBezTo>
                      <a:cubicBezTo>
                        <a:pt x="1911163" y="398989"/>
                        <a:pt x="1910601" y="397543"/>
                        <a:pt x="1909396" y="396338"/>
                      </a:cubicBezTo>
                      <a:moveTo>
                        <a:pt x="227007" y="650014"/>
                      </a:moveTo>
                      <a:cubicBezTo>
                        <a:pt x="227168" y="649773"/>
                        <a:pt x="227489" y="649452"/>
                        <a:pt x="227649" y="649211"/>
                      </a:cubicBezTo>
                      <a:cubicBezTo>
                        <a:pt x="225802" y="651139"/>
                        <a:pt x="224276" y="651781"/>
                        <a:pt x="222428" y="651460"/>
                      </a:cubicBezTo>
                      <a:cubicBezTo>
                        <a:pt x="222910" y="651058"/>
                        <a:pt x="223472" y="650496"/>
                        <a:pt x="223874" y="650094"/>
                      </a:cubicBezTo>
                      <a:lnTo>
                        <a:pt x="223312" y="650014"/>
                      </a:lnTo>
                      <a:cubicBezTo>
                        <a:pt x="224758" y="647202"/>
                        <a:pt x="225159" y="646239"/>
                        <a:pt x="224999" y="645757"/>
                      </a:cubicBezTo>
                      <a:cubicBezTo>
                        <a:pt x="224999" y="645757"/>
                        <a:pt x="224918" y="645757"/>
                        <a:pt x="224918" y="645757"/>
                      </a:cubicBezTo>
                      <a:cubicBezTo>
                        <a:pt x="224436" y="645917"/>
                        <a:pt x="223794" y="646399"/>
                        <a:pt x="222348" y="647845"/>
                      </a:cubicBezTo>
                      <a:cubicBezTo>
                        <a:pt x="222187" y="647765"/>
                        <a:pt x="221946" y="647604"/>
                        <a:pt x="221786" y="647524"/>
                      </a:cubicBezTo>
                      <a:cubicBezTo>
                        <a:pt x="221705" y="648408"/>
                        <a:pt x="221705" y="649211"/>
                        <a:pt x="223071" y="648167"/>
                      </a:cubicBezTo>
                      <a:cubicBezTo>
                        <a:pt x="223231" y="648006"/>
                        <a:pt x="223472" y="647845"/>
                        <a:pt x="223633" y="647685"/>
                      </a:cubicBezTo>
                      <a:cubicBezTo>
                        <a:pt x="221223" y="651460"/>
                        <a:pt x="219938" y="654271"/>
                        <a:pt x="217930" y="659493"/>
                      </a:cubicBezTo>
                      <a:cubicBezTo>
                        <a:pt x="219697" y="657967"/>
                        <a:pt x="221625" y="656681"/>
                        <a:pt x="223231" y="654994"/>
                      </a:cubicBezTo>
                      <a:cubicBezTo>
                        <a:pt x="224677" y="653468"/>
                        <a:pt x="225722" y="651621"/>
                        <a:pt x="227007" y="650014"/>
                      </a:cubicBezTo>
                      <a:moveTo>
                        <a:pt x="1834852" y="450961"/>
                      </a:moveTo>
                      <a:cubicBezTo>
                        <a:pt x="1834370" y="450238"/>
                        <a:pt x="1833245" y="450319"/>
                        <a:pt x="1832763" y="450319"/>
                      </a:cubicBezTo>
                      <a:cubicBezTo>
                        <a:pt x="1832844" y="450479"/>
                        <a:pt x="1832924" y="450640"/>
                        <a:pt x="1833004" y="450720"/>
                      </a:cubicBezTo>
                      <a:cubicBezTo>
                        <a:pt x="1833888" y="452487"/>
                        <a:pt x="1833245" y="453130"/>
                        <a:pt x="1830835" y="452969"/>
                      </a:cubicBezTo>
                      <a:cubicBezTo>
                        <a:pt x="1831478" y="453451"/>
                        <a:pt x="1832281" y="453853"/>
                        <a:pt x="1833486" y="453451"/>
                      </a:cubicBezTo>
                      <a:cubicBezTo>
                        <a:pt x="1833888" y="453291"/>
                        <a:pt x="1834611" y="452889"/>
                        <a:pt x="1835093" y="452246"/>
                      </a:cubicBezTo>
                      <a:cubicBezTo>
                        <a:pt x="1835093" y="452246"/>
                        <a:pt x="1835173" y="451845"/>
                        <a:pt x="1835093" y="451443"/>
                      </a:cubicBezTo>
                      <a:cubicBezTo>
                        <a:pt x="1835093" y="451363"/>
                        <a:pt x="1834932" y="451122"/>
                        <a:pt x="1834852" y="450961"/>
                      </a:cubicBezTo>
                      <a:moveTo>
                        <a:pt x="1792037" y="468633"/>
                      </a:moveTo>
                      <a:lnTo>
                        <a:pt x="1792117" y="468071"/>
                      </a:lnTo>
                      <a:lnTo>
                        <a:pt x="1791956" y="468232"/>
                      </a:lnTo>
                      <a:cubicBezTo>
                        <a:pt x="1790109" y="470320"/>
                        <a:pt x="1789386" y="472971"/>
                        <a:pt x="1789948" y="475943"/>
                      </a:cubicBezTo>
                      <a:cubicBezTo>
                        <a:pt x="1790029" y="475542"/>
                        <a:pt x="1790109" y="474417"/>
                        <a:pt x="1790671" y="472328"/>
                      </a:cubicBezTo>
                      <a:cubicBezTo>
                        <a:pt x="1791073" y="471124"/>
                        <a:pt x="1791635" y="469919"/>
                        <a:pt x="1792037" y="468633"/>
                      </a:cubicBezTo>
                      <a:moveTo>
                        <a:pt x="1798463" y="469035"/>
                      </a:moveTo>
                      <a:cubicBezTo>
                        <a:pt x="1798543" y="469035"/>
                        <a:pt x="1798543" y="469035"/>
                        <a:pt x="1798624" y="469035"/>
                      </a:cubicBezTo>
                      <a:cubicBezTo>
                        <a:pt x="1796375" y="468473"/>
                        <a:pt x="1795170" y="467589"/>
                        <a:pt x="1794206" y="465983"/>
                      </a:cubicBezTo>
                      <a:cubicBezTo>
                        <a:pt x="1794206" y="466063"/>
                        <a:pt x="1794125" y="466143"/>
                        <a:pt x="1794125" y="466143"/>
                      </a:cubicBezTo>
                      <a:cubicBezTo>
                        <a:pt x="1793804" y="467027"/>
                        <a:pt x="1793643" y="467911"/>
                        <a:pt x="1793483" y="468874"/>
                      </a:cubicBezTo>
                      <a:cubicBezTo>
                        <a:pt x="1795009" y="468955"/>
                        <a:pt x="1796696" y="469115"/>
                        <a:pt x="1798463" y="469035"/>
                      </a:cubicBezTo>
                      <a:moveTo>
                        <a:pt x="194635" y="488394"/>
                      </a:moveTo>
                      <a:cubicBezTo>
                        <a:pt x="194554" y="488474"/>
                        <a:pt x="194474" y="488635"/>
                        <a:pt x="194394" y="488715"/>
                      </a:cubicBezTo>
                      <a:cubicBezTo>
                        <a:pt x="196161" y="486305"/>
                        <a:pt x="201302" y="479397"/>
                        <a:pt x="201302" y="479076"/>
                      </a:cubicBezTo>
                      <a:cubicBezTo>
                        <a:pt x="199133" y="482129"/>
                        <a:pt x="196884" y="485261"/>
                        <a:pt x="194635" y="488394"/>
                      </a:cubicBezTo>
                      <a:moveTo>
                        <a:pt x="239056" y="637242"/>
                      </a:moveTo>
                      <a:cubicBezTo>
                        <a:pt x="239136" y="637081"/>
                        <a:pt x="239217" y="636920"/>
                        <a:pt x="239377" y="636760"/>
                      </a:cubicBezTo>
                      <a:cubicBezTo>
                        <a:pt x="239297" y="636840"/>
                        <a:pt x="239217" y="636920"/>
                        <a:pt x="239217" y="637001"/>
                      </a:cubicBezTo>
                      <a:cubicBezTo>
                        <a:pt x="237851" y="638367"/>
                        <a:pt x="236887" y="638849"/>
                        <a:pt x="236325" y="639009"/>
                      </a:cubicBezTo>
                      <a:cubicBezTo>
                        <a:pt x="236245" y="639009"/>
                        <a:pt x="236164" y="639009"/>
                        <a:pt x="236084" y="639089"/>
                      </a:cubicBezTo>
                      <a:cubicBezTo>
                        <a:pt x="235281" y="639973"/>
                        <a:pt x="234638" y="640937"/>
                        <a:pt x="234236" y="642142"/>
                      </a:cubicBezTo>
                      <a:cubicBezTo>
                        <a:pt x="236405" y="640535"/>
                        <a:pt x="238253" y="638527"/>
                        <a:pt x="239056" y="637242"/>
                      </a:cubicBezTo>
                      <a:moveTo>
                        <a:pt x="1873248" y="429674"/>
                      </a:moveTo>
                      <a:cubicBezTo>
                        <a:pt x="1868188" y="424051"/>
                        <a:pt x="1847463" y="419955"/>
                        <a:pt x="1843688" y="423891"/>
                      </a:cubicBezTo>
                      <a:cubicBezTo>
                        <a:pt x="1842242" y="426300"/>
                        <a:pt x="1842884" y="429514"/>
                        <a:pt x="1842965" y="429514"/>
                      </a:cubicBezTo>
                      <a:cubicBezTo>
                        <a:pt x="1843286" y="430719"/>
                        <a:pt x="1844411" y="431201"/>
                        <a:pt x="1845053" y="432084"/>
                      </a:cubicBezTo>
                      <a:cubicBezTo>
                        <a:pt x="1845616" y="432887"/>
                        <a:pt x="1845696" y="433932"/>
                        <a:pt x="1846419" y="434655"/>
                      </a:cubicBezTo>
                      <a:cubicBezTo>
                        <a:pt x="1846499" y="434735"/>
                        <a:pt x="1864814" y="443812"/>
                        <a:pt x="1865778" y="444053"/>
                      </a:cubicBezTo>
                      <a:cubicBezTo>
                        <a:pt x="1866581" y="444294"/>
                        <a:pt x="1870758" y="445579"/>
                        <a:pt x="1874293" y="450078"/>
                      </a:cubicBezTo>
                      <a:cubicBezTo>
                        <a:pt x="1877747" y="447989"/>
                        <a:pt x="1877024" y="445178"/>
                        <a:pt x="1874614" y="441001"/>
                      </a:cubicBezTo>
                      <a:cubicBezTo>
                        <a:pt x="1875257" y="438992"/>
                        <a:pt x="1877024" y="434012"/>
                        <a:pt x="1873248" y="429674"/>
                      </a:cubicBezTo>
                      <a:moveTo>
                        <a:pt x="1799829" y="457066"/>
                      </a:moveTo>
                      <a:lnTo>
                        <a:pt x="1799025" y="456102"/>
                      </a:lnTo>
                      <a:lnTo>
                        <a:pt x="1799025" y="456504"/>
                      </a:lnTo>
                      <a:cubicBezTo>
                        <a:pt x="1799025" y="459958"/>
                        <a:pt x="1799025" y="463974"/>
                        <a:pt x="1798865" y="468392"/>
                      </a:cubicBezTo>
                      <a:cubicBezTo>
                        <a:pt x="1799909" y="468714"/>
                        <a:pt x="1803042" y="469758"/>
                        <a:pt x="1808343" y="469035"/>
                      </a:cubicBezTo>
                      <a:cubicBezTo>
                        <a:pt x="1807540" y="468633"/>
                        <a:pt x="1806496" y="468152"/>
                        <a:pt x="1805773" y="467830"/>
                      </a:cubicBezTo>
                      <a:lnTo>
                        <a:pt x="1806014" y="467429"/>
                      </a:lnTo>
                      <a:cubicBezTo>
                        <a:pt x="1803443" y="468232"/>
                        <a:pt x="1801194" y="468714"/>
                        <a:pt x="1802399" y="466384"/>
                      </a:cubicBezTo>
                      <a:cubicBezTo>
                        <a:pt x="1802560" y="466063"/>
                        <a:pt x="1802721" y="465822"/>
                        <a:pt x="1802881" y="465501"/>
                      </a:cubicBezTo>
                      <a:cubicBezTo>
                        <a:pt x="1800552" y="464215"/>
                        <a:pt x="1798142" y="462047"/>
                        <a:pt x="1799829" y="457066"/>
                      </a:cubicBezTo>
                      <a:moveTo>
                        <a:pt x="1815011" y="447668"/>
                      </a:moveTo>
                      <a:cubicBezTo>
                        <a:pt x="1815091" y="447668"/>
                        <a:pt x="1815252" y="447668"/>
                        <a:pt x="1815332" y="447668"/>
                      </a:cubicBezTo>
                      <a:cubicBezTo>
                        <a:pt x="1812922" y="446623"/>
                        <a:pt x="1810432" y="445820"/>
                        <a:pt x="1808424" y="447347"/>
                      </a:cubicBezTo>
                      <a:cubicBezTo>
                        <a:pt x="1808183" y="447588"/>
                        <a:pt x="1807861" y="447829"/>
                        <a:pt x="1807701" y="448070"/>
                      </a:cubicBezTo>
                      <a:cubicBezTo>
                        <a:pt x="1809870" y="449997"/>
                        <a:pt x="1812199" y="452006"/>
                        <a:pt x="1812199" y="451122"/>
                      </a:cubicBezTo>
                      <a:cubicBezTo>
                        <a:pt x="1812199" y="450720"/>
                        <a:pt x="1811637" y="449756"/>
                        <a:pt x="1811316" y="449114"/>
                      </a:cubicBezTo>
                      <a:cubicBezTo>
                        <a:pt x="1811316" y="449274"/>
                        <a:pt x="1811396" y="449515"/>
                        <a:pt x="1811396" y="449676"/>
                      </a:cubicBezTo>
                      <a:cubicBezTo>
                        <a:pt x="1810030" y="447909"/>
                        <a:pt x="1810994" y="447427"/>
                        <a:pt x="1815011" y="447668"/>
                      </a:cubicBezTo>
                      <a:moveTo>
                        <a:pt x="1809548" y="444455"/>
                      </a:moveTo>
                      <a:lnTo>
                        <a:pt x="1808022" y="442607"/>
                      </a:lnTo>
                      <a:lnTo>
                        <a:pt x="1808022" y="442687"/>
                      </a:lnTo>
                      <a:cubicBezTo>
                        <a:pt x="1808504" y="443330"/>
                        <a:pt x="1808906" y="443892"/>
                        <a:pt x="1809548" y="444455"/>
                      </a:cubicBezTo>
                      <a:moveTo>
                        <a:pt x="1817661" y="444455"/>
                      </a:moveTo>
                      <a:cubicBezTo>
                        <a:pt x="1817742" y="444455"/>
                        <a:pt x="1817902" y="444374"/>
                        <a:pt x="1817983" y="444374"/>
                      </a:cubicBezTo>
                      <a:cubicBezTo>
                        <a:pt x="1815011" y="442446"/>
                        <a:pt x="1811958" y="441322"/>
                        <a:pt x="1808263" y="440599"/>
                      </a:cubicBezTo>
                      <a:cubicBezTo>
                        <a:pt x="1808343" y="440599"/>
                        <a:pt x="1808504" y="440679"/>
                        <a:pt x="1808584" y="440679"/>
                      </a:cubicBezTo>
                      <a:cubicBezTo>
                        <a:pt x="1810512" y="441081"/>
                        <a:pt x="1813083" y="441643"/>
                        <a:pt x="1812038" y="442366"/>
                      </a:cubicBezTo>
                      <a:cubicBezTo>
                        <a:pt x="1811717" y="442607"/>
                        <a:pt x="1811717" y="442607"/>
                        <a:pt x="1809548" y="442607"/>
                      </a:cubicBezTo>
                      <a:cubicBezTo>
                        <a:pt x="1810271" y="443410"/>
                        <a:pt x="1810271" y="443892"/>
                        <a:pt x="1809548" y="444535"/>
                      </a:cubicBezTo>
                      <a:cubicBezTo>
                        <a:pt x="1811637" y="446222"/>
                        <a:pt x="1814047" y="447025"/>
                        <a:pt x="1817902" y="447507"/>
                      </a:cubicBezTo>
                      <a:cubicBezTo>
                        <a:pt x="1818224" y="446784"/>
                        <a:pt x="1818224" y="445901"/>
                        <a:pt x="1815252" y="445579"/>
                      </a:cubicBezTo>
                      <a:cubicBezTo>
                        <a:pt x="1816135" y="444776"/>
                        <a:pt x="1817260" y="444535"/>
                        <a:pt x="1817661" y="444455"/>
                      </a:cubicBezTo>
                      <a:moveTo>
                        <a:pt x="1673633" y="520043"/>
                      </a:moveTo>
                      <a:cubicBezTo>
                        <a:pt x="1673232" y="519481"/>
                        <a:pt x="1672348" y="519160"/>
                        <a:pt x="1671946" y="518999"/>
                      </a:cubicBezTo>
                      <a:cubicBezTo>
                        <a:pt x="1671946" y="518999"/>
                        <a:pt x="1671946" y="519079"/>
                        <a:pt x="1671946" y="519079"/>
                      </a:cubicBezTo>
                      <a:cubicBezTo>
                        <a:pt x="1672027" y="519963"/>
                        <a:pt x="1672509" y="520686"/>
                        <a:pt x="1673392" y="521329"/>
                      </a:cubicBezTo>
                      <a:cubicBezTo>
                        <a:pt x="1673633" y="521088"/>
                        <a:pt x="1674035" y="520606"/>
                        <a:pt x="1673633" y="520043"/>
                      </a:cubicBezTo>
                      <a:moveTo>
                        <a:pt x="1840234" y="418669"/>
                      </a:moveTo>
                      <a:cubicBezTo>
                        <a:pt x="1840153" y="418589"/>
                        <a:pt x="1839511" y="418268"/>
                        <a:pt x="1837020" y="417143"/>
                      </a:cubicBezTo>
                      <a:cubicBezTo>
                        <a:pt x="1837181" y="417304"/>
                        <a:pt x="1837422" y="417545"/>
                        <a:pt x="1837583" y="417706"/>
                      </a:cubicBezTo>
                      <a:cubicBezTo>
                        <a:pt x="1838225" y="417947"/>
                        <a:pt x="1838788" y="418188"/>
                        <a:pt x="1839430" y="418428"/>
                      </a:cubicBezTo>
                      <a:cubicBezTo>
                        <a:pt x="1839671" y="418509"/>
                        <a:pt x="1839912" y="418589"/>
                        <a:pt x="1840234" y="418669"/>
                      </a:cubicBezTo>
                      <a:cubicBezTo>
                        <a:pt x="1840234" y="418669"/>
                        <a:pt x="1840234" y="418669"/>
                        <a:pt x="1840234" y="418669"/>
                      </a:cubicBezTo>
                      <a:moveTo>
                        <a:pt x="1792278" y="449033"/>
                      </a:moveTo>
                      <a:lnTo>
                        <a:pt x="1791394" y="447909"/>
                      </a:lnTo>
                      <a:lnTo>
                        <a:pt x="1791153" y="448230"/>
                      </a:lnTo>
                      <a:lnTo>
                        <a:pt x="1789707" y="447025"/>
                      </a:lnTo>
                      <a:lnTo>
                        <a:pt x="1789788" y="447427"/>
                      </a:lnTo>
                      <a:cubicBezTo>
                        <a:pt x="1790270" y="448551"/>
                        <a:pt x="1790832" y="449274"/>
                        <a:pt x="1792197" y="450319"/>
                      </a:cubicBezTo>
                      <a:cubicBezTo>
                        <a:pt x="1791314" y="450399"/>
                        <a:pt x="1790109" y="450560"/>
                        <a:pt x="1789145" y="450720"/>
                      </a:cubicBezTo>
                      <a:lnTo>
                        <a:pt x="1792599" y="451202"/>
                      </a:lnTo>
                      <a:cubicBezTo>
                        <a:pt x="1789627" y="453291"/>
                        <a:pt x="1788663" y="452648"/>
                        <a:pt x="1787699" y="451443"/>
                      </a:cubicBezTo>
                      <a:cubicBezTo>
                        <a:pt x="1787137" y="451765"/>
                        <a:pt x="1786414" y="452246"/>
                        <a:pt x="1785852" y="452568"/>
                      </a:cubicBezTo>
                      <a:lnTo>
                        <a:pt x="1785048" y="451122"/>
                      </a:lnTo>
                      <a:cubicBezTo>
                        <a:pt x="1785370" y="452327"/>
                        <a:pt x="1785450" y="453210"/>
                        <a:pt x="1784807" y="453451"/>
                      </a:cubicBezTo>
                      <a:cubicBezTo>
                        <a:pt x="1788020" y="455138"/>
                        <a:pt x="1790511" y="456906"/>
                        <a:pt x="1791314" y="463412"/>
                      </a:cubicBezTo>
                      <a:cubicBezTo>
                        <a:pt x="1792197" y="463894"/>
                        <a:pt x="1792760" y="464135"/>
                        <a:pt x="1793643" y="464537"/>
                      </a:cubicBezTo>
                      <a:cubicBezTo>
                        <a:pt x="1793242" y="463091"/>
                        <a:pt x="1793322" y="462930"/>
                        <a:pt x="1793483" y="462127"/>
                      </a:cubicBezTo>
                      <a:lnTo>
                        <a:pt x="1792519" y="462368"/>
                      </a:lnTo>
                      <a:cubicBezTo>
                        <a:pt x="1791073" y="459476"/>
                        <a:pt x="1790350" y="457548"/>
                        <a:pt x="1789306" y="454174"/>
                      </a:cubicBezTo>
                      <a:cubicBezTo>
                        <a:pt x="1790350" y="453853"/>
                        <a:pt x="1790912" y="453692"/>
                        <a:pt x="1792438" y="453050"/>
                      </a:cubicBezTo>
                      <a:cubicBezTo>
                        <a:pt x="1792358" y="452969"/>
                        <a:pt x="1792358" y="452969"/>
                        <a:pt x="1792278" y="452889"/>
                      </a:cubicBezTo>
                      <a:cubicBezTo>
                        <a:pt x="1793483" y="451925"/>
                        <a:pt x="1795089" y="452407"/>
                        <a:pt x="1795812" y="452648"/>
                      </a:cubicBezTo>
                      <a:cubicBezTo>
                        <a:pt x="1793804" y="451845"/>
                        <a:pt x="1793804" y="451845"/>
                        <a:pt x="1792278" y="449033"/>
                      </a:cubicBezTo>
                      <a:moveTo>
                        <a:pt x="1669778" y="512171"/>
                      </a:moveTo>
                      <a:cubicBezTo>
                        <a:pt x="1669376" y="511529"/>
                        <a:pt x="1668653" y="511529"/>
                        <a:pt x="1668091" y="511529"/>
                      </a:cubicBezTo>
                      <a:cubicBezTo>
                        <a:pt x="1668091" y="511609"/>
                        <a:pt x="1668171" y="511770"/>
                        <a:pt x="1668171" y="511930"/>
                      </a:cubicBezTo>
                      <a:cubicBezTo>
                        <a:pt x="1668974" y="516027"/>
                        <a:pt x="1670822" y="518517"/>
                        <a:pt x="1674919" y="520686"/>
                      </a:cubicBezTo>
                      <a:cubicBezTo>
                        <a:pt x="1675079" y="520606"/>
                        <a:pt x="1675240" y="520525"/>
                        <a:pt x="1675401" y="520445"/>
                      </a:cubicBezTo>
                      <a:cubicBezTo>
                        <a:pt x="1674035" y="519240"/>
                        <a:pt x="1672910" y="518116"/>
                        <a:pt x="1671625" y="516268"/>
                      </a:cubicBezTo>
                      <a:cubicBezTo>
                        <a:pt x="1670661" y="514822"/>
                        <a:pt x="1670099" y="513697"/>
                        <a:pt x="1670019" y="512974"/>
                      </a:cubicBezTo>
                      <a:cubicBezTo>
                        <a:pt x="1670019" y="512653"/>
                        <a:pt x="1669858" y="512332"/>
                        <a:pt x="1669778" y="512171"/>
                      </a:cubicBezTo>
                      <a:moveTo>
                        <a:pt x="1869473" y="383486"/>
                      </a:moveTo>
                      <a:lnTo>
                        <a:pt x="1868589" y="381558"/>
                      </a:lnTo>
                      <a:cubicBezTo>
                        <a:pt x="1865858" y="380192"/>
                        <a:pt x="1864653" y="379710"/>
                        <a:pt x="1864653" y="379871"/>
                      </a:cubicBezTo>
                      <a:cubicBezTo>
                        <a:pt x="1864653" y="380192"/>
                        <a:pt x="1866662" y="381558"/>
                        <a:pt x="1869473" y="383486"/>
                      </a:cubicBezTo>
                      <a:moveTo>
                        <a:pt x="254559" y="620855"/>
                      </a:moveTo>
                      <a:cubicBezTo>
                        <a:pt x="255764" y="619088"/>
                        <a:pt x="256166" y="617160"/>
                        <a:pt x="256327" y="616437"/>
                      </a:cubicBezTo>
                      <a:cubicBezTo>
                        <a:pt x="256246" y="616517"/>
                        <a:pt x="256246" y="616598"/>
                        <a:pt x="256166" y="616598"/>
                      </a:cubicBezTo>
                      <a:cubicBezTo>
                        <a:pt x="254399" y="618927"/>
                        <a:pt x="252953" y="620935"/>
                        <a:pt x="251427" y="623425"/>
                      </a:cubicBezTo>
                      <a:cubicBezTo>
                        <a:pt x="251909" y="623345"/>
                        <a:pt x="253274" y="622703"/>
                        <a:pt x="254559" y="620855"/>
                      </a:cubicBezTo>
                      <a:moveTo>
                        <a:pt x="222107" y="591375"/>
                      </a:moveTo>
                      <a:cubicBezTo>
                        <a:pt x="222348" y="591375"/>
                        <a:pt x="222669" y="591294"/>
                        <a:pt x="222910" y="591294"/>
                      </a:cubicBezTo>
                      <a:cubicBezTo>
                        <a:pt x="222428" y="589848"/>
                        <a:pt x="221786" y="587840"/>
                        <a:pt x="220982" y="584868"/>
                      </a:cubicBezTo>
                      <a:cubicBezTo>
                        <a:pt x="220500" y="584868"/>
                        <a:pt x="219938" y="584788"/>
                        <a:pt x="219456" y="584788"/>
                      </a:cubicBezTo>
                      <a:cubicBezTo>
                        <a:pt x="215520" y="585189"/>
                        <a:pt x="212066" y="586073"/>
                        <a:pt x="204033" y="590170"/>
                      </a:cubicBezTo>
                      <a:cubicBezTo>
                        <a:pt x="205158" y="581494"/>
                        <a:pt x="204676" y="572819"/>
                        <a:pt x="205238" y="564063"/>
                      </a:cubicBezTo>
                      <a:cubicBezTo>
                        <a:pt x="203953" y="568883"/>
                        <a:pt x="202266" y="575550"/>
                        <a:pt x="200177" y="578442"/>
                      </a:cubicBezTo>
                      <a:cubicBezTo>
                        <a:pt x="197687" y="581976"/>
                        <a:pt x="193108" y="582619"/>
                        <a:pt x="190136" y="585430"/>
                      </a:cubicBezTo>
                      <a:cubicBezTo>
                        <a:pt x="190136" y="585430"/>
                        <a:pt x="187485" y="587921"/>
                        <a:pt x="187004" y="589607"/>
                      </a:cubicBezTo>
                      <a:cubicBezTo>
                        <a:pt x="186923" y="589929"/>
                        <a:pt x="186441" y="591535"/>
                        <a:pt x="185156" y="592740"/>
                      </a:cubicBezTo>
                      <a:cubicBezTo>
                        <a:pt x="184995" y="592820"/>
                        <a:pt x="184835" y="592981"/>
                        <a:pt x="184754" y="593142"/>
                      </a:cubicBezTo>
                      <a:cubicBezTo>
                        <a:pt x="185477" y="587760"/>
                        <a:pt x="184915" y="586314"/>
                        <a:pt x="182264" y="587278"/>
                      </a:cubicBezTo>
                      <a:cubicBezTo>
                        <a:pt x="182746" y="585350"/>
                        <a:pt x="182907" y="584225"/>
                        <a:pt x="182987" y="582940"/>
                      </a:cubicBezTo>
                      <a:cubicBezTo>
                        <a:pt x="179372" y="591696"/>
                        <a:pt x="181541" y="597319"/>
                        <a:pt x="184031" y="600532"/>
                      </a:cubicBezTo>
                      <a:cubicBezTo>
                        <a:pt x="185317" y="602219"/>
                        <a:pt x="188369" y="606155"/>
                        <a:pt x="197848" y="602058"/>
                      </a:cubicBezTo>
                      <a:cubicBezTo>
                        <a:pt x="202025" y="600291"/>
                        <a:pt x="206202" y="597319"/>
                        <a:pt x="208772" y="595552"/>
                      </a:cubicBezTo>
                      <a:cubicBezTo>
                        <a:pt x="208612" y="595391"/>
                        <a:pt x="208451" y="595230"/>
                        <a:pt x="208290" y="595070"/>
                      </a:cubicBezTo>
                      <a:cubicBezTo>
                        <a:pt x="212307" y="593142"/>
                        <a:pt x="215520" y="591214"/>
                        <a:pt x="217769" y="589286"/>
                      </a:cubicBezTo>
                      <a:cubicBezTo>
                        <a:pt x="218010" y="589848"/>
                        <a:pt x="219215" y="591535"/>
                        <a:pt x="222107" y="591375"/>
                      </a:cubicBezTo>
                      <a:moveTo>
                        <a:pt x="1817340" y="414653"/>
                      </a:moveTo>
                      <a:cubicBezTo>
                        <a:pt x="1816457" y="413689"/>
                        <a:pt x="1815252" y="413528"/>
                        <a:pt x="1813886" y="413448"/>
                      </a:cubicBezTo>
                      <a:cubicBezTo>
                        <a:pt x="1813886" y="413689"/>
                        <a:pt x="1813966" y="414091"/>
                        <a:pt x="1813966" y="414332"/>
                      </a:cubicBezTo>
                      <a:cubicBezTo>
                        <a:pt x="1814850" y="415697"/>
                        <a:pt x="1816135" y="416983"/>
                        <a:pt x="1817902" y="415296"/>
                      </a:cubicBezTo>
                      <a:cubicBezTo>
                        <a:pt x="1817661" y="415055"/>
                        <a:pt x="1817501" y="414814"/>
                        <a:pt x="1817340" y="414653"/>
                      </a:cubicBezTo>
                      <a:moveTo>
                        <a:pt x="223713" y="593704"/>
                      </a:moveTo>
                      <a:cubicBezTo>
                        <a:pt x="223713" y="593784"/>
                        <a:pt x="223794" y="593945"/>
                        <a:pt x="223794" y="594025"/>
                      </a:cubicBezTo>
                      <a:cubicBezTo>
                        <a:pt x="225079" y="589848"/>
                        <a:pt x="224999" y="587519"/>
                        <a:pt x="223472" y="585912"/>
                      </a:cubicBezTo>
                      <a:cubicBezTo>
                        <a:pt x="222749" y="585270"/>
                        <a:pt x="222107" y="585029"/>
                        <a:pt x="220902" y="584788"/>
                      </a:cubicBezTo>
                      <a:cubicBezTo>
                        <a:pt x="221304" y="585912"/>
                        <a:pt x="222268" y="589286"/>
                        <a:pt x="223713" y="593704"/>
                      </a:cubicBezTo>
                      <a:moveTo>
                        <a:pt x="1882727" y="401399"/>
                      </a:moveTo>
                      <a:cubicBezTo>
                        <a:pt x="1882566" y="400676"/>
                        <a:pt x="1882245" y="399712"/>
                        <a:pt x="1882084" y="398989"/>
                      </a:cubicBezTo>
                      <a:cubicBezTo>
                        <a:pt x="1872043" y="394571"/>
                        <a:pt x="1863127" y="389832"/>
                        <a:pt x="1855737" y="384851"/>
                      </a:cubicBezTo>
                      <a:cubicBezTo>
                        <a:pt x="1855255" y="384530"/>
                        <a:pt x="1854693" y="383968"/>
                        <a:pt x="1854130" y="383807"/>
                      </a:cubicBezTo>
                      <a:cubicBezTo>
                        <a:pt x="1853889" y="383727"/>
                        <a:pt x="1853407" y="383887"/>
                        <a:pt x="1853166" y="383887"/>
                      </a:cubicBezTo>
                      <a:cubicBezTo>
                        <a:pt x="1853166" y="383887"/>
                        <a:pt x="1849311" y="384289"/>
                        <a:pt x="1843527" y="384209"/>
                      </a:cubicBezTo>
                      <a:cubicBezTo>
                        <a:pt x="1843768" y="384450"/>
                        <a:pt x="1844089" y="384691"/>
                        <a:pt x="1844330" y="384932"/>
                      </a:cubicBezTo>
                      <a:cubicBezTo>
                        <a:pt x="1847222" y="387101"/>
                        <a:pt x="1850034" y="388065"/>
                        <a:pt x="1852283" y="387663"/>
                      </a:cubicBezTo>
                      <a:cubicBezTo>
                        <a:pt x="1862083" y="386056"/>
                        <a:pt x="1859834" y="390715"/>
                        <a:pt x="1859030" y="392482"/>
                      </a:cubicBezTo>
                      <a:cubicBezTo>
                        <a:pt x="1859753" y="392563"/>
                        <a:pt x="1859753" y="392563"/>
                        <a:pt x="1860075" y="392643"/>
                      </a:cubicBezTo>
                      <a:cubicBezTo>
                        <a:pt x="1859432" y="393607"/>
                        <a:pt x="1855175" y="394009"/>
                        <a:pt x="1854452" y="393687"/>
                      </a:cubicBezTo>
                      <a:cubicBezTo>
                        <a:pt x="1854452" y="393607"/>
                        <a:pt x="1854452" y="393446"/>
                        <a:pt x="1854371" y="393286"/>
                      </a:cubicBezTo>
                      <a:cubicBezTo>
                        <a:pt x="1854532" y="393045"/>
                        <a:pt x="1854773" y="392884"/>
                        <a:pt x="1855014" y="392723"/>
                      </a:cubicBezTo>
                      <a:cubicBezTo>
                        <a:pt x="1854452" y="392723"/>
                        <a:pt x="1849793" y="393045"/>
                        <a:pt x="1853568" y="396660"/>
                      </a:cubicBezTo>
                      <a:cubicBezTo>
                        <a:pt x="1854452" y="397463"/>
                        <a:pt x="1858950" y="401640"/>
                        <a:pt x="1863609" y="402363"/>
                      </a:cubicBezTo>
                      <a:cubicBezTo>
                        <a:pt x="1875337" y="404371"/>
                        <a:pt x="1884575" y="406218"/>
                        <a:pt x="1879112" y="408227"/>
                      </a:cubicBezTo>
                      <a:cubicBezTo>
                        <a:pt x="1880237" y="409432"/>
                        <a:pt x="1883771" y="413127"/>
                        <a:pt x="1883852" y="408066"/>
                      </a:cubicBezTo>
                      <a:cubicBezTo>
                        <a:pt x="1883852" y="407022"/>
                        <a:pt x="1883691" y="405014"/>
                        <a:pt x="1882727" y="401399"/>
                      </a:cubicBezTo>
                      <a:moveTo>
                        <a:pt x="284923" y="640937"/>
                      </a:moveTo>
                      <a:cubicBezTo>
                        <a:pt x="285004" y="640937"/>
                        <a:pt x="285084" y="640937"/>
                        <a:pt x="285164" y="640857"/>
                      </a:cubicBezTo>
                      <a:cubicBezTo>
                        <a:pt x="285405" y="637001"/>
                        <a:pt x="286851" y="633627"/>
                        <a:pt x="289743" y="629852"/>
                      </a:cubicBezTo>
                      <a:cubicBezTo>
                        <a:pt x="289582" y="629932"/>
                        <a:pt x="289422" y="630012"/>
                        <a:pt x="289341" y="630173"/>
                      </a:cubicBezTo>
                      <a:cubicBezTo>
                        <a:pt x="287173" y="631539"/>
                        <a:pt x="285566" y="631780"/>
                        <a:pt x="284040" y="631137"/>
                      </a:cubicBezTo>
                      <a:cubicBezTo>
                        <a:pt x="283959" y="631217"/>
                        <a:pt x="283799" y="631458"/>
                        <a:pt x="283718" y="631539"/>
                      </a:cubicBezTo>
                      <a:cubicBezTo>
                        <a:pt x="282754" y="631137"/>
                        <a:pt x="282433" y="630655"/>
                        <a:pt x="282353" y="630334"/>
                      </a:cubicBezTo>
                      <a:cubicBezTo>
                        <a:pt x="281871" y="632181"/>
                        <a:pt x="281389" y="633306"/>
                        <a:pt x="280264" y="635153"/>
                      </a:cubicBezTo>
                      <a:cubicBezTo>
                        <a:pt x="280827" y="634832"/>
                        <a:pt x="281550" y="634430"/>
                        <a:pt x="282112" y="634109"/>
                      </a:cubicBezTo>
                      <a:cubicBezTo>
                        <a:pt x="282273" y="635314"/>
                        <a:pt x="282192" y="636278"/>
                        <a:pt x="281871" y="637885"/>
                      </a:cubicBezTo>
                      <a:cubicBezTo>
                        <a:pt x="281630" y="637965"/>
                        <a:pt x="281309" y="637965"/>
                        <a:pt x="281068" y="638045"/>
                      </a:cubicBezTo>
                      <a:cubicBezTo>
                        <a:pt x="282513" y="641178"/>
                        <a:pt x="284843" y="640937"/>
                        <a:pt x="284923" y="640937"/>
                      </a:cubicBezTo>
                      <a:moveTo>
                        <a:pt x="1817099" y="410958"/>
                      </a:moveTo>
                      <a:cubicBezTo>
                        <a:pt x="1815171" y="409030"/>
                        <a:pt x="1811958" y="408468"/>
                        <a:pt x="1810914" y="408227"/>
                      </a:cubicBezTo>
                      <a:cubicBezTo>
                        <a:pt x="1810994" y="408307"/>
                        <a:pt x="1811075" y="408387"/>
                        <a:pt x="1811235" y="408387"/>
                      </a:cubicBezTo>
                      <a:cubicBezTo>
                        <a:pt x="1813243" y="409673"/>
                        <a:pt x="1815573" y="411119"/>
                        <a:pt x="1814609" y="411360"/>
                      </a:cubicBezTo>
                      <a:cubicBezTo>
                        <a:pt x="1814288" y="411440"/>
                        <a:pt x="1813725" y="411360"/>
                        <a:pt x="1813324" y="411279"/>
                      </a:cubicBezTo>
                      <a:cubicBezTo>
                        <a:pt x="1813725" y="411520"/>
                        <a:pt x="1814207" y="411922"/>
                        <a:pt x="1814529" y="412163"/>
                      </a:cubicBezTo>
                      <a:cubicBezTo>
                        <a:pt x="1816135" y="412484"/>
                        <a:pt x="1817260" y="412886"/>
                        <a:pt x="1818545" y="413528"/>
                      </a:cubicBezTo>
                      <a:cubicBezTo>
                        <a:pt x="1818384" y="413046"/>
                        <a:pt x="1818224" y="412002"/>
                        <a:pt x="1817099" y="410958"/>
                      </a:cubicBezTo>
                      <a:moveTo>
                        <a:pt x="1820955" y="403166"/>
                      </a:moveTo>
                      <a:cubicBezTo>
                        <a:pt x="1820071" y="402282"/>
                        <a:pt x="1819188" y="401961"/>
                        <a:pt x="1818786" y="401801"/>
                      </a:cubicBezTo>
                      <a:cubicBezTo>
                        <a:pt x="1818786" y="401881"/>
                        <a:pt x="1818866" y="401961"/>
                        <a:pt x="1818866" y="401961"/>
                      </a:cubicBezTo>
                      <a:cubicBezTo>
                        <a:pt x="1819670" y="403969"/>
                        <a:pt x="1820393" y="405335"/>
                        <a:pt x="1821838" y="407504"/>
                      </a:cubicBezTo>
                      <a:cubicBezTo>
                        <a:pt x="1822320" y="407343"/>
                        <a:pt x="1822963" y="407102"/>
                        <a:pt x="1823445" y="406942"/>
                      </a:cubicBezTo>
                      <a:cubicBezTo>
                        <a:pt x="1823365" y="406861"/>
                        <a:pt x="1823284" y="406781"/>
                        <a:pt x="1823124" y="406701"/>
                      </a:cubicBezTo>
                      <a:cubicBezTo>
                        <a:pt x="1823043" y="406138"/>
                        <a:pt x="1822481" y="404532"/>
                        <a:pt x="1820955" y="403166"/>
                      </a:cubicBezTo>
                      <a:moveTo>
                        <a:pt x="281469" y="620212"/>
                      </a:moveTo>
                      <a:cubicBezTo>
                        <a:pt x="281550" y="620132"/>
                        <a:pt x="281630" y="619971"/>
                        <a:pt x="281710" y="619811"/>
                      </a:cubicBezTo>
                      <a:cubicBezTo>
                        <a:pt x="281630" y="619811"/>
                        <a:pt x="281630" y="619891"/>
                        <a:pt x="281550" y="619891"/>
                      </a:cubicBezTo>
                      <a:cubicBezTo>
                        <a:pt x="278577" y="621658"/>
                        <a:pt x="276730" y="623586"/>
                        <a:pt x="276730" y="623586"/>
                      </a:cubicBezTo>
                      <a:cubicBezTo>
                        <a:pt x="276730" y="623586"/>
                        <a:pt x="275846" y="626639"/>
                        <a:pt x="276409" y="626719"/>
                      </a:cubicBezTo>
                      <a:cubicBezTo>
                        <a:pt x="277132" y="626799"/>
                        <a:pt x="279541" y="623265"/>
                        <a:pt x="281469" y="620212"/>
                      </a:cubicBezTo>
                      <a:moveTo>
                        <a:pt x="1798061" y="424614"/>
                      </a:moveTo>
                      <a:lnTo>
                        <a:pt x="1797981" y="424453"/>
                      </a:lnTo>
                      <a:cubicBezTo>
                        <a:pt x="1796856" y="425417"/>
                        <a:pt x="1796053" y="424935"/>
                        <a:pt x="1795170" y="424292"/>
                      </a:cubicBezTo>
                      <a:cubicBezTo>
                        <a:pt x="1795330" y="424212"/>
                        <a:pt x="1795411" y="424132"/>
                        <a:pt x="1795571" y="424051"/>
                      </a:cubicBezTo>
                      <a:cubicBezTo>
                        <a:pt x="1794607" y="423328"/>
                        <a:pt x="1794366" y="422766"/>
                        <a:pt x="1794366" y="421883"/>
                      </a:cubicBezTo>
                      <a:cubicBezTo>
                        <a:pt x="1792680" y="423489"/>
                        <a:pt x="1792920" y="424614"/>
                        <a:pt x="1795411" y="426541"/>
                      </a:cubicBezTo>
                      <a:cubicBezTo>
                        <a:pt x="1794688" y="426461"/>
                        <a:pt x="1793804" y="426381"/>
                        <a:pt x="1793081" y="426300"/>
                      </a:cubicBezTo>
                      <a:cubicBezTo>
                        <a:pt x="1796214" y="427184"/>
                        <a:pt x="1797981" y="428229"/>
                        <a:pt x="1799748" y="430076"/>
                      </a:cubicBezTo>
                      <a:cubicBezTo>
                        <a:pt x="1796856" y="429755"/>
                        <a:pt x="1795009" y="429273"/>
                        <a:pt x="1792278" y="428229"/>
                      </a:cubicBezTo>
                      <a:cubicBezTo>
                        <a:pt x="1794366" y="429353"/>
                        <a:pt x="1795411" y="430076"/>
                        <a:pt x="1796856" y="431442"/>
                      </a:cubicBezTo>
                      <a:cubicBezTo>
                        <a:pt x="1795812" y="433530"/>
                        <a:pt x="1796375" y="434896"/>
                        <a:pt x="1798945" y="437145"/>
                      </a:cubicBezTo>
                      <a:cubicBezTo>
                        <a:pt x="1794688" y="436341"/>
                        <a:pt x="1793724" y="436020"/>
                        <a:pt x="1793724" y="433771"/>
                      </a:cubicBezTo>
                      <a:cubicBezTo>
                        <a:pt x="1793242" y="433450"/>
                        <a:pt x="1792599" y="433048"/>
                        <a:pt x="1792117" y="432727"/>
                      </a:cubicBezTo>
                      <a:cubicBezTo>
                        <a:pt x="1791394" y="431843"/>
                        <a:pt x="1789788" y="429674"/>
                        <a:pt x="1793001" y="429996"/>
                      </a:cubicBezTo>
                      <a:cubicBezTo>
                        <a:pt x="1793563" y="430076"/>
                        <a:pt x="1794125" y="430156"/>
                        <a:pt x="1794607" y="430317"/>
                      </a:cubicBezTo>
                      <a:cubicBezTo>
                        <a:pt x="1791796" y="429192"/>
                        <a:pt x="1789788" y="428469"/>
                        <a:pt x="1787297" y="427747"/>
                      </a:cubicBezTo>
                      <a:cubicBezTo>
                        <a:pt x="1787458" y="427666"/>
                        <a:pt x="1787699" y="427586"/>
                        <a:pt x="1787940" y="427586"/>
                      </a:cubicBezTo>
                      <a:cubicBezTo>
                        <a:pt x="1786494" y="426943"/>
                        <a:pt x="1785289" y="426622"/>
                        <a:pt x="1783522" y="426300"/>
                      </a:cubicBezTo>
                      <a:cubicBezTo>
                        <a:pt x="1783602" y="426541"/>
                        <a:pt x="1783763" y="426943"/>
                        <a:pt x="1783924" y="427184"/>
                      </a:cubicBezTo>
                      <a:cubicBezTo>
                        <a:pt x="1782397" y="427184"/>
                        <a:pt x="1781514" y="426863"/>
                        <a:pt x="1780389" y="425899"/>
                      </a:cubicBezTo>
                      <a:cubicBezTo>
                        <a:pt x="1780630" y="426381"/>
                        <a:pt x="1780952" y="427024"/>
                        <a:pt x="1781273" y="427586"/>
                      </a:cubicBezTo>
                      <a:cubicBezTo>
                        <a:pt x="1783361" y="430719"/>
                        <a:pt x="1783763" y="430879"/>
                        <a:pt x="1791234" y="432968"/>
                      </a:cubicBezTo>
                      <a:cubicBezTo>
                        <a:pt x="1790993" y="433932"/>
                        <a:pt x="1790350" y="436502"/>
                        <a:pt x="1794527" y="437707"/>
                      </a:cubicBezTo>
                      <a:cubicBezTo>
                        <a:pt x="1794768" y="437788"/>
                        <a:pt x="1801114" y="439715"/>
                        <a:pt x="1798061" y="444937"/>
                      </a:cubicBezTo>
                      <a:cubicBezTo>
                        <a:pt x="1801516" y="445820"/>
                        <a:pt x="1802319" y="447106"/>
                        <a:pt x="1801275" y="450238"/>
                      </a:cubicBezTo>
                      <a:cubicBezTo>
                        <a:pt x="1802238" y="450319"/>
                        <a:pt x="1803925" y="450560"/>
                        <a:pt x="1802721" y="451604"/>
                      </a:cubicBezTo>
                      <a:cubicBezTo>
                        <a:pt x="1802479" y="451845"/>
                        <a:pt x="1802238" y="452006"/>
                        <a:pt x="1801917" y="452166"/>
                      </a:cubicBezTo>
                      <a:cubicBezTo>
                        <a:pt x="1805773" y="455540"/>
                        <a:pt x="1807460" y="456825"/>
                        <a:pt x="1812601" y="460119"/>
                      </a:cubicBezTo>
                      <a:cubicBezTo>
                        <a:pt x="1812520" y="459878"/>
                        <a:pt x="1812440" y="459637"/>
                        <a:pt x="1812360" y="459396"/>
                      </a:cubicBezTo>
                      <a:cubicBezTo>
                        <a:pt x="1813966" y="460520"/>
                        <a:pt x="1814609" y="461565"/>
                        <a:pt x="1814850" y="463412"/>
                      </a:cubicBezTo>
                      <a:cubicBezTo>
                        <a:pt x="1815091" y="463171"/>
                        <a:pt x="1815412" y="462769"/>
                        <a:pt x="1815653" y="462528"/>
                      </a:cubicBezTo>
                      <a:lnTo>
                        <a:pt x="1817581" y="463010"/>
                      </a:lnTo>
                      <a:cubicBezTo>
                        <a:pt x="1815734" y="461565"/>
                        <a:pt x="1814850" y="460601"/>
                        <a:pt x="1813886" y="458833"/>
                      </a:cubicBezTo>
                      <a:cubicBezTo>
                        <a:pt x="1814850" y="458432"/>
                        <a:pt x="1815814" y="458512"/>
                        <a:pt x="1817340" y="459074"/>
                      </a:cubicBezTo>
                      <a:cubicBezTo>
                        <a:pt x="1818947" y="458191"/>
                        <a:pt x="1820232" y="458271"/>
                        <a:pt x="1821838" y="461645"/>
                      </a:cubicBezTo>
                      <a:cubicBezTo>
                        <a:pt x="1820714" y="458111"/>
                        <a:pt x="1818625" y="455540"/>
                        <a:pt x="1817019" y="453451"/>
                      </a:cubicBezTo>
                      <a:cubicBezTo>
                        <a:pt x="1817983" y="459958"/>
                        <a:pt x="1814047" y="457870"/>
                        <a:pt x="1811557" y="456102"/>
                      </a:cubicBezTo>
                      <a:cubicBezTo>
                        <a:pt x="1810673" y="455460"/>
                        <a:pt x="1809468" y="455219"/>
                        <a:pt x="1808745" y="454335"/>
                      </a:cubicBezTo>
                      <a:cubicBezTo>
                        <a:pt x="1808263" y="453773"/>
                        <a:pt x="1808584" y="453291"/>
                        <a:pt x="1808906" y="452809"/>
                      </a:cubicBezTo>
                      <a:cubicBezTo>
                        <a:pt x="1807219" y="451524"/>
                        <a:pt x="1806416" y="450640"/>
                        <a:pt x="1805532" y="449194"/>
                      </a:cubicBezTo>
                      <a:cubicBezTo>
                        <a:pt x="1805532" y="449515"/>
                        <a:pt x="1805452" y="449997"/>
                        <a:pt x="1805452" y="450319"/>
                      </a:cubicBezTo>
                      <a:cubicBezTo>
                        <a:pt x="1804086" y="449596"/>
                        <a:pt x="1804086" y="448712"/>
                        <a:pt x="1804166" y="448391"/>
                      </a:cubicBezTo>
                      <a:cubicBezTo>
                        <a:pt x="1804327" y="447427"/>
                        <a:pt x="1801194" y="443250"/>
                        <a:pt x="1800070" y="441724"/>
                      </a:cubicBezTo>
                      <a:cubicBezTo>
                        <a:pt x="1800552" y="441884"/>
                        <a:pt x="1801275" y="442125"/>
                        <a:pt x="1801756" y="442366"/>
                      </a:cubicBezTo>
                      <a:cubicBezTo>
                        <a:pt x="1800552" y="441001"/>
                        <a:pt x="1799347" y="439635"/>
                        <a:pt x="1798142" y="438350"/>
                      </a:cubicBezTo>
                      <a:cubicBezTo>
                        <a:pt x="1798945" y="438591"/>
                        <a:pt x="1799989" y="438912"/>
                        <a:pt x="1800793" y="439153"/>
                      </a:cubicBezTo>
                      <a:cubicBezTo>
                        <a:pt x="1799909" y="438430"/>
                        <a:pt x="1799829" y="438350"/>
                        <a:pt x="1799748" y="437868"/>
                      </a:cubicBezTo>
                      <a:cubicBezTo>
                        <a:pt x="1799989" y="437547"/>
                        <a:pt x="1799989" y="437466"/>
                        <a:pt x="1800632" y="437386"/>
                      </a:cubicBezTo>
                      <a:cubicBezTo>
                        <a:pt x="1799668" y="436181"/>
                        <a:pt x="1798142" y="435458"/>
                        <a:pt x="1797740" y="433771"/>
                      </a:cubicBezTo>
                      <a:cubicBezTo>
                        <a:pt x="1797981" y="433530"/>
                        <a:pt x="1798222" y="433289"/>
                        <a:pt x="1801034" y="434735"/>
                      </a:cubicBezTo>
                      <a:cubicBezTo>
                        <a:pt x="1800311" y="435619"/>
                        <a:pt x="1800632" y="436261"/>
                        <a:pt x="1802238" y="436984"/>
                      </a:cubicBezTo>
                      <a:cubicBezTo>
                        <a:pt x="1801676" y="434815"/>
                        <a:pt x="1801034" y="433369"/>
                        <a:pt x="1799427" y="430879"/>
                      </a:cubicBezTo>
                      <a:cubicBezTo>
                        <a:pt x="1800873" y="432325"/>
                        <a:pt x="1801837" y="432566"/>
                        <a:pt x="1803363" y="432004"/>
                      </a:cubicBezTo>
                      <a:cubicBezTo>
                        <a:pt x="1800953" y="431120"/>
                        <a:pt x="1800391" y="430397"/>
                        <a:pt x="1801435" y="429192"/>
                      </a:cubicBezTo>
                      <a:cubicBezTo>
                        <a:pt x="1800070" y="428068"/>
                        <a:pt x="1799106" y="427425"/>
                        <a:pt x="1797258" y="426541"/>
                      </a:cubicBezTo>
                      <a:cubicBezTo>
                        <a:pt x="1797338" y="426140"/>
                        <a:pt x="1797499" y="425578"/>
                        <a:pt x="1797579" y="425256"/>
                      </a:cubicBezTo>
                      <a:lnTo>
                        <a:pt x="1798061" y="424614"/>
                      </a:lnTo>
                      <a:moveTo>
                        <a:pt x="1786655" y="419151"/>
                      </a:moveTo>
                      <a:lnTo>
                        <a:pt x="1786655" y="418428"/>
                      </a:lnTo>
                      <a:lnTo>
                        <a:pt x="1786575" y="418750"/>
                      </a:lnTo>
                      <a:cubicBezTo>
                        <a:pt x="1786494" y="419151"/>
                        <a:pt x="1786494" y="419633"/>
                        <a:pt x="1786494" y="420115"/>
                      </a:cubicBezTo>
                      <a:cubicBezTo>
                        <a:pt x="1786494" y="420437"/>
                        <a:pt x="1786494" y="420678"/>
                        <a:pt x="1786334" y="420919"/>
                      </a:cubicBezTo>
                      <a:cubicBezTo>
                        <a:pt x="1786012" y="421320"/>
                        <a:pt x="1784084" y="421883"/>
                        <a:pt x="1784084" y="421883"/>
                      </a:cubicBezTo>
                      <a:cubicBezTo>
                        <a:pt x="1787137" y="423328"/>
                        <a:pt x="1789788" y="424373"/>
                        <a:pt x="1792599" y="425096"/>
                      </a:cubicBezTo>
                      <a:cubicBezTo>
                        <a:pt x="1791314" y="423409"/>
                        <a:pt x="1789225" y="421160"/>
                        <a:pt x="1786655" y="419151"/>
                      </a:cubicBezTo>
                      <a:moveTo>
                        <a:pt x="1686084" y="484619"/>
                      </a:moveTo>
                      <a:cubicBezTo>
                        <a:pt x="1685281" y="483253"/>
                        <a:pt x="1681827" y="483012"/>
                        <a:pt x="1681746" y="483012"/>
                      </a:cubicBezTo>
                      <a:cubicBezTo>
                        <a:pt x="1679417" y="482932"/>
                        <a:pt x="1677730" y="483574"/>
                        <a:pt x="1676445" y="484137"/>
                      </a:cubicBezTo>
                      <a:cubicBezTo>
                        <a:pt x="1676605" y="484217"/>
                        <a:pt x="1676766" y="484297"/>
                        <a:pt x="1676927" y="484297"/>
                      </a:cubicBezTo>
                      <a:cubicBezTo>
                        <a:pt x="1678051" y="484860"/>
                        <a:pt x="1678132" y="484940"/>
                        <a:pt x="1678132" y="485181"/>
                      </a:cubicBezTo>
                      <a:cubicBezTo>
                        <a:pt x="1677971" y="485342"/>
                        <a:pt x="1677891" y="485422"/>
                        <a:pt x="1676846" y="485422"/>
                      </a:cubicBezTo>
                      <a:cubicBezTo>
                        <a:pt x="1677409" y="485663"/>
                        <a:pt x="1678212" y="485984"/>
                        <a:pt x="1678774" y="486305"/>
                      </a:cubicBezTo>
                      <a:cubicBezTo>
                        <a:pt x="1681425" y="487832"/>
                        <a:pt x="1688494" y="491929"/>
                        <a:pt x="1687450" y="487511"/>
                      </a:cubicBezTo>
                      <a:cubicBezTo>
                        <a:pt x="1687128" y="486546"/>
                        <a:pt x="1686486" y="485422"/>
                        <a:pt x="1686084" y="484619"/>
                      </a:cubicBezTo>
                      <a:moveTo>
                        <a:pt x="1826498" y="419473"/>
                      </a:moveTo>
                      <a:cubicBezTo>
                        <a:pt x="1824168" y="416822"/>
                        <a:pt x="1820553" y="418268"/>
                        <a:pt x="1817822" y="416661"/>
                      </a:cubicBezTo>
                      <a:cubicBezTo>
                        <a:pt x="1819830" y="419232"/>
                        <a:pt x="1822240" y="421401"/>
                        <a:pt x="1825534" y="423810"/>
                      </a:cubicBezTo>
                      <a:cubicBezTo>
                        <a:pt x="1824409" y="425176"/>
                        <a:pt x="1822963" y="426220"/>
                        <a:pt x="1821678" y="426541"/>
                      </a:cubicBezTo>
                      <a:cubicBezTo>
                        <a:pt x="1821035" y="424774"/>
                        <a:pt x="1819750" y="423971"/>
                        <a:pt x="1817099" y="423730"/>
                      </a:cubicBezTo>
                      <a:cubicBezTo>
                        <a:pt x="1820714" y="427907"/>
                        <a:pt x="1816778" y="427988"/>
                        <a:pt x="1816697" y="427988"/>
                      </a:cubicBezTo>
                      <a:cubicBezTo>
                        <a:pt x="1816537" y="427988"/>
                        <a:pt x="1806175" y="425578"/>
                        <a:pt x="1808343" y="423810"/>
                      </a:cubicBezTo>
                      <a:cubicBezTo>
                        <a:pt x="1809227" y="423007"/>
                        <a:pt x="1812922" y="422605"/>
                        <a:pt x="1814448" y="422445"/>
                      </a:cubicBezTo>
                      <a:cubicBezTo>
                        <a:pt x="1814288" y="422525"/>
                        <a:pt x="1814047" y="422686"/>
                        <a:pt x="1813886" y="422766"/>
                      </a:cubicBezTo>
                      <a:cubicBezTo>
                        <a:pt x="1814770" y="423087"/>
                        <a:pt x="1816938" y="423891"/>
                        <a:pt x="1818545" y="422525"/>
                      </a:cubicBezTo>
                      <a:cubicBezTo>
                        <a:pt x="1812520" y="422525"/>
                        <a:pt x="1806335" y="421963"/>
                        <a:pt x="1803283" y="414573"/>
                      </a:cubicBezTo>
                      <a:cubicBezTo>
                        <a:pt x="1801997" y="417143"/>
                        <a:pt x="1800230" y="417304"/>
                        <a:pt x="1798142" y="416661"/>
                      </a:cubicBezTo>
                      <a:cubicBezTo>
                        <a:pt x="1799106" y="417786"/>
                        <a:pt x="1799748" y="418348"/>
                        <a:pt x="1800953" y="419232"/>
                      </a:cubicBezTo>
                      <a:cubicBezTo>
                        <a:pt x="1800230" y="419151"/>
                        <a:pt x="1799266" y="419071"/>
                        <a:pt x="1798543" y="418991"/>
                      </a:cubicBezTo>
                      <a:cubicBezTo>
                        <a:pt x="1795652" y="417384"/>
                        <a:pt x="1793242" y="416340"/>
                        <a:pt x="1789306" y="414894"/>
                      </a:cubicBezTo>
                      <a:cubicBezTo>
                        <a:pt x="1789386" y="414894"/>
                        <a:pt x="1789386" y="414974"/>
                        <a:pt x="1789466" y="414974"/>
                      </a:cubicBezTo>
                      <a:cubicBezTo>
                        <a:pt x="1791555" y="416420"/>
                        <a:pt x="1792760" y="418750"/>
                        <a:pt x="1795009" y="420035"/>
                      </a:cubicBezTo>
                      <a:cubicBezTo>
                        <a:pt x="1797579" y="421561"/>
                        <a:pt x="1800873" y="421079"/>
                        <a:pt x="1803283" y="423168"/>
                      </a:cubicBezTo>
                      <a:cubicBezTo>
                        <a:pt x="1804327" y="424051"/>
                        <a:pt x="1804327" y="424051"/>
                        <a:pt x="1805211" y="428309"/>
                      </a:cubicBezTo>
                      <a:cubicBezTo>
                        <a:pt x="1816296" y="428871"/>
                        <a:pt x="1817420" y="428951"/>
                        <a:pt x="1821437" y="431201"/>
                      </a:cubicBezTo>
                      <a:cubicBezTo>
                        <a:pt x="1825052" y="433289"/>
                        <a:pt x="1828827" y="438430"/>
                        <a:pt x="1828024" y="441563"/>
                      </a:cubicBezTo>
                      <a:cubicBezTo>
                        <a:pt x="1825052" y="439956"/>
                        <a:pt x="1823124" y="439474"/>
                        <a:pt x="1819991" y="439153"/>
                      </a:cubicBezTo>
                      <a:cubicBezTo>
                        <a:pt x="1822561" y="440278"/>
                        <a:pt x="1824891" y="441563"/>
                        <a:pt x="1822079" y="442848"/>
                      </a:cubicBezTo>
                      <a:cubicBezTo>
                        <a:pt x="1822722" y="443892"/>
                        <a:pt x="1822803" y="443973"/>
                        <a:pt x="1822963" y="444455"/>
                      </a:cubicBezTo>
                      <a:cubicBezTo>
                        <a:pt x="1822883" y="444535"/>
                        <a:pt x="1822803" y="444615"/>
                        <a:pt x="1822722" y="444615"/>
                      </a:cubicBezTo>
                      <a:cubicBezTo>
                        <a:pt x="1822160" y="444374"/>
                        <a:pt x="1821598" y="444053"/>
                        <a:pt x="1819589" y="442446"/>
                      </a:cubicBezTo>
                      <a:cubicBezTo>
                        <a:pt x="1822401" y="445740"/>
                        <a:pt x="1823525" y="446945"/>
                        <a:pt x="1825373" y="448873"/>
                      </a:cubicBezTo>
                      <a:cubicBezTo>
                        <a:pt x="1826176" y="448150"/>
                        <a:pt x="1826738" y="448230"/>
                        <a:pt x="1827461" y="449194"/>
                      </a:cubicBezTo>
                      <a:cubicBezTo>
                        <a:pt x="1836217" y="449274"/>
                        <a:pt x="1837984" y="447106"/>
                        <a:pt x="1834691" y="440599"/>
                      </a:cubicBezTo>
                      <a:cubicBezTo>
                        <a:pt x="1833486" y="442205"/>
                        <a:pt x="1833165" y="442286"/>
                        <a:pt x="1832763" y="442205"/>
                      </a:cubicBezTo>
                      <a:cubicBezTo>
                        <a:pt x="1832522" y="441804"/>
                        <a:pt x="1832361" y="441483"/>
                        <a:pt x="1832844" y="438510"/>
                      </a:cubicBezTo>
                      <a:cubicBezTo>
                        <a:pt x="1831558" y="437788"/>
                        <a:pt x="1831317" y="437225"/>
                        <a:pt x="1831719" y="436261"/>
                      </a:cubicBezTo>
                      <a:cubicBezTo>
                        <a:pt x="1831237" y="436422"/>
                        <a:pt x="1830514" y="436663"/>
                        <a:pt x="1830032" y="436824"/>
                      </a:cubicBezTo>
                      <a:cubicBezTo>
                        <a:pt x="1829871" y="435056"/>
                        <a:pt x="1831157" y="434414"/>
                        <a:pt x="1834129" y="434815"/>
                      </a:cubicBezTo>
                      <a:cubicBezTo>
                        <a:pt x="1834129" y="429353"/>
                        <a:pt x="1833325" y="426220"/>
                        <a:pt x="1833325" y="426220"/>
                      </a:cubicBezTo>
                      <a:cubicBezTo>
                        <a:pt x="1833325" y="426220"/>
                        <a:pt x="1831558" y="424453"/>
                        <a:pt x="1830755" y="425096"/>
                      </a:cubicBezTo>
                      <a:cubicBezTo>
                        <a:pt x="1830675" y="425176"/>
                        <a:pt x="1830675" y="425256"/>
                        <a:pt x="1830594" y="425337"/>
                      </a:cubicBezTo>
                      <a:cubicBezTo>
                        <a:pt x="1829229" y="423328"/>
                        <a:pt x="1828024" y="421240"/>
                        <a:pt x="1826498" y="419473"/>
                      </a:cubicBezTo>
                      <a:moveTo>
                        <a:pt x="1832763" y="380835"/>
                      </a:moveTo>
                      <a:cubicBezTo>
                        <a:pt x="1832442" y="380192"/>
                        <a:pt x="1829711" y="381317"/>
                        <a:pt x="1826819" y="382602"/>
                      </a:cubicBezTo>
                      <a:cubicBezTo>
                        <a:pt x="1826899" y="382682"/>
                        <a:pt x="1827060" y="382763"/>
                        <a:pt x="1827140" y="382843"/>
                      </a:cubicBezTo>
                      <a:cubicBezTo>
                        <a:pt x="1828425" y="383807"/>
                        <a:pt x="1828827" y="384048"/>
                        <a:pt x="1829711" y="384610"/>
                      </a:cubicBezTo>
                      <a:cubicBezTo>
                        <a:pt x="1830675" y="383807"/>
                        <a:pt x="1833165" y="381478"/>
                        <a:pt x="1832763" y="380835"/>
                      </a:cubicBezTo>
                      <a:moveTo>
                        <a:pt x="272472" y="613786"/>
                      </a:moveTo>
                      <a:cubicBezTo>
                        <a:pt x="273999" y="611537"/>
                        <a:pt x="275364" y="609207"/>
                        <a:pt x="276810" y="606878"/>
                      </a:cubicBezTo>
                      <a:cubicBezTo>
                        <a:pt x="276650" y="606958"/>
                        <a:pt x="276489" y="607119"/>
                        <a:pt x="276409" y="607199"/>
                      </a:cubicBezTo>
                      <a:cubicBezTo>
                        <a:pt x="274641" y="608485"/>
                        <a:pt x="273999" y="608244"/>
                        <a:pt x="274159" y="606396"/>
                      </a:cubicBezTo>
                      <a:cubicBezTo>
                        <a:pt x="270464" y="607681"/>
                        <a:pt x="264681" y="610091"/>
                        <a:pt x="264681" y="610091"/>
                      </a:cubicBezTo>
                      <a:cubicBezTo>
                        <a:pt x="264681" y="610091"/>
                        <a:pt x="261709" y="615714"/>
                        <a:pt x="261468" y="622783"/>
                      </a:cubicBezTo>
                      <a:cubicBezTo>
                        <a:pt x="262913" y="620935"/>
                        <a:pt x="264118" y="619570"/>
                        <a:pt x="265805" y="617803"/>
                      </a:cubicBezTo>
                      <a:cubicBezTo>
                        <a:pt x="266689" y="620775"/>
                        <a:pt x="268697" y="619570"/>
                        <a:pt x="272472" y="613786"/>
                      </a:cubicBezTo>
                      <a:moveTo>
                        <a:pt x="1819027" y="407986"/>
                      </a:moveTo>
                      <a:cubicBezTo>
                        <a:pt x="1815412" y="404451"/>
                        <a:pt x="1810352" y="402122"/>
                        <a:pt x="1810030" y="401961"/>
                      </a:cubicBezTo>
                      <a:cubicBezTo>
                        <a:pt x="1809870" y="401961"/>
                        <a:pt x="1809709" y="402042"/>
                        <a:pt x="1809629" y="402122"/>
                      </a:cubicBezTo>
                      <a:cubicBezTo>
                        <a:pt x="1809548" y="402122"/>
                        <a:pt x="1804889" y="403487"/>
                        <a:pt x="1798463" y="401640"/>
                      </a:cubicBezTo>
                      <a:lnTo>
                        <a:pt x="1799186" y="401881"/>
                      </a:lnTo>
                      <a:cubicBezTo>
                        <a:pt x="1809709" y="405496"/>
                        <a:pt x="1817260" y="408950"/>
                        <a:pt x="1819991" y="410235"/>
                      </a:cubicBezTo>
                      <a:cubicBezTo>
                        <a:pt x="1820312" y="410396"/>
                        <a:pt x="1820794" y="410476"/>
                        <a:pt x="1821116" y="410396"/>
                      </a:cubicBezTo>
                      <a:cubicBezTo>
                        <a:pt x="1820553" y="409673"/>
                        <a:pt x="1820071" y="409030"/>
                        <a:pt x="1819027" y="407986"/>
                      </a:cubicBezTo>
                      <a:moveTo>
                        <a:pt x="1785691" y="413609"/>
                      </a:moveTo>
                      <a:cubicBezTo>
                        <a:pt x="1785691" y="413609"/>
                        <a:pt x="1785691" y="413609"/>
                        <a:pt x="1785691" y="413609"/>
                      </a:cubicBezTo>
                      <a:cubicBezTo>
                        <a:pt x="1784888" y="413368"/>
                        <a:pt x="1784004" y="413127"/>
                        <a:pt x="1783120" y="412886"/>
                      </a:cubicBezTo>
                      <a:cubicBezTo>
                        <a:pt x="1783843" y="413127"/>
                        <a:pt x="1784807" y="413448"/>
                        <a:pt x="1785530" y="413689"/>
                      </a:cubicBezTo>
                      <a:cubicBezTo>
                        <a:pt x="1785611" y="413609"/>
                        <a:pt x="1785691" y="413609"/>
                        <a:pt x="1785691" y="413609"/>
                      </a:cubicBezTo>
                      <a:moveTo>
                        <a:pt x="1667609" y="485663"/>
                      </a:moveTo>
                      <a:lnTo>
                        <a:pt x="1667529" y="485101"/>
                      </a:lnTo>
                      <a:cubicBezTo>
                        <a:pt x="1663994" y="484860"/>
                        <a:pt x="1660379" y="483976"/>
                        <a:pt x="1663030" y="480924"/>
                      </a:cubicBezTo>
                      <a:cubicBezTo>
                        <a:pt x="1661986" y="480763"/>
                        <a:pt x="1661343" y="480843"/>
                        <a:pt x="1660620" y="481325"/>
                      </a:cubicBezTo>
                      <a:cubicBezTo>
                        <a:pt x="1659978" y="481807"/>
                        <a:pt x="1659737" y="482129"/>
                        <a:pt x="1659415" y="482932"/>
                      </a:cubicBezTo>
                      <a:cubicBezTo>
                        <a:pt x="1661263" y="485020"/>
                        <a:pt x="1664074" y="485984"/>
                        <a:pt x="1667609" y="485663"/>
                      </a:cubicBezTo>
                      <a:moveTo>
                        <a:pt x="1837422" y="371919"/>
                      </a:moveTo>
                      <a:cubicBezTo>
                        <a:pt x="1837181" y="370955"/>
                        <a:pt x="1833004" y="370553"/>
                        <a:pt x="1827622" y="370071"/>
                      </a:cubicBezTo>
                      <a:cubicBezTo>
                        <a:pt x="1827542" y="369910"/>
                        <a:pt x="1827381" y="369669"/>
                        <a:pt x="1827301" y="369509"/>
                      </a:cubicBezTo>
                      <a:cubicBezTo>
                        <a:pt x="1825614" y="369187"/>
                        <a:pt x="1825132" y="369348"/>
                        <a:pt x="1824811" y="369750"/>
                      </a:cubicBezTo>
                      <a:cubicBezTo>
                        <a:pt x="1824570" y="370553"/>
                        <a:pt x="1826417" y="373123"/>
                        <a:pt x="1828425" y="374569"/>
                      </a:cubicBezTo>
                      <a:cubicBezTo>
                        <a:pt x="1831237" y="373927"/>
                        <a:pt x="1837101" y="375614"/>
                        <a:pt x="1845214" y="382441"/>
                      </a:cubicBezTo>
                      <a:cubicBezTo>
                        <a:pt x="1843447" y="380273"/>
                        <a:pt x="1840394" y="377060"/>
                        <a:pt x="1834852" y="373686"/>
                      </a:cubicBezTo>
                      <a:cubicBezTo>
                        <a:pt x="1835735" y="373284"/>
                        <a:pt x="1837583" y="372561"/>
                        <a:pt x="1837422" y="371919"/>
                      </a:cubicBezTo>
                      <a:moveTo>
                        <a:pt x="1807379" y="387502"/>
                      </a:moveTo>
                      <a:cubicBezTo>
                        <a:pt x="1806657" y="386619"/>
                        <a:pt x="1804488" y="386860"/>
                        <a:pt x="1802640" y="387101"/>
                      </a:cubicBezTo>
                      <a:cubicBezTo>
                        <a:pt x="1802721" y="387181"/>
                        <a:pt x="1802881" y="387261"/>
                        <a:pt x="1802961" y="387342"/>
                      </a:cubicBezTo>
                      <a:cubicBezTo>
                        <a:pt x="1803684" y="387984"/>
                        <a:pt x="1804006" y="388386"/>
                        <a:pt x="1804086" y="389109"/>
                      </a:cubicBezTo>
                      <a:cubicBezTo>
                        <a:pt x="1806094" y="389350"/>
                        <a:pt x="1807620" y="389671"/>
                        <a:pt x="1810593" y="390555"/>
                      </a:cubicBezTo>
                      <a:cubicBezTo>
                        <a:pt x="1809709" y="389591"/>
                        <a:pt x="1808986" y="389109"/>
                        <a:pt x="1807701" y="388466"/>
                      </a:cubicBezTo>
                      <a:cubicBezTo>
                        <a:pt x="1807620" y="388145"/>
                        <a:pt x="1807620" y="387824"/>
                        <a:pt x="1807379" y="387502"/>
                      </a:cubicBezTo>
                      <a:moveTo>
                        <a:pt x="325168" y="616035"/>
                      </a:moveTo>
                      <a:cubicBezTo>
                        <a:pt x="321794" y="611778"/>
                        <a:pt x="320428" y="609930"/>
                        <a:pt x="317376" y="605673"/>
                      </a:cubicBezTo>
                      <a:cubicBezTo>
                        <a:pt x="317456" y="605834"/>
                        <a:pt x="317617" y="605994"/>
                        <a:pt x="317697" y="606155"/>
                      </a:cubicBezTo>
                      <a:cubicBezTo>
                        <a:pt x="321392" y="611296"/>
                        <a:pt x="324364" y="615071"/>
                        <a:pt x="325168" y="616035"/>
                      </a:cubicBezTo>
                      <a:moveTo>
                        <a:pt x="251587" y="574666"/>
                      </a:moveTo>
                      <a:cubicBezTo>
                        <a:pt x="252150" y="574425"/>
                        <a:pt x="251587" y="571855"/>
                        <a:pt x="250543" y="567678"/>
                      </a:cubicBezTo>
                      <a:cubicBezTo>
                        <a:pt x="250222" y="566553"/>
                        <a:pt x="249900" y="565268"/>
                        <a:pt x="252953" y="563019"/>
                      </a:cubicBezTo>
                      <a:cubicBezTo>
                        <a:pt x="252551" y="563099"/>
                        <a:pt x="251989" y="563260"/>
                        <a:pt x="251507" y="563420"/>
                      </a:cubicBezTo>
                      <a:cubicBezTo>
                        <a:pt x="252390" y="562216"/>
                        <a:pt x="253033" y="561252"/>
                        <a:pt x="253595" y="560207"/>
                      </a:cubicBezTo>
                      <a:cubicBezTo>
                        <a:pt x="253194" y="560609"/>
                        <a:pt x="252712" y="561171"/>
                        <a:pt x="252310" y="561573"/>
                      </a:cubicBezTo>
                      <a:cubicBezTo>
                        <a:pt x="247812" y="565670"/>
                        <a:pt x="246446" y="564786"/>
                        <a:pt x="243635" y="563099"/>
                      </a:cubicBezTo>
                      <a:cubicBezTo>
                        <a:pt x="246848" y="566473"/>
                        <a:pt x="248374" y="569927"/>
                        <a:pt x="249017" y="571694"/>
                      </a:cubicBezTo>
                      <a:cubicBezTo>
                        <a:pt x="249659" y="573381"/>
                        <a:pt x="251266" y="574747"/>
                        <a:pt x="251587" y="574666"/>
                      </a:cubicBezTo>
                      <a:moveTo>
                        <a:pt x="1779666" y="396660"/>
                      </a:moveTo>
                      <a:cubicBezTo>
                        <a:pt x="1779265" y="395856"/>
                        <a:pt x="1777658" y="395455"/>
                        <a:pt x="1776614" y="395214"/>
                      </a:cubicBezTo>
                      <a:cubicBezTo>
                        <a:pt x="1776132" y="394812"/>
                        <a:pt x="1775650" y="394410"/>
                        <a:pt x="1775168" y="393928"/>
                      </a:cubicBezTo>
                      <a:cubicBezTo>
                        <a:pt x="1771312" y="396499"/>
                        <a:pt x="1768902" y="397624"/>
                        <a:pt x="1765770" y="398106"/>
                      </a:cubicBezTo>
                      <a:cubicBezTo>
                        <a:pt x="1766091" y="398346"/>
                        <a:pt x="1766493" y="398748"/>
                        <a:pt x="1766814" y="398989"/>
                      </a:cubicBezTo>
                      <a:cubicBezTo>
                        <a:pt x="1771634" y="402363"/>
                        <a:pt x="1775409" y="401881"/>
                        <a:pt x="1775570" y="401801"/>
                      </a:cubicBezTo>
                      <a:cubicBezTo>
                        <a:pt x="1775650" y="401801"/>
                        <a:pt x="1779988" y="398668"/>
                        <a:pt x="1779747" y="396981"/>
                      </a:cubicBezTo>
                      <a:cubicBezTo>
                        <a:pt x="1779747" y="396981"/>
                        <a:pt x="1779666" y="396820"/>
                        <a:pt x="1779666" y="396660"/>
                      </a:cubicBezTo>
                      <a:moveTo>
                        <a:pt x="1799909" y="372320"/>
                      </a:moveTo>
                      <a:cubicBezTo>
                        <a:pt x="1798302" y="370714"/>
                        <a:pt x="1796535" y="371276"/>
                        <a:pt x="1795973" y="371517"/>
                      </a:cubicBezTo>
                      <a:cubicBezTo>
                        <a:pt x="1796214" y="371678"/>
                        <a:pt x="1796535" y="371838"/>
                        <a:pt x="1796776" y="371999"/>
                      </a:cubicBezTo>
                      <a:cubicBezTo>
                        <a:pt x="1797258" y="373043"/>
                        <a:pt x="1797419" y="374168"/>
                        <a:pt x="1794768" y="374489"/>
                      </a:cubicBezTo>
                      <a:cubicBezTo>
                        <a:pt x="1794929" y="374730"/>
                        <a:pt x="1795170" y="374971"/>
                        <a:pt x="1795330" y="375212"/>
                      </a:cubicBezTo>
                      <a:cubicBezTo>
                        <a:pt x="1797178" y="374650"/>
                        <a:pt x="1798704" y="373927"/>
                        <a:pt x="1800471" y="372882"/>
                      </a:cubicBezTo>
                      <a:cubicBezTo>
                        <a:pt x="1800230" y="372722"/>
                        <a:pt x="1800070" y="372481"/>
                        <a:pt x="1799909" y="372320"/>
                      </a:cubicBezTo>
                      <a:moveTo>
                        <a:pt x="1684558" y="466866"/>
                      </a:moveTo>
                      <a:lnTo>
                        <a:pt x="1687289" y="466947"/>
                      </a:lnTo>
                      <a:cubicBezTo>
                        <a:pt x="1675481" y="460681"/>
                        <a:pt x="1664878" y="458994"/>
                        <a:pt x="1651784" y="461243"/>
                      </a:cubicBezTo>
                      <a:cubicBezTo>
                        <a:pt x="1652347" y="461163"/>
                        <a:pt x="1653150" y="461163"/>
                        <a:pt x="1653712" y="461083"/>
                      </a:cubicBezTo>
                      <a:cubicBezTo>
                        <a:pt x="1664556" y="460440"/>
                        <a:pt x="1672509" y="461966"/>
                        <a:pt x="1680220" y="465983"/>
                      </a:cubicBezTo>
                      <a:cubicBezTo>
                        <a:pt x="1679658" y="465983"/>
                        <a:pt x="1678935" y="465983"/>
                        <a:pt x="1678292" y="465983"/>
                      </a:cubicBezTo>
                      <a:lnTo>
                        <a:pt x="1679176" y="466223"/>
                      </a:lnTo>
                      <a:cubicBezTo>
                        <a:pt x="1681827" y="466143"/>
                        <a:pt x="1683032" y="466545"/>
                        <a:pt x="1684397" y="468152"/>
                      </a:cubicBezTo>
                      <a:cubicBezTo>
                        <a:pt x="1684397" y="467830"/>
                        <a:pt x="1684478" y="467268"/>
                        <a:pt x="1684558" y="466866"/>
                      </a:cubicBezTo>
                      <a:moveTo>
                        <a:pt x="258897" y="555548"/>
                      </a:moveTo>
                      <a:cubicBezTo>
                        <a:pt x="258897" y="555548"/>
                        <a:pt x="258977" y="555468"/>
                        <a:pt x="258977" y="555388"/>
                      </a:cubicBezTo>
                      <a:cubicBezTo>
                        <a:pt x="258977" y="555388"/>
                        <a:pt x="258897" y="555388"/>
                        <a:pt x="258817" y="555388"/>
                      </a:cubicBezTo>
                      <a:cubicBezTo>
                        <a:pt x="257371" y="555307"/>
                        <a:pt x="256166" y="556271"/>
                        <a:pt x="255604" y="556673"/>
                      </a:cubicBezTo>
                      <a:cubicBezTo>
                        <a:pt x="256889" y="557476"/>
                        <a:pt x="258335" y="556191"/>
                        <a:pt x="258897" y="555548"/>
                      </a:cubicBezTo>
                      <a:moveTo>
                        <a:pt x="254479" y="555709"/>
                      </a:moveTo>
                      <a:cubicBezTo>
                        <a:pt x="254479" y="555789"/>
                        <a:pt x="254399" y="555870"/>
                        <a:pt x="254399" y="555870"/>
                      </a:cubicBezTo>
                      <a:cubicBezTo>
                        <a:pt x="255764" y="554022"/>
                        <a:pt x="256407" y="552416"/>
                        <a:pt x="256246" y="551211"/>
                      </a:cubicBezTo>
                      <a:cubicBezTo>
                        <a:pt x="255845" y="551612"/>
                        <a:pt x="255363" y="552094"/>
                        <a:pt x="255041" y="552496"/>
                      </a:cubicBezTo>
                      <a:lnTo>
                        <a:pt x="253997" y="553942"/>
                      </a:lnTo>
                      <a:cubicBezTo>
                        <a:pt x="254640" y="553861"/>
                        <a:pt x="255282" y="553861"/>
                        <a:pt x="254479" y="555709"/>
                      </a:cubicBezTo>
                      <a:moveTo>
                        <a:pt x="254077" y="552737"/>
                      </a:moveTo>
                      <a:cubicBezTo>
                        <a:pt x="254559" y="552175"/>
                        <a:pt x="255523" y="550729"/>
                        <a:pt x="255363" y="549925"/>
                      </a:cubicBezTo>
                      <a:cubicBezTo>
                        <a:pt x="255363" y="550006"/>
                        <a:pt x="255282" y="550006"/>
                        <a:pt x="255282" y="550086"/>
                      </a:cubicBezTo>
                      <a:cubicBezTo>
                        <a:pt x="254318" y="551853"/>
                        <a:pt x="253435" y="553299"/>
                        <a:pt x="252471" y="554424"/>
                      </a:cubicBezTo>
                      <a:cubicBezTo>
                        <a:pt x="252792" y="554183"/>
                        <a:pt x="253435" y="553620"/>
                        <a:pt x="254077" y="552737"/>
                      </a:cubicBezTo>
                      <a:moveTo>
                        <a:pt x="260423" y="555388"/>
                      </a:moveTo>
                      <a:cubicBezTo>
                        <a:pt x="260584" y="555227"/>
                        <a:pt x="260504" y="555066"/>
                        <a:pt x="260343" y="554906"/>
                      </a:cubicBezTo>
                      <a:cubicBezTo>
                        <a:pt x="260343" y="554906"/>
                        <a:pt x="260263" y="554825"/>
                        <a:pt x="260182" y="554825"/>
                      </a:cubicBezTo>
                      <a:cubicBezTo>
                        <a:pt x="260022" y="555147"/>
                        <a:pt x="259781" y="555468"/>
                        <a:pt x="259620" y="555789"/>
                      </a:cubicBezTo>
                      <a:cubicBezTo>
                        <a:pt x="259781" y="555709"/>
                        <a:pt x="260263" y="555548"/>
                        <a:pt x="260423" y="555388"/>
                      </a:cubicBezTo>
                      <a:moveTo>
                        <a:pt x="1650017" y="460601"/>
                      </a:moveTo>
                      <a:cubicBezTo>
                        <a:pt x="1650017" y="460601"/>
                        <a:pt x="1650097" y="460520"/>
                        <a:pt x="1650097" y="460520"/>
                      </a:cubicBezTo>
                      <a:cubicBezTo>
                        <a:pt x="1648892" y="460279"/>
                        <a:pt x="1647286" y="460038"/>
                        <a:pt x="1646081" y="459797"/>
                      </a:cubicBezTo>
                      <a:lnTo>
                        <a:pt x="1645760" y="461324"/>
                      </a:lnTo>
                      <a:lnTo>
                        <a:pt x="1645760" y="462769"/>
                      </a:lnTo>
                      <a:cubicBezTo>
                        <a:pt x="1646723" y="462368"/>
                        <a:pt x="1648892" y="461324"/>
                        <a:pt x="1650017" y="460601"/>
                      </a:cubicBezTo>
                      <a:moveTo>
                        <a:pt x="245241" y="541571"/>
                      </a:moveTo>
                      <a:lnTo>
                        <a:pt x="246446" y="540607"/>
                      </a:lnTo>
                      <a:cubicBezTo>
                        <a:pt x="247892" y="538117"/>
                        <a:pt x="248535" y="536189"/>
                        <a:pt x="248374" y="534583"/>
                      </a:cubicBezTo>
                      <a:cubicBezTo>
                        <a:pt x="248374" y="534663"/>
                        <a:pt x="248294" y="534743"/>
                        <a:pt x="248294" y="534824"/>
                      </a:cubicBezTo>
                      <a:cubicBezTo>
                        <a:pt x="247490" y="536832"/>
                        <a:pt x="246527" y="539001"/>
                        <a:pt x="245241" y="541571"/>
                      </a:cubicBezTo>
                      <a:moveTo>
                        <a:pt x="553620" y="647363"/>
                      </a:moveTo>
                      <a:cubicBezTo>
                        <a:pt x="553620" y="647363"/>
                        <a:pt x="553701" y="647363"/>
                        <a:pt x="553620" y="647363"/>
                      </a:cubicBezTo>
                      <a:cubicBezTo>
                        <a:pt x="553701" y="647363"/>
                        <a:pt x="553620" y="647363"/>
                        <a:pt x="553620" y="647363"/>
                      </a:cubicBezTo>
                      <a:cubicBezTo>
                        <a:pt x="553379" y="647363"/>
                        <a:pt x="55313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lnTo>
                        <a:pt x="552898" y="647363"/>
                      </a:lnTo>
                      <a:lnTo>
                        <a:pt x="552898" y="647363"/>
                      </a:ln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898" y="647363"/>
                        <a:pt x="552898" y="647363"/>
                        <a:pt x="552898" y="647363"/>
                      </a:cubicBezTo>
                      <a:cubicBezTo>
                        <a:pt x="552978" y="647524"/>
                        <a:pt x="553058" y="647765"/>
                        <a:pt x="553138" y="647926"/>
                      </a:cubicBezTo>
                      <a:cubicBezTo>
                        <a:pt x="553299" y="647765"/>
                        <a:pt x="553460" y="647524"/>
                        <a:pt x="553620" y="647363"/>
                      </a:cubicBezTo>
                      <a:moveTo>
                        <a:pt x="1780711" y="369669"/>
                      </a:moveTo>
                      <a:cubicBezTo>
                        <a:pt x="1780711" y="369589"/>
                        <a:pt x="1780711" y="369589"/>
                        <a:pt x="1780711" y="369669"/>
                      </a:cubicBezTo>
                      <a:cubicBezTo>
                        <a:pt x="1780711" y="369589"/>
                        <a:pt x="1780711" y="369589"/>
                        <a:pt x="1780711" y="369669"/>
                      </a:cubicBezTo>
                      <a:cubicBezTo>
                        <a:pt x="1780389" y="370151"/>
                        <a:pt x="1780550" y="370714"/>
                        <a:pt x="1781032" y="371437"/>
                      </a:cubicBezTo>
                      <a:cubicBezTo>
                        <a:pt x="1780952" y="370794"/>
                        <a:pt x="1780791" y="370232"/>
                        <a:pt x="1780711" y="369669"/>
                      </a:cubicBezTo>
                      <a:moveTo>
                        <a:pt x="333281" y="593463"/>
                      </a:moveTo>
                      <a:cubicBezTo>
                        <a:pt x="333441" y="593302"/>
                        <a:pt x="333682" y="593061"/>
                        <a:pt x="333843" y="592901"/>
                      </a:cubicBezTo>
                      <a:cubicBezTo>
                        <a:pt x="333200" y="592339"/>
                        <a:pt x="332799" y="592098"/>
                        <a:pt x="332237" y="591937"/>
                      </a:cubicBezTo>
                      <a:cubicBezTo>
                        <a:pt x="329907" y="591053"/>
                        <a:pt x="327899" y="591857"/>
                        <a:pt x="327899" y="591857"/>
                      </a:cubicBezTo>
                      <a:cubicBezTo>
                        <a:pt x="327577" y="592098"/>
                        <a:pt x="326855" y="592820"/>
                        <a:pt x="326694" y="593865"/>
                      </a:cubicBezTo>
                      <a:cubicBezTo>
                        <a:pt x="326614" y="594427"/>
                        <a:pt x="327176" y="596034"/>
                        <a:pt x="327176" y="596034"/>
                      </a:cubicBezTo>
                      <a:cubicBezTo>
                        <a:pt x="328059" y="597480"/>
                        <a:pt x="330068" y="596596"/>
                        <a:pt x="333281" y="593463"/>
                      </a:cubicBezTo>
                      <a:moveTo>
                        <a:pt x="237530" y="507271"/>
                      </a:moveTo>
                      <a:cubicBezTo>
                        <a:pt x="238413" y="506387"/>
                        <a:pt x="239458" y="502291"/>
                        <a:pt x="239458" y="502211"/>
                      </a:cubicBezTo>
                      <a:cubicBezTo>
                        <a:pt x="239377" y="502291"/>
                        <a:pt x="238976" y="502532"/>
                        <a:pt x="235763" y="509360"/>
                      </a:cubicBezTo>
                      <a:cubicBezTo>
                        <a:pt x="236084" y="508958"/>
                        <a:pt x="236405" y="508476"/>
                        <a:pt x="237530" y="507271"/>
                      </a:cubicBezTo>
                      <a:moveTo>
                        <a:pt x="1790029" y="365171"/>
                      </a:moveTo>
                      <a:cubicBezTo>
                        <a:pt x="1790270" y="365251"/>
                        <a:pt x="1790591" y="365332"/>
                        <a:pt x="1790832" y="365412"/>
                      </a:cubicBezTo>
                      <a:cubicBezTo>
                        <a:pt x="1786173" y="363886"/>
                        <a:pt x="1780952" y="362761"/>
                        <a:pt x="1777176" y="366054"/>
                      </a:cubicBezTo>
                      <a:cubicBezTo>
                        <a:pt x="1775489" y="367661"/>
                        <a:pt x="1775489" y="368304"/>
                        <a:pt x="1775489" y="368545"/>
                      </a:cubicBezTo>
                      <a:cubicBezTo>
                        <a:pt x="1777417" y="368946"/>
                        <a:pt x="1778863" y="369187"/>
                        <a:pt x="1780630" y="369348"/>
                      </a:cubicBezTo>
                      <a:cubicBezTo>
                        <a:pt x="1780550" y="367501"/>
                        <a:pt x="1780229" y="362600"/>
                        <a:pt x="1790029" y="365171"/>
                      </a:cubicBezTo>
                      <a:moveTo>
                        <a:pt x="566875" y="656360"/>
                      </a:moveTo>
                      <a:cubicBezTo>
                        <a:pt x="567035" y="656360"/>
                        <a:pt x="567276" y="656440"/>
                        <a:pt x="567437" y="656440"/>
                      </a:cubicBezTo>
                      <a:cubicBezTo>
                        <a:pt x="567276" y="655958"/>
                        <a:pt x="567116" y="655316"/>
                        <a:pt x="566955" y="654834"/>
                      </a:cubicBezTo>
                      <a:cubicBezTo>
                        <a:pt x="568320" y="647524"/>
                        <a:pt x="565589" y="640937"/>
                        <a:pt x="559163" y="635635"/>
                      </a:cubicBezTo>
                      <a:cubicBezTo>
                        <a:pt x="559163" y="635957"/>
                        <a:pt x="559163" y="636358"/>
                        <a:pt x="559243" y="636599"/>
                      </a:cubicBezTo>
                      <a:cubicBezTo>
                        <a:pt x="559243" y="642062"/>
                        <a:pt x="557637" y="645837"/>
                        <a:pt x="554102" y="648488"/>
                      </a:cubicBezTo>
                      <a:cubicBezTo>
                        <a:pt x="554183" y="648729"/>
                        <a:pt x="554263" y="649050"/>
                        <a:pt x="554343" y="649371"/>
                      </a:cubicBezTo>
                      <a:cubicBezTo>
                        <a:pt x="554263" y="649371"/>
                        <a:pt x="554183" y="649371"/>
                        <a:pt x="554022" y="649371"/>
                      </a:cubicBezTo>
                      <a:cubicBezTo>
                        <a:pt x="554424" y="650255"/>
                        <a:pt x="556834" y="654834"/>
                        <a:pt x="566875" y="656360"/>
                      </a:cubicBezTo>
                      <a:moveTo>
                        <a:pt x="253595" y="528719"/>
                      </a:moveTo>
                      <a:cubicBezTo>
                        <a:pt x="253756" y="528639"/>
                        <a:pt x="253917" y="528398"/>
                        <a:pt x="254077" y="528317"/>
                      </a:cubicBezTo>
                      <a:cubicBezTo>
                        <a:pt x="251025" y="525104"/>
                        <a:pt x="252551" y="523096"/>
                        <a:pt x="254318" y="521409"/>
                      </a:cubicBezTo>
                      <a:cubicBezTo>
                        <a:pt x="251266" y="519883"/>
                        <a:pt x="253113" y="515866"/>
                        <a:pt x="254961" y="512091"/>
                      </a:cubicBezTo>
                      <a:cubicBezTo>
                        <a:pt x="255604" y="511930"/>
                        <a:pt x="256487" y="511609"/>
                        <a:pt x="256005" y="510806"/>
                      </a:cubicBezTo>
                      <a:cubicBezTo>
                        <a:pt x="255925" y="510725"/>
                        <a:pt x="255845" y="510645"/>
                        <a:pt x="255845" y="510565"/>
                      </a:cubicBezTo>
                      <a:cubicBezTo>
                        <a:pt x="255363" y="511127"/>
                        <a:pt x="254640" y="511930"/>
                        <a:pt x="254158" y="512492"/>
                      </a:cubicBezTo>
                      <a:lnTo>
                        <a:pt x="252631" y="514099"/>
                      </a:lnTo>
                      <a:cubicBezTo>
                        <a:pt x="249177" y="528639"/>
                        <a:pt x="251025" y="530325"/>
                        <a:pt x="253194" y="529040"/>
                      </a:cubicBezTo>
                      <a:cubicBezTo>
                        <a:pt x="253274" y="528960"/>
                        <a:pt x="253435" y="528799"/>
                        <a:pt x="253595" y="528719"/>
                      </a:cubicBezTo>
                      <a:moveTo>
                        <a:pt x="1783683" y="352961"/>
                      </a:moveTo>
                      <a:cubicBezTo>
                        <a:pt x="1783843" y="352961"/>
                        <a:pt x="1784084" y="352881"/>
                        <a:pt x="1784245" y="352881"/>
                      </a:cubicBezTo>
                      <a:cubicBezTo>
                        <a:pt x="1779747" y="350632"/>
                        <a:pt x="1773481" y="348222"/>
                        <a:pt x="1768581" y="349989"/>
                      </a:cubicBezTo>
                      <a:cubicBezTo>
                        <a:pt x="1768661" y="350069"/>
                        <a:pt x="1768822" y="350150"/>
                        <a:pt x="1768983" y="350230"/>
                      </a:cubicBezTo>
                      <a:cubicBezTo>
                        <a:pt x="1774124" y="353925"/>
                        <a:pt x="1780389" y="353523"/>
                        <a:pt x="1783683" y="352961"/>
                      </a:cubicBezTo>
                      <a:moveTo>
                        <a:pt x="1776373" y="344446"/>
                      </a:moveTo>
                      <a:cubicBezTo>
                        <a:pt x="1775409" y="343723"/>
                        <a:pt x="1772517" y="341796"/>
                        <a:pt x="1771152" y="340832"/>
                      </a:cubicBezTo>
                      <a:cubicBezTo>
                        <a:pt x="1771152" y="340832"/>
                        <a:pt x="1771152" y="340912"/>
                        <a:pt x="1771152" y="340912"/>
                      </a:cubicBezTo>
                      <a:cubicBezTo>
                        <a:pt x="1771152" y="341394"/>
                        <a:pt x="1771232" y="342036"/>
                        <a:pt x="1772115" y="342679"/>
                      </a:cubicBezTo>
                      <a:cubicBezTo>
                        <a:pt x="1772356" y="342840"/>
                        <a:pt x="1772758" y="343081"/>
                        <a:pt x="1773561" y="343241"/>
                      </a:cubicBezTo>
                      <a:cubicBezTo>
                        <a:pt x="1773642" y="343241"/>
                        <a:pt x="1773722" y="343241"/>
                        <a:pt x="1773722" y="343241"/>
                      </a:cubicBezTo>
                      <a:cubicBezTo>
                        <a:pt x="1774525" y="343643"/>
                        <a:pt x="1775329" y="344125"/>
                        <a:pt x="1776132" y="344446"/>
                      </a:cubicBezTo>
                      <a:cubicBezTo>
                        <a:pt x="1776293" y="344527"/>
                        <a:pt x="1776453" y="344607"/>
                        <a:pt x="1776694" y="344687"/>
                      </a:cubicBezTo>
                      <a:cubicBezTo>
                        <a:pt x="1776694" y="344687"/>
                        <a:pt x="1776694" y="344687"/>
                        <a:pt x="1776694" y="344687"/>
                      </a:cubicBezTo>
                      <a:cubicBezTo>
                        <a:pt x="1776614" y="344607"/>
                        <a:pt x="1776453" y="344527"/>
                        <a:pt x="1776373" y="344446"/>
                      </a:cubicBezTo>
                      <a:moveTo>
                        <a:pt x="1677168" y="419071"/>
                      </a:moveTo>
                      <a:lnTo>
                        <a:pt x="1677971" y="418188"/>
                      </a:lnTo>
                      <a:cubicBezTo>
                        <a:pt x="1670983" y="418027"/>
                        <a:pt x="1667930" y="415456"/>
                        <a:pt x="1666805" y="413850"/>
                      </a:cubicBezTo>
                      <a:cubicBezTo>
                        <a:pt x="1665681" y="412323"/>
                        <a:pt x="1662307" y="412243"/>
                        <a:pt x="1661183" y="413046"/>
                      </a:cubicBezTo>
                      <a:cubicBezTo>
                        <a:pt x="1660620" y="413769"/>
                        <a:pt x="1660460" y="414412"/>
                        <a:pt x="1660701" y="416420"/>
                      </a:cubicBezTo>
                      <a:cubicBezTo>
                        <a:pt x="1661263" y="415215"/>
                        <a:pt x="1662468" y="415617"/>
                        <a:pt x="1663110" y="416018"/>
                      </a:cubicBezTo>
                      <a:cubicBezTo>
                        <a:pt x="1664556" y="416902"/>
                        <a:pt x="1671866" y="419312"/>
                        <a:pt x="1677168" y="419071"/>
                      </a:cubicBezTo>
                      <a:moveTo>
                        <a:pt x="1764966" y="350792"/>
                      </a:moveTo>
                      <a:cubicBezTo>
                        <a:pt x="1765047" y="350712"/>
                        <a:pt x="1765127" y="350712"/>
                        <a:pt x="1765207" y="350632"/>
                      </a:cubicBezTo>
                      <a:cubicBezTo>
                        <a:pt x="1761432" y="348222"/>
                        <a:pt x="1757657" y="345972"/>
                        <a:pt x="1756532" y="347017"/>
                      </a:cubicBezTo>
                      <a:cubicBezTo>
                        <a:pt x="1755889" y="347901"/>
                        <a:pt x="1756853" y="349989"/>
                        <a:pt x="1756853" y="349989"/>
                      </a:cubicBezTo>
                      <a:cubicBezTo>
                        <a:pt x="1757496" y="350471"/>
                        <a:pt x="1759906" y="352158"/>
                        <a:pt x="1762637" y="351756"/>
                      </a:cubicBezTo>
                      <a:cubicBezTo>
                        <a:pt x="1763520" y="351596"/>
                        <a:pt x="1764324" y="351274"/>
                        <a:pt x="1764966" y="350792"/>
                      </a:cubicBezTo>
                      <a:moveTo>
                        <a:pt x="1743840" y="355612"/>
                      </a:moveTo>
                      <a:cubicBezTo>
                        <a:pt x="1743760" y="355371"/>
                        <a:pt x="1743599" y="355130"/>
                        <a:pt x="1743519" y="354889"/>
                      </a:cubicBezTo>
                      <a:cubicBezTo>
                        <a:pt x="1742716" y="355451"/>
                        <a:pt x="1742153" y="355612"/>
                        <a:pt x="1741029" y="355612"/>
                      </a:cubicBezTo>
                      <a:cubicBezTo>
                        <a:pt x="1740868" y="355773"/>
                        <a:pt x="1740707" y="355933"/>
                        <a:pt x="1740627" y="356094"/>
                      </a:cubicBezTo>
                      <a:cubicBezTo>
                        <a:pt x="1744563" y="360030"/>
                        <a:pt x="1743920" y="362520"/>
                        <a:pt x="1738779" y="363082"/>
                      </a:cubicBezTo>
                      <a:cubicBezTo>
                        <a:pt x="1745125" y="364368"/>
                        <a:pt x="1746812" y="361878"/>
                        <a:pt x="1743840" y="355612"/>
                      </a:cubicBezTo>
                      <a:moveTo>
                        <a:pt x="594427" y="616116"/>
                      </a:moveTo>
                      <a:cubicBezTo>
                        <a:pt x="594588" y="615955"/>
                        <a:pt x="594748" y="615794"/>
                        <a:pt x="594909" y="615634"/>
                      </a:cubicBezTo>
                      <a:cubicBezTo>
                        <a:pt x="583181" y="609930"/>
                        <a:pt x="578361" y="607601"/>
                        <a:pt x="577157" y="607601"/>
                      </a:cubicBezTo>
                      <a:cubicBezTo>
                        <a:pt x="577157" y="607601"/>
                        <a:pt x="577076" y="607681"/>
                        <a:pt x="577076" y="607681"/>
                      </a:cubicBezTo>
                      <a:cubicBezTo>
                        <a:pt x="577157" y="607922"/>
                        <a:pt x="577237" y="608324"/>
                        <a:pt x="580370" y="610653"/>
                      </a:cubicBezTo>
                      <a:cubicBezTo>
                        <a:pt x="581012" y="611135"/>
                        <a:pt x="581896" y="611778"/>
                        <a:pt x="582619" y="612260"/>
                      </a:cubicBezTo>
                      <a:cubicBezTo>
                        <a:pt x="583020" y="612501"/>
                        <a:pt x="583583" y="612902"/>
                        <a:pt x="583984" y="613143"/>
                      </a:cubicBezTo>
                      <a:cubicBezTo>
                        <a:pt x="586234" y="614670"/>
                        <a:pt x="588483" y="616035"/>
                        <a:pt x="590732" y="617481"/>
                      </a:cubicBezTo>
                      <a:cubicBezTo>
                        <a:pt x="590893" y="617562"/>
                        <a:pt x="590893" y="617883"/>
                        <a:pt x="591134" y="617963"/>
                      </a:cubicBezTo>
                      <a:cubicBezTo>
                        <a:pt x="591857" y="618365"/>
                        <a:pt x="593222" y="617240"/>
                        <a:pt x="594427" y="616116"/>
                      </a:cubicBezTo>
                      <a:moveTo>
                        <a:pt x="405656" y="574265"/>
                      </a:moveTo>
                      <a:cubicBezTo>
                        <a:pt x="405737" y="574265"/>
                        <a:pt x="405737" y="574184"/>
                        <a:pt x="405817" y="574184"/>
                      </a:cubicBezTo>
                      <a:cubicBezTo>
                        <a:pt x="405817" y="574184"/>
                        <a:pt x="405737" y="574184"/>
                        <a:pt x="405737" y="574184"/>
                      </a:cubicBezTo>
                      <a:cubicBezTo>
                        <a:pt x="404773" y="574104"/>
                        <a:pt x="403969" y="574265"/>
                        <a:pt x="403005" y="574907"/>
                      </a:cubicBezTo>
                      <a:cubicBezTo>
                        <a:pt x="402523" y="575229"/>
                        <a:pt x="402523" y="575229"/>
                        <a:pt x="401238" y="576996"/>
                      </a:cubicBezTo>
                      <a:cubicBezTo>
                        <a:pt x="402604" y="576032"/>
                        <a:pt x="404130" y="575148"/>
                        <a:pt x="405656" y="574265"/>
                      </a:cubicBezTo>
                      <a:moveTo>
                        <a:pt x="409673" y="576755"/>
                      </a:moveTo>
                      <a:lnTo>
                        <a:pt x="411038" y="576594"/>
                      </a:lnTo>
                      <a:cubicBezTo>
                        <a:pt x="410958" y="573943"/>
                        <a:pt x="410315" y="573301"/>
                        <a:pt x="409351" y="573140"/>
                      </a:cubicBezTo>
                      <a:cubicBezTo>
                        <a:pt x="408709" y="573140"/>
                        <a:pt x="407986" y="573220"/>
                        <a:pt x="406460" y="574425"/>
                      </a:cubicBezTo>
                      <a:cubicBezTo>
                        <a:pt x="406138" y="574666"/>
                        <a:pt x="406058" y="575389"/>
                        <a:pt x="405897" y="575791"/>
                      </a:cubicBezTo>
                      <a:cubicBezTo>
                        <a:pt x="408789" y="573863"/>
                        <a:pt x="409914" y="574184"/>
                        <a:pt x="409673" y="576755"/>
                      </a:cubicBezTo>
                      <a:moveTo>
                        <a:pt x="1757014" y="334727"/>
                      </a:moveTo>
                      <a:cubicBezTo>
                        <a:pt x="1756692" y="334727"/>
                        <a:pt x="1750025" y="334405"/>
                        <a:pt x="1747214" y="334325"/>
                      </a:cubicBezTo>
                      <a:cubicBezTo>
                        <a:pt x="1747455" y="334325"/>
                        <a:pt x="1747696" y="334325"/>
                        <a:pt x="1747856" y="334325"/>
                      </a:cubicBezTo>
                      <a:cubicBezTo>
                        <a:pt x="1750909" y="334486"/>
                        <a:pt x="1753961" y="334727"/>
                        <a:pt x="1757014" y="334727"/>
                      </a:cubicBezTo>
                      <a:moveTo>
                        <a:pt x="262110" y="481888"/>
                      </a:moveTo>
                      <a:cubicBezTo>
                        <a:pt x="262753" y="481406"/>
                        <a:pt x="263636" y="480763"/>
                        <a:pt x="264279" y="480281"/>
                      </a:cubicBezTo>
                      <a:cubicBezTo>
                        <a:pt x="260986" y="480201"/>
                        <a:pt x="253756" y="476907"/>
                        <a:pt x="261468" y="470320"/>
                      </a:cubicBezTo>
                      <a:cubicBezTo>
                        <a:pt x="263797" y="468312"/>
                        <a:pt x="266930" y="466625"/>
                        <a:pt x="270063" y="464938"/>
                      </a:cubicBezTo>
                      <a:cubicBezTo>
                        <a:pt x="270143" y="462368"/>
                        <a:pt x="269822" y="461645"/>
                        <a:pt x="269259" y="459958"/>
                      </a:cubicBezTo>
                      <a:cubicBezTo>
                        <a:pt x="268617" y="458914"/>
                        <a:pt x="267010" y="456182"/>
                        <a:pt x="262833" y="456825"/>
                      </a:cubicBezTo>
                      <a:cubicBezTo>
                        <a:pt x="259058" y="457388"/>
                        <a:pt x="256407" y="456343"/>
                        <a:pt x="254158" y="453291"/>
                      </a:cubicBezTo>
                      <a:cubicBezTo>
                        <a:pt x="251748" y="455781"/>
                        <a:pt x="250302" y="457629"/>
                        <a:pt x="248615" y="460440"/>
                      </a:cubicBezTo>
                      <a:cubicBezTo>
                        <a:pt x="249177" y="459958"/>
                        <a:pt x="249820" y="459315"/>
                        <a:pt x="250382" y="458833"/>
                      </a:cubicBezTo>
                      <a:cubicBezTo>
                        <a:pt x="252471" y="458111"/>
                        <a:pt x="252631" y="460601"/>
                        <a:pt x="250945" y="465661"/>
                      </a:cubicBezTo>
                      <a:cubicBezTo>
                        <a:pt x="252310" y="464537"/>
                        <a:pt x="253113" y="463733"/>
                        <a:pt x="254559" y="462047"/>
                      </a:cubicBezTo>
                      <a:cubicBezTo>
                        <a:pt x="253435" y="469356"/>
                        <a:pt x="252712" y="474256"/>
                        <a:pt x="251025" y="472168"/>
                      </a:cubicBezTo>
                      <a:cubicBezTo>
                        <a:pt x="250543" y="471606"/>
                        <a:pt x="250141" y="470401"/>
                        <a:pt x="249900" y="469437"/>
                      </a:cubicBezTo>
                      <a:cubicBezTo>
                        <a:pt x="232389" y="489438"/>
                        <a:pt x="232389" y="489438"/>
                        <a:pt x="235522" y="489197"/>
                      </a:cubicBezTo>
                      <a:cubicBezTo>
                        <a:pt x="237289" y="489117"/>
                        <a:pt x="241386" y="487671"/>
                        <a:pt x="244358" y="486627"/>
                      </a:cubicBezTo>
                      <a:cubicBezTo>
                        <a:pt x="241305" y="488956"/>
                        <a:pt x="235200" y="494097"/>
                        <a:pt x="230782" y="497793"/>
                      </a:cubicBezTo>
                      <a:cubicBezTo>
                        <a:pt x="237369" y="493615"/>
                        <a:pt x="237369" y="493615"/>
                        <a:pt x="240984" y="492812"/>
                      </a:cubicBezTo>
                      <a:cubicBezTo>
                        <a:pt x="241868" y="492651"/>
                        <a:pt x="243072" y="493053"/>
                        <a:pt x="243876" y="493455"/>
                      </a:cubicBezTo>
                      <a:cubicBezTo>
                        <a:pt x="245804" y="494338"/>
                        <a:pt x="245804" y="494338"/>
                        <a:pt x="248374" y="493856"/>
                      </a:cubicBezTo>
                      <a:cubicBezTo>
                        <a:pt x="249177" y="495624"/>
                        <a:pt x="251507" y="493776"/>
                        <a:pt x="253033" y="490965"/>
                      </a:cubicBezTo>
                      <a:cubicBezTo>
                        <a:pt x="253435" y="490161"/>
                        <a:pt x="255363" y="487029"/>
                        <a:pt x="262110" y="481888"/>
                      </a:cubicBezTo>
                      <a:moveTo>
                        <a:pt x="363966" y="541973"/>
                      </a:moveTo>
                      <a:cubicBezTo>
                        <a:pt x="364046" y="541812"/>
                        <a:pt x="364207" y="541652"/>
                        <a:pt x="364287" y="541571"/>
                      </a:cubicBezTo>
                      <a:cubicBezTo>
                        <a:pt x="364287" y="541571"/>
                        <a:pt x="364287" y="541571"/>
                        <a:pt x="364207" y="541571"/>
                      </a:cubicBezTo>
                      <a:cubicBezTo>
                        <a:pt x="363886" y="541812"/>
                        <a:pt x="363886" y="541812"/>
                        <a:pt x="363404" y="542053"/>
                      </a:cubicBezTo>
                      <a:cubicBezTo>
                        <a:pt x="362038" y="542776"/>
                        <a:pt x="360994" y="543740"/>
                        <a:pt x="359789" y="545347"/>
                      </a:cubicBezTo>
                      <a:cubicBezTo>
                        <a:pt x="357781" y="548158"/>
                        <a:pt x="355451" y="552817"/>
                        <a:pt x="354407" y="555066"/>
                      </a:cubicBezTo>
                      <a:cubicBezTo>
                        <a:pt x="355451" y="553379"/>
                        <a:pt x="358504" y="548158"/>
                        <a:pt x="363966" y="541973"/>
                      </a:cubicBezTo>
                      <a:moveTo>
                        <a:pt x="274240" y="428871"/>
                      </a:moveTo>
                      <a:cubicBezTo>
                        <a:pt x="274320" y="428791"/>
                        <a:pt x="274400" y="428710"/>
                        <a:pt x="274481" y="428710"/>
                      </a:cubicBezTo>
                      <a:cubicBezTo>
                        <a:pt x="274481" y="428710"/>
                        <a:pt x="274400" y="428710"/>
                        <a:pt x="274400" y="428710"/>
                      </a:cubicBezTo>
                      <a:cubicBezTo>
                        <a:pt x="273758" y="428630"/>
                        <a:pt x="273356" y="428710"/>
                        <a:pt x="273356" y="428710"/>
                      </a:cubicBezTo>
                      <a:cubicBezTo>
                        <a:pt x="273356" y="428710"/>
                        <a:pt x="270464" y="431201"/>
                        <a:pt x="270384" y="431522"/>
                      </a:cubicBezTo>
                      <a:cubicBezTo>
                        <a:pt x="270384" y="431522"/>
                        <a:pt x="270384" y="431522"/>
                        <a:pt x="270384" y="431522"/>
                      </a:cubicBezTo>
                      <a:cubicBezTo>
                        <a:pt x="270625" y="431522"/>
                        <a:pt x="271750" y="430719"/>
                        <a:pt x="274240" y="428871"/>
                      </a:cubicBezTo>
                      <a:moveTo>
                        <a:pt x="350792" y="531691"/>
                      </a:moveTo>
                      <a:cubicBezTo>
                        <a:pt x="352078" y="530165"/>
                        <a:pt x="351756" y="528719"/>
                        <a:pt x="351676" y="528157"/>
                      </a:cubicBezTo>
                      <a:cubicBezTo>
                        <a:pt x="351274" y="528639"/>
                        <a:pt x="350632" y="529281"/>
                        <a:pt x="350230" y="529763"/>
                      </a:cubicBezTo>
                      <a:cubicBezTo>
                        <a:pt x="348543" y="531209"/>
                        <a:pt x="347900" y="532414"/>
                        <a:pt x="348061" y="533779"/>
                      </a:cubicBezTo>
                      <a:cubicBezTo>
                        <a:pt x="348543" y="533458"/>
                        <a:pt x="349909" y="532735"/>
                        <a:pt x="350792" y="531691"/>
                      </a:cubicBezTo>
                      <a:moveTo>
                        <a:pt x="1736450" y="319223"/>
                      </a:moveTo>
                      <a:cubicBezTo>
                        <a:pt x="1736450" y="319143"/>
                        <a:pt x="1736450" y="319063"/>
                        <a:pt x="1736450" y="318982"/>
                      </a:cubicBezTo>
                      <a:cubicBezTo>
                        <a:pt x="1735084" y="318500"/>
                        <a:pt x="1733397" y="318099"/>
                        <a:pt x="1732273" y="319143"/>
                      </a:cubicBezTo>
                      <a:cubicBezTo>
                        <a:pt x="1732112" y="319304"/>
                        <a:pt x="1732032" y="319384"/>
                        <a:pt x="1731951" y="319545"/>
                      </a:cubicBezTo>
                      <a:cubicBezTo>
                        <a:pt x="1735727" y="321794"/>
                        <a:pt x="1736370" y="320107"/>
                        <a:pt x="1736450" y="319223"/>
                      </a:cubicBezTo>
                      <a:moveTo>
                        <a:pt x="275204" y="425899"/>
                      </a:moveTo>
                      <a:cubicBezTo>
                        <a:pt x="275686" y="425337"/>
                        <a:pt x="276087" y="424614"/>
                        <a:pt x="276569" y="424051"/>
                      </a:cubicBezTo>
                      <a:cubicBezTo>
                        <a:pt x="277694" y="422445"/>
                        <a:pt x="278818" y="420838"/>
                        <a:pt x="280023" y="419232"/>
                      </a:cubicBezTo>
                      <a:cubicBezTo>
                        <a:pt x="279943" y="419232"/>
                        <a:pt x="279863" y="419312"/>
                        <a:pt x="279863" y="419312"/>
                      </a:cubicBezTo>
                      <a:cubicBezTo>
                        <a:pt x="276971" y="423168"/>
                        <a:pt x="275284" y="425738"/>
                        <a:pt x="275204" y="425899"/>
                      </a:cubicBezTo>
                      <a:moveTo>
                        <a:pt x="1641663" y="385173"/>
                      </a:moveTo>
                      <a:cubicBezTo>
                        <a:pt x="1641984" y="385173"/>
                        <a:pt x="1642386" y="385253"/>
                        <a:pt x="1642627" y="385253"/>
                      </a:cubicBezTo>
                      <a:cubicBezTo>
                        <a:pt x="1636682" y="383727"/>
                        <a:pt x="1630578" y="383325"/>
                        <a:pt x="1624071" y="383968"/>
                      </a:cubicBezTo>
                      <a:cubicBezTo>
                        <a:pt x="1624151" y="384048"/>
                        <a:pt x="1624312" y="384209"/>
                        <a:pt x="1624392" y="384289"/>
                      </a:cubicBezTo>
                      <a:cubicBezTo>
                        <a:pt x="1626561" y="385895"/>
                        <a:pt x="1627686" y="385735"/>
                        <a:pt x="1628409" y="385574"/>
                      </a:cubicBezTo>
                      <a:cubicBezTo>
                        <a:pt x="1630658" y="385253"/>
                        <a:pt x="1635478" y="384691"/>
                        <a:pt x="1641663" y="385173"/>
                      </a:cubicBezTo>
                      <a:moveTo>
                        <a:pt x="1742314" y="305568"/>
                      </a:moveTo>
                      <a:cubicBezTo>
                        <a:pt x="1741270" y="304764"/>
                        <a:pt x="1739181" y="303720"/>
                        <a:pt x="1735486" y="303238"/>
                      </a:cubicBezTo>
                      <a:cubicBezTo>
                        <a:pt x="1735566" y="303318"/>
                        <a:pt x="1735647" y="303318"/>
                        <a:pt x="1735727" y="303399"/>
                      </a:cubicBezTo>
                      <a:cubicBezTo>
                        <a:pt x="1738619" y="305005"/>
                        <a:pt x="1741270" y="306612"/>
                        <a:pt x="1744161" y="308540"/>
                      </a:cubicBezTo>
                      <a:cubicBezTo>
                        <a:pt x="1744081" y="308058"/>
                        <a:pt x="1744001" y="306773"/>
                        <a:pt x="1742314" y="305568"/>
                      </a:cubicBezTo>
                      <a:moveTo>
                        <a:pt x="1764725" y="142903"/>
                      </a:moveTo>
                      <a:cubicBezTo>
                        <a:pt x="1764645" y="142903"/>
                        <a:pt x="1764645" y="142823"/>
                        <a:pt x="1764565" y="142823"/>
                      </a:cubicBezTo>
                      <a:cubicBezTo>
                        <a:pt x="1764966" y="143144"/>
                        <a:pt x="1765529" y="143466"/>
                        <a:pt x="1765850" y="143787"/>
                      </a:cubicBezTo>
                      <a:cubicBezTo>
                        <a:pt x="1766733" y="144269"/>
                        <a:pt x="1767617" y="144751"/>
                        <a:pt x="1768501" y="145233"/>
                      </a:cubicBezTo>
                      <a:cubicBezTo>
                        <a:pt x="1768822" y="145393"/>
                        <a:pt x="1769143" y="145635"/>
                        <a:pt x="1769465" y="145795"/>
                      </a:cubicBezTo>
                      <a:cubicBezTo>
                        <a:pt x="1769224" y="145554"/>
                        <a:pt x="1764806" y="142903"/>
                        <a:pt x="1764725" y="142903"/>
                      </a:cubicBezTo>
                      <a:moveTo>
                        <a:pt x="1737494" y="296330"/>
                      </a:moveTo>
                      <a:cubicBezTo>
                        <a:pt x="1736370" y="295527"/>
                        <a:pt x="1735566" y="295045"/>
                        <a:pt x="1735004" y="294723"/>
                      </a:cubicBezTo>
                      <a:cubicBezTo>
                        <a:pt x="1735165" y="294884"/>
                        <a:pt x="1735325" y="295045"/>
                        <a:pt x="1735406" y="295125"/>
                      </a:cubicBezTo>
                      <a:cubicBezTo>
                        <a:pt x="1736691" y="296410"/>
                        <a:pt x="1737976" y="297615"/>
                        <a:pt x="1739261" y="298900"/>
                      </a:cubicBezTo>
                      <a:cubicBezTo>
                        <a:pt x="1739743" y="299382"/>
                        <a:pt x="1740306" y="299784"/>
                        <a:pt x="1740788" y="300346"/>
                      </a:cubicBezTo>
                      <a:cubicBezTo>
                        <a:pt x="1741029" y="300668"/>
                        <a:pt x="1741109" y="301069"/>
                        <a:pt x="1741350" y="301310"/>
                      </a:cubicBezTo>
                      <a:cubicBezTo>
                        <a:pt x="1741992" y="301872"/>
                        <a:pt x="1742796" y="302033"/>
                        <a:pt x="1743760" y="302194"/>
                      </a:cubicBezTo>
                      <a:cubicBezTo>
                        <a:pt x="1743117" y="301391"/>
                        <a:pt x="1741029" y="298820"/>
                        <a:pt x="1737494" y="296330"/>
                      </a:cubicBezTo>
                      <a:moveTo>
                        <a:pt x="298338" y="432084"/>
                      </a:moveTo>
                      <a:cubicBezTo>
                        <a:pt x="301230" y="429112"/>
                        <a:pt x="303961" y="426059"/>
                        <a:pt x="306773" y="423087"/>
                      </a:cubicBezTo>
                      <a:cubicBezTo>
                        <a:pt x="306692" y="423168"/>
                        <a:pt x="306532" y="423248"/>
                        <a:pt x="306371" y="423328"/>
                      </a:cubicBezTo>
                      <a:cubicBezTo>
                        <a:pt x="304363" y="424614"/>
                        <a:pt x="302997" y="426059"/>
                        <a:pt x="302917" y="426059"/>
                      </a:cubicBezTo>
                      <a:cubicBezTo>
                        <a:pt x="302836" y="426140"/>
                        <a:pt x="297214" y="432646"/>
                        <a:pt x="297294" y="432968"/>
                      </a:cubicBezTo>
                      <a:cubicBezTo>
                        <a:pt x="297776" y="432727"/>
                        <a:pt x="298017" y="432405"/>
                        <a:pt x="298338" y="432084"/>
                      </a:cubicBezTo>
                      <a:moveTo>
                        <a:pt x="418107" y="495142"/>
                      </a:moveTo>
                      <a:cubicBezTo>
                        <a:pt x="418187" y="495061"/>
                        <a:pt x="418348" y="494981"/>
                        <a:pt x="418428" y="494901"/>
                      </a:cubicBezTo>
                      <a:cubicBezTo>
                        <a:pt x="418027" y="494499"/>
                        <a:pt x="417625" y="494097"/>
                        <a:pt x="417224" y="493696"/>
                      </a:cubicBezTo>
                      <a:cubicBezTo>
                        <a:pt x="417143" y="493776"/>
                        <a:pt x="416983" y="493856"/>
                        <a:pt x="416902" y="493856"/>
                      </a:cubicBezTo>
                      <a:cubicBezTo>
                        <a:pt x="414412" y="495463"/>
                        <a:pt x="413769" y="496828"/>
                        <a:pt x="413528" y="497712"/>
                      </a:cubicBezTo>
                      <a:cubicBezTo>
                        <a:pt x="415055" y="497070"/>
                        <a:pt x="416661" y="496186"/>
                        <a:pt x="418107" y="495142"/>
                      </a:cubicBezTo>
                      <a:moveTo>
                        <a:pt x="1668974" y="301391"/>
                      </a:moveTo>
                      <a:cubicBezTo>
                        <a:pt x="1668733" y="301150"/>
                        <a:pt x="1668412" y="300828"/>
                        <a:pt x="1668171" y="300587"/>
                      </a:cubicBezTo>
                      <a:cubicBezTo>
                        <a:pt x="1668251" y="300828"/>
                        <a:pt x="1668251" y="301150"/>
                        <a:pt x="1668332" y="301391"/>
                      </a:cubicBezTo>
                      <a:cubicBezTo>
                        <a:pt x="1668653" y="303238"/>
                        <a:pt x="1668894" y="304443"/>
                        <a:pt x="1669135" y="306612"/>
                      </a:cubicBezTo>
                      <a:cubicBezTo>
                        <a:pt x="1668653" y="306291"/>
                        <a:pt x="1667930" y="305969"/>
                        <a:pt x="1667448" y="305648"/>
                      </a:cubicBezTo>
                      <a:cubicBezTo>
                        <a:pt x="1667850" y="306933"/>
                        <a:pt x="1668653" y="307496"/>
                        <a:pt x="1670742" y="308218"/>
                      </a:cubicBezTo>
                      <a:cubicBezTo>
                        <a:pt x="1670340" y="308299"/>
                        <a:pt x="1669858" y="308459"/>
                        <a:pt x="1669537" y="308540"/>
                      </a:cubicBezTo>
                      <a:cubicBezTo>
                        <a:pt x="1670099" y="311030"/>
                        <a:pt x="1670581" y="313440"/>
                        <a:pt x="1671143" y="315930"/>
                      </a:cubicBezTo>
                      <a:cubicBezTo>
                        <a:pt x="1673392" y="316733"/>
                        <a:pt x="1675079" y="317938"/>
                        <a:pt x="1677007" y="320027"/>
                      </a:cubicBezTo>
                      <a:cubicBezTo>
                        <a:pt x="1676365" y="318581"/>
                        <a:pt x="1676927" y="317938"/>
                        <a:pt x="1678935" y="318018"/>
                      </a:cubicBezTo>
                      <a:cubicBezTo>
                        <a:pt x="1679658" y="314725"/>
                        <a:pt x="1678292" y="310869"/>
                        <a:pt x="1668974" y="301391"/>
                      </a:cubicBezTo>
                      <a:moveTo>
                        <a:pt x="368705" y="453532"/>
                      </a:moveTo>
                      <a:cubicBezTo>
                        <a:pt x="370874" y="451283"/>
                        <a:pt x="369750" y="450479"/>
                        <a:pt x="369428" y="450238"/>
                      </a:cubicBezTo>
                      <a:cubicBezTo>
                        <a:pt x="369187" y="450078"/>
                        <a:pt x="368946" y="449997"/>
                        <a:pt x="368705" y="449917"/>
                      </a:cubicBezTo>
                      <a:cubicBezTo>
                        <a:pt x="366537" y="452969"/>
                        <a:pt x="366215" y="454335"/>
                        <a:pt x="367661" y="454094"/>
                      </a:cubicBezTo>
                      <a:cubicBezTo>
                        <a:pt x="368304" y="453933"/>
                        <a:pt x="368304" y="453933"/>
                        <a:pt x="368705" y="453532"/>
                      </a:cubicBezTo>
                      <a:moveTo>
                        <a:pt x="1648892" y="74946"/>
                      </a:moveTo>
                      <a:cubicBezTo>
                        <a:pt x="1646242" y="73902"/>
                        <a:pt x="1643510" y="72777"/>
                        <a:pt x="1640779" y="71813"/>
                      </a:cubicBezTo>
                      <a:cubicBezTo>
                        <a:pt x="1643671" y="72857"/>
                        <a:pt x="1646483" y="73982"/>
                        <a:pt x="1649294" y="75187"/>
                      </a:cubicBezTo>
                      <a:cubicBezTo>
                        <a:pt x="1649214" y="75106"/>
                        <a:pt x="1649053" y="75026"/>
                        <a:pt x="1648892" y="74946"/>
                      </a:cubicBezTo>
                      <a:moveTo>
                        <a:pt x="1640458" y="71733"/>
                      </a:moveTo>
                      <a:cubicBezTo>
                        <a:pt x="1640458" y="71733"/>
                        <a:pt x="1640458" y="71733"/>
                        <a:pt x="1640458" y="71733"/>
                      </a:cubicBezTo>
                      <a:cubicBezTo>
                        <a:pt x="1640458" y="71733"/>
                        <a:pt x="1640458" y="71733"/>
                        <a:pt x="1640458" y="71733"/>
                      </a:cubicBezTo>
                      <a:cubicBezTo>
                        <a:pt x="1640458" y="71652"/>
                        <a:pt x="1640458" y="71652"/>
                        <a:pt x="1640458" y="71733"/>
                      </a:cubicBezTo>
                      <a:cubicBezTo>
                        <a:pt x="1640458" y="71652"/>
                        <a:pt x="1640458" y="71652"/>
                        <a:pt x="1640458" y="71733"/>
                      </a:cubicBezTo>
                      <a:cubicBezTo>
                        <a:pt x="1640378" y="71652"/>
                        <a:pt x="1640378" y="71652"/>
                        <a:pt x="1640458" y="71733"/>
                      </a:cubicBezTo>
                      <a:cubicBezTo>
                        <a:pt x="1640378" y="71652"/>
                        <a:pt x="1640378" y="71652"/>
                        <a:pt x="1640458" y="71733"/>
                      </a:cubicBezTo>
                      <a:cubicBezTo>
                        <a:pt x="1640378" y="71733"/>
                        <a:pt x="1640378" y="71733"/>
                        <a:pt x="1640378" y="71733"/>
                      </a:cubicBezTo>
                      <a:lnTo>
                        <a:pt x="1640378" y="71733"/>
                      </a:lnTo>
                      <a:cubicBezTo>
                        <a:pt x="1640378" y="71733"/>
                        <a:pt x="1640378" y="71733"/>
                        <a:pt x="1640378" y="71733"/>
                      </a:cubicBezTo>
                      <a:cubicBezTo>
                        <a:pt x="1640378" y="71733"/>
                        <a:pt x="1640378" y="71733"/>
                        <a:pt x="1640378" y="71733"/>
                      </a:cubicBezTo>
                      <a:cubicBezTo>
                        <a:pt x="1640378" y="71733"/>
                        <a:pt x="1640378" y="71733"/>
                        <a:pt x="1640378" y="71733"/>
                      </a:cubicBezTo>
                      <a:lnTo>
                        <a:pt x="1640378" y="71733"/>
                      </a:lnTo>
                      <a:cubicBezTo>
                        <a:pt x="1640378" y="71733"/>
                        <a:pt x="1640378" y="71733"/>
                        <a:pt x="1640378" y="71733"/>
                      </a:cubicBezTo>
                      <a:lnTo>
                        <a:pt x="1640378" y="71733"/>
                      </a:lnTo>
                      <a:lnTo>
                        <a:pt x="1640378" y="71733"/>
                      </a:lnTo>
                      <a:lnTo>
                        <a:pt x="1640378" y="71733"/>
                      </a:lnTo>
                      <a:cubicBezTo>
                        <a:pt x="1640378" y="71733"/>
                        <a:pt x="1640378" y="71733"/>
                        <a:pt x="1640378" y="71733"/>
                      </a:cubicBezTo>
                      <a:cubicBezTo>
                        <a:pt x="1640378" y="71733"/>
                        <a:pt x="1640378" y="71733"/>
                        <a:pt x="1640378" y="71733"/>
                      </a:cubicBezTo>
                      <a:cubicBezTo>
                        <a:pt x="1640378" y="71652"/>
                        <a:pt x="1640378" y="71652"/>
                        <a:pt x="1640458" y="71733"/>
                      </a:cubicBezTo>
                      <a:moveTo>
                        <a:pt x="1712994" y="122821"/>
                      </a:moveTo>
                      <a:cubicBezTo>
                        <a:pt x="1712673" y="122741"/>
                        <a:pt x="1712432" y="122741"/>
                        <a:pt x="1712110" y="122661"/>
                      </a:cubicBezTo>
                      <a:cubicBezTo>
                        <a:pt x="1712352" y="122741"/>
                        <a:pt x="1712673" y="122741"/>
                        <a:pt x="1712994" y="122821"/>
                      </a:cubicBezTo>
                      <a:cubicBezTo>
                        <a:pt x="1712994" y="122821"/>
                        <a:pt x="1712994" y="122821"/>
                        <a:pt x="1712994" y="122821"/>
                      </a:cubicBezTo>
                      <a:moveTo>
                        <a:pt x="1713717" y="122982"/>
                      </a:moveTo>
                      <a:cubicBezTo>
                        <a:pt x="1713476" y="122902"/>
                        <a:pt x="1713235" y="122902"/>
                        <a:pt x="1712994" y="122821"/>
                      </a:cubicBezTo>
                      <a:cubicBezTo>
                        <a:pt x="1713235" y="122902"/>
                        <a:pt x="1713476" y="122902"/>
                        <a:pt x="1713717" y="122982"/>
                      </a:cubicBezTo>
                      <a:lnTo>
                        <a:pt x="1713717" y="122982"/>
                      </a:lnTo>
                      <a:moveTo>
                        <a:pt x="1714440" y="121857"/>
                      </a:moveTo>
                      <a:cubicBezTo>
                        <a:pt x="1714440" y="121857"/>
                        <a:pt x="1714440" y="121857"/>
                        <a:pt x="1714440" y="121857"/>
                      </a:cubicBezTo>
                      <a:cubicBezTo>
                        <a:pt x="1712753" y="121215"/>
                        <a:pt x="1711066" y="120572"/>
                        <a:pt x="1709299" y="119930"/>
                      </a:cubicBezTo>
                      <a:cubicBezTo>
                        <a:pt x="1709299" y="119930"/>
                        <a:pt x="1709379" y="120010"/>
                        <a:pt x="1709460" y="120010"/>
                      </a:cubicBezTo>
                      <a:cubicBezTo>
                        <a:pt x="1712914" y="122179"/>
                        <a:pt x="1714038" y="122098"/>
                        <a:pt x="1714440" y="121857"/>
                      </a:cubicBezTo>
                      <a:moveTo>
                        <a:pt x="1707853" y="119689"/>
                      </a:moveTo>
                      <a:cubicBezTo>
                        <a:pt x="1707773" y="119608"/>
                        <a:pt x="1707612" y="119608"/>
                        <a:pt x="1707532" y="119528"/>
                      </a:cubicBezTo>
                      <a:cubicBezTo>
                        <a:pt x="1708014" y="120010"/>
                        <a:pt x="1708656" y="120653"/>
                        <a:pt x="1709138" y="121135"/>
                      </a:cubicBezTo>
                      <a:cubicBezTo>
                        <a:pt x="1709540" y="121215"/>
                        <a:pt x="1710584" y="121375"/>
                        <a:pt x="1710343" y="120974"/>
                      </a:cubicBezTo>
                      <a:cubicBezTo>
                        <a:pt x="1710263" y="120894"/>
                        <a:pt x="1709701" y="120492"/>
                        <a:pt x="1707853" y="119689"/>
                      </a:cubicBezTo>
                      <a:moveTo>
                        <a:pt x="1654114" y="79846"/>
                      </a:moveTo>
                      <a:cubicBezTo>
                        <a:pt x="1652748" y="79284"/>
                        <a:pt x="1651383" y="78882"/>
                        <a:pt x="1650017" y="78480"/>
                      </a:cubicBezTo>
                      <a:cubicBezTo>
                        <a:pt x="1650097" y="78480"/>
                        <a:pt x="1650178" y="78561"/>
                        <a:pt x="1650258" y="78561"/>
                      </a:cubicBezTo>
                      <a:cubicBezTo>
                        <a:pt x="1653069" y="79605"/>
                        <a:pt x="1655801" y="80730"/>
                        <a:pt x="1658532" y="81854"/>
                      </a:cubicBezTo>
                      <a:cubicBezTo>
                        <a:pt x="1658371" y="81693"/>
                        <a:pt x="1657809" y="81372"/>
                        <a:pt x="1654114" y="79846"/>
                      </a:cubicBezTo>
                      <a:moveTo>
                        <a:pt x="423168" y="249097"/>
                      </a:moveTo>
                      <a:cubicBezTo>
                        <a:pt x="423168" y="249097"/>
                        <a:pt x="423087" y="249177"/>
                        <a:pt x="423087" y="249177"/>
                      </a:cubicBezTo>
                      <a:cubicBezTo>
                        <a:pt x="425658" y="247169"/>
                        <a:pt x="428228" y="245081"/>
                        <a:pt x="430879" y="243072"/>
                      </a:cubicBezTo>
                      <a:cubicBezTo>
                        <a:pt x="431120" y="242912"/>
                        <a:pt x="431361" y="242751"/>
                        <a:pt x="431602" y="242510"/>
                      </a:cubicBezTo>
                      <a:cubicBezTo>
                        <a:pt x="429353" y="244277"/>
                        <a:pt x="426381" y="246607"/>
                        <a:pt x="424132" y="248374"/>
                      </a:cubicBezTo>
                      <a:lnTo>
                        <a:pt x="424132" y="248374"/>
                      </a:lnTo>
                      <a:cubicBezTo>
                        <a:pt x="423810" y="248615"/>
                        <a:pt x="423489" y="248856"/>
                        <a:pt x="423168" y="249097"/>
                      </a:cubicBezTo>
                      <a:moveTo>
                        <a:pt x="510404" y="471606"/>
                      </a:moveTo>
                      <a:cubicBezTo>
                        <a:pt x="510404" y="471606"/>
                        <a:pt x="510484" y="471686"/>
                        <a:pt x="510484" y="471686"/>
                      </a:cubicBezTo>
                      <a:cubicBezTo>
                        <a:pt x="510966" y="470401"/>
                        <a:pt x="511448" y="469196"/>
                        <a:pt x="511930" y="467911"/>
                      </a:cubicBezTo>
                      <a:cubicBezTo>
                        <a:pt x="511850" y="467911"/>
                        <a:pt x="511850" y="467991"/>
                        <a:pt x="511770" y="467991"/>
                      </a:cubicBezTo>
                      <a:cubicBezTo>
                        <a:pt x="510243" y="469276"/>
                        <a:pt x="509761" y="470401"/>
                        <a:pt x="510404" y="471606"/>
                      </a:cubicBezTo>
                      <a:moveTo>
                        <a:pt x="494579" y="361878"/>
                      </a:move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cubicBezTo>
                        <a:pt x="494579" y="361878"/>
                        <a:pt x="494579" y="361878"/>
                        <a:pt x="494579" y="361878"/>
                      </a:cubicBezTo>
                      <a:cubicBezTo>
                        <a:pt x="494579" y="361878"/>
                        <a:pt x="494579" y="361878"/>
                        <a:pt x="494579" y="361878"/>
                      </a:cubicBez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579" y="361878"/>
                      </a:moveTo>
                      <a:lnTo>
                        <a:pt x="494579" y="361878"/>
                      </a:lnTo>
                      <a:lnTo>
                        <a:pt x="494579" y="361878"/>
                      </a:lnTo>
                      <a:moveTo>
                        <a:pt x="494660" y="361878"/>
                      </a:moveTo>
                      <a:lnTo>
                        <a:pt x="494660" y="361878"/>
                      </a:lnTo>
                      <a:lnTo>
                        <a:pt x="494660" y="361878"/>
                      </a:lnTo>
                      <a:moveTo>
                        <a:pt x="494660" y="361878"/>
                      </a:moveTo>
                      <a:lnTo>
                        <a:pt x="494660" y="361878"/>
                      </a:lnTo>
                      <a:lnTo>
                        <a:pt x="494660" y="361878"/>
                      </a:lnTo>
                      <a:lnTo>
                        <a:pt x="494660" y="361878"/>
                      </a:lnTo>
                      <a:moveTo>
                        <a:pt x="494981" y="361717"/>
                      </a:moveTo>
                      <a:cubicBezTo>
                        <a:pt x="494901" y="361797"/>
                        <a:pt x="494740" y="361797"/>
                        <a:pt x="494660" y="361878"/>
                      </a:cubicBezTo>
                      <a:cubicBezTo>
                        <a:pt x="494740" y="361797"/>
                        <a:pt x="494901" y="361797"/>
                        <a:pt x="494981" y="361717"/>
                      </a:cubicBezTo>
                      <a:cubicBezTo>
                        <a:pt x="494981" y="361717"/>
                        <a:pt x="494981" y="361717"/>
                        <a:pt x="494981" y="361717"/>
                      </a:cubicBezTo>
                      <a:moveTo>
                        <a:pt x="1421645" y="6988"/>
                      </a:moveTo>
                      <a:lnTo>
                        <a:pt x="1382685" y="0"/>
                      </a:lnTo>
                      <a:lnTo>
                        <a:pt x="1382605" y="0"/>
                      </a:lnTo>
                      <a:cubicBezTo>
                        <a:pt x="1391602" y="1446"/>
                        <a:pt x="1400518" y="3534"/>
                        <a:pt x="1409515" y="4900"/>
                      </a:cubicBezTo>
                      <a:cubicBezTo>
                        <a:pt x="1419395" y="6507"/>
                        <a:pt x="1427749" y="8274"/>
                        <a:pt x="1436184" y="9961"/>
                      </a:cubicBezTo>
                      <a:cubicBezTo>
                        <a:pt x="1431364" y="8916"/>
                        <a:pt x="1426545" y="7952"/>
                        <a:pt x="1421725" y="6988"/>
                      </a:cubicBezTo>
                      <a:lnTo>
                        <a:pt x="1421725" y="6988"/>
                      </a:lnTo>
                      <a:cubicBezTo>
                        <a:pt x="1421484" y="6908"/>
                        <a:pt x="1421163" y="6908"/>
                        <a:pt x="1420922" y="6828"/>
                      </a:cubicBezTo>
                      <a:cubicBezTo>
                        <a:pt x="1421163" y="6908"/>
                        <a:pt x="1421404" y="6988"/>
                        <a:pt x="1421645" y="6988"/>
                      </a:cubicBezTo>
                      <a:moveTo>
                        <a:pt x="916301" y="124508"/>
                      </a:moveTo>
                      <a:cubicBezTo>
                        <a:pt x="916542" y="124428"/>
                        <a:pt x="916783" y="124267"/>
                        <a:pt x="917024" y="124107"/>
                      </a:cubicBezTo>
                      <a:cubicBezTo>
                        <a:pt x="916703" y="124187"/>
                        <a:pt x="916301" y="124348"/>
                        <a:pt x="916060" y="124508"/>
                      </a:cubicBezTo>
                      <a:cubicBezTo>
                        <a:pt x="907465" y="127882"/>
                        <a:pt x="898870" y="131979"/>
                        <a:pt x="896300" y="133344"/>
                      </a:cubicBezTo>
                      <a:lnTo>
                        <a:pt x="896059" y="133746"/>
                      </a:lnTo>
                      <a:cubicBezTo>
                        <a:pt x="898468" y="132943"/>
                        <a:pt x="905618" y="130372"/>
                        <a:pt x="916301" y="124508"/>
                      </a:cubicBezTo>
                    </a:path>
                  </a:pathLst>
                </a:custGeom>
                <a:solidFill>
                  <a:srgbClr val="005DA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5" name="Freeform: Shape 424">
                  <a:extLst>
                    <a:ext uri="{FF2B5EF4-FFF2-40B4-BE49-F238E27FC236}">
                      <a16:creationId xmlns:a16="http://schemas.microsoft.com/office/drawing/2014/main" id="{73E0BBB3-EFF4-56F6-DE82-470FD5C307AD}"/>
                    </a:ext>
                  </a:extLst>
                </p:cNvPr>
                <p:cNvSpPr/>
                <p:nvPr/>
              </p:nvSpPr>
              <p:spPr>
                <a:xfrm>
                  <a:off x="-4751595" y="1915156"/>
                  <a:ext cx="792837" cy="765204"/>
                </a:xfrm>
                <a:custGeom>
                  <a:avLst/>
                  <a:gdLst>
                    <a:gd name="connsiteX0" fmla="*/ 65467 w 792837"/>
                    <a:gd name="connsiteY0" fmla="*/ 262592 h 765204"/>
                    <a:gd name="connsiteX1" fmla="*/ 65467 w 792837"/>
                    <a:gd name="connsiteY1" fmla="*/ 262592 h 765204"/>
                    <a:gd name="connsiteX2" fmla="*/ 47394 w 792837"/>
                    <a:gd name="connsiteY2" fmla="*/ 266609 h 765204"/>
                    <a:gd name="connsiteX3" fmla="*/ 65467 w 792837"/>
                    <a:gd name="connsiteY3" fmla="*/ 262592 h 765204"/>
                    <a:gd name="connsiteX4" fmla="*/ 41851 w 792837"/>
                    <a:gd name="connsiteY4" fmla="*/ 249981 h 765204"/>
                    <a:gd name="connsiteX5" fmla="*/ 41931 w 792837"/>
                    <a:gd name="connsiteY5" fmla="*/ 250302 h 765204"/>
                    <a:gd name="connsiteX6" fmla="*/ 43698 w 792837"/>
                    <a:gd name="connsiteY6" fmla="*/ 248856 h 765204"/>
                    <a:gd name="connsiteX7" fmla="*/ 41931 w 792837"/>
                    <a:gd name="connsiteY7" fmla="*/ 245563 h 765204"/>
                    <a:gd name="connsiteX8" fmla="*/ 41851 w 792837"/>
                    <a:gd name="connsiteY8" fmla="*/ 249981 h 765204"/>
                    <a:gd name="connsiteX9" fmla="*/ 28115 w 792837"/>
                    <a:gd name="connsiteY9" fmla="*/ 228212 h 765204"/>
                    <a:gd name="connsiteX10" fmla="*/ 28757 w 792837"/>
                    <a:gd name="connsiteY10" fmla="*/ 228051 h 765204"/>
                    <a:gd name="connsiteX11" fmla="*/ 27472 w 792837"/>
                    <a:gd name="connsiteY11" fmla="*/ 224035 h 765204"/>
                    <a:gd name="connsiteX12" fmla="*/ 0 w 792837"/>
                    <a:gd name="connsiteY12" fmla="*/ 239860 h 765204"/>
                    <a:gd name="connsiteX13" fmla="*/ 20644 w 792837"/>
                    <a:gd name="connsiteY13" fmla="*/ 232068 h 765204"/>
                    <a:gd name="connsiteX14" fmla="*/ 28115 w 792837"/>
                    <a:gd name="connsiteY14" fmla="*/ 228212 h 765204"/>
                    <a:gd name="connsiteX15" fmla="*/ 20484 w 792837"/>
                    <a:gd name="connsiteY15" fmla="*/ 222750 h 765204"/>
                    <a:gd name="connsiteX16" fmla="*/ 31087 w 792837"/>
                    <a:gd name="connsiteY16" fmla="*/ 214958 h 765204"/>
                    <a:gd name="connsiteX17" fmla="*/ 30284 w 792837"/>
                    <a:gd name="connsiteY17" fmla="*/ 215199 h 765204"/>
                    <a:gd name="connsiteX18" fmla="*/ 25705 w 792837"/>
                    <a:gd name="connsiteY18" fmla="*/ 216404 h 765204"/>
                    <a:gd name="connsiteX19" fmla="*/ 24982 w 792837"/>
                    <a:gd name="connsiteY19" fmla="*/ 216564 h 765204"/>
                    <a:gd name="connsiteX20" fmla="*/ 16066 w 792837"/>
                    <a:gd name="connsiteY20" fmla="*/ 222910 h 765204"/>
                    <a:gd name="connsiteX21" fmla="*/ 20484 w 792837"/>
                    <a:gd name="connsiteY21" fmla="*/ 222750 h 765204"/>
                    <a:gd name="connsiteX22" fmla="*/ 69725 w 792837"/>
                    <a:gd name="connsiteY22" fmla="*/ 245000 h 765204"/>
                    <a:gd name="connsiteX23" fmla="*/ 69885 w 792837"/>
                    <a:gd name="connsiteY23" fmla="*/ 244920 h 765204"/>
                    <a:gd name="connsiteX24" fmla="*/ 69805 w 792837"/>
                    <a:gd name="connsiteY24" fmla="*/ 244920 h 765204"/>
                    <a:gd name="connsiteX25" fmla="*/ 67315 w 792837"/>
                    <a:gd name="connsiteY25" fmla="*/ 244759 h 765204"/>
                    <a:gd name="connsiteX26" fmla="*/ 69725 w 792837"/>
                    <a:gd name="connsiteY26" fmla="*/ 245000 h 765204"/>
                    <a:gd name="connsiteX27" fmla="*/ 60728 w 792837"/>
                    <a:gd name="connsiteY27" fmla="*/ 230782 h 765204"/>
                    <a:gd name="connsiteX28" fmla="*/ 61049 w 792837"/>
                    <a:gd name="connsiteY28" fmla="*/ 230622 h 765204"/>
                    <a:gd name="connsiteX29" fmla="*/ 60728 w 792837"/>
                    <a:gd name="connsiteY29" fmla="*/ 230782 h 765204"/>
                    <a:gd name="connsiteX30" fmla="*/ 54784 w 792837"/>
                    <a:gd name="connsiteY30" fmla="*/ 233755 h 765204"/>
                    <a:gd name="connsiteX31" fmla="*/ 60728 w 792837"/>
                    <a:gd name="connsiteY31" fmla="*/ 230782 h 765204"/>
                    <a:gd name="connsiteX32" fmla="*/ 782475 w 792837"/>
                    <a:gd name="connsiteY32" fmla="*/ 160817 h 765204"/>
                    <a:gd name="connsiteX33" fmla="*/ 781270 w 792837"/>
                    <a:gd name="connsiteY33" fmla="*/ 159451 h 765204"/>
                    <a:gd name="connsiteX34" fmla="*/ 735724 w 792837"/>
                    <a:gd name="connsiteY34" fmla="*/ 151097 h 765204"/>
                    <a:gd name="connsiteX35" fmla="*/ 729539 w 792837"/>
                    <a:gd name="connsiteY35" fmla="*/ 151418 h 765204"/>
                    <a:gd name="connsiteX36" fmla="*/ 737170 w 792837"/>
                    <a:gd name="connsiteY36" fmla="*/ 157925 h 765204"/>
                    <a:gd name="connsiteX37" fmla="*/ 743917 w 792837"/>
                    <a:gd name="connsiteY37" fmla="*/ 160335 h 765204"/>
                    <a:gd name="connsiteX38" fmla="*/ 761027 w 792837"/>
                    <a:gd name="connsiteY38" fmla="*/ 164190 h 765204"/>
                    <a:gd name="connsiteX39" fmla="*/ 766088 w 792837"/>
                    <a:gd name="connsiteY39" fmla="*/ 166681 h 765204"/>
                    <a:gd name="connsiteX40" fmla="*/ 785929 w 792837"/>
                    <a:gd name="connsiteY40" fmla="*/ 173268 h 765204"/>
                    <a:gd name="connsiteX41" fmla="*/ 782475 w 792837"/>
                    <a:gd name="connsiteY41" fmla="*/ 160817 h 765204"/>
                    <a:gd name="connsiteX42" fmla="*/ 82336 w 792837"/>
                    <a:gd name="connsiteY42" fmla="*/ 242269 h 765204"/>
                    <a:gd name="connsiteX43" fmla="*/ 88441 w 792837"/>
                    <a:gd name="connsiteY43" fmla="*/ 228372 h 765204"/>
                    <a:gd name="connsiteX44" fmla="*/ 86674 w 792837"/>
                    <a:gd name="connsiteY44" fmla="*/ 229337 h 765204"/>
                    <a:gd name="connsiteX45" fmla="*/ 72295 w 792837"/>
                    <a:gd name="connsiteY45" fmla="*/ 243876 h 765204"/>
                    <a:gd name="connsiteX46" fmla="*/ 69885 w 792837"/>
                    <a:gd name="connsiteY46" fmla="*/ 244920 h 765204"/>
                    <a:gd name="connsiteX47" fmla="*/ 82336 w 792837"/>
                    <a:gd name="connsiteY47" fmla="*/ 242269 h 765204"/>
                    <a:gd name="connsiteX48" fmla="*/ 50607 w 792837"/>
                    <a:gd name="connsiteY48" fmla="*/ 216886 h 765204"/>
                    <a:gd name="connsiteX49" fmla="*/ 50848 w 792837"/>
                    <a:gd name="connsiteY49" fmla="*/ 217127 h 765204"/>
                    <a:gd name="connsiteX50" fmla="*/ 62897 w 792837"/>
                    <a:gd name="connsiteY50" fmla="*/ 209737 h 765204"/>
                    <a:gd name="connsiteX51" fmla="*/ 65387 w 792837"/>
                    <a:gd name="connsiteY51" fmla="*/ 204515 h 765204"/>
                    <a:gd name="connsiteX52" fmla="*/ 55908 w 792837"/>
                    <a:gd name="connsiteY52" fmla="*/ 207327 h 765204"/>
                    <a:gd name="connsiteX53" fmla="*/ 42574 w 792837"/>
                    <a:gd name="connsiteY53" fmla="*/ 211423 h 765204"/>
                    <a:gd name="connsiteX54" fmla="*/ 47233 w 792837"/>
                    <a:gd name="connsiteY54" fmla="*/ 212307 h 765204"/>
                    <a:gd name="connsiteX55" fmla="*/ 50607 w 792837"/>
                    <a:gd name="connsiteY55" fmla="*/ 216886 h 765204"/>
                    <a:gd name="connsiteX56" fmla="*/ 704396 w 792837"/>
                    <a:gd name="connsiteY56" fmla="*/ 181220 h 765204"/>
                    <a:gd name="connsiteX57" fmla="*/ 704878 w 792837"/>
                    <a:gd name="connsiteY57" fmla="*/ 180658 h 765204"/>
                    <a:gd name="connsiteX58" fmla="*/ 697086 w 792837"/>
                    <a:gd name="connsiteY58" fmla="*/ 177284 h 765204"/>
                    <a:gd name="connsiteX59" fmla="*/ 695962 w 792837"/>
                    <a:gd name="connsiteY59" fmla="*/ 176963 h 765204"/>
                    <a:gd name="connsiteX60" fmla="*/ 688089 w 792837"/>
                    <a:gd name="connsiteY60" fmla="*/ 175356 h 765204"/>
                    <a:gd name="connsiteX61" fmla="*/ 683591 w 792837"/>
                    <a:gd name="connsiteY61" fmla="*/ 172946 h 765204"/>
                    <a:gd name="connsiteX62" fmla="*/ 669694 w 792837"/>
                    <a:gd name="connsiteY62" fmla="*/ 168287 h 765204"/>
                    <a:gd name="connsiteX63" fmla="*/ 670819 w 792837"/>
                    <a:gd name="connsiteY63" fmla="*/ 169010 h 765204"/>
                    <a:gd name="connsiteX64" fmla="*/ 704396 w 792837"/>
                    <a:gd name="connsiteY64" fmla="*/ 181220 h 765204"/>
                    <a:gd name="connsiteX65" fmla="*/ 697809 w 792837"/>
                    <a:gd name="connsiteY65" fmla="*/ 142582 h 765204"/>
                    <a:gd name="connsiteX66" fmla="*/ 697407 w 792837"/>
                    <a:gd name="connsiteY66" fmla="*/ 142422 h 765204"/>
                    <a:gd name="connsiteX67" fmla="*/ 697488 w 792837"/>
                    <a:gd name="connsiteY67" fmla="*/ 142422 h 765204"/>
                    <a:gd name="connsiteX68" fmla="*/ 698853 w 792837"/>
                    <a:gd name="connsiteY68" fmla="*/ 142984 h 765204"/>
                    <a:gd name="connsiteX69" fmla="*/ 697809 w 792837"/>
                    <a:gd name="connsiteY69" fmla="*/ 142582 h 765204"/>
                    <a:gd name="connsiteX70" fmla="*/ 47474 w 792837"/>
                    <a:gd name="connsiteY70" fmla="*/ 250302 h 765204"/>
                    <a:gd name="connsiteX71" fmla="*/ 52615 w 792837"/>
                    <a:gd name="connsiteY71" fmla="*/ 249660 h 765204"/>
                    <a:gd name="connsiteX72" fmla="*/ 77998 w 792837"/>
                    <a:gd name="connsiteY72" fmla="*/ 229337 h 765204"/>
                    <a:gd name="connsiteX73" fmla="*/ 80810 w 792837"/>
                    <a:gd name="connsiteY73" fmla="*/ 226686 h 765204"/>
                    <a:gd name="connsiteX74" fmla="*/ 90530 w 792837"/>
                    <a:gd name="connsiteY74" fmla="*/ 213432 h 765204"/>
                    <a:gd name="connsiteX75" fmla="*/ 95992 w 792837"/>
                    <a:gd name="connsiteY75" fmla="*/ 209094 h 765204"/>
                    <a:gd name="connsiteX76" fmla="*/ 110853 w 792837"/>
                    <a:gd name="connsiteY76" fmla="*/ 196563 h 765204"/>
                    <a:gd name="connsiteX77" fmla="*/ 110290 w 792837"/>
                    <a:gd name="connsiteY77" fmla="*/ 196482 h 765204"/>
                    <a:gd name="connsiteX78" fmla="*/ 93020 w 792837"/>
                    <a:gd name="connsiteY78" fmla="*/ 203069 h 765204"/>
                    <a:gd name="connsiteX79" fmla="*/ 75187 w 792837"/>
                    <a:gd name="connsiteY79" fmla="*/ 217849 h 765204"/>
                    <a:gd name="connsiteX80" fmla="*/ 66271 w 792837"/>
                    <a:gd name="connsiteY80" fmla="*/ 227810 h 765204"/>
                    <a:gd name="connsiteX81" fmla="*/ 47474 w 792837"/>
                    <a:gd name="connsiteY81" fmla="*/ 250302 h 765204"/>
                    <a:gd name="connsiteX82" fmla="*/ 686724 w 792837"/>
                    <a:gd name="connsiteY82" fmla="*/ 0 h 765204"/>
                    <a:gd name="connsiteX83" fmla="*/ 676121 w 792837"/>
                    <a:gd name="connsiteY83" fmla="*/ 1607 h 765204"/>
                    <a:gd name="connsiteX84" fmla="*/ 654111 w 792837"/>
                    <a:gd name="connsiteY84" fmla="*/ 2651 h 765204"/>
                    <a:gd name="connsiteX85" fmla="*/ 651139 w 792837"/>
                    <a:gd name="connsiteY85" fmla="*/ 2972 h 765204"/>
                    <a:gd name="connsiteX86" fmla="*/ 651460 w 792837"/>
                    <a:gd name="connsiteY86" fmla="*/ 3053 h 765204"/>
                    <a:gd name="connsiteX87" fmla="*/ 658529 w 792837"/>
                    <a:gd name="connsiteY87" fmla="*/ 3053 h 765204"/>
                    <a:gd name="connsiteX88" fmla="*/ 663027 w 792837"/>
                    <a:gd name="connsiteY88" fmla="*/ 3775 h 765204"/>
                    <a:gd name="connsiteX89" fmla="*/ 664312 w 792837"/>
                    <a:gd name="connsiteY89" fmla="*/ 3775 h 765204"/>
                    <a:gd name="connsiteX90" fmla="*/ 665678 w 792837"/>
                    <a:gd name="connsiteY90" fmla="*/ 3775 h 765204"/>
                    <a:gd name="connsiteX91" fmla="*/ 680378 w 792837"/>
                    <a:gd name="connsiteY91" fmla="*/ 3053 h 765204"/>
                    <a:gd name="connsiteX92" fmla="*/ 684716 w 792837"/>
                    <a:gd name="connsiteY92" fmla="*/ 2812 h 765204"/>
                    <a:gd name="connsiteX93" fmla="*/ 694676 w 792837"/>
                    <a:gd name="connsiteY93" fmla="*/ 3133 h 765204"/>
                    <a:gd name="connsiteX94" fmla="*/ 686724 w 792837"/>
                    <a:gd name="connsiteY94" fmla="*/ 0 h 765204"/>
                    <a:gd name="connsiteX95" fmla="*/ 647443 w 792837"/>
                    <a:gd name="connsiteY95" fmla="*/ 6346 h 765204"/>
                    <a:gd name="connsiteX96" fmla="*/ 647202 w 792837"/>
                    <a:gd name="connsiteY96" fmla="*/ 6346 h 765204"/>
                    <a:gd name="connsiteX97" fmla="*/ 647283 w 792837"/>
                    <a:gd name="connsiteY97" fmla="*/ 6426 h 765204"/>
                    <a:gd name="connsiteX98" fmla="*/ 646640 w 792837"/>
                    <a:gd name="connsiteY98" fmla="*/ 6667 h 765204"/>
                    <a:gd name="connsiteX99" fmla="*/ 646721 w 792837"/>
                    <a:gd name="connsiteY99" fmla="*/ 6667 h 765204"/>
                    <a:gd name="connsiteX100" fmla="*/ 652022 w 792837"/>
                    <a:gd name="connsiteY100" fmla="*/ 6266 h 765204"/>
                    <a:gd name="connsiteX101" fmla="*/ 647443 w 792837"/>
                    <a:gd name="connsiteY101" fmla="*/ 6346 h 765204"/>
                    <a:gd name="connsiteX102" fmla="*/ 663268 w 792837"/>
                    <a:gd name="connsiteY102" fmla="*/ 13174 h 765204"/>
                    <a:gd name="connsiteX103" fmla="*/ 663188 w 792837"/>
                    <a:gd name="connsiteY103" fmla="*/ 13013 h 765204"/>
                    <a:gd name="connsiteX104" fmla="*/ 663750 w 792837"/>
                    <a:gd name="connsiteY104" fmla="*/ 15503 h 765204"/>
                    <a:gd name="connsiteX105" fmla="*/ 663268 w 792837"/>
                    <a:gd name="connsiteY105" fmla="*/ 13174 h 765204"/>
                    <a:gd name="connsiteX106" fmla="*/ 703593 w 792837"/>
                    <a:gd name="connsiteY106" fmla="*/ 145233 h 765204"/>
                    <a:gd name="connsiteX107" fmla="*/ 698773 w 792837"/>
                    <a:gd name="connsiteY107" fmla="*/ 143064 h 765204"/>
                    <a:gd name="connsiteX108" fmla="*/ 700540 w 792837"/>
                    <a:gd name="connsiteY108" fmla="*/ 144189 h 765204"/>
                    <a:gd name="connsiteX109" fmla="*/ 670980 w 792837"/>
                    <a:gd name="connsiteY109" fmla="*/ 136879 h 765204"/>
                    <a:gd name="connsiteX110" fmla="*/ 670739 w 792837"/>
                    <a:gd name="connsiteY110" fmla="*/ 137843 h 765204"/>
                    <a:gd name="connsiteX111" fmla="*/ 676522 w 792837"/>
                    <a:gd name="connsiteY111" fmla="*/ 142502 h 765204"/>
                    <a:gd name="connsiteX112" fmla="*/ 645034 w 792837"/>
                    <a:gd name="connsiteY112" fmla="*/ 131658 h 765204"/>
                    <a:gd name="connsiteX113" fmla="*/ 644552 w 792837"/>
                    <a:gd name="connsiteY113" fmla="*/ 132863 h 765204"/>
                    <a:gd name="connsiteX114" fmla="*/ 691142 w 792837"/>
                    <a:gd name="connsiteY114" fmla="*/ 154069 h 765204"/>
                    <a:gd name="connsiteX115" fmla="*/ 645034 w 792837"/>
                    <a:gd name="connsiteY115" fmla="*/ 139369 h 765204"/>
                    <a:gd name="connsiteX116" fmla="*/ 660055 w 792837"/>
                    <a:gd name="connsiteY116" fmla="*/ 148446 h 765204"/>
                    <a:gd name="connsiteX117" fmla="*/ 659894 w 792837"/>
                    <a:gd name="connsiteY117" fmla="*/ 149651 h 765204"/>
                    <a:gd name="connsiteX118" fmla="*/ 648407 w 792837"/>
                    <a:gd name="connsiteY118" fmla="*/ 148446 h 765204"/>
                    <a:gd name="connsiteX119" fmla="*/ 635635 w 792837"/>
                    <a:gd name="connsiteY119" fmla="*/ 143305 h 765204"/>
                    <a:gd name="connsiteX120" fmla="*/ 640535 w 792837"/>
                    <a:gd name="connsiteY120" fmla="*/ 145635 h 765204"/>
                    <a:gd name="connsiteX121" fmla="*/ 633707 w 792837"/>
                    <a:gd name="connsiteY121" fmla="*/ 144590 h 765204"/>
                    <a:gd name="connsiteX122" fmla="*/ 633145 w 792837"/>
                    <a:gd name="connsiteY122" fmla="*/ 145313 h 765204"/>
                    <a:gd name="connsiteX123" fmla="*/ 635876 w 792837"/>
                    <a:gd name="connsiteY123" fmla="*/ 147723 h 765204"/>
                    <a:gd name="connsiteX124" fmla="*/ 631619 w 792837"/>
                    <a:gd name="connsiteY124" fmla="*/ 146679 h 765204"/>
                    <a:gd name="connsiteX125" fmla="*/ 664071 w 792837"/>
                    <a:gd name="connsiteY125" fmla="*/ 161700 h 765204"/>
                    <a:gd name="connsiteX126" fmla="*/ 676843 w 792837"/>
                    <a:gd name="connsiteY126" fmla="*/ 165958 h 765204"/>
                    <a:gd name="connsiteX127" fmla="*/ 707368 w 792837"/>
                    <a:gd name="connsiteY127" fmla="*/ 172866 h 765204"/>
                    <a:gd name="connsiteX128" fmla="*/ 695640 w 792837"/>
                    <a:gd name="connsiteY128" fmla="*/ 160736 h 765204"/>
                    <a:gd name="connsiteX129" fmla="*/ 709858 w 792837"/>
                    <a:gd name="connsiteY129" fmla="*/ 165958 h 765204"/>
                    <a:gd name="connsiteX130" fmla="*/ 707127 w 792837"/>
                    <a:gd name="connsiteY130" fmla="*/ 160174 h 765204"/>
                    <a:gd name="connsiteX131" fmla="*/ 719337 w 792837"/>
                    <a:gd name="connsiteY131" fmla="*/ 165074 h 765204"/>
                    <a:gd name="connsiteX132" fmla="*/ 721667 w 792837"/>
                    <a:gd name="connsiteY132" fmla="*/ 172384 h 765204"/>
                    <a:gd name="connsiteX133" fmla="*/ 735001 w 792837"/>
                    <a:gd name="connsiteY133" fmla="*/ 183790 h 765204"/>
                    <a:gd name="connsiteX134" fmla="*/ 742552 w 792837"/>
                    <a:gd name="connsiteY134" fmla="*/ 180497 h 765204"/>
                    <a:gd name="connsiteX135" fmla="*/ 792837 w 792837"/>
                    <a:gd name="connsiteY135" fmla="*/ 206684 h 765204"/>
                    <a:gd name="connsiteX136" fmla="*/ 703593 w 792837"/>
                    <a:gd name="connsiteY136" fmla="*/ 145233 h 765204"/>
                    <a:gd name="connsiteX137" fmla="*/ 706565 w 792837"/>
                    <a:gd name="connsiteY137" fmla="*/ 57193 h 765204"/>
                    <a:gd name="connsiteX138" fmla="*/ 706565 w 792837"/>
                    <a:gd name="connsiteY138" fmla="*/ 57193 h 765204"/>
                    <a:gd name="connsiteX139" fmla="*/ 709135 w 792837"/>
                    <a:gd name="connsiteY139" fmla="*/ 58640 h 765204"/>
                    <a:gd name="connsiteX140" fmla="*/ 706565 w 792837"/>
                    <a:gd name="connsiteY140" fmla="*/ 57193 h 765204"/>
                    <a:gd name="connsiteX141" fmla="*/ 711224 w 792837"/>
                    <a:gd name="connsiteY141" fmla="*/ 71733 h 765204"/>
                    <a:gd name="connsiteX142" fmla="*/ 712188 w 792837"/>
                    <a:gd name="connsiteY142" fmla="*/ 71251 h 765204"/>
                    <a:gd name="connsiteX143" fmla="*/ 700299 w 792837"/>
                    <a:gd name="connsiteY143" fmla="*/ 70769 h 765204"/>
                    <a:gd name="connsiteX144" fmla="*/ 700781 w 792837"/>
                    <a:gd name="connsiteY144" fmla="*/ 70930 h 765204"/>
                    <a:gd name="connsiteX145" fmla="*/ 707047 w 792837"/>
                    <a:gd name="connsiteY145" fmla="*/ 72938 h 765204"/>
                    <a:gd name="connsiteX146" fmla="*/ 707448 w 792837"/>
                    <a:gd name="connsiteY146" fmla="*/ 73099 h 765204"/>
                    <a:gd name="connsiteX147" fmla="*/ 711947 w 792837"/>
                    <a:gd name="connsiteY147" fmla="*/ 72456 h 765204"/>
                    <a:gd name="connsiteX148" fmla="*/ 711224 w 792837"/>
                    <a:gd name="connsiteY148" fmla="*/ 71733 h 765204"/>
                    <a:gd name="connsiteX149" fmla="*/ 648166 w 792837"/>
                    <a:gd name="connsiteY149" fmla="*/ 6908 h 765204"/>
                    <a:gd name="connsiteX150" fmla="*/ 639893 w 792837"/>
                    <a:gd name="connsiteY150" fmla="*/ 8274 h 765204"/>
                    <a:gd name="connsiteX151" fmla="*/ 640134 w 792837"/>
                    <a:gd name="connsiteY151" fmla="*/ 8756 h 765204"/>
                    <a:gd name="connsiteX152" fmla="*/ 652504 w 792837"/>
                    <a:gd name="connsiteY152" fmla="*/ 9077 h 765204"/>
                    <a:gd name="connsiteX153" fmla="*/ 631699 w 792837"/>
                    <a:gd name="connsiteY153" fmla="*/ 11487 h 765204"/>
                    <a:gd name="connsiteX154" fmla="*/ 633145 w 792837"/>
                    <a:gd name="connsiteY154" fmla="*/ 11728 h 765204"/>
                    <a:gd name="connsiteX155" fmla="*/ 646399 w 792837"/>
                    <a:gd name="connsiteY155" fmla="*/ 12612 h 765204"/>
                    <a:gd name="connsiteX156" fmla="*/ 643748 w 792837"/>
                    <a:gd name="connsiteY156" fmla="*/ 13254 h 765204"/>
                    <a:gd name="connsiteX157" fmla="*/ 695319 w 792837"/>
                    <a:gd name="connsiteY157" fmla="*/ 8033 h 765204"/>
                    <a:gd name="connsiteX158" fmla="*/ 648166 w 792837"/>
                    <a:gd name="connsiteY158" fmla="*/ 6908 h 765204"/>
                    <a:gd name="connsiteX159" fmla="*/ 702066 w 792837"/>
                    <a:gd name="connsiteY159" fmla="*/ 72617 h 765204"/>
                    <a:gd name="connsiteX160" fmla="*/ 701183 w 792837"/>
                    <a:gd name="connsiteY160" fmla="*/ 72376 h 765204"/>
                    <a:gd name="connsiteX161" fmla="*/ 692186 w 792837"/>
                    <a:gd name="connsiteY161" fmla="*/ 71492 h 765204"/>
                    <a:gd name="connsiteX162" fmla="*/ 702066 w 792837"/>
                    <a:gd name="connsiteY162" fmla="*/ 72617 h 765204"/>
                    <a:gd name="connsiteX163" fmla="*/ 686884 w 792837"/>
                    <a:gd name="connsiteY163" fmla="*/ 62576 h 765204"/>
                    <a:gd name="connsiteX164" fmla="*/ 686884 w 792837"/>
                    <a:gd name="connsiteY164" fmla="*/ 62576 h 765204"/>
                    <a:gd name="connsiteX165" fmla="*/ 692668 w 792837"/>
                    <a:gd name="connsiteY165" fmla="*/ 63138 h 765204"/>
                    <a:gd name="connsiteX166" fmla="*/ 686884 w 792837"/>
                    <a:gd name="connsiteY166" fmla="*/ 62576 h 765204"/>
                    <a:gd name="connsiteX167" fmla="*/ 634591 w 792837"/>
                    <a:gd name="connsiteY167" fmla="*/ 123143 h 765204"/>
                    <a:gd name="connsiteX168" fmla="*/ 632181 w 792837"/>
                    <a:gd name="connsiteY168" fmla="*/ 121697 h 765204"/>
                    <a:gd name="connsiteX169" fmla="*/ 628807 w 792837"/>
                    <a:gd name="connsiteY169" fmla="*/ 121777 h 765204"/>
                    <a:gd name="connsiteX170" fmla="*/ 628807 w 792837"/>
                    <a:gd name="connsiteY170" fmla="*/ 121858 h 765204"/>
                    <a:gd name="connsiteX171" fmla="*/ 634591 w 792837"/>
                    <a:gd name="connsiteY171" fmla="*/ 123143 h 765204"/>
                    <a:gd name="connsiteX172" fmla="*/ 684475 w 792837"/>
                    <a:gd name="connsiteY172" fmla="*/ 65387 h 765204"/>
                    <a:gd name="connsiteX173" fmla="*/ 684475 w 792837"/>
                    <a:gd name="connsiteY173" fmla="*/ 65387 h 765204"/>
                    <a:gd name="connsiteX174" fmla="*/ 693712 w 792837"/>
                    <a:gd name="connsiteY174" fmla="*/ 67475 h 765204"/>
                    <a:gd name="connsiteX175" fmla="*/ 684475 w 792837"/>
                    <a:gd name="connsiteY175" fmla="*/ 65387 h 765204"/>
                    <a:gd name="connsiteX176" fmla="*/ 694917 w 792837"/>
                    <a:gd name="connsiteY176" fmla="*/ 60407 h 765204"/>
                    <a:gd name="connsiteX177" fmla="*/ 685760 w 792837"/>
                    <a:gd name="connsiteY177" fmla="*/ 60487 h 765204"/>
                    <a:gd name="connsiteX178" fmla="*/ 684876 w 792837"/>
                    <a:gd name="connsiteY178" fmla="*/ 61371 h 765204"/>
                    <a:gd name="connsiteX179" fmla="*/ 686001 w 792837"/>
                    <a:gd name="connsiteY179" fmla="*/ 61451 h 765204"/>
                    <a:gd name="connsiteX180" fmla="*/ 701103 w 792837"/>
                    <a:gd name="connsiteY180" fmla="*/ 63138 h 765204"/>
                    <a:gd name="connsiteX181" fmla="*/ 694917 w 792837"/>
                    <a:gd name="connsiteY181" fmla="*/ 60407 h 765204"/>
                    <a:gd name="connsiteX182" fmla="*/ 688330 w 792837"/>
                    <a:gd name="connsiteY182" fmla="*/ 120813 h 765204"/>
                    <a:gd name="connsiteX183" fmla="*/ 643347 w 792837"/>
                    <a:gd name="connsiteY183" fmla="*/ 111495 h 765204"/>
                    <a:gd name="connsiteX184" fmla="*/ 650576 w 792837"/>
                    <a:gd name="connsiteY184" fmla="*/ 116556 h 765204"/>
                    <a:gd name="connsiteX185" fmla="*/ 635475 w 792837"/>
                    <a:gd name="connsiteY185" fmla="*/ 112459 h 765204"/>
                    <a:gd name="connsiteX186" fmla="*/ 635475 w 792837"/>
                    <a:gd name="connsiteY186" fmla="*/ 112700 h 765204"/>
                    <a:gd name="connsiteX187" fmla="*/ 656119 w 792837"/>
                    <a:gd name="connsiteY187" fmla="*/ 120492 h 765204"/>
                    <a:gd name="connsiteX188" fmla="*/ 629771 w 792837"/>
                    <a:gd name="connsiteY188" fmla="*/ 116877 h 765204"/>
                    <a:gd name="connsiteX189" fmla="*/ 629852 w 792837"/>
                    <a:gd name="connsiteY189" fmla="*/ 117359 h 765204"/>
                    <a:gd name="connsiteX190" fmla="*/ 638929 w 792837"/>
                    <a:gd name="connsiteY190" fmla="*/ 121376 h 765204"/>
                    <a:gd name="connsiteX191" fmla="*/ 632503 w 792837"/>
                    <a:gd name="connsiteY191" fmla="*/ 120572 h 765204"/>
                    <a:gd name="connsiteX192" fmla="*/ 643909 w 792837"/>
                    <a:gd name="connsiteY192" fmla="*/ 124267 h 765204"/>
                    <a:gd name="connsiteX193" fmla="*/ 637804 w 792837"/>
                    <a:gd name="connsiteY193" fmla="*/ 125794 h 765204"/>
                    <a:gd name="connsiteX194" fmla="*/ 646801 w 792837"/>
                    <a:gd name="connsiteY194" fmla="*/ 126758 h 765204"/>
                    <a:gd name="connsiteX195" fmla="*/ 668168 w 792837"/>
                    <a:gd name="connsiteY195" fmla="*/ 129007 h 765204"/>
                    <a:gd name="connsiteX196" fmla="*/ 696363 w 792837"/>
                    <a:gd name="connsiteY196" fmla="*/ 127159 h 765204"/>
                    <a:gd name="connsiteX197" fmla="*/ 688330 w 792837"/>
                    <a:gd name="connsiteY197" fmla="*/ 120813 h 765204"/>
                    <a:gd name="connsiteX198" fmla="*/ 686001 w 792837"/>
                    <a:gd name="connsiteY198" fmla="*/ 56792 h 765204"/>
                    <a:gd name="connsiteX199" fmla="*/ 674032 w 792837"/>
                    <a:gd name="connsiteY199" fmla="*/ 58800 h 765204"/>
                    <a:gd name="connsiteX200" fmla="*/ 674112 w 792837"/>
                    <a:gd name="connsiteY200" fmla="*/ 59041 h 765204"/>
                    <a:gd name="connsiteX201" fmla="*/ 696685 w 792837"/>
                    <a:gd name="connsiteY201" fmla="*/ 59363 h 765204"/>
                    <a:gd name="connsiteX202" fmla="*/ 686001 w 792837"/>
                    <a:gd name="connsiteY202" fmla="*/ 56792 h 765204"/>
                    <a:gd name="connsiteX203" fmla="*/ 675076 w 792837"/>
                    <a:gd name="connsiteY203" fmla="*/ 62977 h 765204"/>
                    <a:gd name="connsiteX204" fmla="*/ 665919 w 792837"/>
                    <a:gd name="connsiteY204" fmla="*/ 63138 h 765204"/>
                    <a:gd name="connsiteX205" fmla="*/ 666481 w 792837"/>
                    <a:gd name="connsiteY205" fmla="*/ 63218 h 765204"/>
                    <a:gd name="connsiteX206" fmla="*/ 679173 w 792837"/>
                    <a:gd name="connsiteY206" fmla="*/ 63539 h 765204"/>
                    <a:gd name="connsiteX207" fmla="*/ 675558 w 792837"/>
                    <a:gd name="connsiteY207" fmla="*/ 63058 h 765204"/>
                    <a:gd name="connsiteX208" fmla="*/ 675076 w 792837"/>
                    <a:gd name="connsiteY208" fmla="*/ 62977 h 765204"/>
                    <a:gd name="connsiteX209" fmla="*/ 649050 w 792837"/>
                    <a:gd name="connsiteY209" fmla="*/ 69564 h 765204"/>
                    <a:gd name="connsiteX210" fmla="*/ 649050 w 792837"/>
                    <a:gd name="connsiteY210" fmla="*/ 69564 h 765204"/>
                    <a:gd name="connsiteX211" fmla="*/ 660537 w 792837"/>
                    <a:gd name="connsiteY211" fmla="*/ 75990 h 765204"/>
                    <a:gd name="connsiteX212" fmla="*/ 666401 w 792837"/>
                    <a:gd name="connsiteY212" fmla="*/ 75508 h 765204"/>
                    <a:gd name="connsiteX213" fmla="*/ 664393 w 792837"/>
                    <a:gd name="connsiteY213" fmla="*/ 74785 h 765204"/>
                    <a:gd name="connsiteX214" fmla="*/ 673068 w 792837"/>
                    <a:gd name="connsiteY214" fmla="*/ 75508 h 765204"/>
                    <a:gd name="connsiteX215" fmla="*/ 661340 w 792837"/>
                    <a:gd name="connsiteY215" fmla="*/ 72295 h 765204"/>
                    <a:gd name="connsiteX216" fmla="*/ 651058 w 792837"/>
                    <a:gd name="connsiteY216" fmla="*/ 70448 h 765204"/>
                    <a:gd name="connsiteX217" fmla="*/ 649050 w 792837"/>
                    <a:gd name="connsiteY217" fmla="*/ 69564 h 765204"/>
                    <a:gd name="connsiteX218" fmla="*/ 655878 w 792837"/>
                    <a:gd name="connsiteY218" fmla="*/ 51731 h 765204"/>
                    <a:gd name="connsiteX219" fmla="*/ 649371 w 792837"/>
                    <a:gd name="connsiteY219" fmla="*/ 52695 h 765204"/>
                    <a:gd name="connsiteX220" fmla="*/ 651701 w 792837"/>
                    <a:gd name="connsiteY220" fmla="*/ 53980 h 765204"/>
                    <a:gd name="connsiteX221" fmla="*/ 650255 w 792837"/>
                    <a:gd name="connsiteY221" fmla="*/ 54382 h 765204"/>
                    <a:gd name="connsiteX222" fmla="*/ 670498 w 792837"/>
                    <a:gd name="connsiteY222" fmla="*/ 55748 h 765204"/>
                    <a:gd name="connsiteX223" fmla="*/ 679253 w 792837"/>
                    <a:gd name="connsiteY223" fmla="*/ 54302 h 765204"/>
                    <a:gd name="connsiteX224" fmla="*/ 655878 w 792837"/>
                    <a:gd name="connsiteY224" fmla="*/ 51731 h 765204"/>
                    <a:gd name="connsiteX225" fmla="*/ 657886 w 792837"/>
                    <a:gd name="connsiteY225" fmla="*/ 66110 h 765204"/>
                    <a:gd name="connsiteX226" fmla="*/ 642624 w 792837"/>
                    <a:gd name="connsiteY226" fmla="*/ 66431 h 765204"/>
                    <a:gd name="connsiteX227" fmla="*/ 643186 w 792837"/>
                    <a:gd name="connsiteY227" fmla="*/ 66833 h 765204"/>
                    <a:gd name="connsiteX228" fmla="*/ 666481 w 792837"/>
                    <a:gd name="connsiteY228" fmla="*/ 69805 h 765204"/>
                    <a:gd name="connsiteX229" fmla="*/ 672024 w 792837"/>
                    <a:gd name="connsiteY229" fmla="*/ 71412 h 765204"/>
                    <a:gd name="connsiteX230" fmla="*/ 683752 w 792837"/>
                    <a:gd name="connsiteY230" fmla="*/ 75026 h 765204"/>
                    <a:gd name="connsiteX231" fmla="*/ 698612 w 792837"/>
                    <a:gd name="connsiteY231" fmla="*/ 74946 h 765204"/>
                    <a:gd name="connsiteX232" fmla="*/ 657886 w 792837"/>
                    <a:gd name="connsiteY232" fmla="*/ 66110 h 765204"/>
                    <a:gd name="connsiteX233" fmla="*/ 643909 w 792837"/>
                    <a:gd name="connsiteY233" fmla="*/ 58399 h 765204"/>
                    <a:gd name="connsiteX234" fmla="*/ 643588 w 792837"/>
                    <a:gd name="connsiteY234" fmla="*/ 58399 h 765204"/>
                    <a:gd name="connsiteX235" fmla="*/ 643588 w 792837"/>
                    <a:gd name="connsiteY235" fmla="*/ 58479 h 765204"/>
                    <a:gd name="connsiteX236" fmla="*/ 645435 w 792837"/>
                    <a:gd name="connsiteY236" fmla="*/ 59202 h 765204"/>
                    <a:gd name="connsiteX237" fmla="*/ 652906 w 792837"/>
                    <a:gd name="connsiteY237" fmla="*/ 61692 h 765204"/>
                    <a:gd name="connsiteX238" fmla="*/ 656440 w 792837"/>
                    <a:gd name="connsiteY238" fmla="*/ 61451 h 765204"/>
                    <a:gd name="connsiteX239" fmla="*/ 643909 w 792837"/>
                    <a:gd name="connsiteY239" fmla="*/ 58399 h 765204"/>
                    <a:gd name="connsiteX240" fmla="*/ 641499 w 792837"/>
                    <a:gd name="connsiteY240" fmla="*/ 53177 h 765204"/>
                    <a:gd name="connsiteX241" fmla="*/ 642142 w 792837"/>
                    <a:gd name="connsiteY241" fmla="*/ 53177 h 765204"/>
                    <a:gd name="connsiteX242" fmla="*/ 631940 w 792837"/>
                    <a:gd name="connsiteY242" fmla="*/ 53177 h 765204"/>
                    <a:gd name="connsiteX243" fmla="*/ 641499 w 792837"/>
                    <a:gd name="connsiteY243" fmla="*/ 53177 h 765204"/>
                    <a:gd name="connsiteX244" fmla="*/ 650014 w 792837"/>
                    <a:gd name="connsiteY244" fmla="*/ 56471 h 765204"/>
                    <a:gd name="connsiteX245" fmla="*/ 628245 w 792837"/>
                    <a:gd name="connsiteY245" fmla="*/ 56310 h 765204"/>
                    <a:gd name="connsiteX246" fmla="*/ 629289 w 792837"/>
                    <a:gd name="connsiteY246" fmla="*/ 56310 h 765204"/>
                    <a:gd name="connsiteX247" fmla="*/ 650657 w 792837"/>
                    <a:gd name="connsiteY247" fmla="*/ 56551 h 765204"/>
                    <a:gd name="connsiteX248" fmla="*/ 650014 w 792837"/>
                    <a:gd name="connsiteY248" fmla="*/ 56471 h 765204"/>
                    <a:gd name="connsiteX249" fmla="*/ 627603 w 792837"/>
                    <a:gd name="connsiteY249" fmla="*/ 64905 h 765204"/>
                    <a:gd name="connsiteX250" fmla="*/ 626639 w 792837"/>
                    <a:gd name="connsiteY250" fmla="*/ 65307 h 765204"/>
                    <a:gd name="connsiteX251" fmla="*/ 626639 w 792837"/>
                    <a:gd name="connsiteY251" fmla="*/ 65307 h 765204"/>
                    <a:gd name="connsiteX252" fmla="*/ 626639 w 792837"/>
                    <a:gd name="connsiteY252" fmla="*/ 65307 h 765204"/>
                    <a:gd name="connsiteX253" fmla="*/ 626639 w 792837"/>
                    <a:gd name="connsiteY253" fmla="*/ 65307 h 765204"/>
                    <a:gd name="connsiteX254" fmla="*/ 626639 w 792837"/>
                    <a:gd name="connsiteY254" fmla="*/ 65307 h 765204"/>
                    <a:gd name="connsiteX255" fmla="*/ 626639 w 792837"/>
                    <a:gd name="connsiteY255" fmla="*/ 65307 h 765204"/>
                    <a:gd name="connsiteX256" fmla="*/ 626639 w 792837"/>
                    <a:gd name="connsiteY256" fmla="*/ 65307 h 765204"/>
                    <a:gd name="connsiteX257" fmla="*/ 626639 w 792837"/>
                    <a:gd name="connsiteY257" fmla="*/ 65307 h 765204"/>
                    <a:gd name="connsiteX258" fmla="*/ 626639 w 792837"/>
                    <a:gd name="connsiteY258" fmla="*/ 65307 h 765204"/>
                    <a:gd name="connsiteX259" fmla="*/ 629611 w 792837"/>
                    <a:gd name="connsiteY259" fmla="*/ 65387 h 765204"/>
                    <a:gd name="connsiteX260" fmla="*/ 627603 w 792837"/>
                    <a:gd name="connsiteY260" fmla="*/ 64905 h 765204"/>
                    <a:gd name="connsiteX261" fmla="*/ 642302 w 792837"/>
                    <a:gd name="connsiteY261" fmla="*/ 47876 h 765204"/>
                    <a:gd name="connsiteX262" fmla="*/ 623024 w 792837"/>
                    <a:gd name="connsiteY262" fmla="*/ 48599 h 765204"/>
                    <a:gd name="connsiteX263" fmla="*/ 623184 w 792837"/>
                    <a:gd name="connsiteY263" fmla="*/ 48679 h 765204"/>
                    <a:gd name="connsiteX264" fmla="*/ 632181 w 792837"/>
                    <a:gd name="connsiteY264" fmla="*/ 49241 h 765204"/>
                    <a:gd name="connsiteX265" fmla="*/ 638688 w 792837"/>
                    <a:gd name="connsiteY265" fmla="*/ 50285 h 765204"/>
                    <a:gd name="connsiteX266" fmla="*/ 638848 w 792837"/>
                    <a:gd name="connsiteY266" fmla="*/ 50446 h 765204"/>
                    <a:gd name="connsiteX267" fmla="*/ 655476 w 792837"/>
                    <a:gd name="connsiteY267" fmla="*/ 50044 h 765204"/>
                    <a:gd name="connsiteX268" fmla="*/ 642302 w 792837"/>
                    <a:gd name="connsiteY268" fmla="*/ 47876 h 765204"/>
                    <a:gd name="connsiteX269" fmla="*/ 606075 w 792837"/>
                    <a:gd name="connsiteY269" fmla="*/ 14941 h 765204"/>
                    <a:gd name="connsiteX270" fmla="*/ 573220 w 792837"/>
                    <a:gd name="connsiteY270" fmla="*/ 23054 h 765204"/>
                    <a:gd name="connsiteX271" fmla="*/ 575871 w 792837"/>
                    <a:gd name="connsiteY271" fmla="*/ 22894 h 765204"/>
                    <a:gd name="connsiteX272" fmla="*/ 607601 w 792837"/>
                    <a:gd name="connsiteY272" fmla="*/ 19761 h 765204"/>
                    <a:gd name="connsiteX273" fmla="*/ 643829 w 792837"/>
                    <a:gd name="connsiteY273" fmla="*/ 17110 h 765204"/>
                    <a:gd name="connsiteX274" fmla="*/ 645275 w 792837"/>
                    <a:gd name="connsiteY274" fmla="*/ 14379 h 765204"/>
                    <a:gd name="connsiteX275" fmla="*/ 606075 w 792837"/>
                    <a:gd name="connsiteY275" fmla="*/ 14941 h 765204"/>
                    <a:gd name="connsiteX276" fmla="*/ 165074 w 792837"/>
                    <a:gd name="connsiteY276" fmla="*/ 218010 h 765204"/>
                    <a:gd name="connsiteX277" fmla="*/ 176320 w 792837"/>
                    <a:gd name="connsiteY277" fmla="*/ 208853 h 765204"/>
                    <a:gd name="connsiteX278" fmla="*/ 169010 w 792837"/>
                    <a:gd name="connsiteY278" fmla="*/ 213351 h 765204"/>
                    <a:gd name="connsiteX279" fmla="*/ 203792 w 792837"/>
                    <a:gd name="connsiteY279" fmla="*/ 181782 h 765204"/>
                    <a:gd name="connsiteX280" fmla="*/ 191984 w 792837"/>
                    <a:gd name="connsiteY280" fmla="*/ 189173 h 765204"/>
                    <a:gd name="connsiteX281" fmla="*/ 251427 w 792837"/>
                    <a:gd name="connsiteY281" fmla="*/ 141618 h 765204"/>
                    <a:gd name="connsiteX282" fmla="*/ 248294 w 792837"/>
                    <a:gd name="connsiteY282" fmla="*/ 141859 h 765204"/>
                    <a:gd name="connsiteX283" fmla="*/ 201382 w 792837"/>
                    <a:gd name="connsiteY283" fmla="*/ 168528 h 765204"/>
                    <a:gd name="connsiteX284" fmla="*/ 205399 w 792837"/>
                    <a:gd name="connsiteY284" fmla="*/ 162905 h 765204"/>
                    <a:gd name="connsiteX285" fmla="*/ 181782 w 792837"/>
                    <a:gd name="connsiteY285" fmla="*/ 174472 h 765204"/>
                    <a:gd name="connsiteX286" fmla="*/ 174954 w 792837"/>
                    <a:gd name="connsiteY286" fmla="*/ 180899 h 765204"/>
                    <a:gd name="connsiteX287" fmla="*/ 175597 w 792837"/>
                    <a:gd name="connsiteY287" fmla="*/ 181622 h 765204"/>
                    <a:gd name="connsiteX288" fmla="*/ 180095 w 792837"/>
                    <a:gd name="connsiteY288" fmla="*/ 180417 h 765204"/>
                    <a:gd name="connsiteX289" fmla="*/ 171179 w 792837"/>
                    <a:gd name="connsiteY289" fmla="*/ 184915 h 765204"/>
                    <a:gd name="connsiteX290" fmla="*/ 171018 w 792837"/>
                    <a:gd name="connsiteY290" fmla="*/ 179694 h 765204"/>
                    <a:gd name="connsiteX291" fmla="*/ 150133 w 792837"/>
                    <a:gd name="connsiteY291" fmla="*/ 195197 h 765204"/>
                    <a:gd name="connsiteX292" fmla="*/ 150615 w 792837"/>
                    <a:gd name="connsiteY292" fmla="*/ 195920 h 765204"/>
                    <a:gd name="connsiteX293" fmla="*/ 155354 w 792837"/>
                    <a:gd name="connsiteY293" fmla="*/ 195599 h 765204"/>
                    <a:gd name="connsiteX294" fmla="*/ 135192 w 792837"/>
                    <a:gd name="connsiteY294" fmla="*/ 210861 h 765204"/>
                    <a:gd name="connsiteX295" fmla="*/ 146197 w 792837"/>
                    <a:gd name="connsiteY295" fmla="*/ 211343 h 765204"/>
                    <a:gd name="connsiteX296" fmla="*/ 119930 w 792837"/>
                    <a:gd name="connsiteY296" fmla="*/ 221705 h 765204"/>
                    <a:gd name="connsiteX297" fmla="*/ 106515 w 792837"/>
                    <a:gd name="connsiteY297" fmla="*/ 238494 h 765204"/>
                    <a:gd name="connsiteX298" fmla="*/ 99205 w 792837"/>
                    <a:gd name="connsiteY298" fmla="*/ 254318 h 765204"/>
                    <a:gd name="connsiteX299" fmla="*/ 115833 w 792837"/>
                    <a:gd name="connsiteY299" fmla="*/ 238735 h 765204"/>
                    <a:gd name="connsiteX300" fmla="*/ 110130 w 792837"/>
                    <a:gd name="connsiteY300" fmla="*/ 248937 h 765204"/>
                    <a:gd name="connsiteX301" fmla="*/ 131899 w 792837"/>
                    <a:gd name="connsiteY301" fmla="*/ 234879 h 765204"/>
                    <a:gd name="connsiteX302" fmla="*/ 128284 w 792837"/>
                    <a:gd name="connsiteY302" fmla="*/ 238815 h 765204"/>
                    <a:gd name="connsiteX303" fmla="*/ 165074 w 792837"/>
                    <a:gd name="connsiteY303" fmla="*/ 218010 h 765204"/>
                    <a:gd name="connsiteX304" fmla="*/ 614589 w 792837"/>
                    <a:gd name="connsiteY304" fmla="*/ 55025 h 765204"/>
                    <a:gd name="connsiteX305" fmla="*/ 614830 w 792837"/>
                    <a:gd name="connsiteY305" fmla="*/ 55025 h 765204"/>
                    <a:gd name="connsiteX306" fmla="*/ 608404 w 792837"/>
                    <a:gd name="connsiteY306" fmla="*/ 55266 h 765204"/>
                    <a:gd name="connsiteX307" fmla="*/ 608404 w 792837"/>
                    <a:gd name="connsiteY307" fmla="*/ 55266 h 765204"/>
                    <a:gd name="connsiteX308" fmla="*/ 614589 w 792837"/>
                    <a:gd name="connsiteY308" fmla="*/ 55025 h 765204"/>
                    <a:gd name="connsiteX309" fmla="*/ 603745 w 792837"/>
                    <a:gd name="connsiteY309" fmla="*/ 55748 h 765204"/>
                    <a:gd name="connsiteX310" fmla="*/ 593302 w 792837"/>
                    <a:gd name="connsiteY310" fmla="*/ 56551 h 765204"/>
                    <a:gd name="connsiteX311" fmla="*/ 593945 w 792837"/>
                    <a:gd name="connsiteY311" fmla="*/ 56712 h 765204"/>
                    <a:gd name="connsiteX312" fmla="*/ 614107 w 792837"/>
                    <a:gd name="connsiteY312" fmla="*/ 58238 h 765204"/>
                    <a:gd name="connsiteX313" fmla="*/ 612019 w 792837"/>
                    <a:gd name="connsiteY313" fmla="*/ 58640 h 765204"/>
                    <a:gd name="connsiteX314" fmla="*/ 622943 w 792837"/>
                    <a:gd name="connsiteY314" fmla="*/ 58881 h 765204"/>
                    <a:gd name="connsiteX315" fmla="*/ 620212 w 792837"/>
                    <a:gd name="connsiteY315" fmla="*/ 58318 h 765204"/>
                    <a:gd name="connsiteX316" fmla="*/ 623666 w 792837"/>
                    <a:gd name="connsiteY316" fmla="*/ 58077 h 765204"/>
                    <a:gd name="connsiteX317" fmla="*/ 619168 w 792837"/>
                    <a:gd name="connsiteY317" fmla="*/ 57595 h 765204"/>
                    <a:gd name="connsiteX318" fmla="*/ 624389 w 792837"/>
                    <a:gd name="connsiteY318" fmla="*/ 56872 h 765204"/>
                    <a:gd name="connsiteX319" fmla="*/ 622060 w 792837"/>
                    <a:gd name="connsiteY319" fmla="*/ 56471 h 765204"/>
                    <a:gd name="connsiteX320" fmla="*/ 620293 w 792837"/>
                    <a:gd name="connsiteY320" fmla="*/ 56390 h 765204"/>
                    <a:gd name="connsiteX321" fmla="*/ 608966 w 792837"/>
                    <a:gd name="connsiteY321" fmla="*/ 56390 h 765204"/>
                    <a:gd name="connsiteX322" fmla="*/ 603745 w 792837"/>
                    <a:gd name="connsiteY322" fmla="*/ 55748 h 765204"/>
                    <a:gd name="connsiteX323" fmla="*/ 571614 w 792837"/>
                    <a:gd name="connsiteY323" fmla="*/ 55748 h 765204"/>
                    <a:gd name="connsiteX324" fmla="*/ 571614 w 792837"/>
                    <a:gd name="connsiteY324" fmla="*/ 55748 h 765204"/>
                    <a:gd name="connsiteX325" fmla="*/ 582699 w 792837"/>
                    <a:gd name="connsiteY325" fmla="*/ 56471 h 765204"/>
                    <a:gd name="connsiteX326" fmla="*/ 571614 w 792837"/>
                    <a:gd name="connsiteY326" fmla="*/ 55748 h 765204"/>
                    <a:gd name="connsiteX327" fmla="*/ 571534 w 792837"/>
                    <a:gd name="connsiteY327" fmla="*/ 55748 h 765204"/>
                    <a:gd name="connsiteX328" fmla="*/ 571534 w 792837"/>
                    <a:gd name="connsiteY328" fmla="*/ 55748 h 765204"/>
                    <a:gd name="connsiteX329" fmla="*/ 571534 w 792837"/>
                    <a:gd name="connsiteY329" fmla="*/ 55748 h 765204"/>
                    <a:gd name="connsiteX330" fmla="*/ 571534 w 792837"/>
                    <a:gd name="connsiteY330" fmla="*/ 55748 h 765204"/>
                    <a:gd name="connsiteX331" fmla="*/ 571534 w 792837"/>
                    <a:gd name="connsiteY331" fmla="*/ 55748 h 765204"/>
                    <a:gd name="connsiteX332" fmla="*/ 571534 w 792837"/>
                    <a:gd name="connsiteY332" fmla="*/ 55748 h 765204"/>
                    <a:gd name="connsiteX333" fmla="*/ 571534 w 792837"/>
                    <a:gd name="connsiteY333" fmla="*/ 55748 h 765204"/>
                    <a:gd name="connsiteX334" fmla="*/ 571534 w 792837"/>
                    <a:gd name="connsiteY334" fmla="*/ 55748 h 765204"/>
                    <a:gd name="connsiteX335" fmla="*/ 571534 w 792837"/>
                    <a:gd name="connsiteY335" fmla="*/ 55748 h 765204"/>
                    <a:gd name="connsiteX336" fmla="*/ 571534 w 792837"/>
                    <a:gd name="connsiteY336" fmla="*/ 55748 h 765204"/>
                    <a:gd name="connsiteX337" fmla="*/ 571534 w 792837"/>
                    <a:gd name="connsiteY337" fmla="*/ 55748 h 765204"/>
                    <a:gd name="connsiteX338" fmla="*/ 571534 w 792837"/>
                    <a:gd name="connsiteY338" fmla="*/ 55748 h 765204"/>
                    <a:gd name="connsiteX339" fmla="*/ 571534 w 792837"/>
                    <a:gd name="connsiteY339" fmla="*/ 55748 h 765204"/>
                    <a:gd name="connsiteX340" fmla="*/ 571534 w 792837"/>
                    <a:gd name="connsiteY340" fmla="*/ 55748 h 765204"/>
                    <a:gd name="connsiteX341" fmla="*/ 571534 w 792837"/>
                    <a:gd name="connsiteY341" fmla="*/ 55748 h 765204"/>
                    <a:gd name="connsiteX342" fmla="*/ 571534 w 792837"/>
                    <a:gd name="connsiteY342" fmla="*/ 55748 h 765204"/>
                    <a:gd name="connsiteX343" fmla="*/ 571534 w 792837"/>
                    <a:gd name="connsiteY343" fmla="*/ 55748 h 765204"/>
                    <a:gd name="connsiteX344" fmla="*/ 571534 w 792837"/>
                    <a:gd name="connsiteY344" fmla="*/ 55748 h 765204"/>
                    <a:gd name="connsiteX345" fmla="*/ 571534 w 792837"/>
                    <a:gd name="connsiteY345" fmla="*/ 55748 h 765204"/>
                    <a:gd name="connsiteX346" fmla="*/ 571534 w 792837"/>
                    <a:gd name="connsiteY346" fmla="*/ 55748 h 765204"/>
                    <a:gd name="connsiteX347" fmla="*/ 571534 w 792837"/>
                    <a:gd name="connsiteY347" fmla="*/ 55748 h 765204"/>
                    <a:gd name="connsiteX348" fmla="*/ 571534 w 792837"/>
                    <a:gd name="connsiteY348" fmla="*/ 55748 h 765204"/>
                    <a:gd name="connsiteX349" fmla="*/ 571534 w 792837"/>
                    <a:gd name="connsiteY349" fmla="*/ 55748 h 765204"/>
                    <a:gd name="connsiteX350" fmla="*/ 571534 w 792837"/>
                    <a:gd name="connsiteY350" fmla="*/ 55748 h 765204"/>
                    <a:gd name="connsiteX351" fmla="*/ 571534 w 792837"/>
                    <a:gd name="connsiteY351" fmla="*/ 55748 h 765204"/>
                    <a:gd name="connsiteX352" fmla="*/ 571534 w 792837"/>
                    <a:gd name="connsiteY352" fmla="*/ 55748 h 765204"/>
                    <a:gd name="connsiteX353" fmla="*/ 571534 w 792837"/>
                    <a:gd name="connsiteY353" fmla="*/ 55748 h 765204"/>
                    <a:gd name="connsiteX354" fmla="*/ 571534 w 792837"/>
                    <a:gd name="connsiteY354" fmla="*/ 55748 h 765204"/>
                    <a:gd name="connsiteX355" fmla="*/ 571534 w 792837"/>
                    <a:gd name="connsiteY355" fmla="*/ 55748 h 765204"/>
                    <a:gd name="connsiteX356" fmla="*/ 571534 w 792837"/>
                    <a:gd name="connsiteY356" fmla="*/ 55748 h 765204"/>
                    <a:gd name="connsiteX357" fmla="*/ 571534 w 792837"/>
                    <a:gd name="connsiteY357" fmla="*/ 55748 h 765204"/>
                    <a:gd name="connsiteX358" fmla="*/ 571534 w 792837"/>
                    <a:gd name="connsiteY358" fmla="*/ 55748 h 765204"/>
                    <a:gd name="connsiteX359" fmla="*/ 571534 w 792837"/>
                    <a:gd name="connsiteY359" fmla="*/ 55748 h 765204"/>
                    <a:gd name="connsiteX360" fmla="*/ 571534 w 792837"/>
                    <a:gd name="connsiteY360" fmla="*/ 55748 h 765204"/>
                    <a:gd name="connsiteX361" fmla="*/ 571534 w 792837"/>
                    <a:gd name="connsiteY361" fmla="*/ 55748 h 765204"/>
                    <a:gd name="connsiteX362" fmla="*/ 571534 w 792837"/>
                    <a:gd name="connsiteY362" fmla="*/ 55748 h 765204"/>
                    <a:gd name="connsiteX363" fmla="*/ 571534 w 792837"/>
                    <a:gd name="connsiteY363" fmla="*/ 55748 h 765204"/>
                    <a:gd name="connsiteX364" fmla="*/ 571534 w 792837"/>
                    <a:gd name="connsiteY364" fmla="*/ 55748 h 765204"/>
                    <a:gd name="connsiteX365" fmla="*/ 571534 w 792837"/>
                    <a:gd name="connsiteY365" fmla="*/ 55748 h 765204"/>
                    <a:gd name="connsiteX366" fmla="*/ 571534 w 792837"/>
                    <a:gd name="connsiteY366" fmla="*/ 55748 h 765204"/>
                    <a:gd name="connsiteX367" fmla="*/ 571534 w 792837"/>
                    <a:gd name="connsiteY367" fmla="*/ 55748 h 765204"/>
                    <a:gd name="connsiteX368" fmla="*/ 571534 w 792837"/>
                    <a:gd name="connsiteY368" fmla="*/ 55748 h 765204"/>
                    <a:gd name="connsiteX369" fmla="*/ 571534 w 792837"/>
                    <a:gd name="connsiteY369" fmla="*/ 55748 h 765204"/>
                    <a:gd name="connsiteX370" fmla="*/ 571534 w 792837"/>
                    <a:gd name="connsiteY370" fmla="*/ 55748 h 765204"/>
                    <a:gd name="connsiteX371" fmla="*/ 571534 w 792837"/>
                    <a:gd name="connsiteY371" fmla="*/ 55748 h 765204"/>
                    <a:gd name="connsiteX372" fmla="*/ 571534 w 792837"/>
                    <a:gd name="connsiteY372" fmla="*/ 55748 h 765204"/>
                    <a:gd name="connsiteX373" fmla="*/ 571534 w 792837"/>
                    <a:gd name="connsiteY373" fmla="*/ 55748 h 765204"/>
                    <a:gd name="connsiteX374" fmla="*/ 571534 w 792837"/>
                    <a:gd name="connsiteY374" fmla="*/ 55748 h 765204"/>
                    <a:gd name="connsiteX375" fmla="*/ 571534 w 792837"/>
                    <a:gd name="connsiteY375" fmla="*/ 55748 h 765204"/>
                    <a:gd name="connsiteX376" fmla="*/ 571534 w 792837"/>
                    <a:gd name="connsiteY376" fmla="*/ 55748 h 765204"/>
                    <a:gd name="connsiteX377" fmla="*/ 571534 w 792837"/>
                    <a:gd name="connsiteY377" fmla="*/ 55748 h 765204"/>
                    <a:gd name="connsiteX378" fmla="*/ 571534 w 792837"/>
                    <a:gd name="connsiteY378" fmla="*/ 55748 h 765204"/>
                    <a:gd name="connsiteX379" fmla="*/ 571534 w 792837"/>
                    <a:gd name="connsiteY379" fmla="*/ 55748 h 765204"/>
                    <a:gd name="connsiteX380" fmla="*/ 571534 w 792837"/>
                    <a:gd name="connsiteY380" fmla="*/ 55748 h 765204"/>
                    <a:gd name="connsiteX381" fmla="*/ 571534 w 792837"/>
                    <a:gd name="connsiteY381" fmla="*/ 55748 h 765204"/>
                    <a:gd name="connsiteX382" fmla="*/ 571534 w 792837"/>
                    <a:gd name="connsiteY382" fmla="*/ 55748 h 765204"/>
                    <a:gd name="connsiteX383" fmla="*/ 571534 w 792837"/>
                    <a:gd name="connsiteY383" fmla="*/ 55748 h 765204"/>
                    <a:gd name="connsiteX384" fmla="*/ 571534 w 792837"/>
                    <a:gd name="connsiteY384" fmla="*/ 55748 h 765204"/>
                    <a:gd name="connsiteX385" fmla="*/ 571534 w 792837"/>
                    <a:gd name="connsiteY385" fmla="*/ 55748 h 765204"/>
                    <a:gd name="connsiteX386" fmla="*/ 571534 w 792837"/>
                    <a:gd name="connsiteY386" fmla="*/ 55748 h 765204"/>
                    <a:gd name="connsiteX387" fmla="*/ 571534 w 792837"/>
                    <a:gd name="connsiteY387" fmla="*/ 55748 h 765204"/>
                    <a:gd name="connsiteX388" fmla="*/ 571534 w 792837"/>
                    <a:gd name="connsiteY388" fmla="*/ 55748 h 765204"/>
                    <a:gd name="connsiteX389" fmla="*/ 571534 w 792837"/>
                    <a:gd name="connsiteY389" fmla="*/ 55748 h 765204"/>
                    <a:gd name="connsiteX390" fmla="*/ 571534 w 792837"/>
                    <a:gd name="connsiteY390" fmla="*/ 55748 h 765204"/>
                    <a:gd name="connsiteX391" fmla="*/ 571534 w 792837"/>
                    <a:gd name="connsiteY391" fmla="*/ 55748 h 765204"/>
                    <a:gd name="connsiteX392" fmla="*/ 571534 w 792837"/>
                    <a:gd name="connsiteY392" fmla="*/ 55748 h 765204"/>
                    <a:gd name="connsiteX393" fmla="*/ 571534 w 792837"/>
                    <a:gd name="connsiteY393" fmla="*/ 55748 h 765204"/>
                    <a:gd name="connsiteX394" fmla="*/ 571534 w 792837"/>
                    <a:gd name="connsiteY394" fmla="*/ 55748 h 765204"/>
                    <a:gd name="connsiteX395" fmla="*/ 571534 w 792837"/>
                    <a:gd name="connsiteY395" fmla="*/ 55748 h 765204"/>
                    <a:gd name="connsiteX396" fmla="*/ 571534 w 792837"/>
                    <a:gd name="connsiteY396" fmla="*/ 55748 h 765204"/>
                    <a:gd name="connsiteX397" fmla="*/ 571534 w 792837"/>
                    <a:gd name="connsiteY397" fmla="*/ 55748 h 765204"/>
                    <a:gd name="connsiteX398" fmla="*/ 571534 w 792837"/>
                    <a:gd name="connsiteY398" fmla="*/ 55748 h 765204"/>
                    <a:gd name="connsiteX399" fmla="*/ 571534 w 792837"/>
                    <a:gd name="connsiteY399" fmla="*/ 55748 h 765204"/>
                    <a:gd name="connsiteX400" fmla="*/ 571534 w 792837"/>
                    <a:gd name="connsiteY400" fmla="*/ 55748 h 765204"/>
                    <a:gd name="connsiteX401" fmla="*/ 571534 w 792837"/>
                    <a:gd name="connsiteY401" fmla="*/ 55748 h 765204"/>
                    <a:gd name="connsiteX402" fmla="*/ 571534 w 792837"/>
                    <a:gd name="connsiteY402" fmla="*/ 55748 h 765204"/>
                    <a:gd name="connsiteX403" fmla="*/ 571534 w 792837"/>
                    <a:gd name="connsiteY403" fmla="*/ 55748 h 765204"/>
                    <a:gd name="connsiteX404" fmla="*/ 571534 w 792837"/>
                    <a:gd name="connsiteY404" fmla="*/ 55748 h 765204"/>
                    <a:gd name="connsiteX405" fmla="*/ 571534 w 792837"/>
                    <a:gd name="connsiteY405" fmla="*/ 55748 h 765204"/>
                    <a:gd name="connsiteX406" fmla="*/ 571534 w 792837"/>
                    <a:gd name="connsiteY406" fmla="*/ 55748 h 765204"/>
                    <a:gd name="connsiteX407" fmla="*/ 571534 w 792837"/>
                    <a:gd name="connsiteY407" fmla="*/ 55748 h 765204"/>
                    <a:gd name="connsiteX408" fmla="*/ 571534 w 792837"/>
                    <a:gd name="connsiteY408" fmla="*/ 55748 h 765204"/>
                    <a:gd name="connsiteX409" fmla="*/ 571534 w 792837"/>
                    <a:gd name="connsiteY409" fmla="*/ 55748 h 765204"/>
                    <a:gd name="connsiteX410" fmla="*/ 571534 w 792837"/>
                    <a:gd name="connsiteY410" fmla="*/ 55748 h 765204"/>
                    <a:gd name="connsiteX411" fmla="*/ 571534 w 792837"/>
                    <a:gd name="connsiteY411" fmla="*/ 55748 h 765204"/>
                    <a:gd name="connsiteX412" fmla="*/ 571534 w 792837"/>
                    <a:gd name="connsiteY412" fmla="*/ 55748 h 765204"/>
                    <a:gd name="connsiteX413" fmla="*/ 571534 w 792837"/>
                    <a:gd name="connsiteY413" fmla="*/ 55748 h 765204"/>
                    <a:gd name="connsiteX414" fmla="*/ 571534 w 792837"/>
                    <a:gd name="connsiteY414" fmla="*/ 55748 h 765204"/>
                    <a:gd name="connsiteX415" fmla="*/ 571534 w 792837"/>
                    <a:gd name="connsiteY415" fmla="*/ 55748 h 765204"/>
                    <a:gd name="connsiteX416" fmla="*/ 571534 w 792837"/>
                    <a:gd name="connsiteY416" fmla="*/ 55748 h 765204"/>
                    <a:gd name="connsiteX417" fmla="*/ 571534 w 792837"/>
                    <a:gd name="connsiteY417" fmla="*/ 55748 h 765204"/>
                    <a:gd name="connsiteX418" fmla="*/ 571534 w 792837"/>
                    <a:gd name="connsiteY418" fmla="*/ 55748 h 765204"/>
                    <a:gd name="connsiteX419" fmla="*/ 332477 w 792837"/>
                    <a:gd name="connsiteY419" fmla="*/ 131176 h 765204"/>
                    <a:gd name="connsiteX420" fmla="*/ 312235 w 792837"/>
                    <a:gd name="connsiteY420" fmla="*/ 140494 h 765204"/>
                    <a:gd name="connsiteX421" fmla="*/ 312476 w 792837"/>
                    <a:gd name="connsiteY421" fmla="*/ 140092 h 765204"/>
                    <a:gd name="connsiteX422" fmla="*/ 333200 w 792837"/>
                    <a:gd name="connsiteY422" fmla="*/ 130854 h 765204"/>
                    <a:gd name="connsiteX423" fmla="*/ 332477 w 792837"/>
                    <a:gd name="connsiteY423" fmla="*/ 131176 h 765204"/>
                    <a:gd name="connsiteX424" fmla="*/ 363484 w 792837"/>
                    <a:gd name="connsiteY424" fmla="*/ 113664 h 765204"/>
                    <a:gd name="connsiteX425" fmla="*/ 381397 w 792837"/>
                    <a:gd name="connsiteY425" fmla="*/ 96554 h 765204"/>
                    <a:gd name="connsiteX426" fmla="*/ 368223 w 792837"/>
                    <a:gd name="connsiteY426" fmla="*/ 103061 h 765204"/>
                    <a:gd name="connsiteX427" fmla="*/ 387582 w 792837"/>
                    <a:gd name="connsiteY427" fmla="*/ 88763 h 765204"/>
                    <a:gd name="connsiteX428" fmla="*/ 378907 w 792837"/>
                    <a:gd name="connsiteY428" fmla="*/ 93261 h 765204"/>
                    <a:gd name="connsiteX429" fmla="*/ 385815 w 792837"/>
                    <a:gd name="connsiteY429" fmla="*/ 87798 h 765204"/>
                    <a:gd name="connsiteX430" fmla="*/ 385414 w 792837"/>
                    <a:gd name="connsiteY430" fmla="*/ 87879 h 765204"/>
                    <a:gd name="connsiteX431" fmla="*/ 367018 w 792837"/>
                    <a:gd name="connsiteY431" fmla="*/ 100008 h 765204"/>
                    <a:gd name="connsiteX432" fmla="*/ 382602 w 792837"/>
                    <a:gd name="connsiteY432" fmla="*/ 88441 h 765204"/>
                    <a:gd name="connsiteX433" fmla="*/ 352319 w 792837"/>
                    <a:gd name="connsiteY433" fmla="*/ 106595 h 765204"/>
                    <a:gd name="connsiteX434" fmla="*/ 374168 w 792837"/>
                    <a:gd name="connsiteY434" fmla="*/ 91494 h 765204"/>
                    <a:gd name="connsiteX435" fmla="*/ 357941 w 792837"/>
                    <a:gd name="connsiteY435" fmla="*/ 100731 h 765204"/>
                    <a:gd name="connsiteX436" fmla="*/ 361074 w 792837"/>
                    <a:gd name="connsiteY436" fmla="*/ 98161 h 765204"/>
                    <a:gd name="connsiteX437" fmla="*/ 309263 w 792837"/>
                    <a:gd name="connsiteY437" fmla="*/ 129649 h 765204"/>
                    <a:gd name="connsiteX438" fmla="*/ 329827 w 792837"/>
                    <a:gd name="connsiteY438" fmla="*/ 110692 h 765204"/>
                    <a:gd name="connsiteX439" fmla="*/ 305086 w 792837"/>
                    <a:gd name="connsiteY439" fmla="*/ 124348 h 765204"/>
                    <a:gd name="connsiteX440" fmla="*/ 305809 w 792837"/>
                    <a:gd name="connsiteY440" fmla="*/ 122741 h 765204"/>
                    <a:gd name="connsiteX441" fmla="*/ 301471 w 792837"/>
                    <a:gd name="connsiteY441" fmla="*/ 123866 h 765204"/>
                    <a:gd name="connsiteX442" fmla="*/ 268135 w 792837"/>
                    <a:gd name="connsiteY442" fmla="*/ 135754 h 765204"/>
                    <a:gd name="connsiteX443" fmla="*/ 274400 w 792837"/>
                    <a:gd name="connsiteY443" fmla="*/ 133585 h 765204"/>
                    <a:gd name="connsiteX444" fmla="*/ 260504 w 792837"/>
                    <a:gd name="connsiteY444" fmla="*/ 141618 h 765204"/>
                    <a:gd name="connsiteX445" fmla="*/ 262512 w 792837"/>
                    <a:gd name="connsiteY445" fmla="*/ 142100 h 765204"/>
                    <a:gd name="connsiteX446" fmla="*/ 240100 w 792837"/>
                    <a:gd name="connsiteY446" fmla="*/ 155756 h 765204"/>
                    <a:gd name="connsiteX447" fmla="*/ 263395 w 792837"/>
                    <a:gd name="connsiteY447" fmla="*/ 149651 h 765204"/>
                    <a:gd name="connsiteX448" fmla="*/ 226846 w 792837"/>
                    <a:gd name="connsiteY448" fmla="*/ 167082 h 765204"/>
                    <a:gd name="connsiteX449" fmla="*/ 259620 w 792837"/>
                    <a:gd name="connsiteY449" fmla="*/ 155676 h 765204"/>
                    <a:gd name="connsiteX450" fmla="*/ 222428 w 792837"/>
                    <a:gd name="connsiteY450" fmla="*/ 175838 h 765204"/>
                    <a:gd name="connsiteX451" fmla="*/ 242912 w 792837"/>
                    <a:gd name="connsiteY451" fmla="*/ 170054 h 765204"/>
                    <a:gd name="connsiteX452" fmla="*/ 231264 w 792837"/>
                    <a:gd name="connsiteY452" fmla="*/ 176722 h 765204"/>
                    <a:gd name="connsiteX453" fmla="*/ 273276 w 792837"/>
                    <a:gd name="connsiteY453" fmla="*/ 157844 h 765204"/>
                    <a:gd name="connsiteX454" fmla="*/ 262753 w 792837"/>
                    <a:gd name="connsiteY454" fmla="*/ 166841 h 765204"/>
                    <a:gd name="connsiteX455" fmla="*/ 263877 w 792837"/>
                    <a:gd name="connsiteY455" fmla="*/ 169010 h 765204"/>
                    <a:gd name="connsiteX456" fmla="*/ 199374 w 792837"/>
                    <a:gd name="connsiteY456" fmla="*/ 211584 h 765204"/>
                    <a:gd name="connsiteX457" fmla="*/ 208049 w 792837"/>
                    <a:gd name="connsiteY457" fmla="*/ 183469 h 765204"/>
                    <a:gd name="connsiteX458" fmla="*/ 185317 w 792837"/>
                    <a:gd name="connsiteY458" fmla="*/ 201382 h 765204"/>
                    <a:gd name="connsiteX459" fmla="*/ 155194 w 792837"/>
                    <a:gd name="connsiteY459" fmla="*/ 231264 h 765204"/>
                    <a:gd name="connsiteX460" fmla="*/ 155836 w 792837"/>
                    <a:gd name="connsiteY460" fmla="*/ 233032 h 765204"/>
                    <a:gd name="connsiteX461" fmla="*/ 163307 w 792837"/>
                    <a:gd name="connsiteY461" fmla="*/ 234718 h 765204"/>
                    <a:gd name="connsiteX462" fmla="*/ 121456 w 792837"/>
                    <a:gd name="connsiteY462" fmla="*/ 252551 h 765204"/>
                    <a:gd name="connsiteX463" fmla="*/ 109969 w 792837"/>
                    <a:gd name="connsiteY463" fmla="*/ 261066 h 765204"/>
                    <a:gd name="connsiteX464" fmla="*/ 127882 w 792837"/>
                    <a:gd name="connsiteY464" fmla="*/ 252230 h 765204"/>
                    <a:gd name="connsiteX465" fmla="*/ 121938 w 792837"/>
                    <a:gd name="connsiteY465" fmla="*/ 257210 h 765204"/>
                    <a:gd name="connsiteX466" fmla="*/ 123625 w 792837"/>
                    <a:gd name="connsiteY466" fmla="*/ 257772 h 765204"/>
                    <a:gd name="connsiteX467" fmla="*/ 99125 w 792837"/>
                    <a:gd name="connsiteY467" fmla="*/ 279301 h 765204"/>
                    <a:gd name="connsiteX468" fmla="*/ 107479 w 792837"/>
                    <a:gd name="connsiteY468" fmla="*/ 276409 h 765204"/>
                    <a:gd name="connsiteX469" fmla="*/ 91574 w 792837"/>
                    <a:gd name="connsiteY469" fmla="*/ 285164 h 765204"/>
                    <a:gd name="connsiteX470" fmla="*/ 99205 w 792837"/>
                    <a:gd name="connsiteY470" fmla="*/ 266368 h 765204"/>
                    <a:gd name="connsiteX471" fmla="*/ 74464 w 792837"/>
                    <a:gd name="connsiteY471" fmla="*/ 289984 h 765204"/>
                    <a:gd name="connsiteX472" fmla="*/ 40003 w 792837"/>
                    <a:gd name="connsiteY472" fmla="*/ 312074 h 765204"/>
                    <a:gd name="connsiteX473" fmla="*/ 52133 w 792837"/>
                    <a:gd name="connsiteY473" fmla="*/ 300909 h 765204"/>
                    <a:gd name="connsiteX474" fmla="*/ 40244 w 792837"/>
                    <a:gd name="connsiteY474" fmla="*/ 312797 h 765204"/>
                    <a:gd name="connsiteX475" fmla="*/ 43618 w 792837"/>
                    <a:gd name="connsiteY475" fmla="*/ 313922 h 765204"/>
                    <a:gd name="connsiteX476" fmla="*/ 50767 w 792837"/>
                    <a:gd name="connsiteY476" fmla="*/ 308379 h 765204"/>
                    <a:gd name="connsiteX477" fmla="*/ 48197 w 792837"/>
                    <a:gd name="connsiteY477" fmla="*/ 316251 h 765204"/>
                    <a:gd name="connsiteX478" fmla="*/ 56069 w 792837"/>
                    <a:gd name="connsiteY478" fmla="*/ 309986 h 765204"/>
                    <a:gd name="connsiteX479" fmla="*/ 54462 w 792837"/>
                    <a:gd name="connsiteY479" fmla="*/ 320428 h 765204"/>
                    <a:gd name="connsiteX480" fmla="*/ 70849 w 792837"/>
                    <a:gd name="connsiteY480" fmla="*/ 310147 h 765204"/>
                    <a:gd name="connsiteX481" fmla="*/ 69564 w 792837"/>
                    <a:gd name="connsiteY481" fmla="*/ 318500 h 765204"/>
                    <a:gd name="connsiteX482" fmla="*/ 71251 w 792837"/>
                    <a:gd name="connsiteY482" fmla="*/ 319384 h 765204"/>
                    <a:gd name="connsiteX483" fmla="*/ 81774 w 792837"/>
                    <a:gd name="connsiteY483" fmla="*/ 310789 h 765204"/>
                    <a:gd name="connsiteX484" fmla="*/ 102900 w 792837"/>
                    <a:gd name="connsiteY484" fmla="*/ 304523 h 765204"/>
                    <a:gd name="connsiteX485" fmla="*/ 102659 w 792837"/>
                    <a:gd name="connsiteY485" fmla="*/ 292314 h 765204"/>
                    <a:gd name="connsiteX486" fmla="*/ 112218 w 792837"/>
                    <a:gd name="connsiteY486" fmla="*/ 285084 h 765204"/>
                    <a:gd name="connsiteX487" fmla="*/ 144831 w 792837"/>
                    <a:gd name="connsiteY487" fmla="*/ 280104 h 765204"/>
                    <a:gd name="connsiteX488" fmla="*/ 189735 w 792837"/>
                    <a:gd name="connsiteY488" fmla="*/ 239940 h 765204"/>
                    <a:gd name="connsiteX489" fmla="*/ 182023 w 792837"/>
                    <a:gd name="connsiteY489" fmla="*/ 233915 h 765204"/>
                    <a:gd name="connsiteX490" fmla="*/ 206122 w 792837"/>
                    <a:gd name="connsiteY490" fmla="*/ 231104 h 765204"/>
                    <a:gd name="connsiteX491" fmla="*/ 205961 w 792837"/>
                    <a:gd name="connsiteY491" fmla="*/ 219296 h 765204"/>
                    <a:gd name="connsiteX492" fmla="*/ 227569 w 792837"/>
                    <a:gd name="connsiteY492" fmla="*/ 208773 h 765204"/>
                    <a:gd name="connsiteX493" fmla="*/ 238253 w 792837"/>
                    <a:gd name="connsiteY493" fmla="*/ 211825 h 765204"/>
                    <a:gd name="connsiteX494" fmla="*/ 239940 w 792837"/>
                    <a:gd name="connsiteY494" fmla="*/ 210700 h 765204"/>
                    <a:gd name="connsiteX495" fmla="*/ 263074 w 792837"/>
                    <a:gd name="connsiteY495" fmla="*/ 189333 h 765204"/>
                    <a:gd name="connsiteX496" fmla="*/ 324525 w 792837"/>
                    <a:gd name="connsiteY496" fmla="*/ 148687 h 765204"/>
                    <a:gd name="connsiteX497" fmla="*/ 304363 w 792837"/>
                    <a:gd name="connsiteY497" fmla="*/ 157041 h 765204"/>
                    <a:gd name="connsiteX498" fmla="*/ 363484 w 792837"/>
                    <a:gd name="connsiteY498" fmla="*/ 113664 h 765204"/>
                    <a:gd name="connsiteX499" fmla="*/ 483655 w 792837"/>
                    <a:gd name="connsiteY499" fmla="*/ 142422 h 765204"/>
                    <a:gd name="connsiteX500" fmla="*/ 472650 w 792837"/>
                    <a:gd name="connsiteY500" fmla="*/ 133184 h 765204"/>
                    <a:gd name="connsiteX501" fmla="*/ 458110 w 792837"/>
                    <a:gd name="connsiteY501" fmla="*/ 130372 h 765204"/>
                    <a:gd name="connsiteX502" fmla="*/ 460440 w 792837"/>
                    <a:gd name="connsiteY502" fmla="*/ 162343 h 765204"/>
                    <a:gd name="connsiteX503" fmla="*/ 444053 w 792837"/>
                    <a:gd name="connsiteY503" fmla="*/ 117279 h 765204"/>
                    <a:gd name="connsiteX504" fmla="*/ 442848 w 792837"/>
                    <a:gd name="connsiteY504" fmla="*/ 131336 h 765204"/>
                    <a:gd name="connsiteX505" fmla="*/ 432807 w 792837"/>
                    <a:gd name="connsiteY505" fmla="*/ 122902 h 765204"/>
                    <a:gd name="connsiteX506" fmla="*/ 420838 w 792837"/>
                    <a:gd name="connsiteY506" fmla="*/ 84264 h 765204"/>
                    <a:gd name="connsiteX507" fmla="*/ 417304 w 792837"/>
                    <a:gd name="connsiteY507" fmla="*/ 85469 h 765204"/>
                    <a:gd name="connsiteX508" fmla="*/ 414412 w 792837"/>
                    <a:gd name="connsiteY508" fmla="*/ 70849 h 765204"/>
                    <a:gd name="connsiteX509" fmla="*/ 409351 w 792837"/>
                    <a:gd name="connsiteY509" fmla="*/ 85549 h 765204"/>
                    <a:gd name="connsiteX510" fmla="*/ 410155 w 792837"/>
                    <a:gd name="connsiteY510" fmla="*/ 81854 h 765204"/>
                    <a:gd name="connsiteX511" fmla="*/ 404773 w 792837"/>
                    <a:gd name="connsiteY511" fmla="*/ 100410 h 765204"/>
                    <a:gd name="connsiteX512" fmla="*/ 401078 w 792837"/>
                    <a:gd name="connsiteY512" fmla="*/ 99526 h 765204"/>
                    <a:gd name="connsiteX513" fmla="*/ 386779 w 792837"/>
                    <a:gd name="connsiteY513" fmla="*/ 136397 h 765204"/>
                    <a:gd name="connsiteX514" fmla="*/ 386619 w 792837"/>
                    <a:gd name="connsiteY514" fmla="*/ 112861 h 765204"/>
                    <a:gd name="connsiteX515" fmla="*/ 376256 w 792837"/>
                    <a:gd name="connsiteY515" fmla="*/ 132702 h 765204"/>
                    <a:gd name="connsiteX516" fmla="*/ 379068 w 792837"/>
                    <a:gd name="connsiteY516" fmla="*/ 118163 h 765204"/>
                    <a:gd name="connsiteX517" fmla="*/ 360673 w 792837"/>
                    <a:gd name="connsiteY517" fmla="*/ 142743 h 765204"/>
                    <a:gd name="connsiteX518" fmla="*/ 369428 w 792837"/>
                    <a:gd name="connsiteY518" fmla="*/ 122902 h 765204"/>
                    <a:gd name="connsiteX519" fmla="*/ 344366 w 792837"/>
                    <a:gd name="connsiteY519" fmla="*/ 154310 h 765204"/>
                    <a:gd name="connsiteX520" fmla="*/ 351435 w 792837"/>
                    <a:gd name="connsiteY520" fmla="*/ 137923 h 765204"/>
                    <a:gd name="connsiteX521" fmla="*/ 347740 w 792837"/>
                    <a:gd name="connsiteY521" fmla="*/ 136558 h 765204"/>
                    <a:gd name="connsiteX522" fmla="*/ 280505 w 792837"/>
                    <a:gd name="connsiteY522" fmla="*/ 202668 h 765204"/>
                    <a:gd name="connsiteX523" fmla="*/ 195759 w 792837"/>
                    <a:gd name="connsiteY523" fmla="*/ 304845 h 765204"/>
                    <a:gd name="connsiteX524" fmla="*/ 158166 w 792837"/>
                    <a:gd name="connsiteY524" fmla="*/ 318259 h 765204"/>
                    <a:gd name="connsiteX525" fmla="*/ 166038 w 792837"/>
                    <a:gd name="connsiteY525" fmla="*/ 314404 h 765204"/>
                    <a:gd name="connsiteX526" fmla="*/ 166440 w 792837"/>
                    <a:gd name="connsiteY526" fmla="*/ 349025 h 765204"/>
                    <a:gd name="connsiteX527" fmla="*/ 215681 w 792837"/>
                    <a:gd name="connsiteY527" fmla="*/ 410717 h 765204"/>
                    <a:gd name="connsiteX528" fmla="*/ 225159 w 792837"/>
                    <a:gd name="connsiteY528" fmla="*/ 413529 h 765204"/>
                    <a:gd name="connsiteX529" fmla="*/ 221866 w 792837"/>
                    <a:gd name="connsiteY529" fmla="*/ 433450 h 765204"/>
                    <a:gd name="connsiteX530" fmla="*/ 224999 w 792837"/>
                    <a:gd name="connsiteY530" fmla="*/ 431442 h 765204"/>
                    <a:gd name="connsiteX531" fmla="*/ 221143 w 792837"/>
                    <a:gd name="connsiteY531" fmla="*/ 444696 h 765204"/>
                    <a:gd name="connsiteX532" fmla="*/ 224597 w 792837"/>
                    <a:gd name="connsiteY532" fmla="*/ 444696 h 765204"/>
                    <a:gd name="connsiteX533" fmla="*/ 215118 w 792837"/>
                    <a:gd name="connsiteY533" fmla="*/ 466143 h 765204"/>
                    <a:gd name="connsiteX534" fmla="*/ 221384 w 792837"/>
                    <a:gd name="connsiteY534" fmla="*/ 463171 h 765204"/>
                    <a:gd name="connsiteX535" fmla="*/ 210138 w 792837"/>
                    <a:gd name="connsiteY535" fmla="*/ 487752 h 765204"/>
                    <a:gd name="connsiteX536" fmla="*/ 213833 w 792837"/>
                    <a:gd name="connsiteY536" fmla="*/ 489680 h 765204"/>
                    <a:gd name="connsiteX537" fmla="*/ 232790 w 792837"/>
                    <a:gd name="connsiteY537" fmla="*/ 468714 h 765204"/>
                    <a:gd name="connsiteX538" fmla="*/ 232549 w 792837"/>
                    <a:gd name="connsiteY538" fmla="*/ 477550 h 765204"/>
                    <a:gd name="connsiteX539" fmla="*/ 235040 w 792837"/>
                    <a:gd name="connsiteY539" fmla="*/ 479880 h 765204"/>
                    <a:gd name="connsiteX540" fmla="*/ 232871 w 792837"/>
                    <a:gd name="connsiteY540" fmla="*/ 483334 h 765204"/>
                    <a:gd name="connsiteX541" fmla="*/ 233915 w 792837"/>
                    <a:gd name="connsiteY541" fmla="*/ 487029 h 765204"/>
                    <a:gd name="connsiteX542" fmla="*/ 246687 w 792837"/>
                    <a:gd name="connsiteY542" fmla="*/ 483735 h 765204"/>
                    <a:gd name="connsiteX543" fmla="*/ 241145 w 792837"/>
                    <a:gd name="connsiteY543" fmla="*/ 500685 h 765204"/>
                    <a:gd name="connsiteX544" fmla="*/ 248374 w 792837"/>
                    <a:gd name="connsiteY544" fmla="*/ 502934 h 765204"/>
                    <a:gd name="connsiteX545" fmla="*/ 221786 w 792837"/>
                    <a:gd name="connsiteY545" fmla="*/ 513939 h 765204"/>
                    <a:gd name="connsiteX546" fmla="*/ 243554 w 792837"/>
                    <a:gd name="connsiteY546" fmla="*/ 551291 h 765204"/>
                    <a:gd name="connsiteX547" fmla="*/ 247169 w 792837"/>
                    <a:gd name="connsiteY547" fmla="*/ 550729 h 765204"/>
                    <a:gd name="connsiteX548" fmla="*/ 250141 w 792837"/>
                    <a:gd name="connsiteY548" fmla="*/ 553058 h 765204"/>
                    <a:gd name="connsiteX549" fmla="*/ 212066 w 792837"/>
                    <a:gd name="connsiteY549" fmla="*/ 576594 h 765204"/>
                    <a:gd name="connsiteX550" fmla="*/ 232469 w 792837"/>
                    <a:gd name="connsiteY550" fmla="*/ 574908 h 765204"/>
                    <a:gd name="connsiteX551" fmla="*/ 231586 w 792837"/>
                    <a:gd name="connsiteY551" fmla="*/ 580370 h 765204"/>
                    <a:gd name="connsiteX552" fmla="*/ 209817 w 792837"/>
                    <a:gd name="connsiteY552" fmla="*/ 593142 h 765204"/>
                    <a:gd name="connsiteX553" fmla="*/ 237690 w 792837"/>
                    <a:gd name="connsiteY553" fmla="*/ 588403 h 765204"/>
                    <a:gd name="connsiteX554" fmla="*/ 218090 w 792837"/>
                    <a:gd name="connsiteY554" fmla="*/ 612260 h 765204"/>
                    <a:gd name="connsiteX555" fmla="*/ 203872 w 792837"/>
                    <a:gd name="connsiteY555" fmla="*/ 625032 h 765204"/>
                    <a:gd name="connsiteX556" fmla="*/ 232710 w 792837"/>
                    <a:gd name="connsiteY556" fmla="*/ 611617 h 765204"/>
                    <a:gd name="connsiteX557" fmla="*/ 202105 w 792837"/>
                    <a:gd name="connsiteY557" fmla="*/ 633306 h 765204"/>
                    <a:gd name="connsiteX558" fmla="*/ 205158 w 792837"/>
                    <a:gd name="connsiteY558" fmla="*/ 634993 h 765204"/>
                    <a:gd name="connsiteX559" fmla="*/ 228131 w 792837"/>
                    <a:gd name="connsiteY559" fmla="*/ 640696 h 765204"/>
                    <a:gd name="connsiteX560" fmla="*/ 210459 w 792837"/>
                    <a:gd name="connsiteY560" fmla="*/ 665758 h 765204"/>
                    <a:gd name="connsiteX561" fmla="*/ 227007 w 792837"/>
                    <a:gd name="connsiteY561" fmla="*/ 662465 h 765204"/>
                    <a:gd name="connsiteX562" fmla="*/ 225722 w 792837"/>
                    <a:gd name="connsiteY562" fmla="*/ 665758 h 765204"/>
                    <a:gd name="connsiteX563" fmla="*/ 230622 w 792837"/>
                    <a:gd name="connsiteY563" fmla="*/ 652504 h 765204"/>
                    <a:gd name="connsiteX564" fmla="*/ 241225 w 792837"/>
                    <a:gd name="connsiteY564" fmla="*/ 669694 h 765204"/>
                    <a:gd name="connsiteX565" fmla="*/ 235923 w 792837"/>
                    <a:gd name="connsiteY565" fmla="*/ 664714 h 765204"/>
                    <a:gd name="connsiteX566" fmla="*/ 220099 w 792837"/>
                    <a:gd name="connsiteY566" fmla="*/ 675719 h 765204"/>
                    <a:gd name="connsiteX567" fmla="*/ 235763 w 792837"/>
                    <a:gd name="connsiteY567" fmla="*/ 675558 h 765204"/>
                    <a:gd name="connsiteX568" fmla="*/ 221705 w 792837"/>
                    <a:gd name="connsiteY568" fmla="*/ 680217 h 765204"/>
                    <a:gd name="connsiteX569" fmla="*/ 232469 w 792837"/>
                    <a:gd name="connsiteY569" fmla="*/ 707127 h 765204"/>
                    <a:gd name="connsiteX570" fmla="*/ 238654 w 792837"/>
                    <a:gd name="connsiteY570" fmla="*/ 702790 h 765204"/>
                    <a:gd name="connsiteX571" fmla="*/ 232871 w 792837"/>
                    <a:gd name="connsiteY571" fmla="*/ 712991 h 765204"/>
                    <a:gd name="connsiteX572" fmla="*/ 243072 w 792837"/>
                    <a:gd name="connsiteY572" fmla="*/ 719578 h 765204"/>
                    <a:gd name="connsiteX573" fmla="*/ 242269 w 792837"/>
                    <a:gd name="connsiteY573" fmla="*/ 723434 h 765204"/>
                    <a:gd name="connsiteX574" fmla="*/ 249820 w 792837"/>
                    <a:gd name="connsiteY574" fmla="*/ 723354 h 765204"/>
                    <a:gd name="connsiteX575" fmla="*/ 245081 w 792837"/>
                    <a:gd name="connsiteY575" fmla="*/ 730262 h 765204"/>
                    <a:gd name="connsiteX576" fmla="*/ 263958 w 792837"/>
                    <a:gd name="connsiteY576" fmla="*/ 744882 h 765204"/>
                    <a:gd name="connsiteX577" fmla="*/ 260986 w 792837"/>
                    <a:gd name="connsiteY577" fmla="*/ 748496 h 765204"/>
                    <a:gd name="connsiteX578" fmla="*/ 264199 w 792837"/>
                    <a:gd name="connsiteY578" fmla="*/ 750585 h 765204"/>
                    <a:gd name="connsiteX579" fmla="*/ 266207 w 792837"/>
                    <a:gd name="connsiteY579" fmla="*/ 748577 h 765204"/>
                    <a:gd name="connsiteX580" fmla="*/ 292233 w 792837"/>
                    <a:gd name="connsiteY580" fmla="*/ 740222 h 765204"/>
                    <a:gd name="connsiteX581" fmla="*/ 292795 w 792837"/>
                    <a:gd name="connsiteY581" fmla="*/ 748978 h 765204"/>
                    <a:gd name="connsiteX582" fmla="*/ 309022 w 792837"/>
                    <a:gd name="connsiteY582" fmla="*/ 749380 h 765204"/>
                    <a:gd name="connsiteX583" fmla="*/ 307736 w 792837"/>
                    <a:gd name="connsiteY583" fmla="*/ 752995 h 765204"/>
                    <a:gd name="connsiteX584" fmla="*/ 303399 w 792837"/>
                    <a:gd name="connsiteY584" fmla="*/ 755083 h 765204"/>
                    <a:gd name="connsiteX585" fmla="*/ 318661 w 792837"/>
                    <a:gd name="connsiteY585" fmla="*/ 756127 h 765204"/>
                    <a:gd name="connsiteX586" fmla="*/ 315689 w 792837"/>
                    <a:gd name="connsiteY586" fmla="*/ 762393 h 765204"/>
                    <a:gd name="connsiteX587" fmla="*/ 319705 w 792837"/>
                    <a:gd name="connsiteY587" fmla="*/ 763437 h 765204"/>
                    <a:gd name="connsiteX588" fmla="*/ 320268 w 792837"/>
                    <a:gd name="connsiteY588" fmla="*/ 765205 h 765204"/>
                    <a:gd name="connsiteX589" fmla="*/ 327096 w 792837"/>
                    <a:gd name="connsiteY589" fmla="*/ 764000 h 765204"/>
                    <a:gd name="connsiteX590" fmla="*/ 323641 w 792837"/>
                    <a:gd name="connsiteY590" fmla="*/ 761750 h 765204"/>
                    <a:gd name="connsiteX591" fmla="*/ 346615 w 792837"/>
                    <a:gd name="connsiteY591" fmla="*/ 723434 h 765204"/>
                    <a:gd name="connsiteX592" fmla="*/ 342679 w 792837"/>
                    <a:gd name="connsiteY592" fmla="*/ 722952 h 765204"/>
                    <a:gd name="connsiteX593" fmla="*/ 348864 w 792837"/>
                    <a:gd name="connsiteY593" fmla="*/ 703673 h 765204"/>
                    <a:gd name="connsiteX594" fmla="*/ 340028 w 792837"/>
                    <a:gd name="connsiteY594" fmla="*/ 702468 h 765204"/>
                    <a:gd name="connsiteX595" fmla="*/ 352319 w 792837"/>
                    <a:gd name="connsiteY595" fmla="*/ 698693 h 765204"/>
                    <a:gd name="connsiteX596" fmla="*/ 353202 w 792837"/>
                    <a:gd name="connsiteY596" fmla="*/ 693954 h 765204"/>
                    <a:gd name="connsiteX597" fmla="*/ 348543 w 792837"/>
                    <a:gd name="connsiteY597" fmla="*/ 689455 h 765204"/>
                    <a:gd name="connsiteX598" fmla="*/ 369830 w 792837"/>
                    <a:gd name="connsiteY598" fmla="*/ 670900 h 765204"/>
                    <a:gd name="connsiteX599" fmla="*/ 359628 w 792837"/>
                    <a:gd name="connsiteY599" fmla="*/ 664795 h 765204"/>
                    <a:gd name="connsiteX600" fmla="*/ 374650 w 792837"/>
                    <a:gd name="connsiteY600" fmla="*/ 656922 h 765204"/>
                    <a:gd name="connsiteX601" fmla="*/ 364528 w 792837"/>
                    <a:gd name="connsiteY601" fmla="*/ 648890 h 765204"/>
                    <a:gd name="connsiteX602" fmla="*/ 363323 w 792837"/>
                    <a:gd name="connsiteY602" fmla="*/ 644954 h 765204"/>
                    <a:gd name="connsiteX603" fmla="*/ 383646 w 792837"/>
                    <a:gd name="connsiteY603" fmla="*/ 636358 h 765204"/>
                    <a:gd name="connsiteX604" fmla="*/ 383646 w 792837"/>
                    <a:gd name="connsiteY604" fmla="*/ 636358 h 765204"/>
                    <a:gd name="connsiteX605" fmla="*/ 397222 w 792837"/>
                    <a:gd name="connsiteY605" fmla="*/ 618767 h 765204"/>
                    <a:gd name="connsiteX606" fmla="*/ 400596 w 792837"/>
                    <a:gd name="connsiteY606" fmla="*/ 619811 h 765204"/>
                    <a:gd name="connsiteX607" fmla="*/ 403246 w 792837"/>
                    <a:gd name="connsiteY607" fmla="*/ 617481 h 765204"/>
                    <a:gd name="connsiteX608" fmla="*/ 423168 w 792837"/>
                    <a:gd name="connsiteY608" fmla="*/ 619329 h 765204"/>
                    <a:gd name="connsiteX609" fmla="*/ 423891 w 792837"/>
                    <a:gd name="connsiteY609" fmla="*/ 615393 h 765204"/>
                    <a:gd name="connsiteX610" fmla="*/ 426220 w 792837"/>
                    <a:gd name="connsiteY610" fmla="*/ 618044 h 765204"/>
                    <a:gd name="connsiteX611" fmla="*/ 431843 w 792837"/>
                    <a:gd name="connsiteY611" fmla="*/ 603826 h 765204"/>
                    <a:gd name="connsiteX612" fmla="*/ 472007 w 792837"/>
                    <a:gd name="connsiteY612" fmla="*/ 547757 h 765204"/>
                    <a:gd name="connsiteX613" fmla="*/ 569686 w 792837"/>
                    <a:gd name="connsiteY613" fmla="*/ 498034 h 765204"/>
                    <a:gd name="connsiteX614" fmla="*/ 565750 w 792837"/>
                    <a:gd name="connsiteY614" fmla="*/ 486788 h 765204"/>
                    <a:gd name="connsiteX615" fmla="*/ 524943 w 792837"/>
                    <a:gd name="connsiteY615" fmla="*/ 497712 h 765204"/>
                    <a:gd name="connsiteX616" fmla="*/ 530406 w 792837"/>
                    <a:gd name="connsiteY616" fmla="*/ 488715 h 765204"/>
                    <a:gd name="connsiteX617" fmla="*/ 527755 w 792837"/>
                    <a:gd name="connsiteY617" fmla="*/ 485984 h 765204"/>
                    <a:gd name="connsiteX618" fmla="*/ 502692 w 792837"/>
                    <a:gd name="connsiteY618" fmla="*/ 489278 h 765204"/>
                    <a:gd name="connsiteX619" fmla="*/ 507512 w 792837"/>
                    <a:gd name="connsiteY619" fmla="*/ 473132 h 765204"/>
                    <a:gd name="connsiteX620" fmla="*/ 532173 w 792837"/>
                    <a:gd name="connsiteY620" fmla="*/ 462368 h 765204"/>
                    <a:gd name="connsiteX621" fmla="*/ 530165 w 792837"/>
                    <a:gd name="connsiteY621" fmla="*/ 457307 h 765204"/>
                    <a:gd name="connsiteX622" fmla="*/ 576675 w 792837"/>
                    <a:gd name="connsiteY622" fmla="*/ 465983 h 765204"/>
                    <a:gd name="connsiteX623" fmla="*/ 579727 w 792837"/>
                    <a:gd name="connsiteY623" fmla="*/ 474096 h 765204"/>
                    <a:gd name="connsiteX624" fmla="*/ 582860 w 792837"/>
                    <a:gd name="connsiteY624" fmla="*/ 455379 h 765204"/>
                    <a:gd name="connsiteX625" fmla="*/ 573461 w 792837"/>
                    <a:gd name="connsiteY625" fmla="*/ 439073 h 765204"/>
                    <a:gd name="connsiteX626" fmla="*/ 534583 w 792837"/>
                    <a:gd name="connsiteY626" fmla="*/ 429434 h 765204"/>
                    <a:gd name="connsiteX627" fmla="*/ 534181 w 792837"/>
                    <a:gd name="connsiteY627" fmla="*/ 416983 h 765204"/>
                    <a:gd name="connsiteX628" fmla="*/ 517714 w 792837"/>
                    <a:gd name="connsiteY628" fmla="*/ 420999 h 765204"/>
                    <a:gd name="connsiteX629" fmla="*/ 566473 w 792837"/>
                    <a:gd name="connsiteY629" fmla="*/ 429594 h 765204"/>
                    <a:gd name="connsiteX630" fmla="*/ 517714 w 792837"/>
                    <a:gd name="connsiteY630" fmla="*/ 403166 h 765204"/>
                    <a:gd name="connsiteX631" fmla="*/ 524622 w 792837"/>
                    <a:gd name="connsiteY631" fmla="*/ 399712 h 765204"/>
                    <a:gd name="connsiteX632" fmla="*/ 518758 w 792837"/>
                    <a:gd name="connsiteY632" fmla="*/ 387261 h 765204"/>
                    <a:gd name="connsiteX633" fmla="*/ 529120 w 792837"/>
                    <a:gd name="connsiteY633" fmla="*/ 392001 h 765204"/>
                    <a:gd name="connsiteX634" fmla="*/ 571293 w 792837"/>
                    <a:gd name="connsiteY634" fmla="*/ 387422 h 765204"/>
                    <a:gd name="connsiteX635" fmla="*/ 569766 w 792837"/>
                    <a:gd name="connsiteY635" fmla="*/ 380193 h 765204"/>
                    <a:gd name="connsiteX636" fmla="*/ 549122 w 792837"/>
                    <a:gd name="connsiteY636" fmla="*/ 367581 h 765204"/>
                    <a:gd name="connsiteX637" fmla="*/ 565589 w 792837"/>
                    <a:gd name="connsiteY637" fmla="*/ 354648 h 765204"/>
                    <a:gd name="connsiteX638" fmla="*/ 537796 w 792837"/>
                    <a:gd name="connsiteY638" fmla="*/ 343643 h 765204"/>
                    <a:gd name="connsiteX639" fmla="*/ 517152 w 792837"/>
                    <a:gd name="connsiteY639" fmla="*/ 295848 h 765204"/>
                    <a:gd name="connsiteX640" fmla="*/ 518597 w 792837"/>
                    <a:gd name="connsiteY640" fmla="*/ 292635 h 765204"/>
                    <a:gd name="connsiteX641" fmla="*/ 544061 w 792837"/>
                    <a:gd name="connsiteY641" fmla="*/ 287173 h 765204"/>
                    <a:gd name="connsiteX642" fmla="*/ 519883 w 792837"/>
                    <a:gd name="connsiteY642" fmla="*/ 263878 h 765204"/>
                    <a:gd name="connsiteX643" fmla="*/ 525666 w 792837"/>
                    <a:gd name="connsiteY643" fmla="*/ 258094 h 765204"/>
                    <a:gd name="connsiteX644" fmla="*/ 515304 w 792837"/>
                    <a:gd name="connsiteY644" fmla="*/ 263637 h 765204"/>
                    <a:gd name="connsiteX645" fmla="*/ 483655 w 792837"/>
                    <a:gd name="connsiteY645" fmla="*/ 142422 h 765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</a:cxnLst>
                  <a:rect l="l" t="t" r="r" b="b"/>
                  <a:pathLst>
                    <a:path w="792837" h="765204">
                      <a:moveTo>
                        <a:pt x="65467" y="262592"/>
                      </a:moveTo>
                      <a:lnTo>
                        <a:pt x="65467" y="262592"/>
                      </a:lnTo>
                      <a:cubicBezTo>
                        <a:pt x="59443" y="263958"/>
                        <a:pt x="53418" y="265323"/>
                        <a:pt x="47394" y="266609"/>
                      </a:cubicBezTo>
                      <a:cubicBezTo>
                        <a:pt x="57836" y="264359"/>
                        <a:pt x="65387" y="262673"/>
                        <a:pt x="65467" y="262592"/>
                      </a:cubicBezTo>
                      <a:moveTo>
                        <a:pt x="41851" y="249981"/>
                      </a:moveTo>
                      <a:cubicBezTo>
                        <a:pt x="41851" y="250061"/>
                        <a:pt x="41851" y="250222"/>
                        <a:pt x="41931" y="250302"/>
                      </a:cubicBezTo>
                      <a:cubicBezTo>
                        <a:pt x="42494" y="249901"/>
                        <a:pt x="43136" y="249338"/>
                        <a:pt x="43698" y="248856"/>
                      </a:cubicBezTo>
                      <a:cubicBezTo>
                        <a:pt x="42734" y="246687"/>
                        <a:pt x="42333" y="245723"/>
                        <a:pt x="41931" y="245563"/>
                      </a:cubicBezTo>
                      <a:cubicBezTo>
                        <a:pt x="41369" y="245402"/>
                        <a:pt x="41449" y="247651"/>
                        <a:pt x="41851" y="249981"/>
                      </a:cubicBezTo>
                      <a:moveTo>
                        <a:pt x="28115" y="228212"/>
                      </a:moveTo>
                      <a:cubicBezTo>
                        <a:pt x="28275" y="228131"/>
                        <a:pt x="28597" y="228051"/>
                        <a:pt x="28757" y="228051"/>
                      </a:cubicBezTo>
                      <a:cubicBezTo>
                        <a:pt x="26749" y="228292"/>
                        <a:pt x="28597" y="225159"/>
                        <a:pt x="27472" y="224035"/>
                      </a:cubicBezTo>
                      <a:cubicBezTo>
                        <a:pt x="24661" y="222750"/>
                        <a:pt x="15664" y="227890"/>
                        <a:pt x="0" y="239860"/>
                      </a:cubicBezTo>
                      <a:cubicBezTo>
                        <a:pt x="9077" y="238735"/>
                        <a:pt x="14298" y="235923"/>
                        <a:pt x="20644" y="232068"/>
                      </a:cubicBezTo>
                      <a:cubicBezTo>
                        <a:pt x="23375" y="230381"/>
                        <a:pt x="25705" y="228935"/>
                        <a:pt x="28115" y="228212"/>
                      </a:cubicBezTo>
                      <a:moveTo>
                        <a:pt x="20484" y="222750"/>
                      </a:moveTo>
                      <a:cubicBezTo>
                        <a:pt x="23375" y="221143"/>
                        <a:pt x="27472" y="217849"/>
                        <a:pt x="31087" y="214958"/>
                      </a:cubicBezTo>
                      <a:cubicBezTo>
                        <a:pt x="30846" y="215038"/>
                        <a:pt x="30525" y="215118"/>
                        <a:pt x="30284" y="215199"/>
                      </a:cubicBezTo>
                      <a:cubicBezTo>
                        <a:pt x="29561" y="215440"/>
                        <a:pt x="27312" y="216082"/>
                        <a:pt x="25705" y="216404"/>
                      </a:cubicBezTo>
                      <a:cubicBezTo>
                        <a:pt x="25464" y="216484"/>
                        <a:pt x="25223" y="216484"/>
                        <a:pt x="24982" y="216564"/>
                      </a:cubicBezTo>
                      <a:cubicBezTo>
                        <a:pt x="24982" y="216564"/>
                        <a:pt x="20885" y="218894"/>
                        <a:pt x="16066" y="222910"/>
                      </a:cubicBezTo>
                      <a:cubicBezTo>
                        <a:pt x="16307" y="223714"/>
                        <a:pt x="17029" y="224677"/>
                        <a:pt x="20484" y="222750"/>
                      </a:cubicBezTo>
                      <a:moveTo>
                        <a:pt x="69725" y="245000"/>
                      </a:moveTo>
                      <a:cubicBezTo>
                        <a:pt x="69805" y="245000"/>
                        <a:pt x="69885" y="245000"/>
                        <a:pt x="69885" y="244920"/>
                      </a:cubicBezTo>
                      <a:cubicBezTo>
                        <a:pt x="69885" y="244920"/>
                        <a:pt x="69805" y="244920"/>
                        <a:pt x="69805" y="244920"/>
                      </a:cubicBezTo>
                      <a:cubicBezTo>
                        <a:pt x="69002" y="244920"/>
                        <a:pt x="68118" y="244840"/>
                        <a:pt x="67315" y="244759"/>
                      </a:cubicBezTo>
                      <a:cubicBezTo>
                        <a:pt x="67877" y="245402"/>
                        <a:pt x="68921" y="245241"/>
                        <a:pt x="69725" y="245000"/>
                      </a:cubicBezTo>
                      <a:moveTo>
                        <a:pt x="60728" y="230782"/>
                      </a:moveTo>
                      <a:cubicBezTo>
                        <a:pt x="60808" y="230702"/>
                        <a:pt x="60969" y="230622"/>
                        <a:pt x="61049" y="230622"/>
                      </a:cubicBezTo>
                      <a:cubicBezTo>
                        <a:pt x="60969" y="230622"/>
                        <a:pt x="60808" y="230702"/>
                        <a:pt x="60728" y="230782"/>
                      </a:cubicBezTo>
                      <a:cubicBezTo>
                        <a:pt x="58720" y="231827"/>
                        <a:pt x="56712" y="232791"/>
                        <a:pt x="54784" y="233755"/>
                      </a:cubicBezTo>
                      <a:cubicBezTo>
                        <a:pt x="56792" y="232791"/>
                        <a:pt x="58720" y="231746"/>
                        <a:pt x="60728" y="230782"/>
                      </a:cubicBezTo>
                      <a:moveTo>
                        <a:pt x="782475" y="160817"/>
                      </a:moveTo>
                      <a:cubicBezTo>
                        <a:pt x="782153" y="160415"/>
                        <a:pt x="781672" y="159853"/>
                        <a:pt x="781270" y="159451"/>
                      </a:cubicBezTo>
                      <a:cubicBezTo>
                        <a:pt x="769944" y="159130"/>
                        <a:pt x="757894" y="158246"/>
                        <a:pt x="735724" y="151097"/>
                      </a:cubicBezTo>
                      <a:cubicBezTo>
                        <a:pt x="731788" y="149812"/>
                        <a:pt x="731788" y="149812"/>
                        <a:pt x="729539" y="151418"/>
                      </a:cubicBezTo>
                      <a:cubicBezTo>
                        <a:pt x="727129" y="154069"/>
                        <a:pt x="729458" y="154953"/>
                        <a:pt x="737170" y="157925"/>
                      </a:cubicBezTo>
                      <a:cubicBezTo>
                        <a:pt x="739178" y="158728"/>
                        <a:pt x="741829" y="159692"/>
                        <a:pt x="743917" y="160335"/>
                      </a:cubicBezTo>
                      <a:cubicBezTo>
                        <a:pt x="749540" y="162102"/>
                        <a:pt x="755404" y="162504"/>
                        <a:pt x="761027" y="164190"/>
                      </a:cubicBezTo>
                      <a:cubicBezTo>
                        <a:pt x="762634" y="164672"/>
                        <a:pt x="764562" y="165877"/>
                        <a:pt x="766088" y="166681"/>
                      </a:cubicBezTo>
                      <a:cubicBezTo>
                        <a:pt x="770586" y="168850"/>
                        <a:pt x="781511" y="173910"/>
                        <a:pt x="785929" y="173268"/>
                      </a:cubicBezTo>
                      <a:cubicBezTo>
                        <a:pt x="791793" y="172384"/>
                        <a:pt x="784724" y="163468"/>
                        <a:pt x="782475" y="160817"/>
                      </a:cubicBezTo>
                      <a:moveTo>
                        <a:pt x="82336" y="242269"/>
                      </a:moveTo>
                      <a:cubicBezTo>
                        <a:pt x="87316" y="239056"/>
                        <a:pt x="88200" y="233433"/>
                        <a:pt x="88441" y="228372"/>
                      </a:cubicBezTo>
                      <a:cubicBezTo>
                        <a:pt x="87959" y="228694"/>
                        <a:pt x="87236" y="229096"/>
                        <a:pt x="86674" y="229337"/>
                      </a:cubicBezTo>
                      <a:cubicBezTo>
                        <a:pt x="77918" y="234718"/>
                        <a:pt x="73339" y="239297"/>
                        <a:pt x="72295" y="243876"/>
                      </a:cubicBezTo>
                      <a:cubicBezTo>
                        <a:pt x="71251" y="244358"/>
                        <a:pt x="70689" y="244679"/>
                        <a:pt x="69885" y="244920"/>
                      </a:cubicBezTo>
                      <a:cubicBezTo>
                        <a:pt x="72375" y="245000"/>
                        <a:pt x="77998" y="245081"/>
                        <a:pt x="82336" y="242269"/>
                      </a:cubicBezTo>
                      <a:moveTo>
                        <a:pt x="50607" y="216886"/>
                      </a:moveTo>
                      <a:cubicBezTo>
                        <a:pt x="50687" y="216966"/>
                        <a:pt x="50767" y="217046"/>
                        <a:pt x="50848" y="217127"/>
                      </a:cubicBezTo>
                      <a:cubicBezTo>
                        <a:pt x="54462" y="214958"/>
                        <a:pt x="59282" y="211986"/>
                        <a:pt x="62897" y="209737"/>
                      </a:cubicBezTo>
                      <a:cubicBezTo>
                        <a:pt x="66431" y="205720"/>
                        <a:pt x="66351" y="204997"/>
                        <a:pt x="65387" y="204515"/>
                      </a:cubicBezTo>
                      <a:cubicBezTo>
                        <a:pt x="63861" y="204435"/>
                        <a:pt x="62656" y="204676"/>
                        <a:pt x="55908" y="207327"/>
                      </a:cubicBezTo>
                      <a:cubicBezTo>
                        <a:pt x="48116" y="210379"/>
                        <a:pt x="45707" y="211182"/>
                        <a:pt x="42574" y="211423"/>
                      </a:cubicBezTo>
                      <a:cubicBezTo>
                        <a:pt x="43538" y="211423"/>
                        <a:pt x="45948" y="211343"/>
                        <a:pt x="47233" y="212307"/>
                      </a:cubicBezTo>
                      <a:cubicBezTo>
                        <a:pt x="48920" y="213432"/>
                        <a:pt x="49402" y="215440"/>
                        <a:pt x="50607" y="216886"/>
                      </a:cubicBezTo>
                      <a:moveTo>
                        <a:pt x="704396" y="181220"/>
                      </a:moveTo>
                      <a:lnTo>
                        <a:pt x="704878" y="180658"/>
                      </a:lnTo>
                      <a:cubicBezTo>
                        <a:pt x="702307" y="179373"/>
                        <a:pt x="700380" y="178489"/>
                        <a:pt x="697086" y="177284"/>
                      </a:cubicBezTo>
                      <a:cubicBezTo>
                        <a:pt x="696765" y="177204"/>
                        <a:pt x="696363" y="177043"/>
                        <a:pt x="695962" y="176963"/>
                      </a:cubicBezTo>
                      <a:cubicBezTo>
                        <a:pt x="693391" y="176159"/>
                        <a:pt x="690660" y="176159"/>
                        <a:pt x="688089" y="175356"/>
                      </a:cubicBezTo>
                      <a:cubicBezTo>
                        <a:pt x="686483" y="174794"/>
                        <a:pt x="685117" y="173669"/>
                        <a:pt x="683591" y="172946"/>
                      </a:cubicBezTo>
                      <a:cubicBezTo>
                        <a:pt x="676924" y="169733"/>
                        <a:pt x="671863" y="168689"/>
                        <a:pt x="669694" y="168287"/>
                      </a:cubicBezTo>
                      <a:cubicBezTo>
                        <a:pt x="670016" y="168528"/>
                        <a:pt x="670498" y="168769"/>
                        <a:pt x="670819" y="169010"/>
                      </a:cubicBezTo>
                      <a:cubicBezTo>
                        <a:pt x="675398" y="171420"/>
                        <a:pt x="689214" y="177123"/>
                        <a:pt x="704396" y="181220"/>
                      </a:cubicBezTo>
                      <a:moveTo>
                        <a:pt x="697809" y="142582"/>
                      </a:moveTo>
                      <a:cubicBezTo>
                        <a:pt x="697648" y="142502"/>
                        <a:pt x="697488" y="142502"/>
                        <a:pt x="697407" y="142422"/>
                      </a:cubicBezTo>
                      <a:cubicBezTo>
                        <a:pt x="697407" y="142422"/>
                        <a:pt x="697407" y="142422"/>
                        <a:pt x="697488" y="142422"/>
                      </a:cubicBezTo>
                      <a:cubicBezTo>
                        <a:pt x="697970" y="142582"/>
                        <a:pt x="698371" y="142823"/>
                        <a:pt x="698853" y="142984"/>
                      </a:cubicBezTo>
                      <a:cubicBezTo>
                        <a:pt x="698452" y="142904"/>
                        <a:pt x="698130" y="142743"/>
                        <a:pt x="697809" y="142582"/>
                      </a:cubicBezTo>
                      <a:moveTo>
                        <a:pt x="47474" y="250302"/>
                      </a:moveTo>
                      <a:lnTo>
                        <a:pt x="52615" y="249660"/>
                      </a:lnTo>
                      <a:cubicBezTo>
                        <a:pt x="60246" y="243876"/>
                        <a:pt x="70689" y="236004"/>
                        <a:pt x="77998" y="229337"/>
                      </a:cubicBezTo>
                      <a:cubicBezTo>
                        <a:pt x="78882" y="228533"/>
                        <a:pt x="80007" y="227489"/>
                        <a:pt x="80810" y="226686"/>
                      </a:cubicBezTo>
                      <a:cubicBezTo>
                        <a:pt x="82738" y="224758"/>
                        <a:pt x="82738" y="224758"/>
                        <a:pt x="90530" y="213432"/>
                      </a:cubicBezTo>
                      <a:cubicBezTo>
                        <a:pt x="91735" y="211745"/>
                        <a:pt x="94225" y="210299"/>
                        <a:pt x="95992" y="209094"/>
                      </a:cubicBezTo>
                      <a:cubicBezTo>
                        <a:pt x="111013" y="198410"/>
                        <a:pt x="110933" y="197366"/>
                        <a:pt x="110853" y="196563"/>
                      </a:cubicBezTo>
                      <a:cubicBezTo>
                        <a:pt x="110692" y="196563"/>
                        <a:pt x="110451" y="196482"/>
                        <a:pt x="110290" y="196482"/>
                      </a:cubicBezTo>
                      <a:cubicBezTo>
                        <a:pt x="107479" y="196884"/>
                        <a:pt x="103302" y="198491"/>
                        <a:pt x="93020" y="203069"/>
                      </a:cubicBezTo>
                      <a:cubicBezTo>
                        <a:pt x="89967" y="211584"/>
                        <a:pt x="75348" y="217769"/>
                        <a:pt x="75187" y="217849"/>
                      </a:cubicBezTo>
                      <a:cubicBezTo>
                        <a:pt x="68921" y="219778"/>
                        <a:pt x="59362" y="223633"/>
                        <a:pt x="66271" y="227810"/>
                      </a:cubicBezTo>
                      <a:cubicBezTo>
                        <a:pt x="64664" y="231023"/>
                        <a:pt x="62816" y="233433"/>
                        <a:pt x="47474" y="250302"/>
                      </a:cubicBezTo>
                      <a:moveTo>
                        <a:pt x="686724" y="0"/>
                      </a:moveTo>
                      <a:cubicBezTo>
                        <a:pt x="683109" y="0"/>
                        <a:pt x="679655" y="1125"/>
                        <a:pt x="676121" y="1607"/>
                      </a:cubicBezTo>
                      <a:cubicBezTo>
                        <a:pt x="668811" y="2651"/>
                        <a:pt x="661421" y="2008"/>
                        <a:pt x="654111" y="2651"/>
                      </a:cubicBezTo>
                      <a:cubicBezTo>
                        <a:pt x="651701" y="2812"/>
                        <a:pt x="651540" y="2892"/>
                        <a:pt x="651139" y="2972"/>
                      </a:cubicBezTo>
                      <a:cubicBezTo>
                        <a:pt x="651219" y="2972"/>
                        <a:pt x="651380" y="3053"/>
                        <a:pt x="651460" y="3053"/>
                      </a:cubicBezTo>
                      <a:cubicBezTo>
                        <a:pt x="653789" y="3133"/>
                        <a:pt x="656199" y="3053"/>
                        <a:pt x="658529" y="3053"/>
                      </a:cubicBezTo>
                      <a:cubicBezTo>
                        <a:pt x="658689" y="3293"/>
                        <a:pt x="659011" y="3775"/>
                        <a:pt x="663027" y="3775"/>
                      </a:cubicBezTo>
                      <a:cubicBezTo>
                        <a:pt x="663429" y="3775"/>
                        <a:pt x="663911" y="3775"/>
                        <a:pt x="664312" y="3775"/>
                      </a:cubicBezTo>
                      <a:cubicBezTo>
                        <a:pt x="664714" y="3775"/>
                        <a:pt x="665276" y="3775"/>
                        <a:pt x="665678" y="3775"/>
                      </a:cubicBezTo>
                      <a:cubicBezTo>
                        <a:pt x="668730" y="3695"/>
                        <a:pt x="675157" y="3374"/>
                        <a:pt x="680378" y="3053"/>
                      </a:cubicBezTo>
                      <a:cubicBezTo>
                        <a:pt x="681663" y="2972"/>
                        <a:pt x="683430" y="2651"/>
                        <a:pt x="684716" y="2812"/>
                      </a:cubicBezTo>
                      <a:cubicBezTo>
                        <a:pt x="689294" y="3374"/>
                        <a:pt x="689294" y="3374"/>
                        <a:pt x="694676" y="3133"/>
                      </a:cubicBezTo>
                      <a:cubicBezTo>
                        <a:pt x="694194" y="241"/>
                        <a:pt x="688491" y="0"/>
                        <a:pt x="686724" y="0"/>
                      </a:cubicBezTo>
                      <a:moveTo>
                        <a:pt x="647443" y="6346"/>
                      </a:moveTo>
                      <a:cubicBezTo>
                        <a:pt x="647363" y="6346"/>
                        <a:pt x="647283" y="6346"/>
                        <a:pt x="647202" y="6346"/>
                      </a:cubicBezTo>
                      <a:cubicBezTo>
                        <a:pt x="647283" y="6346"/>
                        <a:pt x="647283" y="6426"/>
                        <a:pt x="647283" y="6426"/>
                      </a:cubicBezTo>
                      <a:cubicBezTo>
                        <a:pt x="647202" y="6507"/>
                        <a:pt x="647122" y="6587"/>
                        <a:pt x="646640" y="6667"/>
                      </a:cubicBezTo>
                      <a:cubicBezTo>
                        <a:pt x="646640" y="6667"/>
                        <a:pt x="646721" y="6667"/>
                        <a:pt x="646721" y="6667"/>
                      </a:cubicBezTo>
                      <a:cubicBezTo>
                        <a:pt x="647283" y="6748"/>
                        <a:pt x="647283" y="6748"/>
                        <a:pt x="652022" y="6266"/>
                      </a:cubicBezTo>
                      <a:cubicBezTo>
                        <a:pt x="651621" y="6266"/>
                        <a:pt x="650496" y="6105"/>
                        <a:pt x="647443" y="6346"/>
                      </a:cubicBezTo>
                      <a:moveTo>
                        <a:pt x="663268" y="13174"/>
                      </a:moveTo>
                      <a:cubicBezTo>
                        <a:pt x="663268" y="13094"/>
                        <a:pt x="663188" y="13094"/>
                        <a:pt x="663188" y="13013"/>
                      </a:cubicBezTo>
                      <a:cubicBezTo>
                        <a:pt x="663509" y="13897"/>
                        <a:pt x="663509" y="13977"/>
                        <a:pt x="663750" y="15503"/>
                      </a:cubicBezTo>
                      <a:cubicBezTo>
                        <a:pt x="663830" y="15503"/>
                        <a:pt x="663750" y="14459"/>
                        <a:pt x="663268" y="13174"/>
                      </a:cubicBezTo>
                      <a:moveTo>
                        <a:pt x="703593" y="145233"/>
                      </a:moveTo>
                      <a:cubicBezTo>
                        <a:pt x="702147" y="144590"/>
                        <a:pt x="700219" y="143707"/>
                        <a:pt x="698773" y="143064"/>
                      </a:cubicBezTo>
                      <a:cubicBezTo>
                        <a:pt x="699335" y="143386"/>
                        <a:pt x="700058" y="143787"/>
                        <a:pt x="700540" y="144189"/>
                      </a:cubicBezTo>
                      <a:cubicBezTo>
                        <a:pt x="689455" y="146679"/>
                        <a:pt x="680860" y="139209"/>
                        <a:pt x="670980" y="136879"/>
                      </a:cubicBezTo>
                      <a:cubicBezTo>
                        <a:pt x="670899" y="137200"/>
                        <a:pt x="670819" y="137521"/>
                        <a:pt x="670739" y="137843"/>
                      </a:cubicBezTo>
                      <a:cubicBezTo>
                        <a:pt x="671943" y="139048"/>
                        <a:pt x="672908" y="139771"/>
                        <a:pt x="676522" y="142502"/>
                      </a:cubicBezTo>
                      <a:cubicBezTo>
                        <a:pt x="665357" y="136236"/>
                        <a:pt x="657484" y="133505"/>
                        <a:pt x="645034" y="131658"/>
                      </a:cubicBezTo>
                      <a:cubicBezTo>
                        <a:pt x="644873" y="132059"/>
                        <a:pt x="644712" y="132541"/>
                        <a:pt x="644552" y="132863"/>
                      </a:cubicBezTo>
                      <a:cubicBezTo>
                        <a:pt x="648166" y="136718"/>
                        <a:pt x="655798" y="140735"/>
                        <a:pt x="691142" y="154069"/>
                      </a:cubicBezTo>
                      <a:cubicBezTo>
                        <a:pt x="672345" y="148125"/>
                        <a:pt x="672345" y="148125"/>
                        <a:pt x="645034" y="139369"/>
                      </a:cubicBezTo>
                      <a:cubicBezTo>
                        <a:pt x="653709" y="143707"/>
                        <a:pt x="657726" y="145876"/>
                        <a:pt x="660055" y="148446"/>
                      </a:cubicBezTo>
                      <a:cubicBezTo>
                        <a:pt x="659975" y="148768"/>
                        <a:pt x="659975" y="149250"/>
                        <a:pt x="659894" y="149651"/>
                      </a:cubicBezTo>
                      <a:cubicBezTo>
                        <a:pt x="658047" y="149972"/>
                        <a:pt x="656842" y="150213"/>
                        <a:pt x="648407" y="148446"/>
                      </a:cubicBezTo>
                      <a:cubicBezTo>
                        <a:pt x="645998" y="143145"/>
                        <a:pt x="642463" y="137682"/>
                        <a:pt x="635635" y="143305"/>
                      </a:cubicBezTo>
                      <a:cubicBezTo>
                        <a:pt x="637322" y="144349"/>
                        <a:pt x="637885" y="144671"/>
                        <a:pt x="640535" y="145635"/>
                      </a:cubicBezTo>
                      <a:cubicBezTo>
                        <a:pt x="636037" y="144590"/>
                        <a:pt x="635314" y="144590"/>
                        <a:pt x="633707" y="144590"/>
                      </a:cubicBezTo>
                      <a:cubicBezTo>
                        <a:pt x="633547" y="144831"/>
                        <a:pt x="633306" y="145072"/>
                        <a:pt x="633145" y="145313"/>
                      </a:cubicBezTo>
                      <a:cubicBezTo>
                        <a:pt x="633948" y="146197"/>
                        <a:pt x="634029" y="146358"/>
                        <a:pt x="635876" y="147723"/>
                      </a:cubicBezTo>
                      <a:cubicBezTo>
                        <a:pt x="633145" y="146920"/>
                        <a:pt x="632503" y="146840"/>
                        <a:pt x="631619" y="146679"/>
                      </a:cubicBezTo>
                      <a:cubicBezTo>
                        <a:pt x="632181" y="147562"/>
                        <a:pt x="654271" y="158085"/>
                        <a:pt x="664071" y="161700"/>
                      </a:cubicBezTo>
                      <a:cubicBezTo>
                        <a:pt x="664955" y="160254"/>
                        <a:pt x="666642" y="157603"/>
                        <a:pt x="676843" y="165958"/>
                      </a:cubicBezTo>
                      <a:cubicBezTo>
                        <a:pt x="680619" y="169010"/>
                        <a:pt x="704155" y="176159"/>
                        <a:pt x="707368" y="172866"/>
                      </a:cubicBezTo>
                      <a:cubicBezTo>
                        <a:pt x="707288" y="170456"/>
                        <a:pt x="705521" y="167966"/>
                        <a:pt x="695640" y="160736"/>
                      </a:cubicBezTo>
                      <a:cubicBezTo>
                        <a:pt x="706163" y="166440"/>
                        <a:pt x="708011" y="166761"/>
                        <a:pt x="709858" y="165958"/>
                      </a:cubicBezTo>
                      <a:cubicBezTo>
                        <a:pt x="710019" y="164672"/>
                        <a:pt x="710099" y="164030"/>
                        <a:pt x="707127" y="160174"/>
                      </a:cubicBezTo>
                      <a:cubicBezTo>
                        <a:pt x="713071" y="164994"/>
                        <a:pt x="716044" y="166199"/>
                        <a:pt x="719337" y="165074"/>
                      </a:cubicBezTo>
                      <a:cubicBezTo>
                        <a:pt x="717650" y="167725"/>
                        <a:pt x="717730" y="169171"/>
                        <a:pt x="721667" y="172384"/>
                      </a:cubicBezTo>
                      <a:cubicBezTo>
                        <a:pt x="719578" y="176079"/>
                        <a:pt x="725121" y="186682"/>
                        <a:pt x="735001" y="183790"/>
                      </a:cubicBezTo>
                      <a:cubicBezTo>
                        <a:pt x="737330" y="183068"/>
                        <a:pt x="739981" y="181782"/>
                        <a:pt x="742552" y="180497"/>
                      </a:cubicBezTo>
                      <a:cubicBezTo>
                        <a:pt x="732430" y="191422"/>
                        <a:pt x="775888" y="203551"/>
                        <a:pt x="792837" y="206684"/>
                      </a:cubicBezTo>
                      <a:cubicBezTo>
                        <a:pt x="758858" y="174231"/>
                        <a:pt x="725522" y="155354"/>
                        <a:pt x="703593" y="145233"/>
                      </a:cubicBezTo>
                      <a:moveTo>
                        <a:pt x="706565" y="57193"/>
                      </a:moveTo>
                      <a:lnTo>
                        <a:pt x="706565" y="57193"/>
                      </a:lnTo>
                      <a:cubicBezTo>
                        <a:pt x="707448" y="57675"/>
                        <a:pt x="708252" y="58158"/>
                        <a:pt x="709135" y="58640"/>
                      </a:cubicBezTo>
                      <a:cubicBezTo>
                        <a:pt x="708252" y="58077"/>
                        <a:pt x="707368" y="57595"/>
                        <a:pt x="706565" y="57193"/>
                      </a:cubicBezTo>
                      <a:moveTo>
                        <a:pt x="711224" y="71733"/>
                      </a:moveTo>
                      <a:lnTo>
                        <a:pt x="712188" y="71251"/>
                      </a:lnTo>
                      <a:cubicBezTo>
                        <a:pt x="707127" y="70849"/>
                        <a:pt x="703994" y="70689"/>
                        <a:pt x="700299" y="70769"/>
                      </a:cubicBezTo>
                      <a:cubicBezTo>
                        <a:pt x="700460" y="70849"/>
                        <a:pt x="700621" y="70849"/>
                        <a:pt x="700781" y="70930"/>
                      </a:cubicBezTo>
                      <a:cubicBezTo>
                        <a:pt x="701986" y="71251"/>
                        <a:pt x="704396" y="71974"/>
                        <a:pt x="707047" y="72938"/>
                      </a:cubicBezTo>
                      <a:cubicBezTo>
                        <a:pt x="707207" y="73018"/>
                        <a:pt x="707368" y="73099"/>
                        <a:pt x="707448" y="73099"/>
                      </a:cubicBezTo>
                      <a:cubicBezTo>
                        <a:pt x="707529" y="73099"/>
                        <a:pt x="712348" y="73339"/>
                        <a:pt x="711947" y="72456"/>
                      </a:cubicBezTo>
                      <a:cubicBezTo>
                        <a:pt x="711947" y="72135"/>
                        <a:pt x="711465" y="71894"/>
                        <a:pt x="711224" y="71733"/>
                      </a:cubicBezTo>
                      <a:moveTo>
                        <a:pt x="648166" y="6908"/>
                      </a:moveTo>
                      <a:cubicBezTo>
                        <a:pt x="641580" y="7470"/>
                        <a:pt x="640535" y="7953"/>
                        <a:pt x="639893" y="8274"/>
                      </a:cubicBezTo>
                      <a:cubicBezTo>
                        <a:pt x="639973" y="8435"/>
                        <a:pt x="640053" y="8595"/>
                        <a:pt x="640134" y="8756"/>
                      </a:cubicBezTo>
                      <a:cubicBezTo>
                        <a:pt x="642865" y="9559"/>
                        <a:pt x="642865" y="9559"/>
                        <a:pt x="652504" y="9077"/>
                      </a:cubicBezTo>
                      <a:cubicBezTo>
                        <a:pt x="643186" y="9639"/>
                        <a:pt x="638125" y="10202"/>
                        <a:pt x="631699" y="11487"/>
                      </a:cubicBezTo>
                      <a:cubicBezTo>
                        <a:pt x="632181" y="11567"/>
                        <a:pt x="632744" y="11648"/>
                        <a:pt x="633145" y="11728"/>
                      </a:cubicBezTo>
                      <a:cubicBezTo>
                        <a:pt x="637483" y="12290"/>
                        <a:pt x="640857" y="12451"/>
                        <a:pt x="646399" y="12612"/>
                      </a:cubicBezTo>
                      <a:cubicBezTo>
                        <a:pt x="645596" y="12772"/>
                        <a:pt x="644552" y="13094"/>
                        <a:pt x="643748" y="13254"/>
                      </a:cubicBezTo>
                      <a:cubicBezTo>
                        <a:pt x="694917" y="8354"/>
                        <a:pt x="694917" y="8354"/>
                        <a:pt x="695319" y="8033"/>
                      </a:cubicBezTo>
                      <a:cubicBezTo>
                        <a:pt x="692427" y="6185"/>
                        <a:pt x="669052" y="4980"/>
                        <a:pt x="648166" y="6908"/>
                      </a:cubicBezTo>
                      <a:moveTo>
                        <a:pt x="702066" y="72617"/>
                      </a:moveTo>
                      <a:lnTo>
                        <a:pt x="701183" y="72376"/>
                      </a:lnTo>
                      <a:cubicBezTo>
                        <a:pt x="694516" y="71653"/>
                        <a:pt x="692266" y="71412"/>
                        <a:pt x="692186" y="71492"/>
                      </a:cubicBezTo>
                      <a:cubicBezTo>
                        <a:pt x="695480" y="71974"/>
                        <a:pt x="698773" y="72215"/>
                        <a:pt x="702066" y="72617"/>
                      </a:cubicBezTo>
                      <a:moveTo>
                        <a:pt x="686884" y="62576"/>
                      </a:moveTo>
                      <a:lnTo>
                        <a:pt x="686884" y="62576"/>
                      </a:lnTo>
                      <a:cubicBezTo>
                        <a:pt x="688812" y="62736"/>
                        <a:pt x="690740" y="62977"/>
                        <a:pt x="692668" y="63138"/>
                      </a:cubicBezTo>
                      <a:cubicBezTo>
                        <a:pt x="690740" y="62977"/>
                        <a:pt x="688812" y="62736"/>
                        <a:pt x="686884" y="62576"/>
                      </a:cubicBezTo>
                      <a:moveTo>
                        <a:pt x="634591" y="123143"/>
                      </a:moveTo>
                      <a:lnTo>
                        <a:pt x="632181" y="121697"/>
                      </a:lnTo>
                      <a:cubicBezTo>
                        <a:pt x="630012" y="121617"/>
                        <a:pt x="628968" y="121617"/>
                        <a:pt x="628807" y="121777"/>
                      </a:cubicBezTo>
                      <a:cubicBezTo>
                        <a:pt x="628807" y="121777"/>
                        <a:pt x="628807" y="121777"/>
                        <a:pt x="628807" y="121858"/>
                      </a:cubicBezTo>
                      <a:cubicBezTo>
                        <a:pt x="628888" y="121938"/>
                        <a:pt x="629691" y="122259"/>
                        <a:pt x="634591" y="123143"/>
                      </a:cubicBezTo>
                      <a:moveTo>
                        <a:pt x="684475" y="65387"/>
                      </a:moveTo>
                      <a:lnTo>
                        <a:pt x="684475" y="65387"/>
                      </a:lnTo>
                      <a:cubicBezTo>
                        <a:pt x="687527" y="66030"/>
                        <a:pt x="690660" y="66753"/>
                        <a:pt x="693712" y="67475"/>
                      </a:cubicBezTo>
                      <a:cubicBezTo>
                        <a:pt x="690660" y="66672"/>
                        <a:pt x="687607" y="66030"/>
                        <a:pt x="684475" y="65387"/>
                      </a:cubicBezTo>
                      <a:moveTo>
                        <a:pt x="694917" y="60407"/>
                      </a:moveTo>
                      <a:cubicBezTo>
                        <a:pt x="690740" y="60005"/>
                        <a:pt x="685760" y="60487"/>
                        <a:pt x="685760" y="60487"/>
                      </a:cubicBezTo>
                      <a:cubicBezTo>
                        <a:pt x="685358" y="60487"/>
                        <a:pt x="685117" y="61130"/>
                        <a:pt x="684876" y="61371"/>
                      </a:cubicBezTo>
                      <a:lnTo>
                        <a:pt x="686001" y="61451"/>
                      </a:lnTo>
                      <a:cubicBezTo>
                        <a:pt x="692025" y="61772"/>
                        <a:pt x="696524" y="62254"/>
                        <a:pt x="701103" y="63138"/>
                      </a:cubicBezTo>
                      <a:cubicBezTo>
                        <a:pt x="700942" y="62495"/>
                        <a:pt x="700540" y="60889"/>
                        <a:pt x="694917" y="60407"/>
                      </a:cubicBezTo>
                      <a:moveTo>
                        <a:pt x="688330" y="120813"/>
                      </a:moveTo>
                      <a:cubicBezTo>
                        <a:pt x="676683" y="116154"/>
                        <a:pt x="655798" y="113182"/>
                        <a:pt x="643347" y="111495"/>
                      </a:cubicBezTo>
                      <a:cubicBezTo>
                        <a:pt x="648648" y="113584"/>
                        <a:pt x="650576" y="114949"/>
                        <a:pt x="650576" y="116556"/>
                      </a:cubicBezTo>
                      <a:cubicBezTo>
                        <a:pt x="644471" y="114789"/>
                        <a:pt x="638286" y="112941"/>
                        <a:pt x="635475" y="112459"/>
                      </a:cubicBezTo>
                      <a:cubicBezTo>
                        <a:pt x="635475" y="112540"/>
                        <a:pt x="635475" y="112620"/>
                        <a:pt x="635475" y="112700"/>
                      </a:cubicBezTo>
                      <a:cubicBezTo>
                        <a:pt x="636760" y="113263"/>
                        <a:pt x="636760" y="113263"/>
                        <a:pt x="656119" y="120492"/>
                      </a:cubicBezTo>
                      <a:cubicBezTo>
                        <a:pt x="637563" y="117279"/>
                        <a:pt x="632503" y="116476"/>
                        <a:pt x="629771" y="116877"/>
                      </a:cubicBezTo>
                      <a:cubicBezTo>
                        <a:pt x="629771" y="117038"/>
                        <a:pt x="629852" y="117199"/>
                        <a:pt x="629852" y="117359"/>
                      </a:cubicBezTo>
                      <a:cubicBezTo>
                        <a:pt x="631217" y="118404"/>
                        <a:pt x="633225" y="119207"/>
                        <a:pt x="638929" y="121376"/>
                      </a:cubicBezTo>
                      <a:cubicBezTo>
                        <a:pt x="633466" y="120492"/>
                        <a:pt x="633145" y="120492"/>
                        <a:pt x="632503" y="120572"/>
                      </a:cubicBezTo>
                      <a:cubicBezTo>
                        <a:pt x="636117" y="122259"/>
                        <a:pt x="640375" y="122099"/>
                        <a:pt x="643909" y="124267"/>
                      </a:cubicBezTo>
                      <a:cubicBezTo>
                        <a:pt x="641178" y="123866"/>
                        <a:pt x="635635" y="122982"/>
                        <a:pt x="637804" y="125794"/>
                      </a:cubicBezTo>
                      <a:cubicBezTo>
                        <a:pt x="637804" y="125794"/>
                        <a:pt x="640535" y="127641"/>
                        <a:pt x="646801" y="126758"/>
                      </a:cubicBezTo>
                      <a:cubicBezTo>
                        <a:pt x="653147" y="130131"/>
                        <a:pt x="663750" y="135835"/>
                        <a:pt x="668168" y="129007"/>
                      </a:cubicBezTo>
                      <a:cubicBezTo>
                        <a:pt x="688170" y="144510"/>
                        <a:pt x="696363" y="127400"/>
                        <a:pt x="696363" y="127159"/>
                      </a:cubicBezTo>
                      <a:cubicBezTo>
                        <a:pt x="696444" y="125151"/>
                        <a:pt x="693471" y="122822"/>
                        <a:pt x="688330" y="120813"/>
                      </a:cubicBezTo>
                      <a:moveTo>
                        <a:pt x="686001" y="56792"/>
                      </a:moveTo>
                      <a:cubicBezTo>
                        <a:pt x="681984" y="56149"/>
                        <a:pt x="673952" y="57274"/>
                        <a:pt x="674032" y="58800"/>
                      </a:cubicBezTo>
                      <a:cubicBezTo>
                        <a:pt x="674032" y="58881"/>
                        <a:pt x="674112" y="58961"/>
                        <a:pt x="674112" y="59041"/>
                      </a:cubicBezTo>
                      <a:cubicBezTo>
                        <a:pt x="676362" y="59202"/>
                        <a:pt x="696042" y="60487"/>
                        <a:pt x="696685" y="59363"/>
                      </a:cubicBezTo>
                      <a:cubicBezTo>
                        <a:pt x="696363" y="58640"/>
                        <a:pt x="689857" y="57434"/>
                        <a:pt x="686001" y="56792"/>
                      </a:cubicBezTo>
                      <a:moveTo>
                        <a:pt x="675076" y="62977"/>
                      </a:moveTo>
                      <a:cubicBezTo>
                        <a:pt x="671060" y="62656"/>
                        <a:pt x="668007" y="62736"/>
                        <a:pt x="665919" y="63138"/>
                      </a:cubicBezTo>
                      <a:cubicBezTo>
                        <a:pt x="666080" y="63138"/>
                        <a:pt x="666321" y="63138"/>
                        <a:pt x="666481" y="63218"/>
                      </a:cubicBezTo>
                      <a:cubicBezTo>
                        <a:pt x="672747" y="63780"/>
                        <a:pt x="676201" y="63861"/>
                        <a:pt x="679173" y="63539"/>
                      </a:cubicBezTo>
                      <a:cubicBezTo>
                        <a:pt x="678048" y="63379"/>
                        <a:pt x="676603" y="63218"/>
                        <a:pt x="675558" y="63058"/>
                      </a:cubicBezTo>
                      <a:cubicBezTo>
                        <a:pt x="675317" y="63058"/>
                        <a:pt x="675157" y="62977"/>
                        <a:pt x="675076" y="62977"/>
                      </a:cubicBezTo>
                      <a:moveTo>
                        <a:pt x="649050" y="69564"/>
                      </a:moveTo>
                      <a:lnTo>
                        <a:pt x="649050" y="69564"/>
                      </a:lnTo>
                      <a:cubicBezTo>
                        <a:pt x="652826" y="71733"/>
                        <a:pt x="656842" y="73661"/>
                        <a:pt x="660537" y="75990"/>
                      </a:cubicBezTo>
                      <a:cubicBezTo>
                        <a:pt x="662465" y="75187"/>
                        <a:pt x="664553" y="76553"/>
                        <a:pt x="666401" y="75508"/>
                      </a:cubicBezTo>
                      <a:cubicBezTo>
                        <a:pt x="666321" y="75348"/>
                        <a:pt x="666240" y="75187"/>
                        <a:pt x="664393" y="74785"/>
                      </a:cubicBezTo>
                      <a:cubicBezTo>
                        <a:pt x="667284" y="75026"/>
                        <a:pt x="670176" y="75267"/>
                        <a:pt x="673068" y="75508"/>
                      </a:cubicBezTo>
                      <a:cubicBezTo>
                        <a:pt x="669132" y="74464"/>
                        <a:pt x="665357" y="72938"/>
                        <a:pt x="661340" y="72295"/>
                      </a:cubicBezTo>
                      <a:cubicBezTo>
                        <a:pt x="652102" y="70930"/>
                        <a:pt x="651861" y="70849"/>
                        <a:pt x="651058" y="70448"/>
                      </a:cubicBezTo>
                      <a:cubicBezTo>
                        <a:pt x="650416" y="70207"/>
                        <a:pt x="649773" y="69805"/>
                        <a:pt x="649050" y="69564"/>
                      </a:cubicBezTo>
                      <a:moveTo>
                        <a:pt x="655878" y="51731"/>
                      </a:moveTo>
                      <a:cubicBezTo>
                        <a:pt x="649211" y="51571"/>
                        <a:pt x="649291" y="52294"/>
                        <a:pt x="649371" y="52695"/>
                      </a:cubicBezTo>
                      <a:cubicBezTo>
                        <a:pt x="649693" y="53097"/>
                        <a:pt x="650255" y="53418"/>
                        <a:pt x="651701" y="53980"/>
                      </a:cubicBezTo>
                      <a:cubicBezTo>
                        <a:pt x="650576" y="54141"/>
                        <a:pt x="650496" y="54221"/>
                        <a:pt x="650255" y="54382"/>
                      </a:cubicBezTo>
                      <a:cubicBezTo>
                        <a:pt x="651460" y="55346"/>
                        <a:pt x="669212" y="55748"/>
                        <a:pt x="670498" y="55748"/>
                      </a:cubicBezTo>
                      <a:cubicBezTo>
                        <a:pt x="674916" y="55748"/>
                        <a:pt x="679494" y="55587"/>
                        <a:pt x="679253" y="54302"/>
                      </a:cubicBezTo>
                      <a:cubicBezTo>
                        <a:pt x="679093" y="52856"/>
                        <a:pt x="656119" y="51731"/>
                        <a:pt x="655878" y="51731"/>
                      </a:cubicBezTo>
                      <a:moveTo>
                        <a:pt x="657886" y="66110"/>
                      </a:moveTo>
                      <a:cubicBezTo>
                        <a:pt x="651621" y="64825"/>
                        <a:pt x="642704" y="66351"/>
                        <a:pt x="642624" y="66431"/>
                      </a:cubicBezTo>
                      <a:cubicBezTo>
                        <a:pt x="642785" y="66592"/>
                        <a:pt x="643025" y="66753"/>
                        <a:pt x="643186" y="66833"/>
                      </a:cubicBezTo>
                      <a:cubicBezTo>
                        <a:pt x="650898" y="68038"/>
                        <a:pt x="658770" y="68600"/>
                        <a:pt x="666481" y="69805"/>
                      </a:cubicBezTo>
                      <a:cubicBezTo>
                        <a:pt x="668168" y="70046"/>
                        <a:pt x="670498" y="70689"/>
                        <a:pt x="672024" y="71412"/>
                      </a:cubicBezTo>
                      <a:cubicBezTo>
                        <a:pt x="677647" y="73982"/>
                        <a:pt x="682466" y="74785"/>
                        <a:pt x="683752" y="75026"/>
                      </a:cubicBezTo>
                      <a:cubicBezTo>
                        <a:pt x="685198" y="75267"/>
                        <a:pt x="685198" y="75267"/>
                        <a:pt x="698612" y="74946"/>
                      </a:cubicBezTo>
                      <a:cubicBezTo>
                        <a:pt x="685117" y="72054"/>
                        <a:pt x="671542" y="68922"/>
                        <a:pt x="657886" y="66110"/>
                      </a:cubicBezTo>
                      <a:moveTo>
                        <a:pt x="643909" y="58399"/>
                      </a:moveTo>
                      <a:cubicBezTo>
                        <a:pt x="643829" y="58399"/>
                        <a:pt x="643668" y="58399"/>
                        <a:pt x="643588" y="58399"/>
                      </a:cubicBezTo>
                      <a:cubicBezTo>
                        <a:pt x="643588" y="58399"/>
                        <a:pt x="643588" y="58479"/>
                        <a:pt x="643588" y="58479"/>
                      </a:cubicBezTo>
                      <a:cubicBezTo>
                        <a:pt x="644150" y="58800"/>
                        <a:pt x="644793" y="58961"/>
                        <a:pt x="645435" y="59202"/>
                      </a:cubicBezTo>
                      <a:cubicBezTo>
                        <a:pt x="647925" y="60085"/>
                        <a:pt x="650416" y="60889"/>
                        <a:pt x="652906" y="61692"/>
                      </a:cubicBezTo>
                      <a:cubicBezTo>
                        <a:pt x="653147" y="61451"/>
                        <a:pt x="654030" y="61371"/>
                        <a:pt x="656440" y="61451"/>
                      </a:cubicBezTo>
                      <a:cubicBezTo>
                        <a:pt x="646801" y="58720"/>
                        <a:pt x="643909" y="58399"/>
                        <a:pt x="643909" y="58399"/>
                      </a:cubicBezTo>
                      <a:moveTo>
                        <a:pt x="641499" y="53177"/>
                      </a:moveTo>
                      <a:cubicBezTo>
                        <a:pt x="641740" y="53177"/>
                        <a:pt x="641981" y="53177"/>
                        <a:pt x="642142" y="53177"/>
                      </a:cubicBezTo>
                      <a:cubicBezTo>
                        <a:pt x="638768" y="53177"/>
                        <a:pt x="635314" y="53177"/>
                        <a:pt x="631940" y="53177"/>
                      </a:cubicBezTo>
                      <a:cubicBezTo>
                        <a:pt x="635153" y="53177"/>
                        <a:pt x="638286" y="53177"/>
                        <a:pt x="641499" y="53177"/>
                      </a:cubicBezTo>
                      <a:moveTo>
                        <a:pt x="650014" y="56471"/>
                      </a:moveTo>
                      <a:cubicBezTo>
                        <a:pt x="649853" y="56471"/>
                        <a:pt x="632261" y="55989"/>
                        <a:pt x="628245" y="56310"/>
                      </a:cubicBezTo>
                      <a:lnTo>
                        <a:pt x="629289" y="56310"/>
                      </a:lnTo>
                      <a:cubicBezTo>
                        <a:pt x="636439" y="56310"/>
                        <a:pt x="643507" y="56712"/>
                        <a:pt x="650657" y="56551"/>
                      </a:cubicBezTo>
                      <a:cubicBezTo>
                        <a:pt x="650416" y="56471"/>
                        <a:pt x="650175" y="56471"/>
                        <a:pt x="650014" y="56471"/>
                      </a:cubicBezTo>
                      <a:moveTo>
                        <a:pt x="627603" y="64905"/>
                      </a:moveTo>
                      <a:cubicBezTo>
                        <a:pt x="626799" y="64825"/>
                        <a:pt x="626719" y="65146"/>
                        <a:pt x="626639" y="65307"/>
                      </a:cubicBezTo>
                      <a:cubicBezTo>
                        <a:pt x="626639" y="65307"/>
                        <a:pt x="626639" y="65307"/>
                        <a:pt x="626639" y="65307"/>
                      </a:cubicBezTo>
                      <a:lnTo>
                        <a:pt x="626639" y="65307"/>
                      </a:lnTo>
                      <a:lnTo>
                        <a:pt x="626639" y="65307"/>
                      </a:lnTo>
                      <a:cubicBezTo>
                        <a:pt x="626639" y="65307"/>
                        <a:pt x="626639" y="65307"/>
                        <a:pt x="626639" y="65307"/>
                      </a:cubicBezTo>
                      <a:cubicBezTo>
                        <a:pt x="626639" y="65307"/>
                        <a:pt x="626639" y="65307"/>
                        <a:pt x="626639" y="65307"/>
                      </a:cubicBezTo>
                      <a:cubicBezTo>
                        <a:pt x="626639" y="65307"/>
                        <a:pt x="626639" y="65307"/>
                        <a:pt x="626639" y="65307"/>
                      </a:cubicBezTo>
                      <a:lnTo>
                        <a:pt x="626639" y="65307"/>
                      </a:lnTo>
                      <a:cubicBezTo>
                        <a:pt x="626639" y="65307"/>
                        <a:pt x="626639" y="65307"/>
                        <a:pt x="626639" y="65307"/>
                      </a:cubicBezTo>
                      <a:lnTo>
                        <a:pt x="629611" y="65387"/>
                      </a:lnTo>
                      <a:cubicBezTo>
                        <a:pt x="629289" y="65387"/>
                        <a:pt x="628325" y="64985"/>
                        <a:pt x="627603" y="64905"/>
                      </a:cubicBezTo>
                      <a:moveTo>
                        <a:pt x="642302" y="47876"/>
                      </a:moveTo>
                      <a:cubicBezTo>
                        <a:pt x="636439" y="47313"/>
                        <a:pt x="623104" y="48599"/>
                        <a:pt x="623024" y="48599"/>
                      </a:cubicBezTo>
                      <a:cubicBezTo>
                        <a:pt x="623104" y="48599"/>
                        <a:pt x="623184" y="48679"/>
                        <a:pt x="623184" y="48679"/>
                      </a:cubicBezTo>
                      <a:cubicBezTo>
                        <a:pt x="626157" y="49081"/>
                        <a:pt x="629209" y="49081"/>
                        <a:pt x="632181" y="49241"/>
                      </a:cubicBezTo>
                      <a:cubicBezTo>
                        <a:pt x="637965" y="49643"/>
                        <a:pt x="638447" y="50044"/>
                        <a:pt x="638688" y="50285"/>
                      </a:cubicBezTo>
                      <a:cubicBezTo>
                        <a:pt x="638768" y="50366"/>
                        <a:pt x="638768" y="50446"/>
                        <a:pt x="638848" y="50446"/>
                      </a:cubicBezTo>
                      <a:cubicBezTo>
                        <a:pt x="639009" y="50446"/>
                        <a:pt x="654673" y="51008"/>
                        <a:pt x="655476" y="50044"/>
                      </a:cubicBezTo>
                      <a:cubicBezTo>
                        <a:pt x="654352" y="49161"/>
                        <a:pt x="646721" y="48358"/>
                        <a:pt x="642302" y="47876"/>
                      </a:cubicBezTo>
                      <a:moveTo>
                        <a:pt x="606075" y="14941"/>
                      </a:moveTo>
                      <a:cubicBezTo>
                        <a:pt x="601416" y="15503"/>
                        <a:pt x="601416" y="15503"/>
                        <a:pt x="573220" y="23054"/>
                      </a:cubicBezTo>
                      <a:cubicBezTo>
                        <a:pt x="574024" y="22974"/>
                        <a:pt x="575068" y="22974"/>
                        <a:pt x="575871" y="22894"/>
                      </a:cubicBezTo>
                      <a:cubicBezTo>
                        <a:pt x="582940" y="22412"/>
                        <a:pt x="591696" y="21689"/>
                        <a:pt x="607601" y="19761"/>
                      </a:cubicBezTo>
                      <a:cubicBezTo>
                        <a:pt x="619650" y="18315"/>
                        <a:pt x="631860" y="18877"/>
                        <a:pt x="643829" y="17110"/>
                      </a:cubicBezTo>
                      <a:cubicBezTo>
                        <a:pt x="643909" y="17110"/>
                        <a:pt x="646961" y="15584"/>
                        <a:pt x="645275" y="14379"/>
                      </a:cubicBezTo>
                      <a:cubicBezTo>
                        <a:pt x="642785" y="12531"/>
                        <a:pt x="628486" y="12130"/>
                        <a:pt x="606075" y="14941"/>
                      </a:cubicBezTo>
                      <a:moveTo>
                        <a:pt x="165074" y="218010"/>
                      </a:moveTo>
                      <a:cubicBezTo>
                        <a:pt x="168528" y="215359"/>
                        <a:pt x="173026" y="211664"/>
                        <a:pt x="176320" y="208853"/>
                      </a:cubicBezTo>
                      <a:cubicBezTo>
                        <a:pt x="173589" y="210459"/>
                        <a:pt x="171340" y="211825"/>
                        <a:pt x="169010" y="213351"/>
                      </a:cubicBezTo>
                      <a:cubicBezTo>
                        <a:pt x="180336" y="202507"/>
                        <a:pt x="194153" y="194474"/>
                        <a:pt x="203792" y="181782"/>
                      </a:cubicBezTo>
                      <a:cubicBezTo>
                        <a:pt x="202667" y="182184"/>
                        <a:pt x="201623" y="182586"/>
                        <a:pt x="191984" y="189173"/>
                      </a:cubicBezTo>
                      <a:cubicBezTo>
                        <a:pt x="217930" y="166279"/>
                        <a:pt x="228694" y="156881"/>
                        <a:pt x="251427" y="141618"/>
                      </a:cubicBezTo>
                      <a:cubicBezTo>
                        <a:pt x="250463" y="141699"/>
                        <a:pt x="249258" y="141779"/>
                        <a:pt x="248294" y="141859"/>
                      </a:cubicBezTo>
                      <a:cubicBezTo>
                        <a:pt x="231023" y="150695"/>
                        <a:pt x="226043" y="153346"/>
                        <a:pt x="201382" y="168528"/>
                      </a:cubicBezTo>
                      <a:cubicBezTo>
                        <a:pt x="204836" y="164512"/>
                        <a:pt x="204917" y="164190"/>
                        <a:pt x="205399" y="162905"/>
                      </a:cubicBezTo>
                      <a:cubicBezTo>
                        <a:pt x="201302" y="163066"/>
                        <a:pt x="182023" y="174392"/>
                        <a:pt x="181782" y="174472"/>
                      </a:cubicBezTo>
                      <a:cubicBezTo>
                        <a:pt x="180899" y="175035"/>
                        <a:pt x="180899" y="175035"/>
                        <a:pt x="174954" y="180899"/>
                      </a:cubicBezTo>
                      <a:cubicBezTo>
                        <a:pt x="175115" y="181140"/>
                        <a:pt x="175436" y="181381"/>
                        <a:pt x="175597" y="181622"/>
                      </a:cubicBezTo>
                      <a:cubicBezTo>
                        <a:pt x="176802" y="181381"/>
                        <a:pt x="177444" y="181300"/>
                        <a:pt x="180095" y="180417"/>
                      </a:cubicBezTo>
                      <a:cubicBezTo>
                        <a:pt x="176882" y="181622"/>
                        <a:pt x="174713" y="182746"/>
                        <a:pt x="171179" y="184915"/>
                      </a:cubicBezTo>
                      <a:cubicBezTo>
                        <a:pt x="169171" y="184031"/>
                        <a:pt x="168689" y="183068"/>
                        <a:pt x="171018" y="179694"/>
                      </a:cubicBezTo>
                      <a:cubicBezTo>
                        <a:pt x="155033" y="189333"/>
                        <a:pt x="151338" y="192546"/>
                        <a:pt x="150133" y="195197"/>
                      </a:cubicBezTo>
                      <a:cubicBezTo>
                        <a:pt x="150294" y="195438"/>
                        <a:pt x="150454" y="195679"/>
                        <a:pt x="150615" y="195920"/>
                      </a:cubicBezTo>
                      <a:cubicBezTo>
                        <a:pt x="151900" y="196161"/>
                        <a:pt x="152462" y="196241"/>
                        <a:pt x="155354" y="195599"/>
                      </a:cubicBezTo>
                      <a:cubicBezTo>
                        <a:pt x="141940" y="202266"/>
                        <a:pt x="130372" y="208451"/>
                        <a:pt x="135192" y="210861"/>
                      </a:cubicBezTo>
                      <a:cubicBezTo>
                        <a:pt x="137280" y="211905"/>
                        <a:pt x="143787" y="211504"/>
                        <a:pt x="146197" y="211343"/>
                      </a:cubicBezTo>
                      <a:cubicBezTo>
                        <a:pt x="131899" y="213994"/>
                        <a:pt x="126758" y="217046"/>
                        <a:pt x="119930" y="221705"/>
                      </a:cubicBezTo>
                      <a:cubicBezTo>
                        <a:pt x="102820" y="233353"/>
                        <a:pt x="105390" y="236968"/>
                        <a:pt x="106515" y="238494"/>
                      </a:cubicBezTo>
                      <a:cubicBezTo>
                        <a:pt x="95189" y="247009"/>
                        <a:pt x="93743" y="250061"/>
                        <a:pt x="99205" y="254318"/>
                      </a:cubicBezTo>
                      <a:cubicBezTo>
                        <a:pt x="105792" y="247972"/>
                        <a:pt x="109889" y="244197"/>
                        <a:pt x="115833" y="238735"/>
                      </a:cubicBezTo>
                      <a:cubicBezTo>
                        <a:pt x="109166" y="247089"/>
                        <a:pt x="109648" y="247892"/>
                        <a:pt x="110130" y="248937"/>
                      </a:cubicBezTo>
                      <a:cubicBezTo>
                        <a:pt x="112941" y="248696"/>
                        <a:pt x="117198" y="245964"/>
                        <a:pt x="131899" y="234879"/>
                      </a:cubicBezTo>
                      <a:cubicBezTo>
                        <a:pt x="129971" y="236727"/>
                        <a:pt x="129328" y="237450"/>
                        <a:pt x="128284" y="238815"/>
                      </a:cubicBezTo>
                      <a:cubicBezTo>
                        <a:pt x="133666" y="236727"/>
                        <a:pt x="147723" y="231023"/>
                        <a:pt x="165074" y="218010"/>
                      </a:cubicBezTo>
                      <a:moveTo>
                        <a:pt x="614589" y="55025"/>
                      </a:moveTo>
                      <a:cubicBezTo>
                        <a:pt x="614670" y="55025"/>
                        <a:pt x="614750" y="55025"/>
                        <a:pt x="614830" y="55025"/>
                      </a:cubicBezTo>
                      <a:cubicBezTo>
                        <a:pt x="612662" y="55105"/>
                        <a:pt x="610573" y="55185"/>
                        <a:pt x="608404" y="55266"/>
                      </a:cubicBezTo>
                      <a:lnTo>
                        <a:pt x="608404" y="55266"/>
                      </a:lnTo>
                      <a:cubicBezTo>
                        <a:pt x="610493" y="55185"/>
                        <a:pt x="612501" y="55105"/>
                        <a:pt x="614589" y="55025"/>
                      </a:cubicBezTo>
                      <a:moveTo>
                        <a:pt x="603745" y="55748"/>
                      </a:moveTo>
                      <a:cubicBezTo>
                        <a:pt x="600371" y="55748"/>
                        <a:pt x="596435" y="56149"/>
                        <a:pt x="593302" y="56551"/>
                      </a:cubicBezTo>
                      <a:cubicBezTo>
                        <a:pt x="593463" y="56551"/>
                        <a:pt x="593704" y="56631"/>
                        <a:pt x="593945" y="56712"/>
                      </a:cubicBezTo>
                      <a:cubicBezTo>
                        <a:pt x="596997" y="57274"/>
                        <a:pt x="601416" y="57675"/>
                        <a:pt x="614107" y="58238"/>
                      </a:cubicBezTo>
                      <a:cubicBezTo>
                        <a:pt x="612340" y="58399"/>
                        <a:pt x="612179" y="58479"/>
                        <a:pt x="612019" y="58640"/>
                      </a:cubicBezTo>
                      <a:cubicBezTo>
                        <a:pt x="612340" y="58881"/>
                        <a:pt x="612983" y="59282"/>
                        <a:pt x="622943" y="58881"/>
                      </a:cubicBezTo>
                      <a:cubicBezTo>
                        <a:pt x="622140" y="58720"/>
                        <a:pt x="621016" y="58479"/>
                        <a:pt x="620212" y="58318"/>
                      </a:cubicBezTo>
                      <a:cubicBezTo>
                        <a:pt x="622381" y="58238"/>
                        <a:pt x="623184" y="58158"/>
                        <a:pt x="623666" y="58077"/>
                      </a:cubicBezTo>
                      <a:cubicBezTo>
                        <a:pt x="623345" y="57917"/>
                        <a:pt x="623184" y="57836"/>
                        <a:pt x="619168" y="57595"/>
                      </a:cubicBezTo>
                      <a:cubicBezTo>
                        <a:pt x="622462" y="57274"/>
                        <a:pt x="623747" y="57113"/>
                        <a:pt x="624389" y="56872"/>
                      </a:cubicBezTo>
                      <a:cubicBezTo>
                        <a:pt x="624148" y="56631"/>
                        <a:pt x="624068" y="56551"/>
                        <a:pt x="622060" y="56471"/>
                      </a:cubicBezTo>
                      <a:cubicBezTo>
                        <a:pt x="621498" y="56471"/>
                        <a:pt x="620775" y="56390"/>
                        <a:pt x="620293" y="56390"/>
                      </a:cubicBezTo>
                      <a:cubicBezTo>
                        <a:pt x="616517" y="56230"/>
                        <a:pt x="612742" y="56551"/>
                        <a:pt x="608966" y="56390"/>
                      </a:cubicBezTo>
                      <a:cubicBezTo>
                        <a:pt x="607199" y="56230"/>
                        <a:pt x="605512" y="55828"/>
                        <a:pt x="603745" y="55748"/>
                      </a:cubicBezTo>
                      <a:moveTo>
                        <a:pt x="571614" y="55748"/>
                      </a:moveTo>
                      <a:lnTo>
                        <a:pt x="571614" y="55748"/>
                      </a:lnTo>
                      <a:cubicBezTo>
                        <a:pt x="575309" y="55908"/>
                        <a:pt x="579004" y="56149"/>
                        <a:pt x="582699" y="56471"/>
                      </a:cubicBezTo>
                      <a:cubicBezTo>
                        <a:pt x="579004" y="56230"/>
                        <a:pt x="575309" y="55989"/>
                        <a:pt x="571614" y="55748"/>
                      </a:cubicBez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lnTo>
                        <a:pt x="571534" y="55748"/>
                      </a:lnTo>
                      <a:moveTo>
                        <a:pt x="571534" y="55748"/>
                      </a:moveTo>
                      <a:lnTo>
                        <a:pt x="571534" y="55748"/>
                      </a:lnTo>
                      <a:moveTo>
                        <a:pt x="332477" y="131176"/>
                      </a:moveTo>
                      <a:cubicBezTo>
                        <a:pt x="321714" y="137040"/>
                        <a:pt x="314564" y="139610"/>
                        <a:pt x="312235" y="140494"/>
                      </a:cubicBezTo>
                      <a:lnTo>
                        <a:pt x="312476" y="140092"/>
                      </a:lnTo>
                      <a:cubicBezTo>
                        <a:pt x="314886" y="138807"/>
                        <a:pt x="324204" y="134308"/>
                        <a:pt x="333200" y="130854"/>
                      </a:cubicBezTo>
                      <a:cubicBezTo>
                        <a:pt x="333040" y="130854"/>
                        <a:pt x="332718" y="131015"/>
                        <a:pt x="332477" y="131176"/>
                      </a:cubicBezTo>
                      <a:moveTo>
                        <a:pt x="363484" y="113664"/>
                      </a:moveTo>
                      <a:cubicBezTo>
                        <a:pt x="366296" y="111174"/>
                        <a:pt x="377702" y="100571"/>
                        <a:pt x="381397" y="96554"/>
                      </a:cubicBezTo>
                      <a:cubicBezTo>
                        <a:pt x="376819" y="98402"/>
                        <a:pt x="372641" y="100892"/>
                        <a:pt x="368223" y="103061"/>
                      </a:cubicBezTo>
                      <a:cubicBezTo>
                        <a:pt x="383968" y="91735"/>
                        <a:pt x="385253" y="90690"/>
                        <a:pt x="387582" y="88763"/>
                      </a:cubicBezTo>
                      <a:cubicBezTo>
                        <a:pt x="384771" y="89967"/>
                        <a:pt x="384771" y="89967"/>
                        <a:pt x="378907" y="93261"/>
                      </a:cubicBezTo>
                      <a:cubicBezTo>
                        <a:pt x="381237" y="91413"/>
                        <a:pt x="383566" y="89646"/>
                        <a:pt x="385815" y="87798"/>
                      </a:cubicBezTo>
                      <a:cubicBezTo>
                        <a:pt x="385655" y="87798"/>
                        <a:pt x="385494" y="87879"/>
                        <a:pt x="385414" y="87879"/>
                      </a:cubicBezTo>
                      <a:cubicBezTo>
                        <a:pt x="379148" y="91574"/>
                        <a:pt x="374328" y="94867"/>
                        <a:pt x="367018" y="100008"/>
                      </a:cubicBezTo>
                      <a:cubicBezTo>
                        <a:pt x="380835" y="89967"/>
                        <a:pt x="380835" y="89967"/>
                        <a:pt x="382602" y="88441"/>
                      </a:cubicBezTo>
                      <a:cubicBezTo>
                        <a:pt x="381317" y="88602"/>
                        <a:pt x="381317" y="88602"/>
                        <a:pt x="352319" y="106595"/>
                      </a:cubicBezTo>
                      <a:cubicBezTo>
                        <a:pt x="360271" y="100731"/>
                        <a:pt x="360512" y="100571"/>
                        <a:pt x="374168" y="91494"/>
                      </a:cubicBezTo>
                      <a:cubicBezTo>
                        <a:pt x="372641" y="92136"/>
                        <a:pt x="370553" y="93020"/>
                        <a:pt x="357941" y="100731"/>
                      </a:cubicBezTo>
                      <a:cubicBezTo>
                        <a:pt x="358905" y="100008"/>
                        <a:pt x="360110" y="98964"/>
                        <a:pt x="361074" y="98161"/>
                      </a:cubicBezTo>
                      <a:cubicBezTo>
                        <a:pt x="360914" y="98161"/>
                        <a:pt x="339948" y="104587"/>
                        <a:pt x="309263" y="129649"/>
                      </a:cubicBezTo>
                      <a:cubicBezTo>
                        <a:pt x="325168" y="114708"/>
                        <a:pt x="325168" y="114708"/>
                        <a:pt x="329827" y="110692"/>
                      </a:cubicBezTo>
                      <a:cubicBezTo>
                        <a:pt x="328461" y="111013"/>
                        <a:pt x="325248" y="111897"/>
                        <a:pt x="305086" y="124348"/>
                      </a:cubicBezTo>
                      <a:cubicBezTo>
                        <a:pt x="305327" y="123866"/>
                        <a:pt x="305648" y="123223"/>
                        <a:pt x="305809" y="122741"/>
                      </a:cubicBezTo>
                      <a:cubicBezTo>
                        <a:pt x="304443" y="122902"/>
                        <a:pt x="302756" y="123384"/>
                        <a:pt x="301471" y="123866"/>
                      </a:cubicBezTo>
                      <a:cubicBezTo>
                        <a:pt x="299061" y="122420"/>
                        <a:pt x="297374" y="121376"/>
                        <a:pt x="268135" y="135754"/>
                      </a:cubicBezTo>
                      <a:cubicBezTo>
                        <a:pt x="272151" y="134067"/>
                        <a:pt x="272151" y="134067"/>
                        <a:pt x="274400" y="133585"/>
                      </a:cubicBezTo>
                      <a:cubicBezTo>
                        <a:pt x="269982" y="136638"/>
                        <a:pt x="265002" y="138646"/>
                        <a:pt x="260504" y="141618"/>
                      </a:cubicBezTo>
                      <a:cubicBezTo>
                        <a:pt x="261066" y="141779"/>
                        <a:pt x="261869" y="141940"/>
                        <a:pt x="262512" y="142100"/>
                      </a:cubicBezTo>
                      <a:cubicBezTo>
                        <a:pt x="251105" y="148286"/>
                        <a:pt x="240181" y="155756"/>
                        <a:pt x="240100" y="155756"/>
                      </a:cubicBezTo>
                      <a:cubicBezTo>
                        <a:pt x="244197" y="156238"/>
                        <a:pt x="244920" y="156318"/>
                        <a:pt x="263395" y="149651"/>
                      </a:cubicBezTo>
                      <a:cubicBezTo>
                        <a:pt x="227489" y="164512"/>
                        <a:pt x="227489" y="164512"/>
                        <a:pt x="226846" y="167082"/>
                      </a:cubicBezTo>
                      <a:cubicBezTo>
                        <a:pt x="228051" y="167163"/>
                        <a:pt x="228051" y="167163"/>
                        <a:pt x="259620" y="155676"/>
                      </a:cubicBezTo>
                      <a:cubicBezTo>
                        <a:pt x="222428" y="171661"/>
                        <a:pt x="222428" y="171661"/>
                        <a:pt x="222428" y="175838"/>
                      </a:cubicBezTo>
                      <a:cubicBezTo>
                        <a:pt x="223874" y="176159"/>
                        <a:pt x="223874" y="176159"/>
                        <a:pt x="242912" y="170054"/>
                      </a:cubicBezTo>
                      <a:cubicBezTo>
                        <a:pt x="238976" y="172223"/>
                        <a:pt x="235120" y="174472"/>
                        <a:pt x="231264" y="176722"/>
                      </a:cubicBezTo>
                      <a:cubicBezTo>
                        <a:pt x="245804" y="171581"/>
                        <a:pt x="255604" y="167163"/>
                        <a:pt x="273276" y="157844"/>
                      </a:cubicBezTo>
                      <a:cubicBezTo>
                        <a:pt x="265002" y="162905"/>
                        <a:pt x="264681" y="163387"/>
                        <a:pt x="262753" y="166841"/>
                      </a:cubicBezTo>
                      <a:cubicBezTo>
                        <a:pt x="263074" y="167484"/>
                        <a:pt x="263556" y="168368"/>
                        <a:pt x="263877" y="169010"/>
                      </a:cubicBezTo>
                      <a:cubicBezTo>
                        <a:pt x="229818" y="178328"/>
                        <a:pt x="229256" y="178971"/>
                        <a:pt x="199374" y="211584"/>
                      </a:cubicBezTo>
                      <a:cubicBezTo>
                        <a:pt x="202266" y="202186"/>
                        <a:pt x="204595" y="192627"/>
                        <a:pt x="208049" y="183469"/>
                      </a:cubicBezTo>
                      <a:cubicBezTo>
                        <a:pt x="198330" y="190538"/>
                        <a:pt x="193430" y="194072"/>
                        <a:pt x="185317" y="201382"/>
                      </a:cubicBezTo>
                      <a:cubicBezTo>
                        <a:pt x="174794" y="210861"/>
                        <a:pt x="171741" y="227810"/>
                        <a:pt x="155194" y="231264"/>
                      </a:cubicBezTo>
                      <a:cubicBezTo>
                        <a:pt x="155354" y="231827"/>
                        <a:pt x="155676" y="232469"/>
                        <a:pt x="155836" y="233032"/>
                      </a:cubicBezTo>
                      <a:cubicBezTo>
                        <a:pt x="159531" y="234076"/>
                        <a:pt x="159531" y="234076"/>
                        <a:pt x="163307" y="234718"/>
                      </a:cubicBezTo>
                      <a:cubicBezTo>
                        <a:pt x="122661" y="242751"/>
                        <a:pt x="122661" y="242751"/>
                        <a:pt x="121456" y="252551"/>
                      </a:cubicBezTo>
                      <a:cubicBezTo>
                        <a:pt x="117359" y="255764"/>
                        <a:pt x="114628" y="257772"/>
                        <a:pt x="109969" y="261066"/>
                      </a:cubicBezTo>
                      <a:cubicBezTo>
                        <a:pt x="115753" y="260102"/>
                        <a:pt x="120090" y="257933"/>
                        <a:pt x="127882" y="252230"/>
                      </a:cubicBezTo>
                      <a:cubicBezTo>
                        <a:pt x="126115" y="253676"/>
                        <a:pt x="123705" y="255684"/>
                        <a:pt x="121938" y="257210"/>
                      </a:cubicBezTo>
                      <a:cubicBezTo>
                        <a:pt x="122420" y="257371"/>
                        <a:pt x="123143" y="257612"/>
                        <a:pt x="123625" y="257772"/>
                      </a:cubicBezTo>
                      <a:cubicBezTo>
                        <a:pt x="119448" y="269501"/>
                        <a:pt x="103221" y="267492"/>
                        <a:pt x="99125" y="279301"/>
                      </a:cubicBezTo>
                      <a:cubicBezTo>
                        <a:pt x="102338" y="278658"/>
                        <a:pt x="102338" y="278658"/>
                        <a:pt x="107479" y="276409"/>
                      </a:cubicBezTo>
                      <a:cubicBezTo>
                        <a:pt x="94948" y="284522"/>
                        <a:pt x="94948" y="284522"/>
                        <a:pt x="91574" y="285164"/>
                      </a:cubicBezTo>
                      <a:cubicBezTo>
                        <a:pt x="90690" y="281871"/>
                        <a:pt x="90369" y="280505"/>
                        <a:pt x="99205" y="266368"/>
                      </a:cubicBezTo>
                      <a:cubicBezTo>
                        <a:pt x="88843" y="270705"/>
                        <a:pt x="88843" y="270705"/>
                        <a:pt x="74464" y="289984"/>
                      </a:cubicBezTo>
                      <a:cubicBezTo>
                        <a:pt x="56230" y="291751"/>
                        <a:pt x="47152" y="297535"/>
                        <a:pt x="40003" y="312074"/>
                      </a:cubicBezTo>
                      <a:cubicBezTo>
                        <a:pt x="44100" y="307737"/>
                        <a:pt x="46992" y="305005"/>
                        <a:pt x="52133" y="300909"/>
                      </a:cubicBezTo>
                      <a:cubicBezTo>
                        <a:pt x="47072" y="305568"/>
                        <a:pt x="44261" y="308379"/>
                        <a:pt x="40244" y="312797"/>
                      </a:cubicBezTo>
                      <a:cubicBezTo>
                        <a:pt x="41289" y="312958"/>
                        <a:pt x="42654" y="313360"/>
                        <a:pt x="43618" y="313922"/>
                      </a:cubicBezTo>
                      <a:cubicBezTo>
                        <a:pt x="46430" y="312637"/>
                        <a:pt x="48598" y="310468"/>
                        <a:pt x="50767" y="308379"/>
                      </a:cubicBezTo>
                      <a:cubicBezTo>
                        <a:pt x="46510" y="312958"/>
                        <a:pt x="46992" y="313922"/>
                        <a:pt x="48197" y="316251"/>
                      </a:cubicBezTo>
                      <a:cubicBezTo>
                        <a:pt x="51330" y="313440"/>
                        <a:pt x="52293" y="312717"/>
                        <a:pt x="56069" y="309986"/>
                      </a:cubicBezTo>
                      <a:cubicBezTo>
                        <a:pt x="52615" y="317456"/>
                        <a:pt x="53177" y="318340"/>
                        <a:pt x="54462" y="320428"/>
                      </a:cubicBezTo>
                      <a:cubicBezTo>
                        <a:pt x="58961" y="319866"/>
                        <a:pt x="62334" y="317296"/>
                        <a:pt x="70849" y="310147"/>
                      </a:cubicBezTo>
                      <a:cubicBezTo>
                        <a:pt x="69162" y="315287"/>
                        <a:pt x="69323" y="316733"/>
                        <a:pt x="69564" y="318500"/>
                      </a:cubicBezTo>
                      <a:cubicBezTo>
                        <a:pt x="70046" y="318741"/>
                        <a:pt x="70769" y="319143"/>
                        <a:pt x="71251" y="319384"/>
                      </a:cubicBezTo>
                      <a:cubicBezTo>
                        <a:pt x="74062" y="318179"/>
                        <a:pt x="75428" y="317456"/>
                        <a:pt x="81774" y="310789"/>
                      </a:cubicBezTo>
                      <a:cubicBezTo>
                        <a:pt x="95510" y="324525"/>
                        <a:pt x="102659" y="322437"/>
                        <a:pt x="102900" y="304523"/>
                      </a:cubicBezTo>
                      <a:cubicBezTo>
                        <a:pt x="102980" y="300828"/>
                        <a:pt x="102739" y="296009"/>
                        <a:pt x="102659" y="292314"/>
                      </a:cubicBezTo>
                      <a:cubicBezTo>
                        <a:pt x="106836" y="292233"/>
                        <a:pt x="109166" y="292153"/>
                        <a:pt x="112218" y="285084"/>
                      </a:cubicBezTo>
                      <a:cubicBezTo>
                        <a:pt x="124026" y="289824"/>
                        <a:pt x="136477" y="285004"/>
                        <a:pt x="144831" y="280104"/>
                      </a:cubicBezTo>
                      <a:cubicBezTo>
                        <a:pt x="145313" y="279783"/>
                        <a:pt x="193108" y="245643"/>
                        <a:pt x="189735" y="239940"/>
                      </a:cubicBezTo>
                      <a:cubicBezTo>
                        <a:pt x="188530" y="237931"/>
                        <a:pt x="185397" y="236004"/>
                        <a:pt x="182023" y="233915"/>
                      </a:cubicBezTo>
                      <a:cubicBezTo>
                        <a:pt x="189815" y="237289"/>
                        <a:pt x="196804" y="236486"/>
                        <a:pt x="206122" y="231104"/>
                      </a:cubicBezTo>
                      <a:cubicBezTo>
                        <a:pt x="201864" y="230220"/>
                        <a:pt x="200338" y="227890"/>
                        <a:pt x="205961" y="219296"/>
                      </a:cubicBezTo>
                      <a:cubicBezTo>
                        <a:pt x="219938" y="227890"/>
                        <a:pt x="224356" y="216805"/>
                        <a:pt x="227569" y="208773"/>
                      </a:cubicBezTo>
                      <a:cubicBezTo>
                        <a:pt x="228694" y="212869"/>
                        <a:pt x="230863" y="216404"/>
                        <a:pt x="238253" y="211825"/>
                      </a:cubicBezTo>
                      <a:cubicBezTo>
                        <a:pt x="238815" y="211504"/>
                        <a:pt x="239458" y="211022"/>
                        <a:pt x="239940" y="210700"/>
                      </a:cubicBezTo>
                      <a:cubicBezTo>
                        <a:pt x="248454" y="204435"/>
                        <a:pt x="254881" y="195920"/>
                        <a:pt x="263074" y="189333"/>
                      </a:cubicBezTo>
                      <a:cubicBezTo>
                        <a:pt x="282273" y="173910"/>
                        <a:pt x="305568" y="164592"/>
                        <a:pt x="324525" y="148687"/>
                      </a:cubicBezTo>
                      <a:cubicBezTo>
                        <a:pt x="318018" y="152061"/>
                        <a:pt x="310950" y="153989"/>
                        <a:pt x="304363" y="157041"/>
                      </a:cubicBezTo>
                      <a:cubicBezTo>
                        <a:pt x="324043" y="146197"/>
                        <a:pt x="334164" y="139610"/>
                        <a:pt x="363484" y="113664"/>
                      </a:cubicBezTo>
                      <a:moveTo>
                        <a:pt x="483655" y="142422"/>
                      </a:moveTo>
                      <a:cubicBezTo>
                        <a:pt x="481245" y="138807"/>
                        <a:pt x="476666" y="134710"/>
                        <a:pt x="472650" y="133184"/>
                      </a:cubicBezTo>
                      <a:cubicBezTo>
                        <a:pt x="466384" y="138245"/>
                        <a:pt x="464617" y="136558"/>
                        <a:pt x="458110" y="130372"/>
                      </a:cubicBezTo>
                      <a:cubicBezTo>
                        <a:pt x="459637" y="140333"/>
                        <a:pt x="460440" y="145795"/>
                        <a:pt x="460440" y="162343"/>
                      </a:cubicBezTo>
                      <a:cubicBezTo>
                        <a:pt x="456825" y="142181"/>
                        <a:pt x="453692" y="133746"/>
                        <a:pt x="444053" y="117279"/>
                      </a:cubicBezTo>
                      <a:cubicBezTo>
                        <a:pt x="442848" y="119528"/>
                        <a:pt x="442848" y="119528"/>
                        <a:pt x="442848" y="131336"/>
                      </a:cubicBezTo>
                      <a:cubicBezTo>
                        <a:pt x="439474" y="129328"/>
                        <a:pt x="439474" y="129328"/>
                        <a:pt x="432807" y="122902"/>
                      </a:cubicBezTo>
                      <a:cubicBezTo>
                        <a:pt x="434012" y="109567"/>
                        <a:pt x="434012" y="109567"/>
                        <a:pt x="420838" y="84264"/>
                      </a:cubicBezTo>
                      <a:cubicBezTo>
                        <a:pt x="419794" y="84585"/>
                        <a:pt x="418348" y="85067"/>
                        <a:pt x="417304" y="85469"/>
                      </a:cubicBezTo>
                      <a:cubicBezTo>
                        <a:pt x="417224" y="81694"/>
                        <a:pt x="417224" y="81694"/>
                        <a:pt x="414412" y="70849"/>
                      </a:cubicBezTo>
                      <a:cubicBezTo>
                        <a:pt x="413769" y="73741"/>
                        <a:pt x="413769" y="73741"/>
                        <a:pt x="409351" y="85549"/>
                      </a:cubicBezTo>
                      <a:cubicBezTo>
                        <a:pt x="409592" y="84425"/>
                        <a:pt x="409914" y="82899"/>
                        <a:pt x="410155" y="81854"/>
                      </a:cubicBezTo>
                      <a:cubicBezTo>
                        <a:pt x="402042" y="91494"/>
                        <a:pt x="402523" y="93020"/>
                        <a:pt x="404773" y="100410"/>
                      </a:cubicBezTo>
                      <a:cubicBezTo>
                        <a:pt x="403648" y="100169"/>
                        <a:pt x="402202" y="99767"/>
                        <a:pt x="401078" y="99526"/>
                      </a:cubicBezTo>
                      <a:cubicBezTo>
                        <a:pt x="393848" y="110853"/>
                        <a:pt x="392563" y="124508"/>
                        <a:pt x="386779" y="136397"/>
                      </a:cubicBezTo>
                      <a:cubicBezTo>
                        <a:pt x="385574" y="131176"/>
                        <a:pt x="385574" y="131176"/>
                        <a:pt x="386619" y="112861"/>
                      </a:cubicBezTo>
                      <a:cubicBezTo>
                        <a:pt x="382281" y="117359"/>
                        <a:pt x="382281" y="117359"/>
                        <a:pt x="376256" y="132702"/>
                      </a:cubicBezTo>
                      <a:cubicBezTo>
                        <a:pt x="375614" y="128605"/>
                        <a:pt x="375614" y="128605"/>
                        <a:pt x="379068" y="118163"/>
                      </a:cubicBezTo>
                      <a:cubicBezTo>
                        <a:pt x="372240" y="125874"/>
                        <a:pt x="366938" y="134710"/>
                        <a:pt x="360673" y="142743"/>
                      </a:cubicBezTo>
                      <a:cubicBezTo>
                        <a:pt x="364046" y="134549"/>
                        <a:pt x="364046" y="134549"/>
                        <a:pt x="369428" y="122902"/>
                      </a:cubicBezTo>
                      <a:cubicBezTo>
                        <a:pt x="365171" y="125071"/>
                        <a:pt x="362119" y="126677"/>
                        <a:pt x="344366" y="154310"/>
                      </a:cubicBezTo>
                      <a:cubicBezTo>
                        <a:pt x="346696" y="148848"/>
                        <a:pt x="349186" y="143466"/>
                        <a:pt x="351435" y="137923"/>
                      </a:cubicBezTo>
                      <a:cubicBezTo>
                        <a:pt x="350310" y="137521"/>
                        <a:pt x="348864" y="136959"/>
                        <a:pt x="347740" y="136558"/>
                      </a:cubicBezTo>
                      <a:cubicBezTo>
                        <a:pt x="276730" y="195438"/>
                        <a:pt x="276730" y="195438"/>
                        <a:pt x="280505" y="202668"/>
                      </a:cubicBezTo>
                      <a:cubicBezTo>
                        <a:pt x="180256" y="274240"/>
                        <a:pt x="180256" y="274240"/>
                        <a:pt x="195759" y="304845"/>
                      </a:cubicBezTo>
                      <a:cubicBezTo>
                        <a:pt x="172303" y="296169"/>
                        <a:pt x="159531" y="314564"/>
                        <a:pt x="158166" y="318259"/>
                      </a:cubicBezTo>
                      <a:cubicBezTo>
                        <a:pt x="160656" y="317537"/>
                        <a:pt x="163869" y="315930"/>
                        <a:pt x="166038" y="314404"/>
                      </a:cubicBezTo>
                      <a:cubicBezTo>
                        <a:pt x="157523" y="333361"/>
                        <a:pt x="156399" y="335771"/>
                        <a:pt x="166440" y="349025"/>
                      </a:cubicBezTo>
                      <a:cubicBezTo>
                        <a:pt x="195759" y="335369"/>
                        <a:pt x="231666" y="345571"/>
                        <a:pt x="215681" y="410717"/>
                      </a:cubicBezTo>
                      <a:cubicBezTo>
                        <a:pt x="218653" y="410637"/>
                        <a:pt x="222830" y="411681"/>
                        <a:pt x="225159" y="413529"/>
                      </a:cubicBezTo>
                      <a:cubicBezTo>
                        <a:pt x="225079" y="420357"/>
                        <a:pt x="220018" y="426301"/>
                        <a:pt x="221866" y="433450"/>
                      </a:cubicBezTo>
                      <a:cubicBezTo>
                        <a:pt x="222830" y="432807"/>
                        <a:pt x="224035" y="432004"/>
                        <a:pt x="224999" y="431442"/>
                      </a:cubicBezTo>
                      <a:cubicBezTo>
                        <a:pt x="220741" y="440117"/>
                        <a:pt x="220741" y="440117"/>
                        <a:pt x="221143" y="444696"/>
                      </a:cubicBezTo>
                      <a:cubicBezTo>
                        <a:pt x="222187" y="444696"/>
                        <a:pt x="223553" y="444696"/>
                        <a:pt x="224597" y="444696"/>
                      </a:cubicBezTo>
                      <a:cubicBezTo>
                        <a:pt x="215761" y="463573"/>
                        <a:pt x="215761" y="463573"/>
                        <a:pt x="215118" y="466143"/>
                      </a:cubicBezTo>
                      <a:cubicBezTo>
                        <a:pt x="217127" y="465742"/>
                        <a:pt x="219777" y="464457"/>
                        <a:pt x="221384" y="463171"/>
                      </a:cubicBezTo>
                      <a:cubicBezTo>
                        <a:pt x="211745" y="478915"/>
                        <a:pt x="211504" y="480442"/>
                        <a:pt x="210138" y="487752"/>
                      </a:cubicBezTo>
                      <a:cubicBezTo>
                        <a:pt x="211263" y="488314"/>
                        <a:pt x="212708" y="489117"/>
                        <a:pt x="213833" y="489680"/>
                      </a:cubicBezTo>
                      <a:cubicBezTo>
                        <a:pt x="224276" y="486306"/>
                        <a:pt x="227087" y="485422"/>
                        <a:pt x="232790" y="468714"/>
                      </a:cubicBezTo>
                      <a:cubicBezTo>
                        <a:pt x="232630" y="471365"/>
                        <a:pt x="232469" y="474899"/>
                        <a:pt x="232549" y="477550"/>
                      </a:cubicBezTo>
                      <a:cubicBezTo>
                        <a:pt x="233272" y="478273"/>
                        <a:pt x="234317" y="479156"/>
                        <a:pt x="235040" y="479880"/>
                      </a:cubicBezTo>
                      <a:cubicBezTo>
                        <a:pt x="234397" y="480924"/>
                        <a:pt x="233513" y="482289"/>
                        <a:pt x="232871" y="483334"/>
                      </a:cubicBezTo>
                      <a:cubicBezTo>
                        <a:pt x="233192" y="484458"/>
                        <a:pt x="233594" y="485904"/>
                        <a:pt x="233915" y="487029"/>
                      </a:cubicBezTo>
                      <a:cubicBezTo>
                        <a:pt x="238895" y="486547"/>
                        <a:pt x="239056" y="486547"/>
                        <a:pt x="246687" y="483735"/>
                      </a:cubicBezTo>
                      <a:cubicBezTo>
                        <a:pt x="239136" y="495543"/>
                        <a:pt x="239136" y="495543"/>
                        <a:pt x="241145" y="500685"/>
                      </a:cubicBezTo>
                      <a:cubicBezTo>
                        <a:pt x="243233" y="501568"/>
                        <a:pt x="246125" y="502452"/>
                        <a:pt x="248374" y="502934"/>
                      </a:cubicBezTo>
                      <a:cubicBezTo>
                        <a:pt x="247812" y="515224"/>
                        <a:pt x="229577" y="514742"/>
                        <a:pt x="221786" y="513939"/>
                      </a:cubicBezTo>
                      <a:cubicBezTo>
                        <a:pt x="234317" y="518678"/>
                        <a:pt x="234317" y="518678"/>
                        <a:pt x="243554" y="551291"/>
                      </a:cubicBezTo>
                      <a:cubicBezTo>
                        <a:pt x="244599" y="551130"/>
                        <a:pt x="246045" y="550890"/>
                        <a:pt x="247169" y="550729"/>
                      </a:cubicBezTo>
                      <a:cubicBezTo>
                        <a:pt x="248053" y="551452"/>
                        <a:pt x="249258" y="552335"/>
                        <a:pt x="250141" y="553058"/>
                      </a:cubicBezTo>
                      <a:cubicBezTo>
                        <a:pt x="240422" y="565670"/>
                        <a:pt x="224758" y="568722"/>
                        <a:pt x="212066" y="576594"/>
                      </a:cubicBezTo>
                      <a:cubicBezTo>
                        <a:pt x="222910" y="574908"/>
                        <a:pt x="222910" y="574908"/>
                        <a:pt x="232469" y="574908"/>
                      </a:cubicBezTo>
                      <a:cubicBezTo>
                        <a:pt x="232228" y="576514"/>
                        <a:pt x="231827" y="578763"/>
                        <a:pt x="231586" y="580370"/>
                      </a:cubicBezTo>
                      <a:cubicBezTo>
                        <a:pt x="225561" y="584627"/>
                        <a:pt x="223633" y="585993"/>
                        <a:pt x="209817" y="593142"/>
                      </a:cubicBezTo>
                      <a:cubicBezTo>
                        <a:pt x="217207" y="590250"/>
                        <a:pt x="223633" y="587680"/>
                        <a:pt x="237690" y="588403"/>
                      </a:cubicBezTo>
                      <a:cubicBezTo>
                        <a:pt x="211905" y="592901"/>
                        <a:pt x="206925" y="596194"/>
                        <a:pt x="218090" y="612260"/>
                      </a:cubicBezTo>
                      <a:cubicBezTo>
                        <a:pt x="208853" y="619891"/>
                        <a:pt x="208290" y="620534"/>
                        <a:pt x="203872" y="625032"/>
                      </a:cubicBezTo>
                      <a:cubicBezTo>
                        <a:pt x="211263" y="624470"/>
                        <a:pt x="211263" y="624470"/>
                        <a:pt x="232710" y="611617"/>
                      </a:cubicBezTo>
                      <a:cubicBezTo>
                        <a:pt x="222027" y="620373"/>
                        <a:pt x="214556" y="625675"/>
                        <a:pt x="202105" y="633306"/>
                      </a:cubicBezTo>
                      <a:cubicBezTo>
                        <a:pt x="202989" y="633788"/>
                        <a:pt x="204274" y="634431"/>
                        <a:pt x="205158" y="634993"/>
                      </a:cubicBezTo>
                      <a:cubicBezTo>
                        <a:pt x="206041" y="645676"/>
                        <a:pt x="208531" y="649773"/>
                        <a:pt x="228131" y="640696"/>
                      </a:cubicBezTo>
                      <a:cubicBezTo>
                        <a:pt x="210459" y="665116"/>
                        <a:pt x="210459" y="665116"/>
                        <a:pt x="210459" y="665758"/>
                      </a:cubicBezTo>
                      <a:cubicBezTo>
                        <a:pt x="214958" y="666240"/>
                        <a:pt x="216163" y="666321"/>
                        <a:pt x="227007" y="662465"/>
                      </a:cubicBezTo>
                      <a:cubicBezTo>
                        <a:pt x="226605" y="663429"/>
                        <a:pt x="226123" y="664795"/>
                        <a:pt x="225722" y="665758"/>
                      </a:cubicBezTo>
                      <a:cubicBezTo>
                        <a:pt x="232549" y="662465"/>
                        <a:pt x="234558" y="660939"/>
                        <a:pt x="230622" y="652504"/>
                      </a:cubicBezTo>
                      <a:cubicBezTo>
                        <a:pt x="236245" y="661421"/>
                        <a:pt x="236486" y="661822"/>
                        <a:pt x="241225" y="669694"/>
                      </a:cubicBezTo>
                      <a:cubicBezTo>
                        <a:pt x="239940" y="667927"/>
                        <a:pt x="237771" y="665919"/>
                        <a:pt x="235923" y="664714"/>
                      </a:cubicBezTo>
                      <a:cubicBezTo>
                        <a:pt x="233031" y="665598"/>
                        <a:pt x="229417" y="666722"/>
                        <a:pt x="220099" y="675719"/>
                      </a:cubicBezTo>
                      <a:cubicBezTo>
                        <a:pt x="225320" y="676683"/>
                        <a:pt x="230541" y="673149"/>
                        <a:pt x="235763" y="675558"/>
                      </a:cubicBezTo>
                      <a:cubicBezTo>
                        <a:pt x="230059" y="677727"/>
                        <a:pt x="230059" y="677727"/>
                        <a:pt x="221705" y="680217"/>
                      </a:cubicBezTo>
                      <a:cubicBezTo>
                        <a:pt x="217367" y="689696"/>
                        <a:pt x="226605" y="701183"/>
                        <a:pt x="232469" y="707127"/>
                      </a:cubicBezTo>
                      <a:cubicBezTo>
                        <a:pt x="234236" y="705681"/>
                        <a:pt x="236727" y="703914"/>
                        <a:pt x="238654" y="702790"/>
                      </a:cubicBezTo>
                      <a:cubicBezTo>
                        <a:pt x="234236" y="708573"/>
                        <a:pt x="234236" y="708573"/>
                        <a:pt x="232871" y="712991"/>
                      </a:cubicBezTo>
                      <a:cubicBezTo>
                        <a:pt x="235522" y="717329"/>
                        <a:pt x="235522" y="717329"/>
                        <a:pt x="243072" y="719578"/>
                      </a:cubicBezTo>
                      <a:cubicBezTo>
                        <a:pt x="242831" y="720783"/>
                        <a:pt x="242510" y="722309"/>
                        <a:pt x="242269" y="723434"/>
                      </a:cubicBezTo>
                      <a:cubicBezTo>
                        <a:pt x="244438" y="723916"/>
                        <a:pt x="247571" y="723836"/>
                        <a:pt x="249820" y="723354"/>
                      </a:cubicBezTo>
                      <a:cubicBezTo>
                        <a:pt x="248053" y="725121"/>
                        <a:pt x="246125" y="728013"/>
                        <a:pt x="245081" y="730262"/>
                      </a:cubicBezTo>
                      <a:cubicBezTo>
                        <a:pt x="245161" y="730422"/>
                        <a:pt x="257933" y="745123"/>
                        <a:pt x="263958" y="744882"/>
                      </a:cubicBezTo>
                      <a:cubicBezTo>
                        <a:pt x="263074" y="745926"/>
                        <a:pt x="261869" y="747372"/>
                        <a:pt x="260986" y="748496"/>
                      </a:cubicBezTo>
                      <a:cubicBezTo>
                        <a:pt x="261950" y="749139"/>
                        <a:pt x="263235" y="749942"/>
                        <a:pt x="264199" y="750585"/>
                      </a:cubicBezTo>
                      <a:cubicBezTo>
                        <a:pt x="264761" y="749942"/>
                        <a:pt x="265564" y="749139"/>
                        <a:pt x="266207" y="748577"/>
                      </a:cubicBezTo>
                      <a:cubicBezTo>
                        <a:pt x="278095" y="748496"/>
                        <a:pt x="282915" y="746568"/>
                        <a:pt x="292233" y="740222"/>
                      </a:cubicBezTo>
                      <a:cubicBezTo>
                        <a:pt x="292554" y="742873"/>
                        <a:pt x="292795" y="746408"/>
                        <a:pt x="292795" y="748978"/>
                      </a:cubicBezTo>
                      <a:cubicBezTo>
                        <a:pt x="297695" y="753236"/>
                        <a:pt x="298097" y="753557"/>
                        <a:pt x="309022" y="749380"/>
                      </a:cubicBezTo>
                      <a:cubicBezTo>
                        <a:pt x="308620" y="750424"/>
                        <a:pt x="308138" y="751870"/>
                        <a:pt x="307736" y="752995"/>
                      </a:cubicBezTo>
                      <a:cubicBezTo>
                        <a:pt x="306451" y="753637"/>
                        <a:pt x="304684" y="754441"/>
                        <a:pt x="303399" y="755083"/>
                      </a:cubicBezTo>
                      <a:cubicBezTo>
                        <a:pt x="304443" y="758939"/>
                        <a:pt x="308058" y="766891"/>
                        <a:pt x="318661" y="756127"/>
                      </a:cubicBezTo>
                      <a:cubicBezTo>
                        <a:pt x="317456" y="757814"/>
                        <a:pt x="316171" y="760385"/>
                        <a:pt x="315689" y="762393"/>
                      </a:cubicBezTo>
                      <a:cubicBezTo>
                        <a:pt x="316894" y="762714"/>
                        <a:pt x="318500" y="763116"/>
                        <a:pt x="319705" y="763437"/>
                      </a:cubicBezTo>
                      <a:cubicBezTo>
                        <a:pt x="319866" y="764000"/>
                        <a:pt x="320107" y="764642"/>
                        <a:pt x="320268" y="765205"/>
                      </a:cubicBezTo>
                      <a:cubicBezTo>
                        <a:pt x="322356" y="765124"/>
                        <a:pt x="325087" y="764642"/>
                        <a:pt x="327096" y="764000"/>
                      </a:cubicBezTo>
                      <a:cubicBezTo>
                        <a:pt x="326051" y="763357"/>
                        <a:pt x="324686" y="762473"/>
                        <a:pt x="323641" y="761750"/>
                      </a:cubicBezTo>
                      <a:cubicBezTo>
                        <a:pt x="336735" y="744801"/>
                        <a:pt x="336735" y="744801"/>
                        <a:pt x="346615" y="723434"/>
                      </a:cubicBezTo>
                      <a:cubicBezTo>
                        <a:pt x="345410" y="723273"/>
                        <a:pt x="343884" y="723113"/>
                        <a:pt x="342679" y="722952"/>
                      </a:cubicBezTo>
                      <a:cubicBezTo>
                        <a:pt x="348704" y="716445"/>
                        <a:pt x="349748" y="714437"/>
                        <a:pt x="348864" y="703673"/>
                      </a:cubicBezTo>
                      <a:cubicBezTo>
                        <a:pt x="346214" y="703593"/>
                        <a:pt x="342599" y="703111"/>
                        <a:pt x="340028" y="702468"/>
                      </a:cubicBezTo>
                      <a:cubicBezTo>
                        <a:pt x="343723" y="701424"/>
                        <a:pt x="348623" y="699898"/>
                        <a:pt x="352319" y="698693"/>
                      </a:cubicBezTo>
                      <a:cubicBezTo>
                        <a:pt x="352559" y="697247"/>
                        <a:pt x="352961" y="695399"/>
                        <a:pt x="353202" y="693954"/>
                      </a:cubicBezTo>
                      <a:cubicBezTo>
                        <a:pt x="351837" y="692588"/>
                        <a:pt x="349909" y="690821"/>
                        <a:pt x="348543" y="689455"/>
                      </a:cubicBezTo>
                      <a:cubicBezTo>
                        <a:pt x="368946" y="695881"/>
                        <a:pt x="369830" y="671141"/>
                        <a:pt x="369830" y="670900"/>
                      </a:cubicBezTo>
                      <a:cubicBezTo>
                        <a:pt x="367018" y="668249"/>
                        <a:pt x="367018" y="668249"/>
                        <a:pt x="359628" y="664795"/>
                      </a:cubicBezTo>
                      <a:cubicBezTo>
                        <a:pt x="366537" y="663991"/>
                        <a:pt x="368384" y="663750"/>
                        <a:pt x="374650" y="656922"/>
                      </a:cubicBezTo>
                      <a:cubicBezTo>
                        <a:pt x="374409" y="652424"/>
                        <a:pt x="373364" y="648167"/>
                        <a:pt x="364528" y="648890"/>
                      </a:cubicBezTo>
                      <a:cubicBezTo>
                        <a:pt x="364127" y="647685"/>
                        <a:pt x="363645" y="646158"/>
                        <a:pt x="363323" y="644954"/>
                      </a:cubicBezTo>
                      <a:cubicBezTo>
                        <a:pt x="376096" y="643668"/>
                        <a:pt x="378425" y="643508"/>
                        <a:pt x="383646" y="636358"/>
                      </a:cubicBezTo>
                      <a:lnTo>
                        <a:pt x="383646" y="636358"/>
                      </a:lnTo>
                      <a:cubicBezTo>
                        <a:pt x="393768" y="623104"/>
                        <a:pt x="393768" y="623104"/>
                        <a:pt x="397222" y="618767"/>
                      </a:cubicBezTo>
                      <a:cubicBezTo>
                        <a:pt x="398266" y="619088"/>
                        <a:pt x="399632" y="619489"/>
                        <a:pt x="400596" y="619811"/>
                      </a:cubicBezTo>
                      <a:cubicBezTo>
                        <a:pt x="401399" y="619088"/>
                        <a:pt x="402443" y="618204"/>
                        <a:pt x="403246" y="617481"/>
                      </a:cubicBezTo>
                      <a:cubicBezTo>
                        <a:pt x="409673" y="622863"/>
                        <a:pt x="411842" y="624631"/>
                        <a:pt x="423168" y="619329"/>
                      </a:cubicBezTo>
                      <a:cubicBezTo>
                        <a:pt x="423409" y="618124"/>
                        <a:pt x="423650" y="616598"/>
                        <a:pt x="423891" y="615393"/>
                      </a:cubicBezTo>
                      <a:cubicBezTo>
                        <a:pt x="424614" y="616196"/>
                        <a:pt x="425578" y="617240"/>
                        <a:pt x="426220" y="618044"/>
                      </a:cubicBezTo>
                      <a:cubicBezTo>
                        <a:pt x="432727" y="614831"/>
                        <a:pt x="436502" y="612501"/>
                        <a:pt x="431843" y="603826"/>
                      </a:cubicBezTo>
                      <a:cubicBezTo>
                        <a:pt x="456263" y="591455"/>
                        <a:pt x="469035" y="573703"/>
                        <a:pt x="472007" y="547757"/>
                      </a:cubicBezTo>
                      <a:cubicBezTo>
                        <a:pt x="502452" y="566794"/>
                        <a:pt x="562296" y="508556"/>
                        <a:pt x="569686" y="498034"/>
                      </a:cubicBezTo>
                      <a:cubicBezTo>
                        <a:pt x="569445" y="497632"/>
                        <a:pt x="569445" y="497632"/>
                        <a:pt x="565750" y="486788"/>
                      </a:cubicBezTo>
                      <a:cubicBezTo>
                        <a:pt x="560047" y="485020"/>
                        <a:pt x="557878" y="484298"/>
                        <a:pt x="524943" y="497712"/>
                      </a:cubicBezTo>
                      <a:cubicBezTo>
                        <a:pt x="526791" y="495142"/>
                        <a:pt x="529120" y="491607"/>
                        <a:pt x="530406" y="488715"/>
                      </a:cubicBezTo>
                      <a:cubicBezTo>
                        <a:pt x="529602" y="487912"/>
                        <a:pt x="528558" y="486788"/>
                        <a:pt x="527755" y="485984"/>
                      </a:cubicBezTo>
                      <a:cubicBezTo>
                        <a:pt x="526630" y="486065"/>
                        <a:pt x="526630" y="486065"/>
                        <a:pt x="502692" y="489278"/>
                      </a:cubicBezTo>
                      <a:cubicBezTo>
                        <a:pt x="516750" y="481245"/>
                        <a:pt x="513135" y="478032"/>
                        <a:pt x="507512" y="473132"/>
                      </a:cubicBezTo>
                      <a:cubicBezTo>
                        <a:pt x="512171" y="470080"/>
                        <a:pt x="512171" y="470080"/>
                        <a:pt x="532173" y="462368"/>
                      </a:cubicBezTo>
                      <a:cubicBezTo>
                        <a:pt x="531611" y="460842"/>
                        <a:pt x="530807" y="458833"/>
                        <a:pt x="530165" y="457307"/>
                      </a:cubicBezTo>
                      <a:cubicBezTo>
                        <a:pt x="556512" y="464296"/>
                        <a:pt x="571453" y="465661"/>
                        <a:pt x="576675" y="465983"/>
                      </a:cubicBezTo>
                      <a:cubicBezTo>
                        <a:pt x="577558" y="468392"/>
                        <a:pt x="578843" y="471606"/>
                        <a:pt x="579727" y="474096"/>
                      </a:cubicBezTo>
                      <a:cubicBezTo>
                        <a:pt x="583904" y="463975"/>
                        <a:pt x="583743" y="463171"/>
                        <a:pt x="582860" y="455379"/>
                      </a:cubicBezTo>
                      <a:cubicBezTo>
                        <a:pt x="568561" y="446222"/>
                        <a:pt x="568561" y="446222"/>
                        <a:pt x="573461" y="439073"/>
                      </a:cubicBezTo>
                      <a:cubicBezTo>
                        <a:pt x="564224" y="434896"/>
                        <a:pt x="550006" y="429835"/>
                        <a:pt x="534583" y="429434"/>
                      </a:cubicBezTo>
                      <a:cubicBezTo>
                        <a:pt x="536350" y="421642"/>
                        <a:pt x="536029" y="420838"/>
                        <a:pt x="534181" y="416983"/>
                      </a:cubicBezTo>
                      <a:cubicBezTo>
                        <a:pt x="527193" y="415858"/>
                        <a:pt x="527193" y="415858"/>
                        <a:pt x="517714" y="420999"/>
                      </a:cubicBezTo>
                      <a:cubicBezTo>
                        <a:pt x="535065" y="407022"/>
                        <a:pt x="549443" y="416179"/>
                        <a:pt x="566473" y="429594"/>
                      </a:cubicBezTo>
                      <a:cubicBezTo>
                        <a:pt x="551371" y="417063"/>
                        <a:pt x="537956" y="408227"/>
                        <a:pt x="517714" y="403166"/>
                      </a:cubicBezTo>
                      <a:cubicBezTo>
                        <a:pt x="519963" y="402604"/>
                        <a:pt x="522855" y="401238"/>
                        <a:pt x="524622" y="399712"/>
                      </a:cubicBezTo>
                      <a:cubicBezTo>
                        <a:pt x="524542" y="394892"/>
                        <a:pt x="524542" y="394170"/>
                        <a:pt x="518758" y="387261"/>
                      </a:cubicBezTo>
                      <a:cubicBezTo>
                        <a:pt x="523899" y="391679"/>
                        <a:pt x="523899" y="391679"/>
                        <a:pt x="529120" y="392001"/>
                      </a:cubicBezTo>
                      <a:cubicBezTo>
                        <a:pt x="541973" y="379389"/>
                        <a:pt x="558279" y="398748"/>
                        <a:pt x="571293" y="387422"/>
                      </a:cubicBezTo>
                      <a:cubicBezTo>
                        <a:pt x="570730" y="385253"/>
                        <a:pt x="570168" y="382361"/>
                        <a:pt x="569766" y="380193"/>
                      </a:cubicBezTo>
                      <a:cubicBezTo>
                        <a:pt x="549363" y="375453"/>
                        <a:pt x="549363" y="375453"/>
                        <a:pt x="549122" y="367581"/>
                      </a:cubicBezTo>
                      <a:cubicBezTo>
                        <a:pt x="569043" y="374891"/>
                        <a:pt x="565670" y="354889"/>
                        <a:pt x="565589" y="354648"/>
                      </a:cubicBezTo>
                      <a:cubicBezTo>
                        <a:pt x="562938" y="346937"/>
                        <a:pt x="551933" y="345169"/>
                        <a:pt x="537796" y="343643"/>
                      </a:cubicBezTo>
                      <a:cubicBezTo>
                        <a:pt x="544945" y="310387"/>
                        <a:pt x="544945" y="310387"/>
                        <a:pt x="517152" y="295848"/>
                      </a:cubicBezTo>
                      <a:cubicBezTo>
                        <a:pt x="517553" y="294884"/>
                        <a:pt x="518196" y="293599"/>
                        <a:pt x="518597" y="292635"/>
                      </a:cubicBezTo>
                      <a:cubicBezTo>
                        <a:pt x="527112" y="290868"/>
                        <a:pt x="535547" y="288779"/>
                        <a:pt x="544061" y="287173"/>
                      </a:cubicBezTo>
                      <a:cubicBezTo>
                        <a:pt x="542535" y="272633"/>
                        <a:pt x="525827" y="273919"/>
                        <a:pt x="519883" y="263878"/>
                      </a:cubicBezTo>
                      <a:cubicBezTo>
                        <a:pt x="521650" y="262191"/>
                        <a:pt x="523979" y="259942"/>
                        <a:pt x="525666" y="258094"/>
                      </a:cubicBezTo>
                      <a:cubicBezTo>
                        <a:pt x="522132" y="259861"/>
                        <a:pt x="518758" y="261869"/>
                        <a:pt x="515304" y="263637"/>
                      </a:cubicBezTo>
                      <a:cubicBezTo>
                        <a:pt x="503978" y="223633"/>
                        <a:pt x="508235" y="179292"/>
                        <a:pt x="483655" y="142422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6" name="Freeform: Shape 425">
                  <a:extLst>
                    <a:ext uri="{FF2B5EF4-FFF2-40B4-BE49-F238E27FC236}">
                      <a16:creationId xmlns:a16="http://schemas.microsoft.com/office/drawing/2014/main" id="{7B221119-D24D-896D-3F57-A0D2372969C4}"/>
                    </a:ext>
                  </a:extLst>
                </p:cNvPr>
                <p:cNvSpPr/>
                <p:nvPr/>
              </p:nvSpPr>
              <p:spPr>
                <a:xfrm>
                  <a:off x="-5007033" y="1910256"/>
                  <a:ext cx="2039198" cy="1686927"/>
                </a:xfrm>
                <a:custGeom>
                  <a:avLst/>
                  <a:gdLst>
                    <a:gd name="connsiteX0" fmla="*/ 166194 w 2039198"/>
                    <a:gd name="connsiteY0" fmla="*/ 373445 h 1686927"/>
                    <a:gd name="connsiteX1" fmla="*/ 166194 w 2039198"/>
                    <a:gd name="connsiteY1" fmla="*/ 373445 h 1686927"/>
                    <a:gd name="connsiteX2" fmla="*/ 166194 w 2039198"/>
                    <a:gd name="connsiteY2" fmla="*/ 373445 h 1686927"/>
                    <a:gd name="connsiteX3" fmla="*/ 166194 w 2039198"/>
                    <a:gd name="connsiteY3" fmla="*/ 373445 h 1686927"/>
                    <a:gd name="connsiteX4" fmla="*/ 166194 w 2039198"/>
                    <a:gd name="connsiteY4" fmla="*/ 373445 h 1686927"/>
                    <a:gd name="connsiteX5" fmla="*/ 166194 w 2039198"/>
                    <a:gd name="connsiteY5" fmla="*/ 373445 h 1686927"/>
                    <a:gd name="connsiteX6" fmla="*/ 166194 w 2039198"/>
                    <a:gd name="connsiteY6" fmla="*/ 373445 h 1686927"/>
                    <a:gd name="connsiteX7" fmla="*/ 166194 w 2039198"/>
                    <a:gd name="connsiteY7" fmla="*/ 373445 h 1686927"/>
                    <a:gd name="connsiteX8" fmla="*/ 166194 w 2039198"/>
                    <a:gd name="connsiteY8" fmla="*/ 373445 h 1686927"/>
                    <a:gd name="connsiteX9" fmla="*/ 166194 w 2039198"/>
                    <a:gd name="connsiteY9" fmla="*/ 373445 h 1686927"/>
                    <a:gd name="connsiteX10" fmla="*/ 166194 w 2039198"/>
                    <a:gd name="connsiteY10" fmla="*/ 373445 h 1686927"/>
                    <a:gd name="connsiteX11" fmla="*/ 166194 w 2039198"/>
                    <a:gd name="connsiteY11" fmla="*/ 373445 h 1686927"/>
                    <a:gd name="connsiteX12" fmla="*/ 166194 w 2039198"/>
                    <a:gd name="connsiteY12" fmla="*/ 373445 h 1686927"/>
                    <a:gd name="connsiteX13" fmla="*/ 166194 w 2039198"/>
                    <a:gd name="connsiteY13" fmla="*/ 373445 h 1686927"/>
                    <a:gd name="connsiteX14" fmla="*/ 166194 w 2039198"/>
                    <a:gd name="connsiteY14" fmla="*/ 373445 h 1686927"/>
                    <a:gd name="connsiteX15" fmla="*/ 166194 w 2039198"/>
                    <a:gd name="connsiteY15" fmla="*/ 373445 h 1686927"/>
                    <a:gd name="connsiteX16" fmla="*/ 166194 w 2039198"/>
                    <a:gd name="connsiteY16" fmla="*/ 373445 h 1686927"/>
                    <a:gd name="connsiteX17" fmla="*/ 166194 w 2039198"/>
                    <a:gd name="connsiteY17" fmla="*/ 373445 h 1686927"/>
                    <a:gd name="connsiteX18" fmla="*/ 166194 w 2039198"/>
                    <a:gd name="connsiteY18" fmla="*/ 373445 h 1686927"/>
                    <a:gd name="connsiteX19" fmla="*/ 166194 w 2039198"/>
                    <a:gd name="connsiteY19" fmla="*/ 373445 h 1686927"/>
                    <a:gd name="connsiteX20" fmla="*/ 166194 w 2039198"/>
                    <a:gd name="connsiteY20" fmla="*/ 373445 h 1686927"/>
                    <a:gd name="connsiteX21" fmla="*/ 166194 w 2039198"/>
                    <a:gd name="connsiteY21" fmla="*/ 373445 h 1686927"/>
                    <a:gd name="connsiteX22" fmla="*/ 166194 w 2039198"/>
                    <a:gd name="connsiteY22" fmla="*/ 373445 h 1686927"/>
                    <a:gd name="connsiteX23" fmla="*/ 166194 w 2039198"/>
                    <a:gd name="connsiteY23" fmla="*/ 373445 h 1686927"/>
                    <a:gd name="connsiteX24" fmla="*/ 166194 w 2039198"/>
                    <a:gd name="connsiteY24" fmla="*/ 373445 h 1686927"/>
                    <a:gd name="connsiteX25" fmla="*/ 166194 w 2039198"/>
                    <a:gd name="connsiteY25" fmla="*/ 373445 h 1686927"/>
                    <a:gd name="connsiteX26" fmla="*/ 166194 w 2039198"/>
                    <a:gd name="connsiteY26" fmla="*/ 373445 h 1686927"/>
                    <a:gd name="connsiteX27" fmla="*/ 166194 w 2039198"/>
                    <a:gd name="connsiteY27" fmla="*/ 373445 h 1686927"/>
                    <a:gd name="connsiteX28" fmla="*/ 166194 w 2039198"/>
                    <a:gd name="connsiteY28" fmla="*/ 373445 h 1686927"/>
                    <a:gd name="connsiteX29" fmla="*/ 166194 w 2039198"/>
                    <a:gd name="connsiteY29" fmla="*/ 373445 h 1686927"/>
                    <a:gd name="connsiteX30" fmla="*/ 166194 w 2039198"/>
                    <a:gd name="connsiteY30" fmla="*/ 373445 h 1686927"/>
                    <a:gd name="connsiteX31" fmla="*/ 166194 w 2039198"/>
                    <a:gd name="connsiteY31" fmla="*/ 373445 h 1686927"/>
                    <a:gd name="connsiteX32" fmla="*/ 166194 w 2039198"/>
                    <a:gd name="connsiteY32" fmla="*/ 373445 h 1686927"/>
                    <a:gd name="connsiteX33" fmla="*/ 166194 w 2039198"/>
                    <a:gd name="connsiteY33" fmla="*/ 373445 h 1686927"/>
                    <a:gd name="connsiteX34" fmla="*/ 166194 w 2039198"/>
                    <a:gd name="connsiteY34" fmla="*/ 373445 h 1686927"/>
                    <a:gd name="connsiteX35" fmla="*/ 166194 w 2039198"/>
                    <a:gd name="connsiteY35" fmla="*/ 373445 h 1686927"/>
                    <a:gd name="connsiteX36" fmla="*/ 166194 w 2039198"/>
                    <a:gd name="connsiteY36" fmla="*/ 373445 h 1686927"/>
                    <a:gd name="connsiteX37" fmla="*/ 166194 w 2039198"/>
                    <a:gd name="connsiteY37" fmla="*/ 373445 h 1686927"/>
                    <a:gd name="connsiteX38" fmla="*/ 166194 w 2039198"/>
                    <a:gd name="connsiteY38" fmla="*/ 373445 h 1686927"/>
                    <a:gd name="connsiteX39" fmla="*/ 166194 w 2039198"/>
                    <a:gd name="connsiteY39" fmla="*/ 373445 h 1686927"/>
                    <a:gd name="connsiteX40" fmla="*/ 166194 w 2039198"/>
                    <a:gd name="connsiteY40" fmla="*/ 373445 h 1686927"/>
                    <a:gd name="connsiteX41" fmla="*/ 166194 w 2039198"/>
                    <a:gd name="connsiteY41" fmla="*/ 373445 h 1686927"/>
                    <a:gd name="connsiteX42" fmla="*/ 166194 w 2039198"/>
                    <a:gd name="connsiteY42" fmla="*/ 373445 h 1686927"/>
                    <a:gd name="connsiteX43" fmla="*/ 166194 w 2039198"/>
                    <a:gd name="connsiteY43" fmla="*/ 373445 h 1686927"/>
                    <a:gd name="connsiteX44" fmla="*/ 166194 w 2039198"/>
                    <a:gd name="connsiteY44" fmla="*/ 373445 h 1686927"/>
                    <a:gd name="connsiteX45" fmla="*/ 166194 w 2039198"/>
                    <a:gd name="connsiteY45" fmla="*/ 373445 h 1686927"/>
                    <a:gd name="connsiteX46" fmla="*/ 166194 w 2039198"/>
                    <a:gd name="connsiteY46" fmla="*/ 373445 h 1686927"/>
                    <a:gd name="connsiteX47" fmla="*/ 166194 w 2039198"/>
                    <a:gd name="connsiteY47" fmla="*/ 373445 h 1686927"/>
                    <a:gd name="connsiteX48" fmla="*/ 166194 w 2039198"/>
                    <a:gd name="connsiteY48" fmla="*/ 373445 h 1686927"/>
                    <a:gd name="connsiteX49" fmla="*/ 166194 w 2039198"/>
                    <a:gd name="connsiteY49" fmla="*/ 373445 h 1686927"/>
                    <a:gd name="connsiteX50" fmla="*/ 166194 w 2039198"/>
                    <a:gd name="connsiteY50" fmla="*/ 373445 h 1686927"/>
                    <a:gd name="connsiteX51" fmla="*/ 166194 w 2039198"/>
                    <a:gd name="connsiteY51" fmla="*/ 373445 h 1686927"/>
                    <a:gd name="connsiteX52" fmla="*/ 166194 w 2039198"/>
                    <a:gd name="connsiteY52" fmla="*/ 373445 h 1686927"/>
                    <a:gd name="connsiteX53" fmla="*/ 166194 w 2039198"/>
                    <a:gd name="connsiteY53" fmla="*/ 373445 h 1686927"/>
                    <a:gd name="connsiteX54" fmla="*/ 166194 w 2039198"/>
                    <a:gd name="connsiteY54" fmla="*/ 373445 h 1686927"/>
                    <a:gd name="connsiteX55" fmla="*/ 166194 w 2039198"/>
                    <a:gd name="connsiteY55" fmla="*/ 373445 h 1686927"/>
                    <a:gd name="connsiteX56" fmla="*/ 166194 w 2039198"/>
                    <a:gd name="connsiteY56" fmla="*/ 373445 h 1686927"/>
                    <a:gd name="connsiteX57" fmla="*/ 166194 w 2039198"/>
                    <a:gd name="connsiteY57" fmla="*/ 373445 h 1686927"/>
                    <a:gd name="connsiteX58" fmla="*/ 166194 w 2039198"/>
                    <a:gd name="connsiteY58" fmla="*/ 373445 h 1686927"/>
                    <a:gd name="connsiteX59" fmla="*/ 166194 w 2039198"/>
                    <a:gd name="connsiteY59" fmla="*/ 373445 h 1686927"/>
                    <a:gd name="connsiteX60" fmla="*/ 166194 w 2039198"/>
                    <a:gd name="connsiteY60" fmla="*/ 373445 h 1686927"/>
                    <a:gd name="connsiteX61" fmla="*/ 166194 w 2039198"/>
                    <a:gd name="connsiteY61" fmla="*/ 373445 h 1686927"/>
                    <a:gd name="connsiteX62" fmla="*/ 166194 w 2039198"/>
                    <a:gd name="connsiteY62" fmla="*/ 373445 h 1686927"/>
                    <a:gd name="connsiteX63" fmla="*/ 166194 w 2039198"/>
                    <a:gd name="connsiteY63" fmla="*/ 373445 h 1686927"/>
                    <a:gd name="connsiteX64" fmla="*/ 166194 w 2039198"/>
                    <a:gd name="connsiteY64" fmla="*/ 373445 h 1686927"/>
                    <a:gd name="connsiteX65" fmla="*/ 166194 w 2039198"/>
                    <a:gd name="connsiteY65" fmla="*/ 373445 h 1686927"/>
                    <a:gd name="connsiteX66" fmla="*/ 166194 w 2039198"/>
                    <a:gd name="connsiteY66" fmla="*/ 373445 h 1686927"/>
                    <a:gd name="connsiteX67" fmla="*/ 166194 w 2039198"/>
                    <a:gd name="connsiteY67" fmla="*/ 373445 h 1686927"/>
                    <a:gd name="connsiteX68" fmla="*/ 166194 w 2039198"/>
                    <a:gd name="connsiteY68" fmla="*/ 373445 h 1686927"/>
                    <a:gd name="connsiteX69" fmla="*/ 166194 w 2039198"/>
                    <a:gd name="connsiteY69" fmla="*/ 373445 h 1686927"/>
                    <a:gd name="connsiteX70" fmla="*/ 166194 w 2039198"/>
                    <a:gd name="connsiteY70" fmla="*/ 373445 h 1686927"/>
                    <a:gd name="connsiteX71" fmla="*/ 166194 w 2039198"/>
                    <a:gd name="connsiteY71" fmla="*/ 373445 h 1686927"/>
                    <a:gd name="connsiteX72" fmla="*/ 166194 w 2039198"/>
                    <a:gd name="connsiteY72" fmla="*/ 373445 h 1686927"/>
                    <a:gd name="connsiteX73" fmla="*/ 166194 w 2039198"/>
                    <a:gd name="connsiteY73" fmla="*/ 373445 h 1686927"/>
                    <a:gd name="connsiteX74" fmla="*/ 166194 w 2039198"/>
                    <a:gd name="connsiteY74" fmla="*/ 373445 h 1686927"/>
                    <a:gd name="connsiteX75" fmla="*/ 166194 w 2039198"/>
                    <a:gd name="connsiteY75" fmla="*/ 373445 h 1686927"/>
                    <a:gd name="connsiteX76" fmla="*/ 166194 w 2039198"/>
                    <a:gd name="connsiteY76" fmla="*/ 373445 h 1686927"/>
                    <a:gd name="connsiteX77" fmla="*/ 166194 w 2039198"/>
                    <a:gd name="connsiteY77" fmla="*/ 373445 h 1686927"/>
                    <a:gd name="connsiteX78" fmla="*/ 166194 w 2039198"/>
                    <a:gd name="connsiteY78" fmla="*/ 373445 h 1686927"/>
                    <a:gd name="connsiteX79" fmla="*/ 166194 w 2039198"/>
                    <a:gd name="connsiteY79" fmla="*/ 373445 h 1686927"/>
                    <a:gd name="connsiteX80" fmla="*/ 166194 w 2039198"/>
                    <a:gd name="connsiteY80" fmla="*/ 373445 h 1686927"/>
                    <a:gd name="connsiteX81" fmla="*/ 166194 w 2039198"/>
                    <a:gd name="connsiteY81" fmla="*/ 373445 h 1686927"/>
                    <a:gd name="connsiteX82" fmla="*/ 166194 w 2039198"/>
                    <a:gd name="connsiteY82" fmla="*/ 373445 h 1686927"/>
                    <a:gd name="connsiteX83" fmla="*/ 166194 w 2039198"/>
                    <a:gd name="connsiteY83" fmla="*/ 373445 h 1686927"/>
                    <a:gd name="connsiteX84" fmla="*/ 166194 w 2039198"/>
                    <a:gd name="connsiteY84" fmla="*/ 373445 h 1686927"/>
                    <a:gd name="connsiteX85" fmla="*/ 166194 w 2039198"/>
                    <a:gd name="connsiteY85" fmla="*/ 373445 h 1686927"/>
                    <a:gd name="connsiteX86" fmla="*/ 166275 w 2039198"/>
                    <a:gd name="connsiteY86" fmla="*/ 373445 h 1686927"/>
                    <a:gd name="connsiteX87" fmla="*/ 166275 w 2039198"/>
                    <a:gd name="connsiteY87" fmla="*/ 373445 h 1686927"/>
                    <a:gd name="connsiteX88" fmla="*/ 166275 w 2039198"/>
                    <a:gd name="connsiteY88" fmla="*/ 373445 h 1686927"/>
                    <a:gd name="connsiteX89" fmla="*/ 166275 w 2039198"/>
                    <a:gd name="connsiteY89" fmla="*/ 373445 h 1686927"/>
                    <a:gd name="connsiteX90" fmla="*/ 166275 w 2039198"/>
                    <a:gd name="connsiteY90" fmla="*/ 373445 h 1686927"/>
                    <a:gd name="connsiteX91" fmla="*/ 166275 w 2039198"/>
                    <a:gd name="connsiteY91" fmla="*/ 373445 h 1686927"/>
                    <a:gd name="connsiteX92" fmla="*/ 166275 w 2039198"/>
                    <a:gd name="connsiteY92" fmla="*/ 373445 h 1686927"/>
                    <a:gd name="connsiteX93" fmla="*/ 142096 w 2039198"/>
                    <a:gd name="connsiteY93" fmla="*/ 416179 h 1686927"/>
                    <a:gd name="connsiteX94" fmla="*/ 145068 w 2039198"/>
                    <a:gd name="connsiteY94" fmla="*/ 412163 h 1686927"/>
                    <a:gd name="connsiteX95" fmla="*/ 141373 w 2039198"/>
                    <a:gd name="connsiteY95" fmla="*/ 411681 h 1686927"/>
                    <a:gd name="connsiteX96" fmla="*/ 158965 w 2039198"/>
                    <a:gd name="connsiteY96" fmla="*/ 388305 h 1686927"/>
                    <a:gd name="connsiteX97" fmla="*/ 166596 w 2039198"/>
                    <a:gd name="connsiteY97" fmla="*/ 373284 h 1686927"/>
                    <a:gd name="connsiteX98" fmla="*/ 166275 w 2039198"/>
                    <a:gd name="connsiteY98" fmla="*/ 373445 h 1686927"/>
                    <a:gd name="connsiteX99" fmla="*/ 166596 w 2039198"/>
                    <a:gd name="connsiteY99" fmla="*/ 373284 h 1686927"/>
                    <a:gd name="connsiteX100" fmla="*/ 165070 w 2039198"/>
                    <a:gd name="connsiteY100" fmla="*/ 372561 h 1686927"/>
                    <a:gd name="connsiteX101" fmla="*/ 148361 w 2039198"/>
                    <a:gd name="connsiteY101" fmla="*/ 380915 h 1686927"/>
                    <a:gd name="connsiteX102" fmla="*/ 146353 w 2039198"/>
                    <a:gd name="connsiteY102" fmla="*/ 377461 h 1686927"/>
                    <a:gd name="connsiteX103" fmla="*/ 145871 w 2039198"/>
                    <a:gd name="connsiteY103" fmla="*/ 377702 h 1686927"/>
                    <a:gd name="connsiteX104" fmla="*/ 146112 w 2039198"/>
                    <a:gd name="connsiteY104" fmla="*/ 384450 h 1686927"/>
                    <a:gd name="connsiteX105" fmla="*/ 144747 w 2039198"/>
                    <a:gd name="connsiteY105" fmla="*/ 389028 h 1686927"/>
                    <a:gd name="connsiteX106" fmla="*/ 135991 w 2039198"/>
                    <a:gd name="connsiteY106" fmla="*/ 393768 h 1686927"/>
                    <a:gd name="connsiteX107" fmla="*/ 128360 w 2039198"/>
                    <a:gd name="connsiteY107" fmla="*/ 395696 h 1686927"/>
                    <a:gd name="connsiteX108" fmla="*/ 125307 w 2039198"/>
                    <a:gd name="connsiteY108" fmla="*/ 393366 h 1686927"/>
                    <a:gd name="connsiteX109" fmla="*/ 120970 w 2039198"/>
                    <a:gd name="connsiteY109" fmla="*/ 393205 h 1686927"/>
                    <a:gd name="connsiteX110" fmla="*/ 115989 w 2039198"/>
                    <a:gd name="connsiteY110" fmla="*/ 429433 h 1686927"/>
                    <a:gd name="connsiteX111" fmla="*/ 115989 w 2039198"/>
                    <a:gd name="connsiteY111" fmla="*/ 429433 h 1686927"/>
                    <a:gd name="connsiteX112" fmla="*/ 115989 w 2039198"/>
                    <a:gd name="connsiteY112" fmla="*/ 429433 h 1686927"/>
                    <a:gd name="connsiteX113" fmla="*/ 115989 w 2039198"/>
                    <a:gd name="connsiteY113" fmla="*/ 429433 h 1686927"/>
                    <a:gd name="connsiteX114" fmla="*/ 115989 w 2039198"/>
                    <a:gd name="connsiteY114" fmla="*/ 429433 h 1686927"/>
                    <a:gd name="connsiteX115" fmla="*/ 115989 w 2039198"/>
                    <a:gd name="connsiteY115" fmla="*/ 429433 h 1686927"/>
                    <a:gd name="connsiteX116" fmla="*/ 115989 w 2039198"/>
                    <a:gd name="connsiteY116" fmla="*/ 429433 h 1686927"/>
                    <a:gd name="connsiteX117" fmla="*/ 115989 w 2039198"/>
                    <a:gd name="connsiteY117" fmla="*/ 429433 h 1686927"/>
                    <a:gd name="connsiteX118" fmla="*/ 115989 w 2039198"/>
                    <a:gd name="connsiteY118" fmla="*/ 429433 h 1686927"/>
                    <a:gd name="connsiteX119" fmla="*/ 115989 w 2039198"/>
                    <a:gd name="connsiteY119" fmla="*/ 429433 h 1686927"/>
                    <a:gd name="connsiteX120" fmla="*/ 115989 w 2039198"/>
                    <a:gd name="connsiteY120" fmla="*/ 429433 h 1686927"/>
                    <a:gd name="connsiteX121" fmla="*/ 115989 w 2039198"/>
                    <a:gd name="connsiteY121" fmla="*/ 429433 h 1686927"/>
                    <a:gd name="connsiteX122" fmla="*/ 115989 w 2039198"/>
                    <a:gd name="connsiteY122" fmla="*/ 429433 h 1686927"/>
                    <a:gd name="connsiteX123" fmla="*/ 115989 w 2039198"/>
                    <a:gd name="connsiteY123" fmla="*/ 429433 h 1686927"/>
                    <a:gd name="connsiteX124" fmla="*/ 115989 w 2039198"/>
                    <a:gd name="connsiteY124" fmla="*/ 429433 h 1686927"/>
                    <a:gd name="connsiteX125" fmla="*/ 115989 w 2039198"/>
                    <a:gd name="connsiteY125" fmla="*/ 429433 h 1686927"/>
                    <a:gd name="connsiteX126" fmla="*/ 115989 w 2039198"/>
                    <a:gd name="connsiteY126" fmla="*/ 429433 h 1686927"/>
                    <a:gd name="connsiteX127" fmla="*/ 126834 w 2039198"/>
                    <a:gd name="connsiteY127" fmla="*/ 429996 h 1686927"/>
                    <a:gd name="connsiteX128" fmla="*/ 132216 w 2039198"/>
                    <a:gd name="connsiteY128" fmla="*/ 424212 h 1686927"/>
                    <a:gd name="connsiteX129" fmla="*/ 136553 w 2039198"/>
                    <a:gd name="connsiteY129" fmla="*/ 420517 h 1686927"/>
                    <a:gd name="connsiteX130" fmla="*/ 142096 w 2039198"/>
                    <a:gd name="connsiteY130" fmla="*/ 416179 h 1686927"/>
                    <a:gd name="connsiteX131" fmla="*/ 189811 w 2039198"/>
                    <a:gd name="connsiteY131" fmla="*/ 406379 h 1686927"/>
                    <a:gd name="connsiteX132" fmla="*/ 190293 w 2039198"/>
                    <a:gd name="connsiteY132" fmla="*/ 406058 h 1686927"/>
                    <a:gd name="connsiteX133" fmla="*/ 188365 w 2039198"/>
                    <a:gd name="connsiteY133" fmla="*/ 383566 h 1686927"/>
                    <a:gd name="connsiteX134" fmla="*/ 177199 w 2039198"/>
                    <a:gd name="connsiteY134" fmla="*/ 392161 h 1686927"/>
                    <a:gd name="connsiteX135" fmla="*/ 159768 w 2039198"/>
                    <a:gd name="connsiteY135" fmla="*/ 414974 h 1686927"/>
                    <a:gd name="connsiteX136" fmla="*/ 171416 w 2039198"/>
                    <a:gd name="connsiteY136" fmla="*/ 418669 h 1686927"/>
                    <a:gd name="connsiteX137" fmla="*/ 184991 w 2039198"/>
                    <a:gd name="connsiteY137" fmla="*/ 409191 h 1686927"/>
                    <a:gd name="connsiteX138" fmla="*/ 186678 w 2039198"/>
                    <a:gd name="connsiteY138" fmla="*/ 407343 h 1686927"/>
                    <a:gd name="connsiteX139" fmla="*/ 189811 w 2039198"/>
                    <a:gd name="connsiteY139" fmla="*/ 406379 h 1686927"/>
                    <a:gd name="connsiteX140" fmla="*/ 177119 w 2039198"/>
                    <a:gd name="connsiteY140" fmla="*/ 368705 h 1686927"/>
                    <a:gd name="connsiteX141" fmla="*/ 177761 w 2039198"/>
                    <a:gd name="connsiteY141" fmla="*/ 368464 h 1686927"/>
                    <a:gd name="connsiteX142" fmla="*/ 177761 w 2039198"/>
                    <a:gd name="connsiteY142" fmla="*/ 368464 h 1686927"/>
                    <a:gd name="connsiteX143" fmla="*/ 166596 w 2039198"/>
                    <a:gd name="connsiteY143" fmla="*/ 373284 h 1686927"/>
                    <a:gd name="connsiteX144" fmla="*/ 166676 w 2039198"/>
                    <a:gd name="connsiteY144" fmla="*/ 373204 h 1686927"/>
                    <a:gd name="connsiteX145" fmla="*/ 177119 w 2039198"/>
                    <a:gd name="connsiteY145" fmla="*/ 368705 h 1686927"/>
                    <a:gd name="connsiteX146" fmla="*/ 1093259 w 2039198"/>
                    <a:gd name="connsiteY146" fmla="*/ 18556 h 1686927"/>
                    <a:gd name="connsiteX147" fmla="*/ 1092617 w 2039198"/>
                    <a:gd name="connsiteY147" fmla="*/ 18395 h 1686927"/>
                    <a:gd name="connsiteX148" fmla="*/ 1092617 w 2039198"/>
                    <a:gd name="connsiteY148" fmla="*/ 18395 h 1686927"/>
                    <a:gd name="connsiteX149" fmla="*/ 1093420 w 2039198"/>
                    <a:gd name="connsiteY149" fmla="*/ 18556 h 1686927"/>
                    <a:gd name="connsiteX150" fmla="*/ 1093259 w 2039198"/>
                    <a:gd name="connsiteY150" fmla="*/ 18556 h 1686927"/>
                    <a:gd name="connsiteX151" fmla="*/ 40320 w 2039198"/>
                    <a:gd name="connsiteY151" fmla="*/ 465099 h 1686927"/>
                    <a:gd name="connsiteX152" fmla="*/ 38553 w 2039198"/>
                    <a:gd name="connsiteY152" fmla="*/ 465581 h 1686927"/>
                    <a:gd name="connsiteX153" fmla="*/ 40320 w 2039198"/>
                    <a:gd name="connsiteY153" fmla="*/ 461484 h 1686927"/>
                    <a:gd name="connsiteX154" fmla="*/ 40320 w 2039198"/>
                    <a:gd name="connsiteY154" fmla="*/ 465099 h 1686927"/>
                    <a:gd name="connsiteX155" fmla="*/ 54297 w 2039198"/>
                    <a:gd name="connsiteY155" fmla="*/ 477068 h 1686927"/>
                    <a:gd name="connsiteX156" fmla="*/ 119122 w 2039198"/>
                    <a:gd name="connsiteY156" fmla="*/ 363645 h 1686927"/>
                    <a:gd name="connsiteX157" fmla="*/ 81127 w 2039198"/>
                    <a:gd name="connsiteY157" fmla="*/ 402604 h 1686927"/>
                    <a:gd name="connsiteX158" fmla="*/ 102012 w 2039198"/>
                    <a:gd name="connsiteY158" fmla="*/ 364930 h 1686927"/>
                    <a:gd name="connsiteX159" fmla="*/ 84902 w 2039198"/>
                    <a:gd name="connsiteY159" fmla="*/ 377060 h 1686927"/>
                    <a:gd name="connsiteX160" fmla="*/ 79440 w 2039198"/>
                    <a:gd name="connsiteY160" fmla="*/ 379710 h 1686927"/>
                    <a:gd name="connsiteX161" fmla="*/ 91971 w 2039198"/>
                    <a:gd name="connsiteY161" fmla="*/ 361476 h 1686927"/>
                    <a:gd name="connsiteX162" fmla="*/ 83858 w 2039198"/>
                    <a:gd name="connsiteY162" fmla="*/ 362841 h 1686927"/>
                    <a:gd name="connsiteX163" fmla="*/ 104342 w 2039198"/>
                    <a:gd name="connsiteY163" fmla="*/ 344045 h 1686927"/>
                    <a:gd name="connsiteX164" fmla="*/ 84340 w 2039198"/>
                    <a:gd name="connsiteY164" fmla="*/ 348784 h 1686927"/>
                    <a:gd name="connsiteX165" fmla="*/ 124665 w 2039198"/>
                    <a:gd name="connsiteY165" fmla="*/ 309664 h 1686927"/>
                    <a:gd name="connsiteX166" fmla="*/ 123701 w 2039198"/>
                    <a:gd name="connsiteY166" fmla="*/ 309182 h 1686927"/>
                    <a:gd name="connsiteX167" fmla="*/ 122496 w 2039198"/>
                    <a:gd name="connsiteY167" fmla="*/ 309584 h 1686927"/>
                    <a:gd name="connsiteX168" fmla="*/ 133902 w 2039198"/>
                    <a:gd name="connsiteY168" fmla="*/ 290386 h 1686927"/>
                    <a:gd name="connsiteX169" fmla="*/ 127797 w 2039198"/>
                    <a:gd name="connsiteY169" fmla="*/ 288779 h 1686927"/>
                    <a:gd name="connsiteX170" fmla="*/ 56948 w 2039198"/>
                    <a:gd name="connsiteY170" fmla="*/ 338422 h 1686927"/>
                    <a:gd name="connsiteX171" fmla="*/ 47068 w 2039198"/>
                    <a:gd name="connsiteY171" fmla="*/ 355933 h 1686927"/>
                    <a:gd name="connsiteX172" fmla="*/ 72933 w 2039198"/>
                    <a:gd name="connsiteY172" fmla="*/ 355371 h 1686927"/>
                    <a:gd name="connsiteX173" fmla="*/ 50763 w 2039198"/>
                    <a:gd name="connsiteY173" fmla="*/ 375453 h 1686927"/>
                    <a:gd name="connsiteX174" fmla="*/ 50763 w 2039198"/>
                    <a:gd name="connsiteY174" fmla="*/ 375453 h 1686927"/>
                    <a:gd name="connsiteX175" fmla="*/ 50763 w 2039198"/>
                    <a:gd name="connsiteY175" fmla="*/ 375453 h 1686927"/>
                    <a:gd name="connsiteX176" fmla="*/ 50763 w 2039198"/>
                    <a:gd name="connsiteY176" fmla="*/ 375453 h 1686927"/>
                    <a:gd name="connsiteX177" fmla="*/ 50763 w 2039198"/>
                    <a:gd name="connsiteY177" fmla="*/ 375453 h 1686927"/>
                    <a:gd name="connsiteX178" fmla="*/ 50763 w 2039198"/>
                    <a:gd name="connsiteY178" fmla="*/ 375453 h 1686927"/>
                    <a:gd name="connsiteX179" fmla="*/ 50763 w 2039198"/>
                    <a:gd name="connsiteY179" fmla="*/ 375453 h 1686927"/>
                    <a:gd name="connsiteX180" fmla="*/ 50763 w 2039198"/>
                    <a:gd name="connsiteY180" fmla="*/ 375453 h 1686927"/>
                    <a:gd name="connsiteX181" fmla="*/ 50763 w 2039198"/>
                    <a:gd name="connsiteY181" fmla="*/ 375453 h 1686927"/>
                    <a:gd name="connsiteX182" fmla="*/ 41204 w 2039198"/>
                    <a:gd name="connsiteY182" fmla="*/ 389591 h 1686927"/>
                    <a:gd name="connsiteX183" fmla="*/ 28432 w 2039198"/>
                    <a:gd name="connsiteY183" fmla="*/ 428309 h 1686927"/>
                    <a:gd name="connsiteX184" fmla="*/ 11965 w 2039198"/>
                    <a:gd name="connsiteY184" fmla="*/ 414010 h 1686927"/>
                    <a:gd name="connsiteX185" fmla="*/ 32930 w 2039198"/>
                    <a:gd name="connsiteY185" fmla="*/ 482691 h 1686927"/>
                    <a:gd name="connsiteX186" fmla="*/ 54860 w 2039198"/>
                    <a:gd name="connsiteY186" fmla="*/ 472007 h 1686927"/>
                    <a:gd name="connsiteX187" fmla="*/ 52530 w 2039198"/>
                    <a:gd name="connsiteY187" fmla="*/ 476425 h 1686927"/>
                    <a:gd name="connsiteX188" fmla="*/ 53253 w 2039198"/>
                    <a:gd name="connsiteY188" fmla="*/ 477148 h 1686927"/>
                    <a:gd name="connsiteX189" fmla="*/ 54297 w 2039198"/>
                    <a:gd name="connsiteY189" fmla="*/ 477068 h 1686927"/>
                    <a:gd name="connsiteX190" fmla="*/ 204029 w 2039198"/>
                    <a:gd name="connsiteY190" fmla="*/ 360994 h 1686927"/>
                    <a:gd name="connsiteX191" fmla="*/ 204029 w 2039198"/>
                    <a:gd name="connsiteY191" fmla="*/ 360994 h 1686927"/>
                    <a:gd name="connsiteX192" fmla="*/ 201378 w 2039198"/>
                    <a:gd name="connsiteY192" fmla="*/ 360673 h 1686927"/>
                    <a:gd name="connsiteX193" fmla="*/ 204029 w 2039198"/>
                    <a:gd name="connsiteY193" fmla="*/ 360994 h 1686927"/>
                    <a:gd name="connsiteX194" fmla="*/ 195112 w 2039198"/>
                    <a:gd name="connsiteY194" fmla="*/ 356897 h 1686927"/>
                    <a:gd name="connsiteX195" fmla="*/ 196398 w 2039198"/>
                    <a:gd name="connsiteY195" fmla="*/ 354969 h 1686927"/>
                    <a:gd name="connsiteX196" fmla="*/ 196157 w 2039198"/>
                    <a:gd name="connsiteY196" fmla="*/ 355050 h 1686927"/>
                    <a:gd name="connsiteX197" fmla="*/ 190373 w 2039198"/>
                    <a:gd name="connsiteY197" fmla="*/ 359146 h 1686927"/>
                    <a:gd name="connsiteX198" fmla="*/ 193586 w 2039198"/>
                    <a:gd name="connsiteY198" fmla="*/ 358022 h 1686927"/>
                    <a:gd name="connsiteX199" fmla="*/ 195112 w 2039198"/>
                    <a:gd name="connsiteY199" fmla="*/ 356897 h 1686927"/>
                    <a:gd name="connsiteX200" fmla="*/ 241140 w 2039198"/>
                    <a:gd name="connsiteY200" fmla="*/ 370151 h 1686927"/>
                    <a:gd name="connsiteX201" fmla="*/ 241140 w 2039198"/>
                    <a:gd name="connsiteY201" fmla="*/ 370151 h 1686927"/>
                    <a:gd name="connsiteX202" fmla="*/ 241140 w 2039198"/>
                    <a:gd name="connsiteY202" fmla="*/ 370151 h 1686927"/>
                    <a:gd name="connsiteX203" fmla="*/ 241140 w 2039198"/>
                    <a:gd name="connsiteY203" fmla="*/ 370151 h 1686927"/>
                    <a:gd name="connsiteX204" fmla="*/ 241140 w 2039198"/>
                    <a:gd name="connsiteY204" fmla="*/ 370151 h 1686927"/>
                    <a:gd name="connsiteX205" fmla="*/ 189971 w 2039198"/>
                    <a:gd name="connsiteY205" fmla="*/ 324525 h 1686927"/>
                    <a:gd name="connsiteX206" fmla="*/ 192542 w 2039198"/>
                    <a:gd name="connsiteY206" fmla="*/ 318581 h 1686927"/>
                    <a:gd name="connsiteX207" fmla="*/ 192381 w 2039198"/>
                    <a:gd name="connsiteY207" fmla="*/ 318902 h 1686927"/>
                    <a:gd name="connsiteX208" fmla="*/ 189971 w 2039198"/>
                    <a:gd name="connsiteY208" fmla="*/ 324525 h 1686927"/>
                    <a:gd name="connsiteX209" fmla="*/ 222103 w 2039198"/>
                    <a:gd name="connsiteY209" fmla="*/ 355933 h 1686927"/>
                    <a:gd name="connsiteX210" fmla="*/ 239453 w 2039198"/>
                    <a:gd name="connsiteY210" fmla="*/ 334405 h 1686927"/>
                    <a:gd name="connsiteX211" fmla="*/ 238409 w 2039198"/>
                    <a:gd name="connsiteY211" fmla="*/ 334004 h 1686927"/>
                    <a:gd name="connsiteX212" fmla="*/ 227565 w 2039198"/>
                    <a:gd name="connsiteY212" fmla="*/ 336655 h 1686927"/>
                    <a:gd name="connsiteX213" fmla="*/ 210535 w 2039198"/>
                    <a:gd name="connsiteY213" fmla="*/ 348945 h 1686927"/>
                    <a:gd name="connsiteX214" fmla="*/ 211901 w 2039198"/>
                    <a:gd name="connsiteY214" fmla="*/ 348222 h 1686927"/>
                    <a:gd name="connsiteX215" fmla="*/ 217524 w 2039198"/>
                    <a:gd name="connsiteY215" fmla="*/ 353684 h 1686927"/>
                    <a:gd name="connsiteX216" fmla="*/ 222103 w 2039198"/>
                    <a:gd name="connsiteY216" fmla="*/ 355933 h 1686927"/>
                    <a:gd name="connsiteX217" fmla="*/ 231180 w 2039198"/>
                    <a:gd name="connsiteY217" fmla="*/ 331353 h 1686927"/>
                    <a:gd name="connsiteX218" fmla="*/ 233830 w 2039198"/>
                    <a:gd name="connsiteY218" fmla="*/ 327015 h 1686927"/>
                    <a:gd name="connsiteX219" fmla="*/ 232866 w 2039198"/>
                    <a:gd name="connsiteY219" fmla="*/ 327497 h 1686927"/>
                    <a:gd name="connsiteX220" fmla="*/ 223709 w 2039198"/>
                    <a:gd name="connsiteY220" fmla="*/ 332799 h 1686927"/>
                    <a:gd name="connsiteX221" fmla="*/ 229091 w 2039198"/>
                    <a:gd name="connsiteY221" fmla="*/ 331353 h 1686927"/>
                    <a:gd name="connsiteX222" fmla="*/ 229091 w 2039198"/>
                    <a:gd name="connsiteY222" fmla="*/ 331353 h 1686927"/>
                    <a:gd name="connsiteX223" fmla="*/ 229091 w 2039198"/>
                    <a:gd name="connsiteY223" fmla="*/ 331353 h 1686927"/>
                    <a:gd name="connsiteX224" fmla="*/ 229091 w 2039198"/>
                    <a:gd name="connsiteY224" fmla="*/ 331353 h 1686927"/>
                    <a:gd name="connsiteX225" fmla="*/ 229091 w 2039198"/>
                    <a:gd name="connsiteY225" fmla="*/ 331353 h 1686927"/>
                    <a:gd name="connsiteX226" fmla="*/ 229091 w 2039198"/>
                    <a:gd name="connsiteY226" fmla="*/ 331353 h 1686927"/>
                    <a:gd name="connsiteX227" fmla="*/ 229091 w 2039198"/>
                    <a:gd name="connsiteY227" fmla="*/ 331353 h 1686927"/>
                    <a:gd name="connsiteX228" fmla="*/ 229091 w 2039198"/>
                    <a:gd name="connsiteY228" fmla="*/ 331353 h 1686927"/>
                    <a:gd name="connsiteX229" fmla="*/ 229091 w 2039198"/>
                    <a:gd name="connsiteY229" fmla="*/ 331353 h 1686927"/>
                    <a:gd name="connsiteX230" fmla="*/ 231180 w 2039198"/>
                    <a:gd name="connsiteY230" fmla="*/ 331353 h 1686927"/>
                    <a:gd name="connsiteX231" fmla="*/ 249494 w 2039198"/>
                    <a:gd name="connsiteY231" fmla="*/ 324043 h 1686927"/>
                    <a:gd name="connsiteX232" fmla="*/ 249494 w 2039198"/>
                    <a:gd name="connsiteY232" fmla="*/ 324043 h 1686927"/>
                    <a:gd name="connsiteX233" fmla="*/ 247325 w 2039198"/>
                    <a:gd name="connsiteY233" fmla="*/ 323722 h 1686927"/>
                    <a:gd name="connsiteX234" fmla="*/ 248611 w 2039198"/>
                    <a:gd name="connsiteY234" fmla="*/ 323883 h 1686927"/>
                    <a:gd name="connsiteX235" fmla="*/ 249494 w 2039198"/>
                    <a:gd name="connsiteY235" fmla="*/ 324043 h 1686927"/>
                    <a:gd name="connsiteX236" fmla="*/ 184188 w 2039198"/>
                    <a:gd name="connsiteY236" fmla="*/ 262753 h 1686927"/>
                    <a:gd name="connsiteX237" fmla="*/ 187080 w 2039198"/>
                    <a:gd name="connsiteY237" fmla="*/ 260825 h 1686927"/>
                    <a:gd name="connsiteX238" fmla="*/ 186919 w 2039198"/>
                    <a:gd name="connsiteY238" fmla="*/ 260905 h 1686927"/>
                    <a:gd name="connsiteX239" fmla="*/ 180653 w 2039198"/>
                    <a:gd name="connsiteY239" fmla="*/ 264038 h 1686927"/>
                    <a:gd name="connsiteX240" fmla="*/ 180412 w 2039198"/>
                    <a:gd name="connsiteY240" fmla="*/ 264681 h 1686927"/>
                    <a:gd name="connsiteX241" fmla="*/ 184188 w 2039198"/>
                    <a:gd name="connsiteY241" fmla="*/ 262753 h 1686927"/>
                    <a:gd name="connsiteX242" fmla="*/ 194952 w 2039198"/>
                    <a:gd name="connsiteY242" fmla="*/ 266207 h 1686927"/>
                    <a:gd name="connsiteX243" fmla="*/ 196157 w 2039198"/>
                    <a:gd name="connsiteY243" fmla="*/ 265725 h 1686927"/>
                    <a:gd name="connsiteX244" fmla="*/ 194871 w 2039198"/>
                    <a:gd name="connsiteY244" fmla="*/ 266287 h 1686927"/>
                    <a:gd name="connsiteX245" fmla="*/ 176155 w 2039198"/>
                    <a:gd name="connsiteY245" fmla="*/ 274240 h 1686927"/>
                    <a:gd name="connsiteX246" fmla="*/ 194952 w 2039198"/>
                    <a:gd name="connsiteY246" fmla="*/ 266207 h 1686927"/>
                    <a:gd name="connsiteX247" fmla="*/ 338257 w 2039198"/>
                    <a:gd name="connsiteY247" fmla="*/ 343081 h 1686927"/>
                    <a:gd name="connsiteX248" fmla="*/ 341550 w 2039198"/>
                    <a:gd name="connsiteY248" fmla="*/ 338823 h 1686927"/>
                    <a:gd name="connsiteX249" fmla="*/ 340908 w 2039198"/>
                    <a:gd name="connsiteY249" fmla="*/ 339145 h 1686927"/>
                    <a:gd name="connsiteX250" fmla="*/ 331268 w 2039198"/>
                    <a:gd name="connsiteY250" fmla="*/ 347660 h 1686927"/>
                    <a:gd name="connsiteX251" fmla="*/ 333678 w 2039198"/>
                    <a:gd name="connsiteY251" fmla="*/ 347820 h 1686927"/>
                    <a:gd name="connsiteX252" fmla="*/ 338257 w 2039198"/>
                    <a:gd name="connsiteY252" fmla="*/ 343081 h 1686927"/>
                    <a:gd name="connsiteX253" fmla="*/ 222825 w 2039198"/>
                    <a:gd name="connsiteY253" fmla="*/ 306210 h 1686927"/>
                    <a:gd name="connsiteX254" fmla="*/ 230698 w 2039198"/>
                    <a:gd name="connsiteY254" fmla="*/ 298338 h 1686927"/>
                    <a:gd name="connsiteX255" fmla="*/ 229573 w 2039198"/>
                    <a:gd name="connsiteY255" fmla="*/ 294241 h 1686927"/>
                    <a:gd name="connsiteX256" fmla="*/ 220496 w 2039198"/>
                    <a:gd name="connsiteY256" fmla="*/ 301150 h 1686927"/>
                    <a:gd name="connsiteX257" fmla="*/ 212383 w 2039198"/>
                    <a:gd name="connsiteY257" fmla="*/ 309182 h 1686927"/>
                    <a:gd name="connsiteX258" fmla="*/ 222825 w 2039198"/>
                    <a:gd name="connsiteY258" fmla="*/ 306210 h 1686927"/>
                    <a:gd name="connsiteX259" fmla="*/ 230537 w 2039198"/>
                    <a:gd name="connsiteY259" fmla="*/ 323481 h 1686927"/>
                    <a:gd name="connsiteX260" fmla="*/ 258089 w 2039198"/>
                    <a:gd name="connsiteY260" fmla="*/ 292876 h 1686927"/>
                    <a:gd name="connsiteX261" fmla="*/ 257366 w 2039198"/>
                    <a:gd name="connsiteY261" fmla="*/ 293518 h 1686927"/>
                    <a:gd name="connsiteX262" fmla="*/ 252868 w 2039198"/>
                    <a:gd name="connsiteY262" fmla="*/ 297696 h 1686927"/>
                    <a:gd name="connsiteX263" fmla="*/ 238811 w 2039198"/>
                    <a:gd name="connsiteY263" fmla="*/ 305969 h 1686927"/>
                    <a:gd name="connsiteX264" fmla="*/ 237847 w 2039198"/>
                    <a:gd name="connsiteY264" fmla="*/ 297294 h 1686927"/>
                    <a:gd name="connsiteX265" fmla="*/ 221139 w 2039198"/>
                    <a:gd name="connsiteY265" fmla="*/ 313199 h 1686927"/>
                    <a:gd name="connsiteX266" fmla="*/ 210696 w 2039198"/>
                    <a:gd name="connsiteY266" fmla="*/ 314805 h 1686927"/>
                    <a:gd name="connsiteX267" fmla="*/ 224111 w 2039198"/>
                    <a:gd name="connsiteY267" fmla="*/ 319946 h 1686927"/>
                    <a:gd name="connsiteX268" fmla="*/ 200976 w 2039198"/>
                    <a:gd name="connsiteY268" fmla="*/ 336092 h 1686927"/>
                    <a:gd name="connsiteX269" fmla="*/ 211821 w 2039198"/>
                    <a:gd name="connsiteY269" fmla="*/ 336976 h 1686927"/>
                    <a:gd name="connsiteX270" fmla="*/ 211419 w 2039198"/>
                    <a:gd name="connsiteY270" fmla="*/ 338823 h 1686927"/>
                    <a:gd name="connsiteX271" fmla="*/ 230537 w 2039198"/>
                    <a:gd name="connsiteY271" fmla="*/ 323481 h 1686927"/>
                    <a:gd name="connsiteX272" fmla="*/ 233750 w 2039198"/>
                    <a:gd name="connsiteY272" fmla="*/ 290627 h 1686927"/>
                    <a:gd name="connsiteX273" fmla="*/ 234634 w 2039198"/>
                    <a:gd name="connsiteY273" fmla="*/ 289904 h 1686927"/>
                    <a:gd name="connsiteX274" fmla="*/ 237204 w 2039198"/>
                    <a:gd name="connsiteY274" fmla="*/ 287735 h 1686927"/>
                    <a:gd name="connsiteX275" fmla="*/ 243470 w 2039198"/>
                    <a:gd name="connsiteY275" fmla="*/ 282433 h 1686927"/>
                    <a:gd name="connsiteX276" fmla="*/ 241060 w 2039198"/>
                    <a:gd name="connsiteY276" fmla="*/ 283960 h 1686927"/>
                    <a:gd name="connsiteX277" fmla="*/ 233750 w 2039198"/>
                    <a:gd name="connsiteY277" fmla="*/ 290627 h 1686927"/>
                    <a:gd name="connsiteX278" fmla="*/ 233750 w 2039198"/>
                    <a:gd name="connsiteY278" fmla="*/ 290627 h 1686927"/>
                    <a:gd name="connsiteX279" fmla="*/ 297209 w 2039198"/>
                    <a:gd name="connsiteY279" fmla="*/ 307576 h 1686927"/>
                    <a:gd name="connsiteX280" fmla="*/ 297530 w 2039198"/>
                    <a:gd name="connsiteY280" fmla="*/ 307576 h 1686927"/>
                    <a:gd name="connsiteX281" fmla="*/ 297370 w 2039198"/>
                    <a:gd name="connsiteY281" fmla="*/ 307576 h 1686927"/>
                    <a:gd name="connsiteX282" fmla="*/ 295121 w 2039198"/>
                    <a:gd name="connsiteY282" fmla="*/ 307255 h 1686927"/>
                    <a:gd name="connsiteX283" fmla="*/ 297209 w 2039198"/>
                    <a:gd name="connsiteY283" fmla="*/ 307576 h 1686927"/>
                    <a:gd name="connsiteX284" fmla="*/ 257688 w 2039198"/>
                    <a:gd name="connsiteY284" fmla="*/ 287253 h 1686927"/>
                    <a:gd name="connsiteX285" fmla="*/ 258491 w 2039198"/>
                    <a:gd name="connsiteY285" fmla="*/ 286932 h 1686927"/>
                    <a:gd name="connsiteX286" fmla="*/ 257527 w 2039198"/>
                    <a:gd name="connsiteY286" fmla="*/ 285968 h 1686927"/>
                    <a:gd name="connsiteX287" fmla="*/ 249173 w 2039198"/>
                    <a:gd name="connsiteY287" fmla="*/ 288136 h 1686927"/>
                    <a:gd name="connsiteX288" fmla="*/ 257688 w 2039198"/>
                    <a:gd name="connsiteY288" fmla="*/ 287253 h 1686927"/>
                    <a:gd name="connsiteX289" fmla="*/ 802392 w 2039198"/>
                    <a:gd name="connsiteY289" fmla="*/ 292313 h 1686927"/>
                    <a:gd name="connsiteX290" fmla="*/ 802231 w 2039198"/>
                    <a:gd name="connsiteY290" fmla="*/ 292233 h 1686927"/>
                    <a:gd name="connsiteX291" fmla="*/ 802231 w 2039198"/>
                    <a:gd name="connsiteY291" fmla="*/ 292233 h 1686927"/>
                    <a:gd name="connsiteX292" fmla="*/ 802392 w 2039198"/>
                    <a:gd name="connsiteY292" fmla="*/ 292474 h 1686927"/>
                    <a:gd name="connsiteX293" fmla="*/ 802392 w 2039198"/>
                    <a:gd name="connsiteY293" fmla="*/ 292313 h 1686927"/>
                    <a:gd name="connsiteX294" fmla="*/ 198406 w 2039198"/>
                    <a:gd name="connsiteY294" fmla="*/ 308700 h 1686927"/>
                    <a:gd name="connsiteX295" fmla="*/ 202904 w 2039198"/>
                    <a:gd name="connsiteY295" fmla="*/ 305648 h 1686927"/>
                    <a:gd name="connsiteX296" fmla="*/ 199048 w 2039198"/>
                    <a:gd name="connsiteY296" fmla="*/ 303238 h 1686927"/>
                    <a:gd name="connsiteX297" fmla="*/ 205635 w 2039198"/>
                    <a:gd name="connsiteY297" fmla="*/ 296491 h 1686927"/>
                    <a:gd name="connsiteX298" fmla="*/ 205314 w 2039198"/>
                    <a:gd name="connsiteY298" fmla="*/ 296089 h 1686927"/>
                    <a:gd name="connsiteX299" fmla="*/ 200896 w 2039198"/>
                    <a:gd name="connsiteY299" fmla="*/ 297133 h 1686927"/>
                    <a:gd name="connsiteX300" fmla="*/ 239052 w 2039198"/>
                    <a:gd name="connsiteY300" fmla="*/ 266689 h 1686927"/>
                    <a:gd name="connsiteX301" fmla="*/ 231421 w 2039198"/>
                    <a:gd name="connsiteY301" fmla="*/ 271830 h 1686927"/>
                    <a:gd name="connsiteX302" fmla="*/ 187963 w 2039198"/>
                    <a:gd name="connsiteY302" fmla="*/ 302756 h 1686927"/>
                    <a:gd name="connsiteX303" fmla="*/ 212222 w 2039198"/>
                    <a:gd name="connsiteY303" fmla="*/ 262672 h 1686927"/>
                    <a:gd name="connsiteX304" fmla="*/ 202261 w 2039198"/>
                    <a:gd name="connsiteY304" fmla="*/ 270625 h 1686927"/>
                    <a:gd name="connsiteX305" fmla="*/ 191176 w 2039198"/>
                    <a:gd name="connsiteY305" fmla="*/ 277453 h 1686927"/>
                    <a:gd name="connsiteX306" fmla="*/ 179770 w 2039198"/>
                    <a:gd name="connsiteY306" fmla="*/ 278497 h 1686927"/>
                    <a:gd name="connsiteX307" fmla="*/ 183625 w 2039198"/>
                    <a:gd name="connsiteY307" fmla="*/ 282112 h 1686927"/>
                    <a:gd name="connsiteX308" fmla="*/ 160411 w 2039198"/>
                    <a:gd name="connsiteY308" fmla="*/ 295928 h 1686927"/>
                    <a:gd name="connsiteX309" fmla="*/ 175191 w 2039198"/>
                    <a:gd name="connsiteY309" fmla="*/ 292153 h 1686927"/>
                    <a:gd name="connsiteX310" fmla="*/ 173584 w 2039198"/>
                    <a:gd name="connsiteY310" fmla="*/ 293920 h 1686927"/>
                    <a:gd name="connsiteX311" fmla="*/ 173986 w 2039198"/>
                    <a:gd name="connsiteY311" fmla="*/ 294322 h 1686927"/>
                    <a:gd name="connsiteX312" fmla="*/ 175352 w 2039198"/>
                    <a:gd name="connsiteY312" fmla="*/ 294081 h 1686927"/>
                    <a:gd name="connsiteX313" fmla="*/ 166917 w 2039198"/>
                    <a:gd name="connsiteY313" fmla="*/ 305246 h 1686927"/>
                    <a:gd name="connsiteX314" fmla="*/ 173102 w 2039198"/>
                    <a:gd name="connsiteY314" fmla="*/ 305407 h 1686927"/>
                    <a:gd name="connsiteX315" fmla="*/ 147397 w 2039198"/>
                    <a:gd name="connsiteY315" fmla="*/ 311110 h 1686927"/>
                    <a:gd name="connsiteX316" fmla="*/ 146675 w 2039198"/>
                    <a:gd name="connsiteY316" fmla="*/ 320830 h 1686927"/>
                    <a:gd name="connsiteX317" fmla="*/ 172299 w 2039198"/>
                    <a:gd name="connsiteY317" fmla="*/ 315368 h 1686927"/>
                    <a:gd name="connsiteX318" fmla="*/ 169970 w 2039198"/>
                    <a:gd name="connsiteY318" fmla="*/ 317617 h 1686927"/>
                    <a:gd name="connsiteX319" fmla="*/ 198406 w 2039198"/>
                    <a:gd name="connsiteY319" fmla="*/ 308700 h 1686927"/>
                    <a:gd name="connsiteX320" fmla="*/ 232786 w 2039198"/>
                    <a:gd name="connsiteY320" fmla="*/ 253515 h 1686927"/>
                    <a:gd name="connsiteX321" fmla="*/ 233268 w 2039198"/>
                    <a:gd name="connsiteY321" fmla="*/ 253274 h 1686927"/>
                    <a:gd name="connsiteX322" fmla="*/ 233107 w 2039198"/>
                    <a:gd name="connsiteY322" fmla="*/ 253354 h 1686927"/>
                    <a:gd name="connsiteX323" fmla="*/ 225958 w 2039198"/>
                    <a:gd name="connsiteY323" fmla="*/ 256487 h 1686927"/>
                    <a:gd name="connsiteX324" fmla="*/ 232786 w 2039198"/>
                    <a:gd name="connsiteY324" fmla="*/ 253515 h 1686927"/>
                    <a:gd name="connsiteX325" fmla="*/ 1138886 w 2039198"/>
                    <a:gd name="connsiteY325" fmla="*/ 67556 h 1686927"/>
                    <a:gd name="connsiteX326" fmla="*/ 1131335 w 2039198"/>
                    <a:gd name="connsiteY326" fmla="*/ 65708 h 1686927"/>
                    <a:gd name="connsiteX327" fmla="*/ 1133102 w 2039198"/>
                    <a:gd name="connsiteY327" fmla="*/ 68038 h 1686927"/>
                    <a:gd name="connsiteX328" fmla="*/ 1169892 w 2039198"/>
                    <a:gd name="connsiteY328" fmla="*/ 88361 h 1686927"/>
                    <a:gd name="connsiteX329" fmla="*/ 1220901 w 2039198"/>
                    <a:gd name="connsiteY329" fmla="*/ 116958 h 1686927"/>
                    <a:gd name="connsiteX330" fmla="*/ 1246445 w 2039198"/>
                    <a:gd name="connsiteY330" fmla="*/ 125794 h 1686927"/>
                    <a:gd name="connsiteX331" fmla="*/ 1248453 w 2039198"/>
                    <a:gd name="connsiteY331" fmla="*/ 125633 h 1686927"/>
                    <a:gd name="connsiteX332" fmla="*/ 1292232 w 2039198"/>
                    <a:gd name="connsiteY332" fmla="*/ 147081 h 1686927"/>
                    <a:gd name="connsiteX333" fmla="*/ 1293276 w 2039198"/>
                    <a:gd name="connsiteY333" fmla="*/ 146117 h 1686927"/>
                    <a:gd name="connsiteX334" fmla="*/ 1358824 w 2039198"/>
                    <a:gd name="connsiteY334" fmla="*/ 180577 h 1686927"/>
                    <a:gd name="connsiteX335" fmla="*/ 1360189 w 2039198"/>
                    <a:gd name="connsiteY335" fmla="*/ 181220 h 1686927"/>
                    <a:gd name="connsiteX336" fmla="*/ 1372720 w 2039198"/>
                    <a:gd name="connsiteY336" fmla="*/ 185718 h 1686927"/>
                    <a:gd name="connsiteX337" fmla="*/ 1372319 w 2039198"/>
                    <a:gd name="connsiteY337" fmla="*/ 185076 h 1686927"/>
                    <a:gd name="connsiteX338" fmla="*/ 1358904 w 2039198"/>
                    <a:gd name="connsiteY338" fmla="*/ 180497 h 1686927"/>
                    <a:gd name="connsiteX339" fmla="*/ 1367820 w 2039198"/>
                    <a:gd name="connsiteY339" fmla="*/ 179212 h 1686927"/>
                    <a:gd name="connsiteX340" fmla="*/ 1375853 w 2039198"/>
                    <a:gd name="connsiteY340" fmla="*/ 185718 h 1686927"/>
                    <a:gd name="connsiteX341" fmla="*/ 1382601 w 2039198"/>
                    <a:gd name="connsiteY341" fmla="*/ 183790 h 1686927"/>
                    <a:gd name="connsiteX342" fmla="*/ 1380673 w 2039198"/>
                    <a:gd name="connsiteY342" fmla="*/ 182746 h 1686927"/>
                    <a:gd name="connsiteX343" fmla="*/ 1385011 w 2039198"/>
                    <a:gd name="connsiteY343" fmla="*/ 178971 h 1686927"/>
                    <a:gd name="connsiteX344" fmla="*/ 1383806 w 2039198"/>
                    <a:gd name="connsiteY344" fmla="*/ 178248 h 1686927"/>
                    <a:gd name="connsiteX345" fmla="*/ 1385412 w 2039198"/>
                    <a:gd name="connsiteY345" fmla="*/ 178167 h 1686927"/>
                    <a:gd name="connsiteX346" fmla="*/ 1384368 w 2039198"/>
                    <a:gd name="connsiteY346" fmla="*/ 177364 h 1686927"/>
                    <a:gd name="connsiteX347" fmla="*/ 1295365 w 2039198"/>
                    <a:gd name="connsiteY347" fmla="*/ 142903 h 1686927"/>
                    <a:gd name="connsiteX348" fmla="*/ 1248212 w 2039198"/>
                    <a:gd name="connsiteY348" fmla="*/ 118162 h 1686927"/>
                    <a:gd name="connsiteX349" fmla="*/ 1247971 w 2039198"/>
                    <a:gd name="connsiteY349" fmla="*/ 116636 h 1686927"/>
                    <a:gd name="connsiteX350" fmla="*/ 1240099 w 2039198"/>
                    <a:gd name="connsiteY350" fmla="*/ 113584 h 1686927"/>
                    <a:gd name="connsiteX351" fmla="*/ 1242830 w 2039198"/>
                    <a:gd name="connsiteY351" fmla="*/ 113423 h 1686927"/>
                    <a:gd name="connsiteX352" fmla="*/ 1138886 w 2039198"/>
                    <a:gd name="connsiteY352" fmla="*/ 67556 h 1686927"/>
                    <a:gd name="connsiteX353" fmla="*/ 305644 w 2039198"/>
                    <a:gd name="connsiteY353" fmla="*/ 371919 h 1686927"/>
                    <a:gd name="connsiteX354" fmla="*/ 299539 w 2039198"/>
                    <a:gd name="connsiteY354" fmla="*/ 351114 h 1686927"/>
                    <a:gd name="connsiteX355" fmla="*/ 277930 w 2039198"/>
                    <a:gd name="connsiteY355" fmla="*/ 353443 h 1686927"/>
                    <a:gd name="connsiteX356" fmla="*/ 277047 w 2039198"/>
                    <a:gd name="connsiteY356" fmla="*/ 344446 h 1686927"/>
                    <a:gd name="connsiteX357" fmla="*/ 271504 w 2039198"/>
                    <a:gd name="connsiteY357" fmla="*/ 348141 h 1686927"/>
                    <a:gd name="connsiteX358" fmla="*/ 273191 w 2039198"/>
                    <a:gd name="connsiteY358" fmla="*/ 345009 h 1686927"/>
                    <a:gd name="connsiteX359" fmla="*/ 268693 w 2039198"/>
                    <a:gd name="connsiteY359" fmla="*/ 346214 h 1686927"/>
                    <a:gd name="connsiteX360" fmla="*/ 262588 w 2039198"/>
                    <a:gd name="connsiteY360" fmla="*/ 342117 h 1686927"/>
                    <a:gd name="connsiteX361" fmla="*/ 274958 w 2039198"/>
                    <a:gd name="connsiteY361" fmla="*/ 318822 h 1686927"/>
                    <a:gd name="connsiteX362" fmla="*/ 288775 w 2039198"/>
                    <a:gd name="connsiteY362" fmla="*/ 311512 h 1686927"/>
                    <a:gd name="connsiteX363" fmla="*/ 273271 w 2039198"/>
                    <a:gd name="connsiteY363" fmla="*/ 308058 h 1686927"/>
                    <a:gd name="connsiteX364" fmla="*/ 284116 w 2039198"/>
                    <a:gd name="connsiteY364" fmla="*/ 288217 h 1686927"/>
                    <a:gd name="connsiteX365" fmla="*/ 268693 w 2039198"/>
                    <a:gd name="connsiteY365" fmla="*/ 299463 h 1686927"/>
                    <a:gd name="connsiteX366" fmla="*/ 269416 w 2039198"/>
                    <a:gd name="connsiteY366" fmla="*/ 299945 h 1686927"/>
                    <a:gd name="connsiteX367" fmla="*/ 262186 w 2039198"/>
                    <a:gd name="connsiteY367" fmla="*/ 312797 h 1686927"/>
                    <a:gd name="connsiteX368" fmla="*/ 230296 w 2039198"/>
                    <a:gd name="connsiteY368" fmla="*/ 367019 h 1686927"/>
                    <a:gd name="connsiteX369" fmla="*/ 235035 w 2039198"/>
                    <a:gd name="connsiteY369" fmla="*/ 372320 h 1686927"/>
                    <a:gd name="connsiteX370" fmla="*/ 242747 w 2039198"/>
                    <a:gd name="connsiteY370" fmla="*/ 367179 h 1686927"/>
                    <a:gd name="connsiteX371" fmla="*/ 242988 w 2039198"/>
                    <a:gd name="connsiteY371" fmla="*/ 367661 h 1686927"/>
                    <a:gd name="connsiteX372" fmla="*/ 241301 w 2039198"/>
                    <a:gd name="connsiteY372" fmla="*/ 369991 h 1686927"/>
                    <a:gd name="connsiteX373" fmla="*/ 248611 w 2039198"/>
                    <a:gd name="connsiteY373" fmla="*/ 379951 h 1686927"/>
                    <a:gd name="connsiteX374" fmla="*/ 250057 w 2039198"/>
                    <a:gd name="connsiteY374" fmla="*/ 377783 h 1686927"/>
                    <a:gd name="connsiteX375" fmla="*/ 258973 w 2039198"/>
                    <a:gd name="connsiteY375" fmla="*/ 378586 h 1686927"/>
                    <a:gd name="connsiteX376" fmla="*/ 258411 w 2039198"/>
                    <a:gd name="connsiteY376" fmla="*/ 381156 h 1686927"/>
                    <a:gd name="connsiteX377" fmla="*/ 258812 w 2039198"/>
                    <a:gd name="connsiteY377" fmla="*/ 381478 h 1686927"/>
                    <a:gd name="connsiteX378" fmla="*/ 261785 w 2039198"/>
                    <a:gd name="connsiteY378" fmla="*/ 379068 h 1686927"/>
                    <a:gd name="connsiteX379" fmla="*/ 279296 w 2039198"/>
                    <a:gd name="connsiteY379" fmla="*/ 372481 h 1686927"/>
                    <a:gd name="connsiteX380" fmla="*/ 279537 w 2039198"/>
                    <a:gd name="connsiteY380" fmla="*/ 375051 h 1686927"/>
                    <a:gd name="connsiteX381" fmla="*/ 279858 w 2039198"/>
                    <a:gd name="connsiteY381" fmla="*/ 375694 h 1686927"/>
                    <a:gd name="connsiteX382" fmla="*/ 279296 w 2039198"/>
                    <a:gd name="connsiteY382" fmla="*/ 378184 h 1686927"/>
                    <a:gd name="connsiteX383" fmla="*/ 283553 w 2039198"/>
                    <a:gd name="connsiteY383" fmla="*/ 387181 h 1686927"/>
                    <a:gd name="connsiteX384" fmla="*/ 305644 w 2039198"/>
                    <a:gd name="connsiteY384" fmla="*/ 371919 h 1686927"/>
                    <a:gd name="connsiteX385" fmla="*/ 230296 w 2039198"/>
                    <a:gd name="connsiteY385" fmla="*/ 247651 h 1686927"/>
                    <a:gd name="connsiteX386" fmla="*/ 249896 w 2039198"/>
                    <a:gd name="connsiteY386" fmla="*/ 233272 h 1686927"/>
                    <a:gd name="connsiteX387" fmla="*/ 247807 w 2039198"/>
                    <a:gd name="connsiteY387" fmla="*/ 233353 h 1686927"/>
                    <a:gd name="connsiteX388" fmla="*/ 194068 w 2039198"/>
                    <a:gd name="connsiteY388" fmla="*/ 250623 h 1686927"/>
                    <a:gd name="connsiteX389" fmla="*/ 195193 w 2039198"/>
                    <a:gd name="connsiteY389" fmla="*/ 250543 h 1686927"/>
                    <a:gd name="connsiteX390" fmla="*/ 189650 w 2039198"/>
                    <a:gd name="connsiteY390" fmla="*/ 263476 h 1686927"/>
                    <a:gd name="connsiteX391" fmla="*/ 204029 w 2039198"/>
                    <a:gd name="connsiteY391" fmla="*/ 254318 h 1686927"/>
                    <a:gd name="connsiteX392" fmla="*/ 219693 w 2039198"/>
                    <a:gd name="connsiteY392" fmla="*/ 249017 h 1686927"/>
                    <a:gd name="connsiteX393" fmla="*/ 203065 w 2039198"/>
                    <a:gd name="connsiteY393" fmla="*/ 261708 h 1686927"/>
                    <a:gd name="connsiteX394" fmla="*/ 230296 w 2039198"/>
                    <a:gd name="connsiteY394" fmla="*/ 247651 h 1686927"/>
                    <a:gd name="connsiteX395" fmla="*/ 323557 w 2039198"/>
                    <a:gd name="connsiteY395" fmla="*/ 284200 h 1686927"/>
                    <a:gd name="connsiteX396" fmla="*/ 323557 w 2039198"/>
                    <a:gd name="connsiteY396" fmla="*/ 284682 h 1686927"/>
                    <a:gd name="connsiteX397" fmla="*/ 323557 w 2039198"/>
                    <a:gd name="connsiteY397" fmla="*/ 283638 h 1686927"/>
                    <a:gd name="connsiteX398" fmla="*/ 323557 w 2039198"/>
                    <a:gd name="connsiteY398" fmla="*/ 279863 h 1686927"/>
                    <a:gd name="connsiteX399" fmla="*/ 323557 w 2039198"/>
                    <a:gd name="connsiteY399" fmla="*/ 277614 h 1686927"/>
                    <a:gd name="connsiteX400" fmla="*/ 323557 w 2039198"/>
                    <a:gd name="connsiteY400" fmla="*/ 284200 h 1686927"/>
                    <a:gd name="connsiteX401" fmla="*/ 267729 w 2039198"/>
                    <a:gd name="connsiteY401" fmla="*/ 263235 h 1686927"/>
                    <a:gd name="connsiteX402" fmla="*/ 278332 w 2039198"/>
                    <a:gd name="connsiteY402" fmla="*/ 250222 h 1686927"/>
                    <a:gd name="connsiteX403" fmla="*/ 278332 w 2039198"/>
                    <a:gd name="connsiteY403" fmla="*/ 250222 h 1686927"/>
                    <a:gd name="connsiteX404" fmla="*/ 267729 w 2039198"/>
                    <a:gd name="connsiteY404" fmla="*/ 263235 h 1686927"/>
                    <a:gd name="connsiteX405" fmla="*/ 1951082 w 2039198"/>
                    <a:gd name="connsiteY405" fmla="*/ 1408873 h 1686927"/>
                    <a:gd name="connsiteX406" fmla="*/ 1950761 w 2039198"/>
                    <a:gd name="connsiteY406" fmla="*/ 1409917 h 1686927"/>
                    <a:gd name="connsiteX407" fmla="*/ 1949074 w 2039198"/>
                    <a:gd name="connsiteY407" fmla="*/ 1411363 h 1686927"/>
                    <a:gd name="connsiteX408" fmla="*/ 1941764 w 2039198"/>
                    <a:gd name="connsiteY408" fmla="*/ 1420681 h 1686927"/>
                    <a:gd name="connsiteX409" fmla="*/ 1936462 w 2039198"/>
                    <a:gd name="connsiteY409" fmla="*/ 1430802 h 1686927"/>
                    <a:gd name="connsiteX410" fmla="*/ 1936703 w 2039198"/>
                    <a:gd name="connsiteY410" fmla="*/ 1430722 h 1686927"/>
                    <a:gd name="connsiteX411" fmla="*/ 1932767 w 2039198"/>
                    <a:gd name="connsiteY411" fmla="*/ 1436586 h 1686927"/>
                    <a:gd name="connsiteX412" fmla="*/ 1943451 w 2039198"/>
                    <a:gd name="connsiteY412" fmla="*/ 1415058 h 1686927"/>
                    <a:gd name="connsiteX413" fmla="*/ 1951243 w 2039198"/>
                    <a:gd name="connsiteY413" fmla="*/ 1408471 h 1686927"/>
                    <a:gd name="connsiteX414" fmla="*/ 1951082 w 2039198"/>
                    <a:gd name="connsiteY414" fmla="*/ 1408873 h 1686927"/>
                    <a:gd name="connsiteX415" fmla="*/ 1956705 w 2039198"/>
                    <a:gd name="connsiteY415" fmla="*/ 1338666 h 1686927"/>
                    <a:gd name="connsiteX416" fmla="*/ 1953251 w 2039198"/>
                    <a:gd name="connsiteY416" fmla="*/ 1342923 h 1686927"/>
                    <a:gd name="connsiteX417" fmla="*/ 1957026 w 2039198"/>
                    <a:gd name="connsiteY417" fmla="*/ 1338345 h 1686927"/>
                    <a:gd name="connsiteX418" fmla="*/ 1956705 w 2039198"/>
                    <a:gd name="connsiteY418" fmla="*/ 1338666 h 1686927"/>
                    <a:gd name="connsiteX419" fmla="*/ 1999118 w 2039198"/>
                    <a:gd name="connsiteY419" fmla="*/ 1296494 h 1686927"/>
                    <a:gd name="connsiteX420" fmla="*/ 1998716 w 2039198"/>
                    <a:gd name="connsiteY420" fmla="*/ 1325813 h 1686927"/>
                    <a:gd name="connsiteX421" fmla="*/ 1999198 w 2039198"/>
                    <a:gd name="connsiteY421" fmla="*/ 1339389 h 1686927"/>
                    <a:gd name="connsiteX422" fmla="*/ 1998556 w 2039198"/>
                    <a:gd name="connsiteY422" fmla="*/ 1294405 h 1686927"/>
                    <a:gd name="connsiteX423" fmla="*/ 1998957 w 2039198"/>
                    <a:gd name="connsiteY423" fmla="*/ 1294646 h 1686927"/>
                    <a:gd name="connsiteX424" fmla="*/ 1999118 w 2039198"/>
                    <a:gd name="connsiteY424" fmla="*/ 1296494 h 1686927"/>
                    <a:gd name="connsiteX425" fmla="*/ 1975502 w 2039198"/>
                    <a:gd name="connsiteY425" fmla="*/ 1285569 h 1686927"/>
                    <a:gd name="connsiteX426" fmla="*/ 1969959 w 2039198"/>
                    <a:gd name="connsiteY426" fmla="*/ 1286453 h 1686927"/>
                    <a:gd name="connsiteX427" fmla="*/ 1971405 w 2039198"/>
                    <a:gd name="connsiteY427" fmla="*/ 1286212 h 1686927"/>
                    <a:gd name="connsiteX428" fmla="*/ 1975903 w 2039198"/>
                    <a:gd name="connsiteY428" fmla="*/ 1285489 h 1686927"/>
                    <a:gd name="connsiteX429" fmla="*/ 1975502 w 2039198"/>
                    <a:gd name="connsiteY429" fmla="*/ 1285569 h 1686927"/>
                    <a:gd name="connsiteX430" fmla="*/ 1964577 w 2039198"/>
                    <a:gd name="connsiteY430" fmla="*/ 1302759 h 1686927"/>
                    <a:gd name="connsiteX431" fmla="*/ 1959115 w 2039198"/>
                    <a:gd name="connsiteY431" fmla="*/ 1305651 h 1686927"/>
                    <a:gd name="connsiteX432" fmla="*/ 1947708 w 2039198"/>
                    <a:gd name="connsiteY432" fmla="*/ 1290791 h 1686927"/>
                    <a:gd name="connsiteX433" fmla="*/ 1940720 w 2039198"/>
                    <a:gd name="connsiteY433" fmla="*/ 1268138 h 1686927"/>
                    <a:gd name="connsiteX434" fmla="*/ 1939756 w 2039198"/>
                    <a:gd name="connsiteY434" fmla="*/ 1262435 h 1686927"/>
                    <a:gd name="connsiteX435" fmla="*/ 1965059 w 2039198"/>
                    <a:gd name="connsiteY435" fmla="*/ 1302518 h 1686927"/>
                    <a:gd name="connsiteX436" fmla="*/ 1964577 w 2039198"/>
                    <a:gd name="connsiteY436" fmla="*/ 1302759 h 1686927"/>
                    <a:gd name="connsiteX437" fmla="*/ 1995262 w 2039198"/>
                    <a:gd name="connsiteY437" fmla="*/ 1208213 h 1686927"/>
                    <a:gd name="connsiteX438" fmla="*/ 1994218 w 2039198"/>
                    <a:gd name="connsiteY438" fmla="*/ 1211346 h 1686927"/>
                    <a:gd name="connsiteX439" fmla="*/ 1995262 w 2039198"/>
                    <a:gd name="connsiteY439" fmla="*/ 1208213 h 1686927"/>
                    <a:gd name="connsiteX440" fmla="*/ 1995262 w 2039198"/>
                    <a:gd name="connsiteY440" fmla="*/ 1208213 h 1686927"/>
                    <a:gd name="connsiteX441" fmla="*/ 1936382 w 2039198"/>
                    <a:gd name="connsiteY441" fmla="*/ 1238979 h 1686927"/>
                    <a:gd name="connsiteX442" fmla="*/ 1933892 w 2039198"/>
                    <a:gd name="connsiteY442" fmla="*/ 1248538 h 1686927"/>
                    <a:gd name="connsiteX443" fmla="*/ 1933811 w 2039198"/>
                    <a:gd name="connsiteY443" fmla="*/ 1247654 h 1686927"/>
                    <a:gd name="connsiteX444" fmla="*/ 1936382 w 2039198"/>
                    <a:gd name="connsiteY444" fmla="*/ 1238979 h 1686927"/>
                    <a:gd name="connsiteX445" fmla="*/ 1936382 w 2039198"/>
                    <a:gd name="connsiteY445" fmla="*/ 1238979 h 1686927"/>
                    <a:gd name="connsiteX446" fmla="*/ 1808259 w 2039198"/>
                    <a:gd name="connsiteY446" fmla="*/ 1310632 h 1686927"/>
                    <a:gd name="connsiteX447" fmla="*/ 1808178 w 2039198"/>
                    <a:gd name="connsiteY447" fmla="*/ 1312238 h 1686927"/>
                    <a:gd name="connsiteX448" fmla="*/ 1803600 w 2039198"/>
                    <a:gd name="connsiteY448" fmla="*/ 1310792 h 1686927"/>
                    <a:gd name="connsiteX449" fmla="*/ 1808259 w 2039198"/>
                    <a:gd name="connsiteY449" fmla="*/ 1310632 h 1686927"/>
                    <a:gd name="connsiteX450" fmla="*/ 1978795 w 2039198"/>
                    <a:gd name="connsiteY450" fmla="*/ 1184195 h 1686927"/>
                    <a:gd name="connsiteX451" fmla="*/ 1976064 w 2039198"/>
                    <a:gd name="connsiteY451" fmla="*/ 1198253 h 1686927"/>
                    <a:gd name="connsiteX452" fmla="*/ 1976546 w 2039198"/>
                    <a:gd name="connsiteY452" fmla="*/ 1200181 h 1686927"/>
                    <a:gd name="connsiteX453" fmla="*/ 1972288 w 2039198"/>
                    <a:gd name="connsiteY453" fmla="*/ 1209418 h 1686927"/>
                    <a:gd name="connsiteX454" fmla="*/ 1974136 w 2039198"/>
                    <a:gd name="connsiteY454" fmla="*/ 1208454 h 1686927"/>
                    <a:gd name="connsiteX455" fmla="*/ 1974216 w 2039198"/>
                    <a:gd name="connsiteY455" fmla="*/ 1208695 h 1686927"/>
                    <a:gd name="connsiteX456" fmla="*/ 1972047 w 2039198"/>
                    <a:gd name="connsiteY456" fmla="*/ 1211989 h 1686927"/>
                    <a:gd name="connsiteX457" fmla="*/ 1976144 w 2039198"/>
                    <a:gd name="connsiteY457" fmla="*/ 1208695 h 1686927"/>
                    <a:gd name="connsiteX458" fmla="*/ 1976465 w 2039198"/>
                    <a:gd name="connsiteY458" fmla="*/ 1208856 h 1686927"/>
                    <a:gd name="connsiteX459" fmla="*/ 1974056 w 2039198"/>
                    <a:gd name="connsiteY459" fmla="*/ 1214800 h 1686927"/>
                    <a:gd name="connsiteX460" fmla="*/ 1971325 w 2039198"/>
                    <a:gd name="connsiteY460" fmla="*/ 1222512 h 1686927"/>
                    <a:gd name="connsiteX461" fmla="*/ 1969879 w 2039198"/>
                    <a:gd name="connsiteY461" fmla="*/ 1225644 h 1686927"/>
                    <a:gd name="connsiteX462" fmla="*/ 1967870 w 2039198"/>
                    <a:gd name="connsiteY462" fmla="*/ 1221146 h 1686927"/>
                    <a:gd name="connsiteX463" fmla="*/ 1963934 w 2039198"/>
                    <a:gd name="connsiteY463" fmla="*/ 1222833 h 1686927"/>
                    <a:gd name="connsiteX464" fmla="*/ 1963051 w 2039198"/>
                    <a:gd name="connsiteY464" fmla="*/ 1228697 h 1686927"/>
                    <a:gd name="connsiteX465" fmla="*/ 1961525 w 2039198"/>
                    <a:gd name="connsiteY465" fmla="*/ 1230625 h 1686927"/>
                    <a:gd name="connsiteX466" fmla="*/ 1961284 w 2039198"/>
                    <a:gd name="connsiteY466" fmla="*/ 1229018 h 1686927"/>
                    <a:gd name="connsiteX467" fmla="*/ 1961203 w 2039198"/>
                    <a:gd name="connsiteY467" fmla="*/ 1228617 h 1686927"/>
                    <a:gd name="connsiteX468" fmla="*/ 1962488 w 2039198"/>
                    <a:gd name="connsiteY468" fmla="*/ 1189738 h 1686927"/>
                    <a:gd name="connsiteX469" fmla="*/ 1963292 w 2039198"/>
                    <a:gd name="connsiteY469" fmla="*/ 1190140 h 1686927"/>
                    <a:gd name="connsiteX470" fmla="*/ 1963051 w 2039198"/>
                    <a:gd name="connsiteY470" fmla="*/ 1191184 h 1686927"/>
                    <a:gd name="connsiteX471" fmla="*/ 1964095 w 2039198"/>
                    <a:gd name="connsiteY471" fmla="*/ 1190461 h 1686927"/>
                    <a:gd name="connsiteX472" fmla="*/ 1966665 w 2039198"/>
                    <a:gd name="connsiteY472" fmla="*/ 1183874 h 1686927"/>
                    <a:gd name="connsiteX473" fmla="*/ 1968031 w 2039198"/>
                    <a:gd name="connsiteY473" fmla="*/ 1182026 h 1686927"/>
                    <a:gd name="connsiteX474" fmla="*/ 1969075 w 2039198"/>
                    <a:gd name="connsiteY474" fmla="*/ 1183713 h 1686927"/>
                    <a:gd name="connsiteX475" fmla="*/ 1971646 w 2039198"/>
                    <a:gd name="connsiteY475" fmla="*/ 1182669 h 1686927"/>
                    <a:gd name="connsiteX476" fmla="*/ 1978795 w 2039198"/>
                    <a:gd name="connsiteY476" fmla="*/ 1184195 h 1686927"/>
                    <a:gd name="connsiteX477" fmla="*/ 1966103 w 2039198"/>
                    <a:gd name="connsiteY477" fmla="*/ 1168049 h 1686927"/>
                    <a:gd name="connsiteX478" fmla="*/ 1964577 w 2039198"/>
                    <a:gd name="connsiteY478" fmla="*/ 1171423 h 1686927"/>
                    <a:gd name="connsiteX479" fmla="*/ 1964979 w 2039198"/>
                    <a:gd name="connsiteY479" fmla="*/ 1171343 h 1686927"/>
                    <a:gd name="connsiteX480" fmla="*/ 1964657 w 2039198"/>
                    <a:gd name="connsiteY480" fmla="*/ 1172628 h 1686927"/>
                    <a:gd name="connsiteX481" fmla="*/ 1965621 w 2039198"/>
                    <a:gd name="connsiteY481" fmla="*/ 1171503 h 1686927"/>
                    <a:gd name="connsiteX482" fmla="*/ 1965541 w 2039198"/>
                    <a:gd name="connsiteY482" fmla="*/ 1174154 h 1686927"/>
                    <a:gd name="connsiteX483" fmla="*/ 1962328 w 2039198"/>
                    <a:gd name="connsiteY483" fmla="*/ 1175841 h 1686927"/>
                    <a:gd name="connsiteX484" fmla="*/ 1961043 w 2039198"/>
                    <a:gd name="connsiteY484" fmla="*/ 1176644 h 1686927"/>
                    <a:gd name="connsiteX485" fmla="*/ 1958954 w 2039198"/>
                    <a:gd name="connsiteY485" fmla="*/ 1176002 h 1686927"/>
                    <a:gd name="connsiteX486" fmla="*/ 1960962 w 2039198"/>
                    <a:gd name="connsiteY486" fmla="*/ 1173512 h 1686927"/>
                    <a:gd name="connsiteX487" fmla="*/ 1963051 w 2039198"/>
                    <a:gd name="connsiteY487" fmla="*/ 1171262 h 1686927"/>
                    <a:gd name="connsiteX488" fmla="*/ 1966344 w 2039198"/>
                    <a:gd name="connsiteY488" fmla="*/ 1167728 h 1686927"/>
                    <a:gd name="connsiteX489" fmla="*/ 1966103 w 2039198"/>
                    <a:gd name="connsiteY489" fmla="*/ 1168049 h 1686927"/>
                    <a:gd name="connsiteX490" fmla="*/ 1947708 w 2039198"/>
                    <a:gd name="connsiteY490" fmla="*/ 1174235 h 1686927"/>
                    <a:gd name="connsiteX491" fmla="*/ 1941764 w 2039198"/>
                    <a:gd name="connsiteY491" fmla="*/ 1194798 h 1686927"/>
                    <a:gd name="connsiteX492" fmla="*/ 1947628 w 2039198"/>
                    <a:gd name="connsiteY492" fmla="*/ 1174074 h 1686927"/>
                    <a:gd name="connsiteX493" fmla="*/ 1947708 w 2039198"/>
                    <a:gd name="connsiteY493" fmla="*/ 1174235 h 1686927"/>
                    <a:gd name="connsiteX494" fmla="*/ 1987631 w 2039198"/>
                    <a:gd name="connsiteY494" fmla="*/ 1128367 h 1686927"/>
                    <a:gd name="connsiteX495" fmla="*/ 1986426 w 2039198"/>
                    <a:gd name="connsiteY495" fmla="*/ 1127885 h 1686927"/>
                    <a:gd name="connsiteX496" fmla="*/ 1987631 w 2039198"/>
                    <a:gd name="connsiteY496" fmla="*/ 1128367 h 1686927"/>
                    <a:gd name="connsiteX497" fmla="*/ 1987631 w 2039198"/>
                    <a:gd name="connsiteY497" fmla="*/ 1128367 h 1686927"/>
                    <a:gd name="connsiteX498" fmla="*/ 1987551 w 2039198"/>
                    <a:gd name="connsiteY498" fmla="*/ 1078323 h 1686927"/>
                    <a:gd name="connsiteX499" fmla="*/ 1986185 w 2039198"/>
                    <a:gd name="connsiteY499" fmla="*/ 1086436 h 1686927"/>
                    <a:gd name="connsiteX500" fmla="*/ 1986105 w 2039198"/>
                    <a:gd name="connsiteY500" fmla="*/ 1086516 h 1686927"/>
                    <a:gd name="connsiteX501" fmla="*/ 1987471 w 2039198"/>
                    <a:gd name="connsiteY501" fmla="*/ 1077921 h 1686927"/>
                    <a:gd name="connsiteX502" fmla="*/ 1987551 w 2039198"/>
                    <a:gd name="connsiteY502" fmla="*/ 1078323 h 1686927"/>
                    <a:gd name="connsiteX503" fmla="*/ 1506145 w 2039198"/>
                    <a:gd name="connsiteY503" fmla="*/ 1344851 h 1686927"/>
                    <a:gd name="connsiteX504" fmla="*/ 1507029 w 2039198"/>
                    <a:gd name="connsiteY504" fmla="*/ 1352241 h 1686927"/>
                    <a:gd name="connsiteX505" fmla="*/ 1507993 w 2039198"/>
                    <a:gd name="connsiteY505" fmla="*/ 1351117 h 1686927"/>
                    <a:gd name="connsiteX506" fmla="*/ 1489839 w 2039198"/>
                    <a:gd name="connsiteY506" fmla="*/ 1356418 h 1686927"/>
                    <a:gd name="connsiteX507" fmla="*/ 1495140 w 2039198"/>
                    <a:gd name="connsiteY507" fmla="*/ 1354651 h 1686927"/>
                    <a:gd name="connsiteX508" fmla="*/ 1503896 w 2039198"/>
                    <a:gd name="connsiteY508" fmla="*/ 1350635 h 1686927"/>
                    <a:gd name="connsiteX509" fmla="*/ 1502450 w 2039198"/>
                    <a:gd name="connsiteY509" fmla="*/ 1350474 h 1686927"/>
                    <a:gd name="connsiteX510" fmla="*/ 1502771 w 2039198"/>
                    <a:gd name="connsiteY510" fmla="*/ 1347823 h 1686927"/>
                    <a:gd name="connsiteX511" fmla="*/ 1501165 w 2039198"/>
                    <a:gd name="connsiteY511" fmla="*/ 1347663 h 1686927"/>
                    <a:gd name="connsiteX512" fmla="*/ 1503575 w 2039198"/>
                    <a:gd name="connsiteY512" fmla="*/ 1345735 h 1686927"/>
                    <a:gd name="connsiteX513" fmla="*/ 1499317 w 2039198"/>
                    <a:gd name="connsiteY513" fmla="*/ 1344691 h 1686927"/>
                    <a:gd name="connsiteX514" fmla="*/ 1499317 w 2039198"/>
                    <a:gd name="connsiteY514" fmla="*/ 1345494 h 1686927"/>
                    <a:gd name="connsiteX515" fmla="*/ 1495944 w 2039198"/>
                    <a:gd name="connsiteY515" fmla="*/ 1345815 h 1686927"/>
                    <a:gd name="connsiteX516" fmla="*/ 1500522 w 2039198"/>
                    <a:gd name="connsiteY516" fmla="*/ 1343807 h 1686927"/>
                    <a:gd name="connsiteX517" fmla="*/ 1490803 w 2039198"/>
                    <a:gd name="connsiteY517" fmla="*/ 1346538 h 1686927"/>
                    <a:gd name="connsiteX518" fmla="*/ 1495221 w 2039198"/>
                    <a:gd name="connsiteY518" fmla="*/ 1343486 h 1686927"/>
                    <a:gd name="connsiteX519" fmla="*/ 1498032 w 2039198"/>
                    <a:gd name="connsiteY519" fmla="*/ 1342120 h 1686927"/>
                    <a:gd name="connsiteX520" fmla="*/ 1491686 w 2039198"/>
                    <a:gd name="connsiteY520" fmla="*/ 1341558 h 1686927"/>
                    <a:gd name="connsiteX521" fmla="*/ 1488955 w 2039198"/>
                    <a:gd name="connsiteY521" fmla="*/ 1340273 h 1686927"/>
                    <a:gd name="connsiteX522" fmla="*/ 1487348 w 2039198"/>
                    <a:gd name="connsiteY522" fmla="*/ 1341718 h 1686927"/>
                    <a:gd name="connsiteX523" fmla="*/ 1487268 w 2039198"/>
                    <a:gd name="connsiteY523" fmla="*/ 1341558 h 1686927"/>
                    <a:gd name="connsiteX524" fmla="*/ 1483734 w 2039198"/>
                    <a:gd name="connsiteY524" fmla="*/ 1340032 h 1686927"/>
                    <a:gd name="connsiteX525" fmla="*/ 1482208 w 2039198"/>
                    <a:gd name="connsiteY525" fmla="*/ 1339790 h 1686927"/>
                    <a:gd name="connsiteX526" fmla="*/ 1480521 w 2039198"/>
                    <a:gd name="connsiteY526" fmla="*/ 1339630 h 1686927"/>
                    <a:gd name="connsiteX527" fmla="*/ 1476906 w 2039198"/>
                    <a:gd name="connsiteY527" fmla="*/ 1339790 h 1686927"/>
                    <a:gd name="connsiteX528" fmla="*/ 1474094 w 2039198"/>
                    <a:gd name="connsiteY528" fmla="*/ 1339148 h 1686927"/>
                    <a:gd name="connsiteX529" fmla="*/ 1466463 w 2039198"/>
                    <a:gd name="connsiteY529" fmla="*/ 1342281 h 1686927"/>
                    <a:gd name="connsiteX530" fmla="*/ 1478030 w 2039198"/>
                    <a:gd name="connsiteY530" fmla="*/ 1337140 h 1686927"/>
                    <a:gd name="connsiteX531" fmla="*/ 1475460 w 2039198"/>
                    <a:gd name="connsiteY531" fmla="*/ 1333123 h 1686927"/>
                    <a:gd name="connsiteX532" fmla="*/ 1484698 w 2039198"/>
                    <a:gd name="connsiteY532" fmla="*/ 1335774 h 1686927"/>
                    <a:gd name="connsiteX533" fmla="*/ 1495140 w 2039198"/>
                    <a:gd name="connsiteY533" fmla="*/ 1337702 h 1686927"/>
                    <a:gd name="connsiteX534" fmla="*/ 1492650 w 2039198"/>
                    <a:gd name="connsiteY534" fmla="*/ 1338907 h 1686927"/>
                    <a:gd name="connsiteX535" fmla="*/ 1500281 w 2039198"/>
                    <a:gd name="connsiteY535" fmla="*/ 1335212 h 1686927"/>
                    <a:gd name="connsiteX536" fmla="*/ 1502049 w 2039198"/>
                    <a:gd name="connsiteY536" fmla="*/ 1333043 h 1686927"/>
                    <a:gd name="connsiteX537" fmla="*/ 1500763 w 2039198"/>
                    <a:gd name="connsiteY537" fmla="*/ 1328786 h 1686927"/>
                    <a:gd name="connsiteX538" fmla="*/ 1503414 w 2039198"/>
                    <a:gd name="connsiteY538" fmla="*/ 1332882 h 1686927"/>
                    <a:gd name="connsiteX539" fmla="*/ 1502209 w 2039198"/>
                    <a:gd name="connsiteY539" fmla="*/ 1333525 h 1686927"/>
                    <a:gd name="connsiteX540" fmla="*/ 1503896 w 2039198"/>
                    <a:gd name="connsiteY540" fmla="*/ 1338023 h 1686927"/>
                    <a:gd name="connsiteX541" fmla="*/ 1505181 w 2039198"/>
                    <a:gd name="connsiteY541" fmla="*/ 1341558 h 1686927"/>
                    <a:gd name="connsiteX542" fmla="*/ 1504780 w 2039198"/>
                    <a:gd name="connsiteY542" fmla="*/ 1342763 h 1686927"/>
                    <a:gd name="connsiteX543" fmla="*/ 1505904 w 2039198"/>
                    <a:gd name="connsiteY543" fmla="*/ 1341718 h 1686927"/>
                    <a:gd name="connsiteX544" fmla="*/ 1506145 w 2039198"/>
                    <a:gd name="connsiteY544" fmla="*/ 1344851 h 1686927"/>
                    <a:gd name="connsiteX545" fmla="*/ 1996306 w 2039198"/>
                    <a:gd name="connsiteY545" fmla="*/ 990364 h 1686927"/>
                    <a:gd name="connsiteX546" fmla="*/ 1996306 w 2039198"/>
                    <a:gd name="connsiteY546" fmla="*/ 990364 h 1686927"/>
                    <a:gd name="connsiteX547" fmla="*/ 1996226 w 2039198"/>
                    <a:gd name="connsiteY547" fmla="*/ 990283 h 1686927"/>
                    <a:gd name="connsiteX548" fmla="*/ 1995985 w 2039198"/>
                    <a:gd name="connsiteY548" fmla="*/ 989962 h 1686927"/>
                    <a:gd name="connsiteX549" fmla="*/ 1995985 w 2039198"/>
                    <a:gd name="connsiteY549" fmla="*/ 989721 h 1686927"/>
                    <a:gd name="connsiteX550" fmla="*/ 1996306 w 2039198"/>
                    <a:gd name="connsiteY550" fmla="*/ 990364 h 1686927"/>
                    <a:gd name="connsiteX551" fmla="*/ 1966183 w 2039198"/>
                    <a:gd name="connsiteY551" fmla="*/ 1022415 h 1686927"/>
                    <a:gd name="connsiteX552" fmla="*/ 1965782 w 2039198"/>
                    <a:gd name="connsiteY552" fmla="*/ 1022897 h 1686927"/>
                    <a:gd name="connsiteX553" fmla="*/ 1964979 w 2039198"/>
                    <a:gd name="connsiteY553" fmla="*/ 1023861 h 1686927"/>
                    <a:gd name="connsiteX554" fmla="*/ 1963051 w 2039198"/>
                    <a:gd name="connsiteY554" fmla="*/ 1026190 h 1686927"/>
                    <a:gd name="connsiteX555" fmla="*/ 1966183 w 2039198"/>
                    <a:gd name="connsiteY555" fmla="*/ 1022415 h 1686927"/>
                    <a:gd name="connsiteX556" fmla="*/ 1966183 w 2039198"/>
                    <a:gd name="connsiteY556" fmla="*/ 1022415 h 1686927"/>
                    <a:gd name="connsiteX557" fmla="*/ 1724798 w 2039198"/>
                    <a:gd name="connsiteY557" fmla="*/ 1178010 h 1686927"/>
                    <a:gd name="connsiteX558" fmla="*/ 1719577 w 2039198"/>
                    <a:gd name="connsiteY558" fmla="*/ 1180821 h 1686927"/>
                    <a:gd name="connsiteX559" fmla="*/ 1719577 w 2039198"/>
                    <a:gd name="connsiteY559" fmla="*/ 1180821 h 1686927"/>
                    <a:gd name="connsiteX560" fmla="*/ 1725521 w 2039198"/>
                    <a:gd name="connsiteY560" fmla="*/ 1177689 h 1686927"/>
                    <a:gd name="connsiteX561" fmla="*/ 1724798 w 2039198"/>
                    <a:gd name="connsiteY561" fmla="*/ 1178010 h 1686927"/>
                    <a:gd name="connsiteX562" fmla="*/ 1884972 w 2039198"/>
                    <a:gd name="connsiteY562" fmla="*/ 939115 h 1686927"/>
                    <a:gd name="connsiteX563" fmla="*/ 1884651 w 2039198"/>
                    <a:gd name="connsiteY563" fmla="*/ 941524 h 1686927"/>
                    <a:gd name="connsiteX564" fmla="*/ 1882482 w 2039198"/>
                    <a:gd name="connsiteY564" fmla="*/ 942569 h 1686927"/>
                    <a:gd name="connsiteX565" fmla="*/ 1881438 w 2039198"/>
                    <a:gd name="connsiteY565" fmla="*/ 948352 h 1686927"/>
                    <a:gd name="connsiteX566" fmla="*/ 1879831 w 2039198"/>
                    <a:gd name="connsiteY566" fmla="*/ 954296 h 1686927"/>
                    <a:gd name="connsiteX567" fmla="*/ 1879188 w 2039198"/>
                    <a:gd name="connsiteY567" fmla="*/ 960642 h 1686927"/>
                    <a:gd name="connsiteX568" fmla="*/ 1881116 w 2039198"/>
                    <a:gd name="connsiteY568" fmla="*/ 945621 h 1686927"/>
                    <a:gd name="connsiteX569" fmla="*/ 1879510 w 2039198"/>
                    <a:gd name="connsiteY569" fmla="*/ 944818 h 1686927"/>
                    <a:gd name="connsiteX570" fmla="*/ 1885052 w 2039198"/>
                    <a:gd name="connsiteY570" fmla="*/ 938793 h 1686927"/>
                    <a:gd name="connsiteX571" fmla="*/ 1884972 w 2039198"/>
                    <a:gd name="connsiteY571" fmla="*/ 939115 h 1686927"/>
                    <a:gd name="connsiteX572" fmla="*/ 1886739 w 2039198"/>
                    <a:gd name="connsiteY572" fmla="*/ 928672 h 1686927"/>
                    <a:gd name="connsiteX573" fmla="*/ 1888747 w 2039198"/>
                    <a:gd name="connsiteY573" fmla="*/ 931564 h 1686927"/>
                    <a:gd name="connsiteX574" fmla="*/ 1885695 w 2039198"/>
                    <a:gd name="connsiteY574" fmla="*/ 936223 h 1686927"/>
                    <a:gd name="connsiteX575" fmla="*/ 1882964 w 2039198"/>
                    <a:gd name="connsiteY575" fmla="*/ 928190 h 1686927"/>
                    <a:gd name="connsiteX576" fmla="*/ 1883446 w 2039198"/>
                    <a:gd name="connsiteY576" fmla="*/ 926503 h 1686927"/>
                    <a:gd name="connsiteX577" fmla="*/ 1882964 w 2039198"/>
                    <a:gd name="connsiteY577" fmla="*/ 927065 h 1686927"/>
                    <a:gd name="connsiteX578" fmla="*/ 1884088 w 2039198"/>
                    <a:gd name="connsiteY578" fmla="*/ 925780 h 1686927"/>
                    <a:gd name="connsiteX579" fmla="*/ 1882883 w 2039198"/>
                    <a:gd name="connsiteY579" fmla="*/ 920559 h 1686927"/>
                    <a:gd name="connsiteX580" fmla="*/ 1886096 w 2039198"/>
                    <a:gd name="connsiteY580" fmla="*/ 925137 h 1686927"/>
                    <a:gd name="connsiteX581" fmla="*/ 1886739 w 2039198"/>
                    <a:gd name="connsiteY581" fmla="*/ 928672 h 1686927"/>
                    <a:gd name="connsiteX582" fmla="*/ 1968031 w 2039198"/>
                    <a:gd name="connsiteY582" fmla="*/ 734198 h 1686927"/>
                    <a:gd name="connsiteX583" fmla="*/ 1975100 w 2039198"/>
                    <a:gd name="connsiteY583" fmla="*/ 761831 h 1686927"/>
                    <a:gd name="connsiteX584" fmla="*/ 1973172 w 2039198"/>
                    <a:gd name="connsiteY584" fmla="*/ 786491 h 1686927"/>
                    <a:gd name="connsiteX585" fmla="*/ 1972610 w 2039198"/>
                    <a:gd name="connsiteY585" fmla="*/ 787375 h 1686927"/>
                    <a:gd name="connsiteX586" fmla="*/ 1971646 w 2039198"/>
                    <a:gd name="connsiteY586" fmla="*/ 784162 h 1686927"/>
                    <a:gd name="connsiteX587" fmla="*/ 1971164 w 2039198"/>
                    <a:gd name="connsiteY587" fmla="*/ 784644 h 1686927"/>
                    <a:gd name="connsiteX588" fmla="*/ 1964898 w 2039198"/>
                    <a:gd name="connsiteY588" fmla="*/ 770747 h 1686927"/>
                    <a:gd name="connsiteX589" fmla="*/ 1969236 w 2039198"/>
                    <a:gd name="connsiteY589" fmla="*/ 785768 h 1686927"/>
                    <a:gd name="connsiteX590" fmla="*/ 1957669 w 2039198"/>
                    <a:gd name="connsiteY590" fmla="*/ 769301 h 1686927"/>
                    <a:gd name="connsiteX591" fmla="*/ 1950921 w 2039198"/>
                    <a:gd name="connsiteY591" fmla="*/ 767132 h 1686927"/>
                    <a:gd name="connsiteX592" fmla="*/ 1937025 w 2039198"/>
                    <a:gd name="connsiteY592" fmla="*/ 755886 h 1686927"/>
                    <a:gd name="connsiteX593" fmla="*/ 1935578 w 2039198"/>
                    <a:gd name="connsiteY593" fmla="*/ 749942 h 1686927"/>
                    <a:gd name="connsiteX594" fmla="*/ 1932687 w 2039198"/>
                    <a:gd name="connsiteY594" fmla="*/ 733957 h 1686927"/>
                    <a:gd name="connsiteX595" fmla="*/ 1932285 w 2039198"/>
                    <a:gd name="connsiteY595" fmla="*/ 733555 h 1686927"/>
                    <a:gd name="connsiteX596" fmla="*/ 1933008 w 2039198"/>
                    <a:gd name="connsiteY596" fmla="*/ 732913 h 1686927"/>
                    <a:gd name="connsiteX597" fmla="*/ 1933329 w 2039198"/>
                    <a:gd name="connsiteY597" fmla="*/ 732993 h 1686927"/>
                    <a:gd name="connsiteX598" fmla="*/ 1933088 w 2039198"/>
                    <a:gd name="connsiteY598" fmla="*/ 735001 h 1686927"/>
                    <a:gd name="connsiteX599" fmla="*/ 1967951 w 2039198"/>
                    <a:gd name="connsiteY599" fmla="*/ 733555 h 1686927"/>
                    <a:gd name="connsiteX600" fmla="*/ 1968031 w 2039198"/>
                    <a:gd name="connsiteY600" fmla="*/ 734198 h 1686927"/>
                    <a:gd name="connsiteX601" fmla="*/ 1927144 w 2039198"/>
                    <a:gd name="connsiteY601" fmla="*/ 741267 h 1686927"/>
                    <a:gd name="connsiteX602" fmla="*/ 1923690 w 2039198"/>
                    <a:gd name="connsiteY602" fmla="*/ 744319 h 1686927"/>
                    <a:gd name="connsiteX603" fmla="*/ 1923770 w 2039198"/>
                    <a:gd name="connsiteY603" fmla="*/ 744158 h 1686927"/>
                    <a:gd name="connsiteX604" fmla="*/ 1924333 w 2039198"/>
                    <a:gd name="connsiteY604" fmla="*/ 743596 h 1686927"/>
                    <a:gd name="connsiteX605" fmla="*/ 1927064 w 2039198"/>
                    <a:gd name="connsiteY605" fmla="*/ 740785 h 1686927"/>
                    <a:gd name="connsiteX606" fmla="*/ 1927144 w 2039198"/>
                    <a:gd name="connsiteY606" fmla="*/ 741267 h 1686927"/>
                    <a:gd name="connsiteX607" fmla="*/ 1863364 w 2039198"/>
                    <a:gd name="connsiteY607" fmla="*/ 818542 h 1686927"/>
                    <a:gd name="connsiteX608" fmla="*/ 1862480 w 2039198"/>
                    <a:gd name="connsiteY608" fmla="*/ 819105 h 1686927"/>
                    <a:gd name="connsiteX609" fmla="*/ 1863364 w 2039198"/>
                    <a:gd name="connsiteY609" fmla="*/ 818542 h 1686927"/>
                    <a:gd name="connsiteX610" fmla="*/ 1863364 w 2039198"/>
                    <a:gd name="connsiteY610" fmla="*/ 818542 h 1686927"/>
                    <a:gd name="connsiteX611" fmla="*/ 1861115 w 2039198"/>
                    <a:gd name="connsiteY611" fmla="*/ 813401 h 1686927"/>
                    <a:gd name="connsiteX612" fmla="*/ 1860311 w 2039198"/>
                    <a:gd name="connsiteY612" fmla="*/ 815731 h 1686927"/>
                    <a:gd name="connsiteX613" fmla="*/ 1861195 w 2039198"/>
                    <a:gd name="connsiteY613" fmla="*/ 813160 h 1686927"/>
                    <a:gd name="connsiteX614" fmla="*/ 1861115 w 2039198"/>
                    <a:gd name="connsiteY614" fmla="*/ 813401 h 1686927"/>
                    <a:gd name="connsiteX615" fmla="*/ 1861356 w 2039198"/>
                    <a:gd name="connsiteY615" fmla="*/ 812759 h 1686927"/>
                    <a:gd name="connsiteX616" fmla="*/ 1861356 w 2039198"/>
                    <a:gd name="connsiteY616" fmla="*/ 812759 h 1686927"/>
                    <a:gd name="connsiteX617" fmla="*/ 1861356 w 2039198"/>
                    <a:gd name="connsiteY617" fmla="*/ 812759 h 1686927"/>
                    <a:gd name="connsiteX618" fmla="*/ 1861356 w 2039198"/>
                    <a:gd name="connsiteY618" fmla="*/ 812759 h 1686927"/>
                    <a:gd name="connsiteX619" fmla="*/ 1854046 w 2039198"/>
                    <a:gd name="connsiteY619" fmla="*/ 799504 h 1686927"/>
                    <a:gd name="connsiteX620" fmla="*/ 1853082 w 2039198"/>
                    <a:gd name="connsiteY620" fmla="*/ 797657 h 1686927"/>
                    <a:gd name="connsiteX621" fmla="*/ 1854046 w 2039198"/>
                    <a:gd name="connsiteY621" fmla="*/ 798460 h 1686927"/>
                    <a:gd name="connsiteX622" fmla="*/ 1854046 w 2039198"/>
                    <a:gd name="connsiteY622" fmla="*/ 799504 h 1686927"/>
                    <a:gd name="connsiteX623" fmla="*/ 1901038 w 2039198"/>
                    <a:gd name="connsiteY623" fmla="*/ 743998 h 1686927"/>
                    <a:gd name="connsiteX624" fmla="*/ 1900636 w 2039198"/>
                    <a:gd name="connsiteY624" fmla="*/ 744721 h 1686927"/>
                    <a:gd name="connsiteX625" fmla="*/ 1896620 w 2039198"/>
                    <a:gd name="connsiteY625" fmla="*/ 740544 h 1686927"/>
                    <a:gd name="connsiteX626" fmla="*/ 1901118 w 2039198"/>
                    <a:gd name="connsiteY626" fmla="*/ 743917 h 1686927"/>
                    <a:gd name="connsiteX627" fmla="*/ 1901038 w 2039198"/>
                    <a:gd name="connsiteY627" fmla="*/ 743998 h 1686927"/>
                    <a:gd name="connsiteX628" fmla="*/ 1895415 w 2039198"/>
                    <a:gd name="connsiteY628" fmla="*/ 738696 h 1686927"/>
                    <a:gd name="connsiteX629" fmla="*/ 1895415 w 2039198"/>
                    <a:gd name="connsiteY629" fmla="*/ 739018 h 1686927"/>
                    <a:gd name="connsiteX630" fmla="*/ 1893969 w 2039198"/>
                    <a:gd name="connsiteY630" fmla="*/ 739660 h 1686927"/>
                    <a:gd name="connsiteX631" fmla="*/ 1893487 w 2039198"/>
                    <a:gd name="connsiteY631" fmla="*/ 737652 h 1686927"/>
                    <a:gd name="connsiteX632" fmla="*/ 1895415 w 2039198"/>
                    <a:gd name="connsiteY632" fmla="*/ 738696 h 1686927"/>
                    <a:gd name="connsiteX633" fmla="*/ 1890836 w 2039198"/>
                    <a:gd name="connsiteY633" fmla="*/ 731868 h 1686927"/>
                    <a:gd name="connsiteX634" fmla="*/ 1890997 w 2039198"/>
                    <a:gd name="connsiteY634" fmla="*/ 735001 h 1686927"/>
                    <a:gd name="connsiteX635" fmla="*/ 1886257 w 2039198"/>
                    <a:gd name="connsiteY635" fmla="*/ 728896 h 1686927"/>
                    <a:gd name="connsiteX636" fmla="*/ 1890836 w 2039198"/>
                    <a:gd name="connsiteY636" fmla="*/ 731868 h 1686927"/>
                    <a:gd name="connsiteX637" fmla="*/ 1875252 w 2039198"/>
                    <a:gd name="connsiteY637" fmla="*/ 675237 h 1686927"/>
                    <a:gd name="connsiteX638" fmla="*/ 1875011 w 2039198"/>
                    <a:gd name="connsiteY638" fmla="*/ 675719 h 1686927"/>
                    <a:gd name="connsiteX639" fmla="*/ 1866175 w 2039198"/>
                    <a:gd name="connsiteY639" fmla="*/ 671060 h 1686927"/>
                    <a:gd name="connsiteX640" fmla="*/ 1875252 w 2039198"/>
                    <a:gd name="connsiteY640" fmla="*/ 675237 h 1686927"/>
                    <a:gd name="connsiteX641" fmla="*/ 1875252 w 2039198"/>
                    <a:gd name="connsiteY641" fmla="*/ 675237 h 1686927"/>
                    <a:gd name="connsiteX642" fmla="*/ 1854367 w 2039198"/>
                    <a:gd name="connsiteY642" fmla="*/ 671462 h 1686927"/>
                    <a:gd name="connsiteX643" fmla="*/ 1856295 w 2039198"/>
                    <a:gd name="connsiteY643" fmla="*/ 681824 h 1686927"/>
                    <a:gd name="connsiteX644" fmla="*/ 1852198 w 2039198"/>
                    <a:gd name="connsiteY644" fmla="*/ 684234 h 1686927"/>
                    <a:gd name="connsiteX645" fmla="*/ 1854206 w 2039198"/>
                    <a:gd name="connsiteY645" fmla="*/ 670417 h 1686927"/>
                    <a:gd name="connsiteX646" fmla="*/ 1854367 w 2039198"/>
                    <a:gd name="connsiteY646" fmla="*/ 671462 h 1686927"/>
                    <a:gd name="connsiteX647" fmla="*/ 1799182 w 2039198"/>
                    <a:gd name="connsiteY647" fmla="*/ 742231 h 1686927"/>
                    <a:gd name="connsiteX648" fmla="*/ 1792996 w 2039198"/>
                    <a:gd name="connsiteY648" fmla="*/ 737250 h 1686927"/>
                    <a:gd name="connsiteX649" fmla="*/ 1799423 w 2039198"/>
                    <a:gd name="connsiteY649" fmla="*/ 741990 h 1686927"/>
                    <a:gd name="connsiteX650" fmla="*/ 1799182 w 2039198"/>
                    <a:gd name="connsiteY650" fmla="*/ 742231 h 1686927"/>
                    <a:gd name="connsiteX651" fmla="*/ 1851315 w 2039198"/>
                    <a:gd name="connsiteY651" fmla="*/ 642544 h 1686927"/>
                    <a:gd name="connsiteX652" fmla="*/ 1851315 w 2039198"/>
                    <a:gd name="connsiteY652" fmla="*/ 642544 h 1686927"/>
                    <a:gd name="connsiteX653" fmla="*/ 1846656 w 2039198"/>
                    <a:gd name="connsiteY653" fmla="*/ 642303 h 1686927"/>
                    <a:gd name="connsiteX654" fmla="*/ 1846173 w 2039198"/>
                    <a:gd name="connsiteY654" fmla="*/ 641339 h 1686927"/>
                    <a:gd name="connsiteX655" fmla="*/ 1851315 w 2039198"/>
                    <a:gd name="connsiteY655" fmla="*/ 642544 h 1686927"/>
                    <a:gd name="connsiteX656" fmla="*/ 1845210 w 2039198"/>
                    <a:gd name="connsiteY656" fmla="*/ 494499 h 1686927"/>
                    <a:gd name="connsiteX657" fmla="*/ 1846173 w 2039198"/>
                    <a:gd name="connsiteY657" fmla="*/ 495865 h 1686927"/>
                    <a:gd name="connsiteX658" fmla="*/ 1846415 w 2039198"/>
                    <a:gd name="connsiteY658" fmla="*/ 496266 h 1686927"/>
                    <a:gd name="connsiteX659" fmla="*/ 1844808 w 2039198"/>
                    <a:gd name="connsiteY659" fmla="*/ 493856 h 1686927"/>
                    <a:gd name="connsiteX660" fmla="*/ 1844808 w 2039198"/>
                    <a:gd name="connsiteY660" fmla="*/ 493856 h 1686927"/>
                    <a:gd name="connsiteX661" fmla="*/ 1845210 w 2039198"/>
                    <a:gd name="connsiteY661" fmla="*/ 494499 h 1686927"/>
                    <a:gd name="connsiteX662" fmla="*/ 1859588 w 2039198"/>
                    <a:gd name="connsiteY662" fmla="*/ 548399 h 1686927"/>
                    <a:gd name="connsiteX663" fmla="*/ 1860392 w 2039198"/>
                    <a:gd name="connsiteY663" fmla="*/ 551532 h 1686927"/>
                    <a:gd name="connsiteX664" fmla="*/ 1859267 w 2039198"/>
                    <a:gd name="connsiteY664" fmla="*/ 552255 h 1686927"/>
                    <a:gd name="connsiteX665" fmla="*/ 1854769 w 2039198"/>
                    <a:gd name="connsiteY665" fmla="*/ 543740 h 1686927"/>
                    <a:gd name="connsiteX666" fmla="*/ 1859588 w 2039198"/>
                    <a:gd name="connsiteY666" fmla="*/ 548399 h 1686927"/>
                    <a:gd name="connsiteX667" fmla="*/ 1639972 w 2039198"/>
                    <a:gd name="connsiteY667" fmla="*/ 792114 h 1686927"/>
                    <a:gd name="connsiteX668" fmla="*/ 1634429 w 2039198"/>
                    <a:gd name="connsiteY668" fmla="*/ 791793 h 1686927"/>
                    <a:gd name="connsiteX669" fmla="*/ 1635795 w 2039198"/>
                    <a:gd name="connsiteY669" fmla="*/ 791231 h 1686927"/>
                    <a:gd name="connsiteX670" fmla="*/ 1637321 w 2039198"/>
                    <a:gd name="connsiteY670" fmla="*/ 790026 h 1686927"/>
                    <a:gd name="connsiteX671" fmla="*/ 1640132 w 2039198"/>
                    <a:gd name="connsiteY671" fmla="*/ 792034 h 1686927"/>
                    <a:gd name="connsiteX672" fmla="*/ 1639972 w 2039198"/>
                    <a:gd name="connsiteY672" fmla="*/ 792114 h 1686927"/>
                    <a:gd name="connsiteX673" fmla="*/ 1754198 w 2039198"/>
                    <a:gd name="connsiteY673" fmla="*/ 644712 h 1686927"/>
                    <a:gd name="connsiteX674" fmla="*/ 1744398 w 2039198"/>
                    <a:gd name="connsiteY674" fmla="*/ 643989 h 1686927"/>
                    <a:gd name="connsiteX675" fmla="*/ 1739980 w 2039198"/>
                    <a:gd name="connsiteY675" fmla="*/ 642785 h 1686927"/>
                    <a:gd name="connsiteX676" fmla="*/ 1740703 w 2039198"/>
                    <a:gd name="connsiteY676" fmla="*/ 644070 h 1686927"/>
                    <a:gd name="connsiteX677" fmla="*/ 1735562 w 2039198"/>
                    <a:gd name="connsiteY677" fmla="*/ 643507 h 1686927"/>
                    <a:gd name="connsiteX678" fmla="*/ 1738373 w 2039198"/>
                    <a:gd name="connsiteY678" fmla="*/ 641740 h 1686927"/>
                    <a:gd name="connsiteX679" fmla="*/ 1737570 w 2039198"/>
                    <a:gd name="connsiteY679" fmla="*/ 639732 h 1686927"/>
                    <a:gd name="connsiteX680" fmla="*/ 1742470 w 2039198"/>
                    <a:gd name="connsiteY680" fmla="*/ 638527 h 1686927"/>
                    <a:gd name="connsiteX681" fmla="*/ 1743434 w 2039198"/>
                    <a:gd name="connsiteY681" fmla="*/ 638929 h 1686927"/>
                    <a:gd name="connsiteX682" fmla="*/ 1747129 w 2039198"/>
                    <a:gd name="connsiteY682" fmla="*/ 641178 h 1686927"/>
                    <a:gd name="connsiteX683" fmla="*/ 1749137 w 2039198"/>
                    <a:gd name="connsiteY683" fmla="*/ 641901 h 1686927"/>
                    <a:gd name="connsiteX684" fmla="*/ 1754278 w 2039198"/>
                    <a:gd name="connsiteY684" fmla="*/ 644471 h 1686927"/>
                    <a:gd name="connsiteX685" fmla="*/ 1754198 w 2039198"/>
                    <a:gd name="connsiteY685" fmla="*/ 644712 h 1686927"/>
                    <a:gd name="connsiteX686" fmla="*/ 1442606 w 2039198"/>
                    <a:gd name="connsiteY686" fmla="*/ 813160 h 1686927"/>
                    <a:gd name="connsiteX687" fmla="*/ 1433609 w 2039198"/>
                    <a:gd name="connsiteY687" fmla="*/ 820390 h 1686927"/>
                    <a:gd name="connsiteX688" fmla="*/ 1442927 w 2039198"/>
                    <a:gd name="connsiteY688" fmla="*/ 813080 h 1686927"/>
                    <a:gd name="connsiteX689" fmla="*/ 1442606 w 2039198"/>
                    <a:gd name="connsiteY689" fmla="*/ 813160 h 1686927"/>
                    <a:gd name="connsiteX690" fmla="*/ 1813239 w 2039198"/>
                    <a:gd name="connsiteY690" fmla="*/ 473935 h 1686927"/>
                    <a:gd name="connsiteX691" fmla="*/ 1832598 w 2039198"/>
                    <a:gd name="connsiteY691" fmla="*/ 504942 h 1686927"/>
                    <a:gd name="connsiteX692" fmla="*/ 1820549 w 2039198"/>
                    <a:gd name="connsiteY692" fmla="*/ 490965 h 1686927"/>
                    <a:gd name="connsiteX693" fmla="*/ 1820870 w 2039198"/>
                    <a:gd name="connsiteY693" fmla="*/ 491125 h 1686927"/>
                    <a:gd name="connsiteX694" fmla="*/ 1813560 w 2039198"/>
                    <a:gd name="connsiteY694" fmla="*/ 477791 h 1686927"/>
                    <a:gd name="connsiteX695" fmla="*/ 1813159 w 2039198"/>
                    <a:gd name="connsiteY695" fmla="*/ 477148 h 1686927"/>
                    <a:gd name="connsiteX696" fmla="*/ 1811632 w 2039198"/>
                    <a:gd name="connsiteY696" fmla="*/ 475542 h 1686927"/>
                    <a:gd name="connsiteX697" fmla="*/ 1810267 w 2039198"/>
                    <a:gd name="connsiteY697" fmla="*/ 472810 h 1686927"/>
                    <a:gd name="connsiteX698" fmla="*/ 1808901 w 2039198"/>
                    <a:gd name="connsiteY698" fmla="*/ 471686 h 1686927"/>
                    <a:gd name="connsiteX699" fmla="*/ 1813239 w 2039198"/>
                    <a:gd name="connsiteY699" fmla="*/ 473935 h 1686927"/>
                    <a:gd name="connsiteX700" fmla="*/ 1584706 w 2039198"/>
                    <a:gd name="connsiteY700" fmla="*/ 734198 h 1686927"/>
                    <a:gd name="connsiteX701" fmla="*/ 1578199 w 2039198"/>
                    <a:gd name="connsiteY701" fmla="*/ 741106 h 1686927"/>
                    <a:gd name="connsiteX702" fmla="*/ 1585188 w 2039198"/>
                    <a:gd name="connsiteY702" fmla="*/ 733716 h 1686927"/>
                    <a:gd name="connsiteX703" fmla="*/ 1584706 w 2039198"/>
                    <a:gd name="connsiteY703" fmla="*/ 734198 h 1686927"/>
                    <a:gd name="connsiteX704" fmla="*/ 1865613 w 2039198"/>
                    <a:gd name="connsiteY704" fmla="*/ 576514 h 1686927"/>
                    <a:gd name="connsiteX705" fmla="*/ 1866738 w 2039198"/>
                    <a:gd name="connsiteY705" fmla="*/ 583663 h 1686927"/>
                    <a:gd name="connsiteX706" fmla="*/ 1862480 w 2039198"/>
                    <a:gd name="connsiteY706" fmla="*/ 585591 h 1686927"/>
                    <a:gd name="connsiteX707" fmla="*/ 1873324 w 2039198"/>
                    <a:gd name="connsiteY707" fmla="*/ 600050 h 1686927"/>
                    <a:gd name="connsiteX708" fmla="*/ 1872200 w 2039198"/>
                    <a:gd name="connsiteY708" fmla="*/ 596194 h 1686927"/>
                    <a:gd name="connsiteX709" fmla="*/ 1875814 w 2039198"/>
                    <a:gd name="connsiteY709" fmla="*/ 600532 h 1686927"/>
                    <a:gd name="connsiteX710" fmla="*/ 1875172 w 2039198"/>
                    <a:gd name="connsiteY710" fmla="*/ 600773 h 1686927"/>
                    <a:gd name="connsiteX711" fmla="*/ 1877662 w 2039198"/>
                    <a:gd name="connsiteY711" fmla="*/ 605191 h 1686927"/>
                    <a:gd name="connsiteX712" fmla="*/ 1878305 w 2039198"/>
                    <a:gd name="connsiteY712" fmla="*/ 602380 h 1686927"/>
                    <a:gd name="connsiteX713" fmla="*/ 1888747 w 2039198"/>
                    <a:gd name="connsiteY713" fmla="*/ 648890 h 1686927"/>
                    <a:gd name="connsiteX714" fmla="*/ 1870995 w 2039198"/>
                    <a:gd name="connsiteY714" fmla="*/ 633145 h 1686927"/>
                    <a:gd name="connsiteX715" fmla="*/ 1872280 w 2039198"/>
                    <a:gd name="connsiteY715" fmla="*/ 633948 h 1686927"/>
                    <a:gd name="connsiteX716" fmla="*/ 1864649 w 2039198"/>
                    <a:gd name="connsiteY716" fmla="*/ 610734 h 1686927"/>
                    <a:gd name="connsiteX717" fmla="*/ 1825850 w 2039198"/>
                    <a:gd name="connsiteY717" fmla="*/ 584225 h 1686927"/>
                    <a:gd name="connsiteX718" fmla="*/ 1828421 w 2039198"/>
                    <a:gd name="connsiteY718" fmla="*/ 589447 h 1686927"/>
                    <a:gd name="connsiteX719" fmla="*/ 1814444 w 2039198"/>
                    <a:gd name="connsiteY719" fmla="*/ 575871 h 1686927"/>
                    <a:gd name="connsiteX720" fmla="*/ 1815247 w 2039198"/>
                    <a:gd name="connsiteY720" fmla="*/ 576112 h 1686927"/>
                    <a:gd name="connsiteX721" fmla="*/ 1807857 w 2039198"/>
                    <a:gd name="connsiteY721" fmla="*/ 563019 h 1686927"/>
                    <a:gd name="connsiteX722" fmla="*/ 1809303 w 2039198"/>
                    <a:gd name="connsiteY722" fmla="*/ 563179 h 1686927"/>
                    <a:gd name="connsiteX723" fmla="*/ 1805046 w 2039198"/>
                    <a:gd name="connsiteY723" fmla="*/ 542696 h 1686927"/>
                    <a:gd name="connsiteX724" fmla="*/ 1805367 w 2039198"/>
                    <a:gd name="connsiteY724" fmla="*/ 542134 h 1686927"/>
                    <a:gd name="connsiteX725" fmla="*/ 1812275 w 2039198"/>
                    <a:gd name="connsiteY725" fmla="*/ 521088 h 1686927"/>
                    <a:gd name="connsiteX726" fmla="*/ 1822959 w 2039198"/>
                    <a:gd name="connsiteY726" fmla="*/ 532253 h 1686927"/>
                    <a:gd name="connsiteX727" fmla="*/ 1821513 w 2039198"/>
                    <a:gd name="connsiteY727" fmla="*/ 544945 h 1686927"/>
                    <a:gd name="connsiteX728" fmla="*/ 1822557 w 2039198"/>
                    <a:gd name="connsiteY728" fmla="*/ 546793 h 1686927"/>
                    <a:gd name="connsiteX729" fmla="*/ 1828501 w 2039198"/>
                    <a:gd name="connsiteY729" fmla="*/ 552014 h 1686927"/>
                    <a:gd name="connsiteX730" fmla="*/ 1832839 w 2039198"/>
                    <a:gd name="connsiteY730" fmla="*/ 560127 h 1686927"/>
                    <a:gd name="connsiteX731" fmla="*/ 1861034 w 2039198"/>
                    <a:gd name="connsiteY731" fmla="*/ 584145 h 1686927"/>
                    <a:gd name="connsiteX732" fmla="*/ 1855010 w 2039198"/>
                    <a:gd name="connsiteY732" fmla="*/ 569445 h 1686927"/>
                    <a:gd name="connsiteX733" fmla="*/ 1865613 w 2039198"/>
                    <a:gd name="connsiteY733" fmla="*/ 576514 h 1686927"/>
                    <a:gd name="connsiteX734" fmla="*/ 1865613 w 2039198"/>
                    <a:gd name="connsiteY734" fmla="*/ 576514 h 1686927"/>
                    <a:gd name="connsiteX735" fmla="*/ 1732750 w 2039198"/>
                    <a:gd name="connsiteY735" fmla="*/ 617160 h 1686927"/>
                    <a:gd name="connsiteX736" fmla="*/ 1727770 w 2039198"/>
                    <a:gd name="connsiteY736" fmla="*/ 636358 h 1686927"/>
                    <a:gd name="connsiteX737" fmla="*/ 1726405 w 2039198"/>
                    <a:gd name="connsiteY737" fmla="*/ 632663 h 1686927"/>
                    <a:gd name="connsiteX738" fmla="*/ 1726565 w 2039198"/>
                    <a:gd name="connsiteY738" fmla="*/ 632663 h 1686927"/>
                    <a:gd name="connsiteX739" fmla="*/ 1733152 w 2039198"/>
                    <a:gd name="connsiteY739" fmla="*/ 616919 h 1686927"/>
                    <a:gd name="connsiteX740" fmla="*/ 1732750 w 2039198"/>
                    <a:gd name="connsiteY740" fmla="*/ 617160 h 1686927"/>
                    <a:gd name="connsiteX741" fmla="*/ 1461965 w 2039198"/>
                    <a:gd name="connsiteY741" fmla="*/ 782073 h 1686927"/>
                    <a:gd name="connsiteX742" fmla="*/ 1462848 w 2039198"/>
                    <a:gd name="connsiteY742" fmla="*/ 779904 h 1686927"/>
                    <a:gd name="connsiteX743" fmla="*/ 1465419 w 2039198"/>
                    <a:gd name="connsiteY743" fmla="*/ 780306 h 1686927"/>
                    <a:gd name="connsiteX744" fmla="*/ 1461965 w 2039198"/>
                    <a:gd name="connsiteY744" fmla="*/ 782073 h 1686927"/>
                    <a:gd name="connsiteX745" fmla="*/ 1474737 w 2039198"/>
                    <a:gd name="connsiteY745" fmla="*/ 779021 h 1686927"/>
                    <a:gd name="connsiteX746" fmla="*/ 1473532 w 2039198"/>
                    <a:gd name="connsiteY746" fmla="*/ 779663 h 1686927"/>
                    <a:gd name="connsiteX747" fmla="*/ 1464294 w 2039198"/>
                    <a:gd name="connsiteY747" fmla="*/ 779021 h 1686927"/>
                    <a:gd name="connsiteX748" fmla="*/ 1474817 w 2039198"/>
                    <a:gd name="connsiteY748" fmla="*/ 778780 h 1686927"/>
                    <a:gd name="connsiteX749" fmla="*/ 1474737 w 2039198"/>
                    <a:gd name="connsiteY749" fmla="*/ 779021 h 1686927"/>
                    <a:gd name="connsiteX750" fmla="*/ 1703029 w 2039198"/>
                    <a:gd name="connsiteY750" fmla="*/ 609609 h 1686927"/>
                    <a:gd name="connsiteX751" fmla="*/ 1687927 w 2039198"/>
                    <a:gd name="connsiteY751" fmla="*/ 609850 h 1686927"/>
                    <a:gd name="connsiteX752" fmla="*/ 1693229 w 2039198"/>
                    <a:gd name="connsiteY752" fmla="*/ 608163 h 1686927"/>
                    <a:gd name="connsiteX753" fmla="*/ 1693791 w 2039198"/>
                    <a:gd name="connsiteY753" fmla="*/ 604548 h 1686927"/>
                    <a:gd name="connsiteX754" fmla="*/ 1702226 w 2039198"/>
                    <a:gd name="connsiteY754" fmla="*/ 608003 h 1686927"/>
                    <a:gd name="connsiteX755" fmla="*/ 1703029 w 2039198"/>
                    <a:gd name="connsiteY755" fmla="*/ 609609 h 1686927"/>
                    <a:gd name="connsiteX756" fmla="*/ 1745522 w 2039198"/>
                    <a:gd name="connsiteY756" fmla="*/ 378104 h 1686927"/>
                    <a:gd name="connsiteX757" fmla="*/ 1750664 w 2039198"/>
                    <a:gd name="connsiteY757" fmla="*/ 383727 h 1686927"/>
                    <a:gd name="connsiteX758" fmla="*/ 1750262 w 2039198"/>
                    <a:gd name="connsiteY758" fmla="*/ 383968 h 1686927"/>
                    <a:gd name="connsiteX759" fmla="*/ 1745041 w 2039198"/>
                    <a:gd name="connsiteY759" fmla="*/ 377542 h 1686927"/>
                    <a:gd name="connsiteX760" fmla="*/ 1745522 w 2039198"/>
                    <a:gd name="connsiteY760" fmla="*/ 378104 h 1686927"/>
                    <a:gd name="connsiteX761" fmla="*/ 1731385 w 2039198"/>
                    <a:gd name="connsiteY761" fmla="*/ 374409 h 1686927"/>
                    <a:gd name="connsiteX762" fmla="*/ 1736205 w 2039198"/>
                    <a:gd name="connsiteY762" fmla="*/ 380514 h 1686927"/>
                    <a:gd name="connsiteX763" fmla="*/ 1730260 w 2039198"/>
                    <a:gd name="connsiteY763" fmla="*/ 373445 h 1686927"/>
                    <a:gd name="connsiteX764" fmla="*/ 1731385 w 2039198"/>
                    <a:gd name="connsiteY764" fmla="*/ 374409 h 1686927"/>
                    <a:gd name="connsiteX765" fmla="*/ 1378022 w 2039198"/>
                    <a:gd name="connsiteY765" fmla="*/ 728093 h 1686927"/>
                    <a:gd name="connsiteX766" fmla="*/ 1372640 w 2039198"/>
                    <a:gd name="connsiteY766" fmla="*/ 732431 h 1686927"/>
                    <a:gd name="connsiteX767" fmla="*/ 1367017 w 2039198"/>
                    <a:gd name="connsiteY767" fmla="*/ 729860 h 1686927"/>
                    <a:gd name="connsiteX768" fmla="*/ 1366776 w 2039198"/>
                    <a:gd name="connsiteY768" fmla="*/ 719819 h 1686927"/>
                    <a:gd name="connsiteX769" fmla="*/ 1372640 w 2039198"/>
                    <a:gd name="connsiteY769" fmla="*/ 721586 h 1686927"/>
                    <a:gd name="connsiteX770" fmla="*/ 1378343 w 2039198"/>
                    <a:gd name="connsiteY770" fmla="*/ 727691 h 1686927"/>
                    <a:gd name="connsiteX771" fmla="*/ 1378022 w 2039198"/>
                    <a:gd name="connsiteY771" fmla="*/ 728093 h 1686927"/>
                    <a:gd name="connsiteX772" fmla="*/ 1697326 w 2039198"/>
                    <a:gd name="connsiteY772" fmla="*/ 328140 h 1686927"/>
                    <a:gd name="connsiteX773" fmla="*/ 1699414 w 2039198"/>
                    <a:gd name="connsiteY773" fmla="*/ 330068 h 1686927"/>
                    <a:gd name="connsiteX774" fmla="*/ 1697085 w 2039198"/>
                    <a:gd name="connsiteY774" fmla="*/ 327899 h 1686927"/>
                    <a:gd name="connsiteX775" fmla="*/ 1697326 w 2039198"/>
                    <a:gd name="connsiteY775" fmla="*/ 328140 h 1686927"/>
                    <a:gd name="connsiteX776" fmla="*/ 1528958 w 2039198"/>
                    <a:gd name="connsiteY776" fmla="*/ 608886 h 1686927"/>
                    <a:gd name="connsiteX777" fmla="*/ 1528798 w 2039198"/>
                    <a:gd name="connsiteY777" fmla="*/ 609609 h 1686927"/>
                    <a:gd name="connsiteX778" fmla="*/ 1526950 w 2039198"/>
                    <a:gd name="connsiteY778" fmla="*/ 614268 h 1686927"/>
                    <a:gd name="connsiteX779" fmla="*/ 1523496 w 2039198"/>
                    <a:gd name="connsiteY779" fmla="*/ 618204 h 1686927"/>
                    <a:gd name="connsiteX780" fmla="*/ 1530806 w 2039198"/>
                    <a:gd name="connsiteY780" fmla="*/ 605593 h 1686927"/>
                    <a:gd name="connsiteX781" fmla="*/ 1528958 w 2039198"/>
                    <a:gd name="connsiteY781" fmla="*/ 608886 h 1686927"/>
                    <a:gd name="connsiteX782" fmla="*/ 1683911 w 2039198"/>
                    <a:gd name="connsiteY782" fmla="*/ 324605 h 1686927"/>
                    <a:gd name="connsiteX783" fmla="*/ 1684554 w 2039198"/>
                    <a:gd name="connsiteY783" fmla="*/ 325891 h 1686927"/>
                    <a:gd name="connsiteX784" fmla="*/ 1683670 w 2039198"/>
                    <a:gd name="connsiteY784" fmla="*/ 324284 h 1686927"/>
                    <a:gd name="connsiteX785" fmla="*/ 1683911 w 2039198"/>
                    <a:gd name="connsiteY785" fmla="*/ 324605 h 1686927"/>
                    <a:gd name="connsiteX786" fmla="*/ 1696924 w 2039198"/>
                    <a:gd name="connsiteY786" fmla="*/ 408307 h 1686927"/>
                    <a:gd name="connsiteX787" fmla="*/ 1700378 w 2039198"/>
                    <a:gd name="connsiteY787" fmla="*/ 415858 h 1686927"/>
                    <a:gd name="connsiteX788" fmla="*/ 1701663 w 2039198"/>
                    <a:gd name="connsiteY788" fmla="*/ 430638 h 1686927"/>
                    <a:gd name="connsiteX789" fmla="*/ 1712588 w 2039198"/>
                    <a:gd name="connsiteY789" fmla="*/ 445178 h 1686927"/>
                    <a:gd name="connsiteX790" fmla="*/ 1713552 w 2039198"/>
                    <a:gd name="connsiteY790" fmla="*/ 439233 h 1686927"/>
                    <a:gd name="connsiteX791" fmla="*/ 1720219 w 2039198"/>
                    <a:gd name="connsiteY791" fmla="*/ 448230 h 1686927"/>
                    <a:gd name="connsiteX792" fmla="*/ 1723593 w 2039198"/>
                    <a:gd name="connsiteY792" fmla="*/ 453853 h 1686927"/>
                    <a:gd name="connsiteX793" fmla="*/ 1722709 w 2039198"/>
                    <a:gd name="connsiteY793" fmla="*/ 453773 h 1686927"/>
                    <a:gd name="connsiteX794" fmla="*/ 1709054 w 2039198"/>
                    <a:gd name="connsiteY794" fmla="*/ 445178 h 1686927"/>
                    <a:gd name="connsiteX795" fmla="*/ 1707608 w 2039198"/>
                    <a:gd name="connsiteY795" fmla="*/ 442687 h 1686927"/>
                    <a:gd name="connsiteX796" fmla="*/ 1694514 w 2039198"/>
                    <a:gd name="connsiteY796" fmla="*/ 426059 h 1686927"/>
                    <a:gd name="connsiteX797" fmla="*/ 1697165 w 2039198"/>
                    <a:gd name="connsiteY797" fmla="*/ 426381 h 1686927"/>
                    <a:gd name="connsiteX798" fmla="*/ 1694273 w 2039198"/>
                    <a:gd name="connsiteY798" fmla="*/ 423489 h 1686927"/>
                    <a:gd name="connsiteX799" fmla="*/ 1697968 w 2039198"/>
                    <a:gd name="connsiteY799" fmla="*/ 420035 h 1686927"/>
                    <a:gd name="connsiteX800" fmla="*/ 1693872 w 2039198"/>
                    <a:gd name="connsiteY800" fmla="*/ 407906 h 1686927"/>
                    <a:gd name="connsiteX801" fmla="*/ 1696603 w 2039198"/>
                    <a:gd name="connsiteY801" fmla="*/ 409914 h 1686927"/>
                    <a:gd name="connsiteX802" fmla="*/ 1696523 w 2039198"/>
                    <a:gd name="connsiteY802" fmla="*/ 407263 h 1686927"/>
                    <a:gd name="connsiteX803" fmla="*/ 1696924 w 2039198"/>
                    <a:gd name="connsiteY803" fmla="*/ 408307 h 1686927"/>
                    <a:gd name="connsiteX804" fmla="*/ 1536911 w 2039198"/>
                    <a:gd name="connsiteY804" fmla="*/ 518196 h 1686927"/>
                    <a:gd name="connsiteX805" fmla="*/ 1532894 w 2039198"/>
                    <a:gd name="connsiteY805" fmla="*/ 515143 h 1686927"/>
                    <a:gd name="connsiteX806" fmla="*/ 1535545 w 2039198"/>
                    <a:gd name="connsiteY806" fmla="*/ 515866 h 1686927"/>
                    <a:gd name="connsiteX807" fmla="*/ 1536911 w 2039198"/>
                    <a:gd name="connsiteY807" fmla="*/ 518196 h 1686927"/>
                    <a:gd name="connsiteX808" fmla="*/ 1576754 w 2039198"/>
                    <a:gd name="connsiteY808" fmla="*/ 485583 h 1686927"/>
                    <a:gd name="connsiteX809" fmla="*/ 1576593 w 2039198"/>
                    <a:gd name="connsiteY809" fmla="*/ 485824 h 1686927"/>
                    <a:gd name="connsiteX810" fmla="*/ 1574424 w 2039198"/>
                    <a:gd name="connsiteY810" fmla="*/ 488394 h 1686927"/>
                    <a:gd name="connsiteX811" fmla="*/ 1570488 w 2039198"/>
                    <a:gd name="connsiteY811" fmla="*/ 483414 h 1686927"/>
                    <a:gd name="connsiteX812" fmla="*/ 1573540 w 2039198"/>
                    <a:gd name="connsiteY812" fmla="*/ 483735 h 1686927"/>
                    <a:gd name="connsiteX813" fmla="*/ 1574103 w 2039198"/>
                    <a:gd name="connsiteY813" fmla="*/ 482851 h 1686927"/>
                    <a:gd name="connsiteX814" fmla="*/ 1577236 w 2039198"/>
                    <a:gd name="connsiteY814" fmla="*/ 485342 h 1686927"/>
                    <a:gd name="connsiteX815" fmla="*/ 1576754 w 2039198"/>
                    <a:gd name="connsiteY815" fmla="*/ 485583 h 1686927"/>
                    <a:gd name="connsiteX816" fmla="*/ 1422524 w 2039198"/>
                    <a:gd name="connsiteY816" fmla="*/ 569686 h 1686927"/>
                    <a:gd name="connsiteX817" fmla="*/ 1427022 w 2039198"/>
                    <a:gd name="connsiteY817" fmla="*/ 591696 h 1686927"/>
                    <a:gd name="connsiteX818" fmla="*/ 1422443 w 2039198"/>
                    <a:gd name="connsiteY818" fmla="*/ 569525 h 1686927"/>
                    <a:gd name="connsiteX819" fmla="*/ 1422524 w 2039198"/>
                    <a:gd name="connsiteY819" fmla="*/ 569686 h 1686927"/>
                    <a:gd name="connsiteX820" fmla="*/ 1616275 w 2039198"/>
                    <a:gd name="connsiteY820" fmla="*/ 443330 h 1686927"/>
                    <a:gd name="connsiteX821" fmla="*/ 1618926 w 2039198"/>
                    <a:gd name="connsiteY821" fmla="*/ 446222 h 1686927"/>
                    <a:gd name="connsiteX822" fmla="*/ 1616676 w 2039198"/>
                    <a:gd name="connsiteY822" fmla="*/ 445820 h 1686927"/>
                    <a:gd name="connsiteX823" fmla="*/ 1618845 w 2039198"/>
                    <a:gd name="connsiteY823" fmla="*/ 449997 h 1686927"/>
                    <a:gd name="connsiteX824" fmla="*/ 1599406 w 2039198"/>
                    <a:gd name="connsiteY824" fmla="*/ 444856 h 1686927"/>
                    <a:gd name="connsiteX825" fmla="*/ 1602699 w 2039198"/>
                    <a:gd name="connsiteY825" fmla="*/ 445097 h 1686927"/>
                    <a:gd name="connsiteX826" fmla="*/ 1606073 w 2039198"/>
                    <a:gd name="connsiteY826" fmla="*/ 446784 h 1686927"/>
                    <a:gd name="connsiteX827" fmla="*/ 1605190 w 2039198"/>
                    <a:gd name="connsiteY827" fmla="*/ 445258 h 1686927"/>
                    <a:gd name="connsiteX828" fmla="*/ 1608965 w 2039198"/>
                    <a:gd name="connsiteY828" fmla="*/ 444214 h 1686927"/>
                    <a:gd name="connsiteX829" fmla="*/ 1605511 w 2039198"/>
                    <a:gd name="connsiteY829" fmla="*/ 441483 h 1686927"/>
                    <a:gd name="connsiteX830" fmla="*/ 1601093 w 2039198"/>
                    <a:gd name="connsiteY830" fmla="*/ 441643 h 1686927"/>
                    <a:gd name="connsiteX831" fmla="*/ 1601334 w 2039198"/>
                    <a:gd name="connsiteY831" fmla="*/ 442848 h 1686927"/>
                    <a:gd name="connsiteX832" fmla="*/ 1597077 w 2039198"/>
                    <a:gd name="connsiteY832" fmla="*/ 437386 h 1686927"/>
                    <a:gd name="connsiteX833" fmla="*/ 1599647 w 2039198"/>
                    <a:gd name="connsiteY833" fmla="*/ 435217 h 1686927"/>
                    <a:gd name="connsiteX834" fmla="*/ 1600611 w 2039198"/>
                    <a:gd name="connsiteY834" fmla="*/ 432887 h 1686927"/>
                    <a:gd name="connsiteX835" fmla="*/ 1616195 w 2039198"/>
                    <a:gd name="connsiteY835" fmla="*/ 442848 h 1686927"/>
                    <a:gd name="connsiteX836" fmla="*/ 1616275 w 2039198"/>
                    <a:gd name="connsiteY836" fmla="*/ 443330 h 1686927"/>
                    <a:gd name="connsiteX837" fmla="*/ 1431280 w 2039198"/>
                    <a:gd name="connsiteY837" fmla="*/ 554183 h 1686927"/>
                    <a:gd name="connsiteX838" fmla="*/ 1420917 w 2039198"/>
                    <a:gd name="connsiteY838" fmla="*/ 560288 h 1686927"/>
                    <a:gd name="connsiteX839" fmla="*/ 1429512 w 2039198"/>
                    <a:gd name="connsiteY839" fmla="*/ 555307 h 1686927"/>
                    <a:gd name="connsiteX840" fmla="*/ 1431521 w 2039198"/>
                    <a:gd name="connsiteY840" fmla="*/ 553701 h 1686927"/>
                    <a:gd name="connsiteX841" fmla="*/ 1431280 w 2039198"/>
                    <a:gd name="connsiteY841" fmla="*/ 554183 h 1686927"/>
                    <a:gd name="connsiteX842" fmla="*/ 1409993 w 2039198"/>
                    <a:gd name="connsiteY842" fmla="*/ 570811 h 1686927"/>
                    <a:gd name="connsiteX843" fmla="*/ 1407743 w 2039198"/>
                    <a:gd name="connsiteY843" fmla="*/ 582619 h 1686927"/>
                    <a:gd name="connsiteX844" fmla="*/ 1404852 w 2039198"/>
                    <a:gd name="connsiteY844" fmla="*/ 586957 h 1686927"/>
                    <a:gd name="connsiteX845" fmla="*/ 1403968 w 2039198"/>
                    <a:gd name="connsiteY845" fmla="*/ 587840 h 1686927"/>
                    <a:gd name="connsiteX846" fmla="*/ 1401157 w 2039198"/>
                    <a:gd name="connsiteY846" fmla="*/ 589848 h 1686927"/>
                    <a:gd name="connsiteX847" fmla="*/ 1401076 w 2039198"/>
                    <a:gd name="connsiteY847" fmla="*/ 590170 h 1686927"/>
                    <a:gd name="connsiteX848" fmla="*/ 1399148 w 2039198"/>
                    <a:gd name="connsiteY848" fmla="*/ 592178 h 1686927"/>
                    <a:gd name="connsiteX849" fmla="*/ 1393606 w 2039198"/>
                    <a:gd name="connsiteY849" fmla="*/ 581816 h 1686927"/>
                    <a:gd name="connsiteX850" fmla="*/ 1396096 w 2039198"/>
                    <a:gd name="connsiteY850" fmla="*/ 583261 h 1686927"/>
                    <a:gd name="connsiteX851" fmla="*/ 1395935 w 2039198"/>
                    <a:gd name="connsiteY851" fmla="*/ 570730 h 1686927"/>
                    <a:gd name="connsiteX852" fmla="*/ 1409511 w 2039198"/>
                    <a:gd name="connsiteY852" fmla="*/ 570007 h 1686927"/>
                    <a:gd name="connsiteX853" fmla="*/ 1409993 w 2039198"/>
                    <a:gd name="connsiteY853" fmla="*/ 570811 h 1686927"/>
                    <a:gd name="connsiteX854" fmla="*/ 1599406 w 2039198"/>
                    <a:gd name="connsiteY854" fmla="*/ 418830 h 1686927"/>
                    <a:gd name="connsiteX855" fmla="*/ 1601494 w 2039198"/>
                    <a:gd name="connsiteY855" fmla="*/ 421079 h 1686927"/>
                    <a:gd name="connsiteX856" fmla="*/ 1592016 w 2039198"/>
                    <a:gd name="connsiteY856" fmla="*/ 418991 h 1686927"/>
                    <a:gd name="connsiteX857" fmla="*/ 1599085 w 2039198"/>
                    <a:gd name="connsiteY857" fmla="*/ 418509 h 1686927"/>
                    <a:gd name="connsiteX858" fmla="*/ 1599406 w 2039198"/>
                    <a:gd name="connsiteY858" fmla="*/ 418830 h 1686927"/>
                    <a:gd name="connsiteX859" fmla="*/ 1306048 w 2039198"/>
                    <a:gd name="connsiteY859" fmla="*/ 588162 h 1686927"/>
                    <a:gd name="connsiteX860" fmla="*/ 1306450 w 2039198"/>
                    <a:gd name="connsiteY860" fmla="*/ 591053 h 1686927"/>
                    <a:gd name="connsiteX861" fmla="*/ 1305325 w 2039198"/>
                    <a:gd name="connsiteY861" fmla="*/ 589447 h 1686927"/>
                    <a:gd name="connsiteX862" fmla="*/ 1306048 w 2039198"/>
                    <a:gd name="connsiteY862" fmla="*/ 588081 h 1686927"/>
                    <a:gd name="connsiteX863" fmla="*/ 1306048 w 2039198"/>
                    <a:gd name="connsiteY863" fmla="*/ 588162 h 1686927"/>
                    <a:gd name="connsiteX864" fmla="*/ 1581011 w 2039198"/>
                    <a:gd name="connsiteY864" fmla="*/ 407906 h 1686927"/>
                    <a:gd name="connsiteX865" fmla="*/ 1583019 w 2039198"/>
                    <a:gd name="connsiteY865" fmla="*/ 411119 h 1686927"/>
                    <a:gd name="connsiteX866" fmla="*/ 1582698 w 2039198"/>
                    <a:gd name="connsiteY866" fmla="*/ 410878 h 1686927"/>
                    <a:gd name="connsiteX867" fmla="*/ 1579083 w 2039198"/>
                    <a:gd name="connsiteY867" fmla="*/ 408950 h 1686927"/>
                    <a:gd name="connsiteX868" fmla="*/ 1575629 w 2039198"/>
                    <a:gd name="connsiteY868" fmla="*/ 406138 h 1686927"/>
                    <a:gd name="connsiteX869" fmla="*/ 1581011 w 2039198"/>
                    <a:gd name="connsiteY869" fmla="*/ 407906 h 1686927"/>
                    <a:gd name="connsiteX870" fmla="*/ 1506467 w 2039198"/>
                    <a:gd name="connsiteY870" fmla="*/ 462528 h 1686927"/>
                    <a:gd name="connsiteX871" fmla="*/ 1506386 w 2039198"/>
                    <a:gd name="connsiteY871" fmla="*/ 464135 h 1686927"/>
                    <a:gd name="connsiteX872" fmla="*/ 1503735 w 2039198"/>
                    <a:gd name="connsiteY872" fmla="*/ 465179 h 1686927"/>
                    <a:gd name="connsiteX873" fmla="*/ 1502450 w 2039198"/>
                    <a:gd name="connsiteY873" fmla="*/ 464537 h 1686927"/>
                    <a:gd name="connsiteX874" fmla="*/ 1504619 w 2039198"/>
                    <a:gd name="connsiteY874" fmla="*/ 464215 h 1686927"/>
                    <a:gd name="connsiteX875" fmla="*/ 1504378 w 2039198"/>
                    <a:gd name="connsiteY875" fmla="*/ 461886 h 1686927"/>
                    <a:gd name="connsiteX876" fmla="*/ 1506467 w 2039198"/>
                    <a:gd name="connsiteY876" fmla="*/ 462528 h 1686927"/>
                    <a:gd name="connsiteX877" fmla="*/ 1463652 w 2039198"/>
                    <a:gd name="connsiteY877" fmla="*/ 480201 h 1686927"/>
                    <a:gd name="connsiteX878" fmla="*/ 1462366 w 2039198"/>
                    <a:gd name="connsiteY878" fmla="*/ 483976 h 1686927"/>
                    <a:gd name="connsiteX879" fmla="*/ 1461644 w 2039198"/>
                    <a:gd name="connsiteY879" fmla="*/ 487591 h 1686927"/>
                    <a:gd name="connsiteX880" fmla="*/ 1463812 w 2039198"/>
                    <a:gd name="connsiteY880" fmla="*/ 479719 h 1686927"/>
                    <a:gd name="connsiteX881" fmla="*/ 1463652 w 2039198"/>
                    <a:gd name="connsiteY881" fmla="*/ 480201 h 1686927"/>
                    <a:gd name="connsiteX882" fmla="*/ 1470078 w 2039198"/>
                    <a:gd name="connsiteY882" fmla="*/ 480602 h 1686927"/>
                    <a:gd name="connsiteX883" fmla="*/ 1465178 w 2039198"/>
                    <a:gd name="connsiteY883" fmla="*/ 480442 h 1686927"/>
                    <a:gd name="connsiteX884" fmla="*/ 1465821 w 2039198"/>
                    <a:gd name="connsiteY884" fmla="*/ 477550 h 1686927"/>
                    <a:gd name="connsiteX885" fmla="*/ 1470239 w 2039198"/>
                    <a:gd name="connsiteY885" fmla="*/ 480602 h 1686927"/>
                    <a:gd name="connsiteX886" fmla="*/ 1470078 w 2039198"/>
                    <a:gd name="connsiteY886" fmla="*/ 480602 h 1686927"/>
                    <a:gd name="connsiteX887" fmla="*/ 1544863 w 2039198"/>
                    <a:gd name="connsiteY887" fmla="*/ 441242 h 1686927"/>
                    <a:gd name="connsiteX888" fmla="*/ 1546149 w 2039198"/>
                    <a:gd name="connsiteY888" fmla="*/ 452648 h 1686927"/>
                    <a:gd name="connsiteX889" fmla="*/ 1545827 w 2039198"/>
                    <a:gd name="connsiteY889" fmla="*/ 461725 h 1686927"/>
                    <a:gd name="connsiteX890" fmla="*/ 1540124 w 2039198"/>
                    <a:gd name="connsiteY890" fmla="*/ 456825 h 1686927"/>
                    <a:gd name="connsiteX891" fmla="*/ 1534019 w 2039198"/>
                    <a:gd name="connsiteY891" fmla="*/ 454335 h 1686927"/>
                    <a:gd name="connsiteX892" fmla="*/ 1518034 w 2039198"/>
                    <a:gd name="connsiteY892" fmla="*/ 446222 h 1686927"/>
                    <a:gd name="connsiteX893" fmla="*/ 1515142 w 2039198"/>
                    <a:gd name="connsiteY893" fmla="*/ 441724 h 1686927"/>
                    <a:gd name="connsiteX894" fmla="*/ 1514580 w 2039198"/>
                    <a:gd name="connsiteY894" fmla="*/ 441081 h 1686927"/>
                    <a:gd name="connsiteX895" fmla="*/ 1516508 w 2039198"/>
                    <a:gd name="connsiteY895" fmla="*/ 434494 h 1686927"/>
                    <a:gd name="connsiteX896" fmla="*/ 1538758 w 2039198"/>
                    <a:gd name="connsiteY896" fmla="*/ 437225 h 1686927"/>
                    <a:gd name="connsiteX897" fmla="*/ 1544863 w 2039198"/>
                    <a:gd name="connsiteY897" fmla="*/ 441242 h 1686927"/>
                    <a:gd name="connsiteX898" fmla="*/ 1471444 w 2039198"/>
                    <a:gd name="connsiteY898" fmla="*/ 468633 h 1686927"/>
                    <a:gd name="connsiteX899" fmla="*/ 1474335 w 2039198"/>
                    <a:gd name="connsiteY899" fmla="*/ 477068 h 1686927"/>
                    <a:gd name="connsiteX900" fmla="*/ 1475781 w 2039198"/>
                    <a:gd name="connsiteY900" fmla="*/ 479478 h 1686927"/>
                    <a:gd name="connsiteX901" fmla="*/ 1477468 w 2039198"/>
                    <a:gd name="connsiteY901" fmla="*/ 478996 h 1686927"/>
                    <a:gd name="connsiteX902" fmla="*/ 1477227 w 2039198"/>
                    <a:gd name="connsiteY902" fmla="*/ 479397 h 1686927"/>
                    <a:gd name="connsiteX903" fmla="*/ 1479798 w 2039198"/>
                    <a:gd name="connsiteY903" fmla="*/ 480602 h 1686927"/>
                    <a:gd name="connsiteX904" fmla="*/ 1470319 w 2039198"/>
                    <a:gd name="connsiteY904" fmla="*/ 479960 h 1686927"/>
                    <a:gd name="connsiteX905" fmla="*/ 1470480 w 2039198"/>
                    <a:gd name="connsiteY905" fmla="*/ 467670 h 1686927"/>
                    <a:gd name="connsiteX906" fmla="*/ 1471444 w 2039198"/>
                    <a:gd name="connsiteY906" fmla="*/ 468633 h 1686927"/>
                    <a:gd name="connsiteX907" fmla="*/ 1486626 w 2039198"/>
                    <a:gd name="connsiteY907" fmla="*/ 459235 h 1686927"/>
                    <a:gd name="connsiteX908" fmla="*/ 1482930 w 2039198"/>
                    <a:gd name="connsiteY908" fmla="*/ 461243 h 1686927"/>
                    <a:gd name="connsiteX909" fmla="*/ 1482850 w 2039198"/>
                    <a:gd name="connsiteY909" fmla="*/ 460681 h 1686927"/>
                    <a:gd name="connsiteX910" fmla="*/ 1483653 w 2039198"/>
                    <a:gd name="connsiteY910" fmla="*/ 462850 h 1686927"/>
                    <a:gd name="connsiteX911" fmla="*/ 1479235 w 2039198"/>
                    <a:gd name="connsiteY911" fmla="*/ 459637 h 1686927"/>
                    <a:gd name="connsiteX912" fmla="*/ 1486947 w 2039198"/>
                    <a:gd name="connsiteY912" fmla="*/ 459235 h 1686927"/>
                    <a:gd name="connsiteX913" fmla="*/ 1486626 w 2039198"/>
                    <a:gd name="connsiteY913" fmla="*/ 459235 h 1686927"/>
                    <a:gd name="connsiteX914" fmla="*/ 1481163 w 2039198"/>
                    <a:gd name="connsiteY914" fmla="*/ 456022 h 1686927"/>
                    <a:gd name="connsiteX915" fmla="*/ 1479637 w 2039198"/>
                    <a:gd name="connsiteY915" fmla="*/ 454174 h 1686927"/>
                    <a:gd name="connsiteX916" fmla="*/ 1481163 w 2039198"/>
                    <a:gd name="connsiteY916" fmla="*/ 456022 h 1686927"/>
                    <a:gd name="connsiteX917" fmla="*/ 1489276 w 2039198"/>
                    <a:gd name="connsiteY917" fmla="*/ 456022 h 1686927"/>
                    <a:gd name="connsiteX918" fmla="*/ 1486947 w 2039198"/>
                    <a:gd name="connsiteY918" fmla="*/ 457066 h 1686927"/>
                    <a:gd name="connsiteX919" fmla="*/ 1489598 w 2039198"/>
                    <a:gd name="connsiteY919" fmla="*/ 458994 h 1686927"/>
                    <a:gd name="connsiteX920" fmla="*/ 1481243 w 2039198"/>
                    <a:gd name="connsiteY920" fmla="*/ 456022 h 1686927"/>
                    <a:gd name="connsiteX921" fmla="*/ 1481243 w 2039198"/>
                    <a:gd name="connsiteY921" fmla="*/ 454094 h 1686927"/>
                    <a:gd name="connsiteX922" fmla="*/ 1483734 w 2039198"/>
                    <a:gd name="connsiteY922" fmla="*/ 453853 h 1686927"/>
                    <a:gd name="connsiteX923" fmla="*/ 1479878 w 2039198"/>
                    <a:gd name="connsiteY923" fmla="*/ 452166 h 1686927"/>
                    <a:gd name="connsiteX924" fmla="*/ 1489598 w 2039198"/>
                    <a:gd name="connsiteY924" fmla="*/ 455942 h 1686927"/>
                    <a:gd name="connsiteX925" fmla="*/ 1489276 w 2039198"/>
                    <a:gd name="connsiteY925" fmla="*/ 456022 h 1686927"/>
                    <a:gd name="connsiteX926" fmla="*/ 1345248 w 2039198"/>
                    <a:gd name="connsiteY926" fmla="*/ 531611 h 1686927"/>
                    <a:gd name="connsiteX927" fmla="*/ 1345088 w 2039198"/>
                    <a:gd name="connsiteY927" fmla="*/ 532896 h 1686927"/>
                    <a:gd name="connsiteX928" fmla="*/ 1343642 w 2039198"/>
                    <a:gd name="connsiteY928" fmla="*/ 530566 h 1686927"/>
                    <a:gd name="connsiteX929" fmla="*/ 1345248 w 2039198"/>
                    <a:gd name="connsiteY929" fmla="*/ 531611 h 1686927"/>
                    <a:gd name="connsiteX930" fmla="*/ 1511849 w 2039198"/>
                    <a:gd name="connsiteY930" fmla="*/ 430237 h 1686927"/>
                    <a:gd name="connsiteX931" fmla="*/ 1511849 w 2039198"/>
                    <a:gd name="connsiteY931" fmla="*/ 430237 h 1686927"/>
                    <a:gd name="connsiteX932" fmla="*/ 1511206 w 2039198"/>
                    <a:gd name="connsiteY932" fmla="*/ 429996 h 1686927"/>
                    <a:gd name="connsiteX933" fmla="*/ 1509198 w 2039198"/>
                    <a:gd name="connsiteY933" fmla="*/ 429192 h 1686927"/>
                    <a:gd name="connsiteX934" fmla="*/ 1508635 w 2039198"/>
                    <a:gd name="connsiteY934" fmla="*/ 428630 h 1686927"/>
                    <a:gd name="connsiteX935" fmla="*/ 1511849 w 2039198"/>
                    <a:gd name="connsiteY935" fmla="*/ 430237 h 1686927"/>
                    <a:gd name="connsiteX936" fmla="*/ 1463893 w 2039198"/>
                    <a:gd name="connsiteY936" fmla="*/ 460601 h 1686927"/>
                    <a:gd name="connsiteX937" fmla="*/ 1467507 w 2039198"/>
                    <a:gd name="connsiteY937" fmla="*/ 464215 h 1686927"/>
                    <a:gd name="connsiteX938" fmla="*/ 1463973 w 2039198"/>
                    <a:gd name="connsiteY938" fmla="*/ 464457 h 1686927"/>
                    <a:gd name="connsiteX939" fmla="*/ 1464134 w 2039198"/>
                    <a:gd name="connsiteY939" fmla="*/ 464617 h 1686927"/>
                    <a:gd name="connsiteX940" fmla="*/ 1461001 w 2039198"/>
                    <a:gd name="connsiteY940" fmla="*/ 465742 h 1686927"/>
                    <a:gd name="connsiteX941" fmla="*/ 1464214 w 2039198"/>
                    <a:gd name="connsiteY941" fmla="*/ 473935 h 1686927"/>
                    <a:gd name="connsiteX942" fmla="*/ 1465178 w 2039198"/>
                    <a:gd name="connsiteY942" fmla="*/ 473694 h 1686927"/>
                    <a:gd name="connsiteX943" fmla="*/ 1465339 w 2039198"/>
                    <a:gd name="connsiteY943" fmla="*/ 476104 h 1686927"/>
                    <a:gd name="connsiteX944" fmla="*/ 1463009 w 2039198"/>
                    <a:gd name="connsiteY944" fmla="*/ 474979 h 1686927"/>
                    <a:gd name="connsiteX945" fmla="*/ 1456422 w 2039198"/>
                    <a:gd name="connsiteY945" fmla="*/ 465019 h 1686927"/>
                    <a:gd name="connsiteX946" fmla="*/ 1456744 w 2039198"/>
                    <a:gd name="connsiteY946" fmla="*/ 462689 h 1686927"/>
                    <a:gd name="connsiteX947" fmla="*/ 1457547 w 2039198"/>
                    <a:gd name="connsiteY947" fmla="*/ 464135 h 1686927"/>
                    <a:gd name="connsiteX948" fmla="*/ 1459394 w 2039198"/>
                    <a:gd name="connsiteY948" fmla="*/ 463010 h 1686927"/>
                    <a:gd name="connsiteX949" fmla="*/ 1464294 w 2039198"/>
                    <a:gd name="connsiteY949" fmla="*/ 462769 h 1686927"/>
                    <a:gd name="connsiteX950" fmla="*/ 1460840 w 2039198"/>
                    <a:gd name="connsiteY950" fmla="*/ 462287 h 1686927"/>
                    <a:gd name="connsiteX951" fmla="*/ 1463893 w 2039198"/>
                    <a:gd name="connsiteY951" fmla="*/ 461886 h 1686927"/>
                    <a:gd name="connsiteX952" fmla="*/ 1461322 w 2039198"/>
                    <a:gd name="connsiteY952" fmla="*/ 458512 h 1686927"/>
                    <a:gd name="connsiteX953" fmla="*/ 1462768 w 2039198"/>
                    <a:gd name="connsiteY953" fmla="*/ 459717 h 1686927"/>
                    <a:gd name="connsiteX954" fmla="*/ 1463009 w 2039198"/>
                    <a:gd name="connsiteY954" fmla="*/ 459396 h 1686927"/>
                    <a:gd name="connsiteX955" fmla="*/ 1463893 w 2039198"/>
                    <a:gd name="connsiteY955" fmla="*/ 460601 h 1686927"/>
                    <a:gd name="connsiteX956" fmla="*/ 1341393 w 2039198"/>
                    <a:gd name="connsiteY956" fmla="*/ 523738 h 1686927"/>
                    <a:gd name="connsiteX957" fmla="*/ 1341634 w 2039198"/>
                    <a:gd name="connsiteY957" fmla="*/ 524461 h 1686927"/>
                    <a:gd name="connsiteX958" fmla="*/ 1343240 w 2039198"/>
                    <a:gd name="connsiteY958" fmla="*/ 527755 h 1686927"/>
                    <a:gd name="connsiteX959" fmla="*/ 1347016 w 2039198"/>
                    <a:gd name="connsiteY959" fmla="*/ 531932 h 1686927"/>
                    <a:gd name="connsiteX960" fmla="*/ 1346534 w 2039198"/>
                    <a:gd name="connsiteY960" fmla="*/ 532173 h 1686927"/>
                    <a:gd name="connsiteX961" fmla="*/ 1339786 w 2039198"/>
                    <a:gd name="connsiteY961" fmla="*/ 523015 h 1686927"/>
                    <a:gd name="connsiteX962" fmla="*/ 1341393 w 2039198"/>
                    <a:gd name="connsiteY962" fmla="*/ 523738 h 1686927"/>
                    <a:gd name="connsiteX963" fmla="*/ 1541088 w 2039198"/>
                    <a:gd name="connsiteY963" fmla="*/ 395053 h 1686927"/>
                    <a:gd name="connsiteX964" fmla="*/ 1536268 w 2039198"/>
                    <a:gd name="connsiteY964" fmla="*/ 391358 h 1686927"/>
                    <a:gd name="connsiteX965" fmla="*/ 1540204 w 2039198"/>
                    <a:gd name="connsiteY965" fmla="*/ 393045 h 1686927"/>
                    <a:gd name="connsiteX966" fmla="*/ 1541088 w 2039198"/>
                    <a:gd name="connsiteY966" fmla="*/ 395053 h 1686927"/>
                    <a:gd name="connsiteX967" fmla="*/ 1488955 w 2039198"/>
                    <a:gd name="connsiteY967" fmla="*/ 426220 h 1686927"/>
                    <a:gd name="connsiteX968" fmla="*/ 1489517 w 2039198"/>
                    <a:gd name="connsiteY968" fmla="*/ 426943 h 1686927"/>
                    <a:gd name="connsiteX969" fmla="*/ 1489196 w 2039198"/>
                    <a:gd name="connsiteY969" fmla="*/ 427265 h 1686927"/>
                    <a:gd name="connsiteX970" fmla="*/ 1485662 w 2039198"/>
                    <a:gd name="connsiteY970" fmla="*/ 425979 h 1686927"/>
                    <a:gd name="connsiteX971" fmla="*/ 1485581 w 2039198"/>
                    <a:gd name="connsiteY971" fmla="*/ 425096 h 1686927"/>
                    <a:gd name="connsiteX972" fmla="*/ 1488955 w 2039198"/>
                    <a:gd name="connsiteY972" fmla="*/ 426220 h 1686927"/>
                    <a:gd name="connsiteX973" fmla="*/ 1554342 w 2039198"/>
                    <a:gd name="connsiteY973" fmla="*/ 412966 h 1686927"/>
                    <a:gd name="connsiteX974" fmla="*/ 1553137 w 2039198"/>
                    <a:gd name="connsiteY974" fmla="*/ 422043 h 1686927"/>
                    <a:gd name="connsiteX975" fmla="*/ 1550647 w 2039198"/>
                    <a:gd name="connsiteY975" fmla="*/ 419874 h 1686927"/>
                    <a:gd name="connsiteX976" fmla="*/ 1551450 w 2039198"/>
                    <a:gd name="connsiteY976" fmla="*/ 417786 h 1686927"/>
                    <a:gd name="connsiteX977" fmla="*/ 1535144 w 2039198"/>
                    <a:gd name="connsiteY977" fmla="*/ 414091 h 1686927"/>
                    <a:gd name="connsiteX978" fmla="*/ 1525344 w 2039198"/>
                    <a:gd name="connsiteY978" fmla="*/ 404612 h 1686927"/>
                    <a:gd name="connsiteX979" fmla="*/ 1526629 w 2039198"/>
                    <a:gd name="connsiteY979" fmla="*/ 404371 h 1686927"/>
                    <a:gd name="connsiteX980" fmla="*/ 1525906 w 2039198"/>
                    <a:gd name="connsiteY980" fmla="*/ 405255 h 1686927"/>
                    <a:gd name="connsiteX981" fmla="*/ 1531609 w 2039198"/>
                    <a:gd name="connsiteY981" fmla="*/ 404532 h 1686927"/>
                    <a:gd name="connsiteX982" fmla="*/ 1531529 w 2039198"/>
                    <a:gd name="connsiteY982" fmla="*/ 404291 h 1686927"/>
                    <a:gd name="connsiteX983" fmla="*/ 1530565 w 2039198"/>
                    <a:gd name="connsiteY983" fmla="*/ 404130 h 1686927"/>
                    <a:gd name="connsiteX984" fmla="*/ 1523817 w 2039198"/>
                    <a:gd name="connsiteY984" fmla="*/ 399310 h 1686927"/>
                    <a:gd name="connsiteX985" fmla="*/ 1515062 w 2039198"/>
                    <a:gd name="connsiteY985" fmla="*/ 395856 h 1686927"/>
                    <a:gd name="connsiteX986" fmla="*/ 1524701 w 2039198"/>
                    <a:gd name="connsiteY986" fmla="*/ 395535 h 1686927"/>
                    <a:gd name="connsiteX987" fmla="*/ 1525665 w 2039198"/>
                    <a:gd name="connsiteY987" fmla="*/ 395455 h 1686927"/>
                    <a:gd name="connsiteX988" fmla="*/ 1527272 w 2039198"/>
                    <a:gd name="connsiteY988" fmla="*/ 396499 h 1686927"/>
                    <a:gd name="connsiteX989" fmla="*/ 1553619 w 2039198"/>
                    <a:gd name="connsiteY989" fmla="*/ 410637 h 1686927"/>
                    <a:gd name="connsiteX990" fmla="*/ 1554342 w 2039198"/>
                    <a:gd name="connsiteY990" fmla="*/ 412966 h 1686927"/>
                    <a:gd name="connsiteX991" fmla="*/ 1488714 w 2039198"/>
                    <a:gd name="connsiteY991" fmla="*/ 422525 h 1686927"/>
                    <a:gd name="connsiteX992" fmla="*/ 1490160 w 2039198"/>
                    <a:gd name="connsiteY992" fmla="*/ 425176 h 1686927"/>
                    <a:gd name="connsiteX993" fmla="*/ 1486143 w 2039198"/>
                    <a:gd name="connsiteY993" fmla="*/ 423810 h 1686927"/>
                    <a:gd name="connsiteX994" fmla="*/ 1484939 w 2039198"/>
                    <a:gd name="connsiteY994" fmla="*/ 422927 h 1686927"/>
                    <a:gd name="connsiteX995" fmla="*/ 1486385 w 2039198"/>
                    <a:gd name="connsiteY995" fmla="*/ 422927 h 1686927"/>
                    <a:gd name="connsiteX996" fmla="*/ 1482609 w 2039198"/>
                    <a:gd name="connsiteY996" fmla="*/ 419874 h 1686927"/>
                    <a:gd name="connsiteX997" fmla="*/ 1488714 w 2039198"/>
                    <a:gd name="connsiteY997" fmla="*/ 422525 h 1686927"/>
                    <a:gd name="connsiteX998" fmla="*/ 1492570 w 2039198"/>
                    <a:gd name="connsiteY998" fmla="*/ 414733 h 1686927"/>
                    <a:gd name="connsiteX999" fmla="*/ 1494819 w 2039198"/>
                    <a:gd name="connsiteY999" fmla="*/ 418188 h 1686927"/>
                    <a:gd name="connsiteX1000" fmla="*/ 1495140 w 2039198"/>
                    <a:gd name="connsiteY1000" fmla="*/ 418428 h 1686927"/>
                    <a:gd name="connsiteX1001" fmla="*/ 1493534 w 2039198"/>
                    <a:gd name="connsiteY1001" fmla="*/ 418991 h 1686927"/>
                    <a:gd name="connsiteX1002" fmla="*/ 1490481 w 2039198"/>
                    <a:gd name="connsiteY1002" fmla="*/ 413287 h 1686927"/>
                    <a:gd name="connsiteX1003" fmla="*/ 1492570 w 2039198"/>
                    <a:gd name="connsiteY1003" fmla="*/ 414733 h 1686927"/>
                    <a:gd name="connsiteX1004" fmla="*/ 1469676 w 2039198"/>
                    <a:gd name="connsiteY1004" fmla="*/ 436181 h 1686927"/>
                    <a:gd name="connsiteX1005" fmla="*/ 1469194 w 2039198"/>
                    <a:gd name="connsiteY1005" fmla="*/ 436583 h 1686927"/>
                    <a:gd name="connsiteX1006" fmla="*/ 1468873 w 2039198"/>
                    <a:gd name="connsiteY1006" fmla="*/ 437868 h 1686927"/>
                    <a:gd name="connsiteX1007" fmla="*/ 1473050 w 2039198"/>
                    <a:gd name="connsiteY1007" fmla="*/ 440519 h 1686927"/>
                    <a:gd name="connsiteX1008" fmla="*/ 1474978 w 2039198"/>
                    <a:gd name="connsiteY1008" fmla="*/ 443330 h 1686927"/>
                    <a:gd name="connsiteX1009" fmla="*/ 1471042 w 2039198"/>
                    <a:gd name="connsiteY1009" fmla="*/ 442205 h 1686927"/>
                    <a:gd name="connsiteX1010" fmla="*/ 1473853 w 2039198"/>
                    <a:gd name="connsiteY1010" fmla="*/ 448311 h 1686927"/>
                    <a:gd name="connsiteX1011" fmla="*/ 1472648 w 2039198"/>
                    <a:gd name="connsiteY1011" fmla="*/ 446061 h 1686927"/>
                    <a:gd name="connsiteX1012" fmla="*/ 1469355 w 2039198"/>
                    <a:gd name="connsiteY1012" fmla="*/ 445097 h 1686927"/>
                    <a:gd name="connsiteX1013" fmla="*/ 1472407 w 2039198"/>
                    <a:gd name="connsiteY1013" fmla="*/ 448632 h 1686927"/>
                    <a:gd name="connsiteX1014" fmla="*/ 1472407 w 2039198"/>
                    <a:gd name="connsiteY1014" fmla="*/ 450399 h 1686927"/>
                    <a:gd name="connsiteX1015" fmla="*/ 1469757 w 2039198"/>
                    <a:gd name="connsiteY1015" fmla="*/ 449596 h 1686927"/>
                    <a:gd name="connsiteX1016" fmla="*/ 1473371 w 2039198"/>
                    <a:gd name="connsiteY1016" fmla="*/ 453612 h 1686927"/>
                    <a:gd name="connsiteX1017" fmla="*/ 1471685 w 2039198"/>
                    <a:gd name="connsiteY1017" fmla="*/ 452969 h 1686927"/>
                    <a:gd name="connsiteX1018" fmla="*/ 1475781 w 2039198"/>
                    <a:gd name="connsiteY1018" fmla="*/ 459637 h 1686927"/>
                    <a:gd name="connsiteX1019" fmla="*/ 1477067 w 2039198"/>
                    <a:gd name="connsiteY1019" fmla="*/ 461565 h 1686927"/>
                    <a:gd name="connsiteX1020" fmla="*/ 1477147 w 2039198"/>
                    <a:gd name="connsiteY1020" fmla="*/ 460440 h 1686927"/>
                    <a:gd name="connsiteX1021" fmla="*/ 1480521 w 2039198"/>
                    <a:gd name="connsiteY1021" fmla="*/ 464055 h 1686927"/>
                    <a:gd name="connsiteX1022" fmla="*/ 1487589 w 2039198"/>
                    <a:gd name="connsiteY1022" fmla="*/ 469115 h 1686927"/>
                    <a:gd name="connsiteX1023" fmla="*/ 1488634 w 2039198"/>
                    <a:gd name="connsiteY1023" fmla="*/ 464697 h 1686927"/>
                    <a:gd name="connsiteX1024" fmla="*/ 1493453 w 2039198"/>
                    <a:gd name="connsiteY1024" fmla="*/ 472891 h 1686927"/>
                    <a:gd name="connsiteX1025" fmla="*/ 1490883 w 2039198"/>
                    <a:gd name="connsiteY1025" fmla="*/ 469838 h 1686927"/>
                    <a:gd name="connsiteX1026" fmla="*/ 1490240 w 2039198"/>
                    <a:gd name="connsiteY1026" fmla="*/ 469758 h 1686927"/>
                    <a:gd name="connsiteX1027" fmla="*/ 1485340 w 2039198"/>
                    <a:gd name="connsiteY1027" fmla="*/ 470079 h 1686927"/>
                    <a:gd name="connsiteX1028" fmla="*/ 1489035 w 2039198"/>
                    <a:gd name="connsiteY1028" fmla="*/ 474256 h 1686927"/>
                    <a:gd name="connsiteX1029" fmla="*/ 1487108 w 2039198"/>
                    <a:gd name="connsiteY1029" fmla="*/ 473774 h 1686927"/>
                    <a:gd name="connsiteX1030" fmla="*/ 1486304 w 2039198"/>
                    <a:gd name="connsiteY1030" fmla="*/ 474658 h 1686927"/>
                    <a:gd name="connsiteX1031" fmla="*/ 1483814 w 2039198"/>
                    <a:gd name="connsiteY1031" fmla="*/ 470642 h 1686927"/>
                    <a:gd name="connsiteX1032" fmla="*/ 1484055 w 2039198"/>
                    <a:gd name="connsiteY1032" fmla="*/ 471365 h 1686927"/>
                    <a:gd name="connsiteX1033" fmla="*/ 1473371 w 2039198"/>
                    <a:gd name="connsiteY1033" fmla="*/ 463412 h 1686927"/>
                    <a:gd name="connsiteX1034" fmla="*/ 1473773 w 2039198"/>
                    <a:gd name="connsiteY1034" fmla="*/ 463171 h 1686927"/>
                    <a:gd name="connsiteX1035" fmla="*/ 1473532 w 2039198"/>
                    <a:gd name="connsiteY1035" fmla="*/ 461565 h 1686927"/>
                    <a:gd name="connsiteX1036" fmla="*/ 1472809 w 2039198"/>
                    <a:gd name="connsiteY1036" fmla="*/ 461484 h 1686927"/>
                    <a:gd name="connsiteX1037" fmla="*/ 1469596 w 2039198"/>
                    <a:gd name="connsiteY1037" fmla="*/ 456182 h 1686927"/>
                    <a:gd name="connsiteX1038" fmla="*/ 1466062 w 2039198"/>
                    <a:gd name="connsiteY1038" fmla="*/ 448953 h 1686927"/>
                    <a:gd name="connsiteX1039" fmla="*/ 1462768 w 2039198"/>
                    <a:gd name="connsiteY1039" fmla="*/ 444214 h 1686927"/>
                    <a:gd name="connsiteX1040" fmla="*/ 1452004 w 2039198"/>
                    <a:gd name="connsiteY1040" fmla="*/ 437225 h 1686927"/>
                    <a:gd name="connsiteX1041" fmla="*/ 1455539 w 2039198"/>
                    <a:gd name="connsiteY1041" fmla="*/ 438510 h 1686927"/>
                    <a:gd name="connsiteX1042" fmla="*/ 1455137 w 2039198"/>
                    <a:gd name="connsiteY1042" fmla="*/ 437627 h 1686927"/>
                    <a:gd name="connsiteX1043" fmla="*/ 1459555 w 2039198"/>
                    <a:gd name="connsiteY1043" fmla="*/ 438912 h 1686927"/>
                    <a:gd name="connsiteX1044" fmla="*/ 1458912 w 2039198"/>
                    <a:gd name="connsiteY1044" fmla="*/ 439073 h 1686927"/>
                    <a:gd name="connsiteX1045" fmla="*/ 1466222 w 2039198"/>
                    <a:gd name="connsiteY1045" fmla="*/ 441643 h 1686927"/>
                    <a:gd name="connsiteX1046" fmla="*/ 1463009 w 2039198"/>
                    <a:gd name="connsiteY1046" fmla="*/ 443169 h 1686927"/>
                    <a:gd name="connsiteX1047" fmla="*/ 1463652 w 2039198"/>
                    <a:gd name="connsiteY1047" fmla="*/ 444053 h 1686927"/>
                    <a:gd name="connsiteX1048" fmla="*/ 1465258 w 2039198"/>
                    <a:gd name="connsiteY1048" fmla="*/ 445097 h 1686927"/>
                    <a:gd name="connsiteX1049" fmla="*/ 1470480 w 2039198"/>
                    <a:gd name="connsiteY1049" fmla="*/ 448471 h 1686927"/>
                    <a:gd name="connsiteX1050" fmla="*/ 1468391 w 2039198"/>
                    <a:gd name="connsiteY1050" fmla="*/ 442768 h 1686927"/>
                    <a:gd name="connsiteX1051" fmla="*/ 1463812 w 2039198"/>
                    <a:gd name="connsiteY1051" fmla="*/ 439555 h 1686927"/>
                    <a:gd name="connsiteX1052" fmla="*/ 1471283 w 2039198"/>
                    <a:gd name="connsiteY1052" fmla="*/ 441402 h 1686927"/>
                    <a:gd name="connsiteX1053" fmla="*/ 1464616 w 2039198"/>
                    <a:gd name="connsiteY1053" fmla="*/ 437627 h 1686927"/>
                    <a:gd name="connsiteX1054" fmla="*/ 1466945 w 2039198"/>
                    <a:gd name="connsiteY1054" fmla="*/ 437868 h 1686927"/>
                    <a:gd name="connsiteX1055" fmla="*/ 1465901 w 2039198"/>
                    <a:gd name="connsiteY1055" fmla="*/ 433209 h 1686927"/>
                    <a:gd name="connsiteX1056" fmla="*/ 1467106 w 2039198"/>
                    <a:gd name="connsiteY1056" fmla="*/ 435378 h 1686927"/>
                    <a:gd name="connsiteX1057" fmla="*/ 1466704 w 2039198"/>
                    <a:gd name="connsiteY1057" fmla="*/ 435619 h 1686927"/>
                    <a:gd name="connsiteX1058" fmla="*/ 1469516 w 2039198"/>
                    <a:gd name="connsiteY1058" fmla="*/ 435779 h 1686927"/>
                    <a:gd name="connsiteX1059" fmla="*/ 1469676 w 2039198"/>
                    <a:gd name="connsiteY1059" fmla="*/ 436181 h 1686927"/>
                    <a:gd name="connsiteX1060" fmla="*/ 1458270 w 2039198"/>
                    <a:gd name="connsiteY1060" fmla="*/ 430719 h 1686927"/>
                    <a:gd name="connsiteX1061" fmla="*/ 1464214 w 2039198"/>
                    <a:gd name="connsiteY1061" fmla="*/ 436583 h 1686927"/>
                    <a:gd name="connsiteX1062" fmla="*/ 1455699 w 2039198"/>
                    <a:gd name="connsiteY1062" fmla="*/ 433369 h 1686927"/>
                    <a:gd name="connsiteX1063" fmla="*/ 1457788 w 2039198"/>
                    <a:gd name="connsiteY1063" fmla="*/ 432566 h 1686927"/>
                    <a:gd name="connsiteX1064" fmla="*/ 1458109 w 2039198"/>
                    <a:gd name="connsiteY1064" fmla="*/ 432164 h 1686927"/>
                    <a:gd name="connsiteX1065" fmla="*/ 1458270 w 2039198"/>
                    <a:gd name="connsiteY1065" fmla="*/ 429996 h 1686927"/>
                    <a:gd name="connsiteX1066" fmla="*/ 1458270 w 2039198"/>
                    <a:gd name="connsiteY1066" fmla="*/ 430719 h 1686927"/>
                    <a:gd name="connsiteX1067" fmla="*/ 1357699 w 2039198"/>
                    <a:gd name="connsiteY1067" fmla="*/ 496186 h 1686927"/>
                    <a:gd name="connsiteX1068" fmla="*/ 1356334 w 2039198"/>
                    <a:gd name="connsiteY1068" fmla="*/ 500765 h 1686927"/>
                    <a:gd name="connsiteX1069" fmla="*/ 1350309 w 2039198"/>
                    <a:gd name="connsiteY1069" fmla="*/ 497873 h 1686927"/>
                    <a:gd name="connsiteX1070" fmla="*/ 1348381 w 2039198"/>
                    <a:gd name="connsiteY1070" fmla="*/ 496989 h 1686927"/>
                    <a:gd name="connsiteX1071" fmla="*/ 1349586 w 2039198"/>
                    <a:gd name="connsiteY1071" fmla="*/ 496829 h 1686927"/>
                    <a:gd name="connsiteX1072" fmla="*/ 1349666 w 2039198"/>
                    <a:gd name="connsiteY1072" fmla="*/ 496748 h 1686927"/>
                    <a:gd name="connsiteX1073" fmla="*/ 1347979 w 2039198"/>
                    <a:gd name="connsiteY1073" fmla="*/ 495704 h 1686927"/>
                    <a:gd name="connsiteX1074" fmla="*/ 1353281 w 2039198"/>
                    <a:gd name="connsiteY1074" fmla="*/ 494580 h 1686927"/>
                    <a:gd name="connsiteX1075" fmla="*/ 1357699 w 2039198"/>
                    <a:gd name="connsiteY1075" fmla="*/ 496186 h 1686927"/>
                    <a:gd name="connsiteX1076" fmla="*/ 1498112 w 2039198"/>
                    <a:gd name="connsiteY1076" fmla="*/ 431040 h 1686927"/>
                    <a:gd name="connsiteX1077" fmla="*/ 1502290 w 2039198"/>
                    <a:gd name="connsiteY1077" fmla="*/ 436904 h 1686927"/>
                    <a:gd name="connsiteX1078" fmla="*/ 1505021 w 2039198"/>
                    <a:gd name="connsiteY1078" fmla="*/ 437627 h 1686927"/>
                    <a:gd name="connsiteX1079" fmla="*/ 1505824 w 2039198"/>
                    <a:gd name="connsiteY1079" fmla="*/ 446222 h 1686927"/>
                    <a:gd name="connsiteX1080" fmla="*/ 1501727 w 2039198"/>
                    <a:gd name="connsiteY1080" fmla="*/ 448230 h 1686927"/>
                    <a:gd name="connsiteX1081" fmla="*/ 1503414 w 2039198"/>
                    <a:gd name="connsiteY1081" fmla="*/ 447668 h 1686927"/>
                    <a:gd name="connsiteX1082" fmla="*/ 1504539 w 2039198"/>
                    <a:gd name="connsiteY1082" fmla="*/ 449917 h 1686927"/>
                    <a:gd name="connsiteX1083" fmla="*/ 1504458 w 2039198"/>
                    <a:gd name="connsiteY1083" fmla="*/ 453612 h 1686927"/>
                    <a:gd name="connsiteX1084" fmla="*/ 1506386 w 2039198"/>
                    <a:gd name="connsiteY1084" fmla="*/ 452006 h 1686927"/>
                    <a:gd name="connsiteX1085" fmla="*/ 1499157 w 2039198"/>
                    <a:gd name="connsiteY1085" fmla="*/ 460601 h 1686927"/>
                    <a:gd name="connsiteX1086" fmla="*/ 1497229 w 2039198"/>
                    <a:gd name="connsiteY1086" fmla="*/ 460119 h 1686927"/>
                    <a:gd name="connsiteX1087" fmla="*/ 1491284 w 2039198"/>
                    <a:gd name="connsiteY1087" fmla="*/ 453853 h 1686927"/>
                    <a:gd name="connsiteX1088" fmla="*/ 1494417 w 2039198"/>
                    <a:gd name="connsiteY1088" fmla="*/ 456022 h 1686927"/>
                    <a:gd name="connsiteX1089" fmla="*/ 1494658 w 2039198"/>
                    <a:gd name="connsiteY1089" fmla="*/ 455861 h 1686927"/>
                    <a:gd name="connsiteX1090" fmla="*/ 1493775 w 2039198"/>
                    <a:gd name="connsiteY1090" fmla="*/ 454255 h 1686927"/>
                    <a:gd name="connsiteX1091" fmla="*/ 1491686 w 2039198"/>
                    <a:gd name="connsiteY1091" fmla="*/ 450560 h 1686927"/>
                    <a:gd name="connsiteX1092" fmla="*/ 1499719 w 2039198"/>
                    <a:gd name="connsiteY1092" fmla="*/ 452969 h 1686927"/>
                    <a:gd name="connsiteX1093" fmla="*/ 1476906 w 2039198"/>
                    <a:gd name="connsiteY1093" fmla="*/ 439956 h 1686927"/>
                    <a:gd name="connsiteX1094" fmla="*/ 1474978 w 2039198"/>
                    <a:gd name="connsiteY1094" fmla="*/ 434574 h 1686927"/>
                    <a:gd name="connsiteX1095" fmla="*/ 1465419 w 2039198"/>
                    <a:gd name="connsiteY1095" fmla="*/ 430638 h 1686927"/>
                    <a:gd name="connsiteX1096" fmla="*/ 1461001 w 2039198"/>
                    <a:gd name="connsiteY1096" fmla="*/ 426301 h 1686927"/>
                    <a:gd name="connsiteX1097" fmla="*/ 1470239 w 2039198"/>
                    <a:gd name="connsiteY1097" fmla="*/ 430397 h 1686927"/>
                    <a:gd name="connsiteX1098" fmla="*/ 1472648 w 2039198"/>
                    <a:gd name="connsiteY1098" fmla="*/ 430638 h 1686927"/>
                    <a:gd name="connsiteX1099" fmla="*/ 1469837 w 2039198"/>
                    <a:gd name="connsiteY1099" fmla="*/ 428068 h 1686927"/>
                    <a:gd name="connsiteX1100" fmla="*/ 1474978 w 2039198"/>
                    <a:gd name="connsiteY1100" fmla="*/ 425979 h 1686927"/>
                    <a:gd name="connsiteX1101" fmla="*/ 1490321 w 2039198"/>
                    <a:gd name="connsiteY1101" fmla="*/ 433851 h 1686927"/>
                    <a:gd name="connsiteX1102" fmla="*/ 1485581 w 2039198"/>
                    <a:gd name="connsiteY1102" fmla="*/ 434092 h 1686927"/>
                    <a:gd name="connsiteX1103" fmla="*/ 1486143 w 2039198"/>
                    <a:gd name="connsiteY1103" fmla="*/ 433771 h 1686927"/>
                    <a:gd name="connsiteX1104" fmla="*/ 1480119 w 2039198"/>
                    <a:gd name="connsiteY1104" fmla="*/ 436422 h 1686927"/>
                    <a:gd name="connsiteX1105" fmla="*/ 1490321 w 2039198"/>
                    <a:gd name="connsiteY1105" fmla="*/ 437868 h 1686927"/>
                    <a:gd name="connsiteX1106" fmla="*/ 1488794 w 2039198"/>
                    <a:gd name="connsiteY1106" fmla="*/ 435056 h 1686927"/>
                    <a:gd name="connsiteX1107" fmla="*/ 1493373 w 2039198"/>
                    <a:gd name="connsiteY1107" fmla="*/ 437868 h 1686927"/>
                    <a:gd name="connsiteX1108" fmla="*/ 1497229 w 2039198"/>
                    <a:gd name="connsiteY1108" fmla="*/ 435137 h 1686927"/>
                    <a:gd name="connsiteX1109" fmla="*/ 1489517 w 2039198"/>
                    <a:gd name="connsiteY1109" fmla="*/ 427988 h 1686927"/>
                    <a:gd name="connsiteX1110" fmla="*/ 1494819 w 2039198"/>
                    <a:gd name="connsiteY1110" fmla="*/ 429514 h 1686927"/>
                    <a:gd name="connsiteX1111" fmla="*/ 1498112 w 2039198"/>
                    <a:gd name="connsiteY1111" fmla="*/ 431040 h 1686927"/>
                    <a:gd name="connsiteX1112" fmla="*/ 1504378 w 2039198"/>
                    <a:gd name="connsiteY1112" fmla="*/ 392402 h 1686927"/>
                    <a:gd name="connsiteX1113" fmla="*/ 1501325 w 2039198"/>
                    <a:gd name="connsiteY1113" fmla="*/ 396258 h 1686927"/>
                    <a:gd name="connsiteX1114" fmla="*/ 1498434 w 2039198"/>
                    <a:gd name="connsiteY1114" fmla="*/ 394170 h 1686927"/>
                    <a:gd name="connsiteX1115" fmla="*/ 1504378 w 2039198"/>
                    <a:gd name="connsiteY1115" fmla="*/ 392402 h 1686927"/>
                    <a:gd name="connsiteX1116" fmla="*/ 1490642 w 2039198"/>
                    <a:gd name="connsiteY1116" fmla="*/ 419553 h 1686927"/>
                    <a:gd name="connsiteX1117" fmla="*/ 1492650 w 2039198"/>
                    <a:gd name="connsiteY1117" fmla="*/ 421963 h 1686927"/>
                    <a:gd name="connsiteX1118" fmla="*/ 1491526 w 2039198"/>
                    <a:gd name="connsiteY1118" fmla="*/ 421802 h 1686927"/>
                    <a:gd name="connsiteX1119" fmla="*/ 1469998 w 2039198"/>
                    <a:gd name="connsiteY1119" fmla="*/ 413207 h 1686927"/>
                    <a:gd name="connsiteX1120" fmla="*/ 1481163 w 2039198"/>
                    <a:gd name="connsiteY1120" fmla="*/ 413689 h 1686927"/>
                    <a:gd name="connsiteX1121" fmla="*/ 1481565 w 2039198"/>
                    <a:gd name="connsiteY1121" fmla="*/ 413528 h 1686927"/>
                    <a:gd name="connsiteX1122" fmla="*/ 1490642 w 2039198"/>
                    <a:gd name="connsiteY1122" fmla="*/ 419553 h 1686927"/>
                    <a:gd name="connsiteX1123" fmla="*/ 1457306 w 2039198"/>
                    <a:gd name="connsiteY1123" fmla="*/ 425176 h 1686927"/>
                    <a:gd name="connsiteX1124" fmla="*/ 1457145 w 2039198"/>
                    <a:gd name="connsiteY1124" fmla="*/ 425256 h 1686927"/>
                    <a:gd name="connsiteX1125" fmla="*/ 1454735 w 2039198"/>
                    <a:gd name="connsiteY1125" fmla="*/ 424453 h 1686927"/>
                    <a:gd name="connsiteX1126" fmla="*/ 1457306 w 2039198"/>
                    <a:gd name="connsiteY1126" fmla="*/ 425176 h 1686927"/>
                    <a:gd name="connsiteX1127" fmla="*/ 1457306 w 2039198"/>
                    <a:gd name="connsiteY1127" fmla="*/ 425176 h 1686927"/>
                    <a:gd name="connsiteX1128" fmla="*/ 1339224 w 2039198"/>
                    <a:gd name="connsiteY1128" fmla="*/ 497230 h 1686927"/>
                    <a:gd name="connsiteX1129" fmla="*/ 1331030 w 2039198"/>
                    <a:gd name="connsiteY1129" fmla="*/ 494499 h 1686927"/>
                    <a:gd name="connsiteX1130" fmla="*/ 1334645 w 2039198"/>
                    <a:gd name="connsiteY1130" fmla="*/ 492491 h 1686927"/>
                    <a:gd name="connsiteX1131" fmla="*/ 1339143 w 2039198"/>
                    <a:gd name="connsiteY1131" fmla="*/ 496668 h 1686927"/>
                    <a:gd name="connsiteX1132" fmla="*/ 1339224 w 2039198"/>
                    <a:gd name="connsiteY1132" fmla="*/ 497230 h 1686927"/>
                    <a:gd name="connsiteX1133" fmla="*/ 1509037 w 2039198"/>
                    <a:gd name="connsiteY1133" fmla="*/ 383486 h 1686927"/>
                    <a:gd name="connsiteX1134" fmla="*/ 1506547 w 2039198"/>
                    <a:gd name="connsiteY1134" fmla="*/ 385173 h 1686927"/>
                    <a:gd name="connsiteX1135" fmla="*/ 1516909 w 2039198"/>
                    <a:gd name="connsiteY1135" fmla="*/ 393928 h 1686927"/>
                    <a:gd name="connsiteX1136" fmla="*/ 1500121 w 2039198"/>
                    <a:gd name="connsiteY1136" fmla="*/ 386056 h 1686927"/>
                    <a:gd name="connsiteX1137" fmla="*/ 1497229 w 2039198"/>
                    <a:gd name="connsiteY1137" fmla="*/ 380915 h 1686927"/>
                    <a:gd name="connsiteX1138" fmla="*/ 1498996 w 2039198"/>
                    <a:gd name="connsiteY1138" fmla="*/ 381076 h 1686927"/>
                    <a:gd name="connsiteX1139" fmla="*/ 1499317 w 2039198"/>
                    <a:gd name="connsiteY1139" fmla="*/ 381638 h 1686927"/>
                    <a:gd name="connsiteX1140" fmla="*/ 1509037 w 2039198"/>
                    <a:gd name="connsiteY1140" fmla="*/ 383486 h 1686927"/>
                    <a:gd name="connsiteX1141" fmla="*/ 1478994 w 2039198"/>
                    <a:gd name="connsiteY1141" fmla="*/ 399069 h 1686927"/>
                    <a:gd name="connsiteX1142" fmla="*/ 1479316 w 2039198"/>
                    <a:gd name="connsiteY1142" fmla="*/ 400033 h 1686927"/>
                    <a:gd name="connsiteX1143" fmla="*/ 1482208 w 2039198"/>
                    <a:gd name="connsiteY1143" fmla="*/ 402122 h 1686927"/>
                    <a:gd name="connsiteX1144" fmla="*/ 1475701 w 2039198"/>
                    <a:gd name="connsiteY1144" fmla="*/ 400676 h 1686927"/>
                    <a:gd name="connsiteX1145" fmla="*/ 1474255 w 2039198"/>
                    <a:gd name="connsiteY1145" fmla="*/ 398668 h 1686927"/>
                    <a:gd name="connsiteX1146" fmla="*/ 1478994 w 2039198"/>
                    <a:gd name="connsiteY1146" fmla="*/ 399069 h 1686927"/>
                    <a:gd name="connsiteX1147" fmla="*/ 1451281 w 2039198"/>
                    <a:gd name="connsiteY1147" fmla="*/ 408227 h 1686927"/>
                    <a:gd name="connsiteX1148" fmla="*/ 1447185 w 2039198"/>
                    <a:gd name="connsiteY1148" fmla="*/ 413368 h 1686927"/>
                    <a:gd name="connsiteX1149" fmla="*/ 1437384 w 2039198"/>
                    <a:gd name="connsiteY1149" fmla="*/ 409673 h 1686927"/>
                    <a:gd name="connsiteX1150" fmla="*/ 1446783 w 2039198"/>
                    <a:gd name="connsiteY1150" fmla="*/ 405496 h 1686927"/>
                    <a:gd name="connsiteX1151" fmla="*/ 1448229 w 2039198"/>
                    <a:gd name="connsiteY1151" fmla="*/ 406781 h 1686927"/>
                    <a:gd name="connsiteX1152" fmla="*/ 1451281 w 2039198"/>
                    <a:gd name="connsiteY1152" fmla="*/ 408227 h 1686927"/>
                    <a:gd name="connsiteX1153" fmla="*/ 1471524 w 2039198"/>
                    <a:gd name="connsiteY1153" fmla="*/ 383887 h 1686927"/>
                    <a:gd name="connsiteX1154" fmla="*/ 1472006 w 2039198"/>
                    <a:gd name="connsiteY1154" fmla="*/ 384450 h 1686927"/>
                    <a:gd name="connsiteX1155" fmla="*/ 1466865 w 2039198"/>
                    <a:gd name="connsiteY1155" fmla="*/ 386779 h 1686927"/>
                    <a:gd name="connsiteX1156" fmla="*/ 1466303 w 2039198"/>
                    <a:gd name="connsiteY1156" fmla="*/ 386056 h 1686927"/>
                    <a:gd name="connsiteX1157" fmla="*/ 1468150 w 2039198"/>
                    <a:gd name="connsiteY1157" fmla="*/ 385414 h 1686927"/>
                    <a:gd name="connsiteX1158" fmla="*/ 1468311 w 2039198"/>
                    <a:gd name="connsiteY1158" fmla="*/ 383566 h 1686927"/>
                    <a:gd name="connsiteX1159" fmla="*/ 1467507 w 2039198"/>
                    <a:gd name="connsiteY1159" fmla="*/ 383084 h 1686927"/>
                    <a:gd name="connsiteX1160" fmla="*/ 1471524 w 2039198"/>
                    <a:gd name="connsiteY1160" fmla="*/ 383887 h 1686927"/>
                    <a:gd name="connsiteX1161" fmla="*/ 1356173 w 2039198"/>
                    <a:gd name="connsiteY1161" fmla="*/ 478433 h 1686927"/>
                    <a:gd name="connsiteX1162" fmla="*/ 1356012 w 2039198"/>
                    <a:gd name="connsiteY1162" fmla="*/ 479799 h 1686927"/>
                    <a:gd name="connsiteX1163" fmla="*/ 1350791 w 2039198"/>
                    <a:gd name="connsiteY1163" fmla="*/ 477871 h 1686927"/>
                    <a:gd name="connsiteX1164" fmla="*/ 1349907 w 2039198"/>
                    <a:gd name="connsiteY1164" fmla="*/ 477630 h 1686927"/>
                    <a:gd name="connsiteX1165" fmla="*/ 1351835 w 2039198"/>
                    <a:gd name="connsiteY1165" fmla="*/ 477630 h 1686927"/>
                    <a:gd name="connsiteX1166" fmla="*/ 1323399 w 2039198"/>
                    <a:gd name="connsiteY1166" fmla="*/ 472891 h 1686927"/>
                    <a:gd name="connsiteX1167" fmla="*/ 1358904 w 2039198"/>
                    <a:gd name="connsiteY1167" fmla="*/ 478594 h 1686927"/>
                    <a:gd name="connsiteX1168" fmla="*/ 1356173 w 2039198"/>
                    <a:gd name="connsiteY1168" fmla="*/ 478433 h 1686927"/>
                    <a:gd name="connsiteX1169" fmla="*/ 1321632 w 2039198"/>
                    <a:gd name="connsiteY1169" fmla="*/ 472168 h 1686927"/>
                    <a:gd name="connsiteX1170" fmla="*/ 1317455 w 2039198"/>
                    <a:gd name="connsiteY1170" fmla="*/ 474337 h 1686927"/>
                    <a:gd name="connsiteX1171" fmla="*/ 1317455 w 2039198"/>
                    <a:gd name="connsiteY1171" fmla="*/ 472891 h 1686927"/>
                    <a:gd name="connsiteX1172" fmla="*/ 1317776 w 2039198"/>
                    <a:gd name="connsiteY1172" fmla="*/ 471365 h 1686927"/>
                    <a:gd name="connsiteX1173" fmla="*/ 1321793 w 2039198"/>
                    <a:gd name="connsiteY1173" fmla="*/ 472088 h 1686927"/>
                    <a:gd name="connsiteX1174" fmla="*/ 1321632 w 2039198"/>
                    <a:gd name="connsiteY1174" fmla="*/ 472168 h 1686927"/>
                    <a:gd name="connsiteX1175" fmla="*/ 1452325 w 2039198"/>
                    <a:gd name="connsiteY1175" fmla="*/ 381237 h 1686927"/>
                    <a:gd name="connsiteX1176" fmla="*/ 1452647 w 2039198"/>
                    <a:gd name="connsiteY1176" fmla="*/ 383004 h 1686927"/>
                    <a:gd name="connsiteX1177" fmla="*/ 1452325 w 2039198"/>
                    <a:gd name="connsiteY1177" fmla="*/ 381237 h 1686927"/>
                    <a:gd name="connsiteX1178" fmla="*/ 1452325 w 2039198"/>
                    <a:gd name="connsiteY1178" fmla="*/ 381237 h 1686927"/>
                    <a:gd name="connsiteX1179" fmla="*/ 1461644 w 2039198"/>
                    <a:gd name="connsiteY1179" fmla="*/ 376738 h 1686927"/>
                    <a:gd name="connsiteX1180" fmla="*/ 1452325 w 2039198"/>
                    <a:gd name="connsiteY1180" fmla="*/ 380915 h 1686927"/>
                    <a:gd name="connsiteX1181" fmla="*/ 1447185 w 2039198"/>
                    <a:gd name="connsiteY1181" fmla="*/ 380112 h 1686927"/>
                    <a:gd name="connsiteX1182" fmla="*/ 1462527 w 2039198"/>
                    <a:gd name="connsiteY1182" fmla="*/ 376979 h 1686927"/>
                    <a:gd name="connsiteX1183" fmla="*/ 1461644 w 2039198"/>
                    <a:gd name="connsiteY1183" fmla="*/ 376738 h 1686927"/>
                    <a:gd name="connsiteX1184" fmla="*/ 1455298 w 2039198"/>
                    <a:gd name="connsiteY1184" fmla="*/ 364528 h 1686927"/>
                    <a:gd name="connsiteX1185" fmla="*/ 1440196 w 2039198"/>
                    <a:gd name="connsiteY1185" fmla="*/ 361476 h 1686927"/>
                    <a:gd name="connsiteX1186" fmla="*/ 1455860 w 2039198"/>
                    <a:gd name="connsiteY1186" fmla="*/ 364368 h 1686927"/>
                    <a:gd name="connsiteX1187" fmla="*/ 1455298 w 2039198"/>
                    <a:gd name="connsiteY1187" fmla="*/ 364528 h 1686927"/>
                    <a:gd name="connsiteX1188" fmla="*/ 1447988 w 2039198"/>
                    <a:gd name="connsiteY1188" fmla="*/ 356014 h 1686927"/>
                    <a:gd name="connsiteX1189" fmla="*/ 1448309 w 2039198"/>
                    <a:gd name="connsiteY1189" fmla="*/ 356335 h 1686927"/>
                    <a:gd name="connsiteX1190" fmla="*/ 1447907 w 2039198"/>
                    <a:gd name="connsiteY1190" fmla="*/ 356174 h 1686927"/>
                    <a:gd name="connsiteX1191" fmla="*/ 1445337 w 2039198"/>
                    <a:gd name="connsiteY1191" fmla="*/ 354889 h 1686927"/>
                    <a:gd name="connsiteX1192" fmla="*/ 1444132 w 2039198"/>
                    <a:gd name="connsiteY1192" fmla="*/ 354487 h 1686927"/>
                    <a:gd name="connsiteX1193" fmla="*/ 1443650 w 2039198"/>
                    <a:gd name="connsiteY1193" fmla="*/ 354246 h 1686927"/>
                    <a:gd name="connsiteX1194" fmla="*/ 1442766 w 2039198"/>
                    <a:gd name="connsiteY1194" fmla="*/ 352399 h 1686927"/>
                    <a:gd name="connsiteX1195" fmla="*/ 1447988 w 2039198"/>
                    <a:gd name="connsiteY1195" fmla="*/ 356014 h 1686927"/>
                    <a:gd name="connsiteX1196" fmla="*/ 1348783 w 2039198"/>
                    <a:gd name="connsiteY1196" fmla="*/ 430638 h 1686927"/>
                    <a:gd name="connsiteX1197" fmla="*/ 1334725 w 2039198"/>
                    <a:gd name="connsiteY1197" fmla="*/ 427666 h 1686927"/>
                    <a:gd name="connsiteX1198" fmla="*/ 1332315 w 2039198"/>
                    <a:gd name="connsiteY1198" fmla="*/ 428068 h 1686927"/>
                    <a:gd name="connsiteX1199" fmla="*/ 1333119 w 2039198"/>
                    <a:gd name="connsiteY1199" fmla="*/ 424453 h 1686927"/>
                    <a:gd name="connsiteX1200" fmla="*/ 1337938 w 2039198"/>
                    <a:gd name="connsiteY1200" fmla="*/ 424855 h 1686927"/>
                    <a:gd name="connsiteX1201" fmla="*/ 1338420 w 2039198"/>
                    <a:gd name="connsiteY1201" fmla="*/ 425497 h 1686927"/>
                    <a:gd name="connsiteX1202" fmla="*/ 1342838 w 2039198"/>
                    <a:gd name="connsiteY1202" fmla="*/ 428630 h 1686927"/>
                    <a:gd name="connsiteX1203" fmla="*/ 1349666 w 2039198"/>
                    <a:gd name="connsiteY1203" fmla="*/ 429835 h 1686927"/>
                    <a:gd name="connsiteX1204" fmla="*/ 1348783 w 2039198"/>
                    <a:gd name="connsiteY1204" fmla="*/ 430638 h 1686927"/>
                    <a:gd name="connsiteX1205" fmla="*/ 1436581 w 2039198"/>
                    <a:gd name="connsiteY1205" fmla="*/ 362359 h 1686927"/>
                    <a:gd name="connsiteX1206" fmla="*/ 1430717 w 2039198"/>
                    <a:gd name="connsiteY1206" fmla="*/ 362761 h 1686927"/>
                    <a:gd name="connsiteX1207" fmla="*/ 1428468 w 2039198"/>
                    <a:gd name="connsiteY1207" fmla="*/ 361476 h 1686927"/>
                    <a:gd name="connsiteX1208" fmla="*/ 1427906 w 2039198"/>
                    <a:gd name="connsiteY1208" fmla="*/ 358986 h 1686927"/>
                    <a:gd name="connsiteX1209" fmla="*/ 1436742 w 2039198"/>
                    <a:gd name="connsiteY1209" fmla="*/ 362199 h 1686927"/>
                    <a:gd name="connsiteX1210" fmla="*/ 1436581 w 2039198"/>
                    <a:gd name="connsiteY1210" fmla="*/ 362359 h 1686927"/>
                    <a:gd name="connsiteX1211" fmla="*/ 1415455 w 2039198"/>
                    <a:gd name="connsiteY1211" fmla="*/ 367179 h 1686927"/>
                    <a:gd name="connsiteX1212" fmla="*/ 1410394 w 2039198"/>
                    <a:gd name="connsiteY1212" fmla="*/ 374650 h 1686927"/>
                    <a:gd name="connsiteX1213" fmla="*/ 1413929 w 2039198"/>
                    <a:gd name="connsiteY1213" fmla="*/ 373605 h 1686927"/>
                    <a:gd name="connsiteX1214" fmla="*/ 1412242 w 2039198"/>
                    <a:gd name="connsiteY1214" fmla="*/ 367661 h 1686927"/>
                    <a:gd name="connsiteX1215" fmla="*/ 1412643 w 2039198"/>
                    <a:gd name="connsiteY1215" fmla="*/ 367179 h 1686927"/>
                    <a:gd name="connsiteX1216" fmla="*/ 1415134 w 2039198"/>
                    <a:gd name="connsiteY1216" fmla="*/ 366456 h 1686927"/>
                    <a:gd name="connsiteX1217" fmla="*/ 1415455 w 2039198"/>
                    <a:gd name="connsiteY1217" fmla="*/ 367179 h 1686927"/>
                    <a:gd name="connsiteX1218" fmla="*/ 1428629 w 2039198"/>
                    <a:gd name="connsiteY1218" fmla="*/ 346294 h 1686927"/>
                    <a:gd name="connsiteX1219" fmla="*/ 1418829 w 2039198"/>
                    <a:gd name="connsiteY1219" fmla="*/ 345892 h 1686927"/>
                    <a:gd name="connsiteX1220" fmla="*/ 1428629 w 2039198"/>
                    <a:gd name="connsiteY1220" fmla="*/ 346294 h 1686927"/>
                    <a:gd name="connsiteX1221" fmla="*/ 1428629 w 2039198"/>
                    <a:gd name="connsiteY1221" fmla="*/ 346294 h 1686927"/>
                    <a:gd name="connsiteX1222" fmla="*/ 1408065 w 2039198"/>
                    <a:gd name="connsiteY1222" fmla="*/ 330791 h 1686927"/>
                    <a:gd name="connsiteX1223" fmla="*/ 1407583 w 2039198"/>
                    <a:gd name="connsiteY1223" fmla="*/ 331915 h 1686927"/>
                    <a:gd name="connsiteX1224" fmla="*/ 1403566 w 2039198"/>
                    <a:gd name="connsiteY1224" fmla="*/ 331192 h 1686927"/>
                    <a:gd name="connsiteX1225" fmla="*/ 1408065 w 2039198"/>
                    <a:gd name="connsiteY1225" fmla="*/ 330630 h 1686927"/>
                    <a:gd name="connsiteX1226" fmla="*/ 1408065 w 2039198"/>
                    <a:gd name="connsiteY1226" fmla="*/ 330791 h 1686927"/>
                    <a:gd name="connsiteX1227" fmla="*/ 1313278 w 2039198"/>
                    <a:gd name="connsiteY1227" fmla="*/ 396740 h 1686927"/>
                    <a:gd name="connsiteX1228" fmla="*/ 1300024 w 2039198"/>
                    <a:gd name="connsiteY1228" fmla="*/ 397222 h 1686927"/>
                    <a:gd name="connsiteX1229" fmla="*/ 1295686 w 2039198"/>
                    <a:gd name="connsiteY1229" fmla="*/ 395615 h 1686927"/>
                    <a:gd name="connsiteX1230" fmla="*/ 1314242 w 2039198"/>
                    <a:gd name="connsiteY1230" fmla="*/ 396901 h 1686927"/>
                    <a:gd name="connsiteX1231" fmla="*/ 1313278 w 2039198"/>
                    <a:gd name="connsiteY1231" fmla="*/ 396740 h 1686927"/>
                    <a:gd name="connsiteX1232" fmla="*/ 1413929 w 2039198"/>
                    <a:gd name="connsiteY1232" fmla="*/ 317135 h 1686927"/>
                    <a:gd name="connsiteX1233" fmla="*/ 1415776 w 2039198"/>
                    <a:gd name="connsiteY1233" fmla="*/ 320107 h 1686927"/>
                    <a:gd name="connsiteX1234" fmla="*/ 1407101 w 2039198"/>
                    <a:gd name="connsiteY1234" fmla="*/ 314805 h 1686927"/>
                    <a:gd name="connsiteX1235" fmla="*/ 1413929 w 2039198"/>
                    <a:gd name="connsiteY1235" fmla="*/ 317135 h 1686927"/>
                    <a:gd name="connsiteX1236" fmla="*/ 1436340 w 2039198"/>
                    <a:gd name="connsiteY1236" fmla="*/ 154471 h 1686927"/>
                    <a:gd name="connsiteX1237" fmla="*/ 1441080 w 2039198"/>
                    <a:gd name="connsiteY1237" fmla="*/ 157363 h 1686927"/>
                    <a:gd name="connsiteX1238" fmla="*/ 1440357 w 2039198"/>
                    <a:gd name="connsiteY1238" fmla="*/ 156961 h 1686927"/>
                    <a:gd name="connsiteX1239" fmla="*/ 1437545 w 2039198"/>
                    <a:gd name="connsiteY1239" fmla="*/ 155354 h 1686927"/>
                    <a:gd name="connsiteX1240" fmla="*/ 1436260 w 2039198"/>
                    <a:gd name="connsiteY1240" fmla="*/ 154390 h 1686927"/>
                    <a:gd name="connsiteX1241" fmla="*/ 1436340 w 2039198"/>
                    <a:gd name="connsiteY1241" fmla="*/ 154471 h 1686927"/>
                    <a:gd name="connsiteX1242" fmla="*/ 1409109 w 2039198"/>
                    <a:gd name="connsiteY1242" fmla="*/ 307897 h 1686927"/>
                    <a:gd name="connsiteX1243" fmla="*/ 1415455 w 2039198"/>
                    <a:gd name="connsiteY1243" fmla="*/ 313761 h 1686927"/>
                    <a:gd name="connsiteX1244" fmla="*/ 1413045 w 2039198"/>
                    <a:gd name="connsiteY1244" fmla="*/ 312877 h 1686927"/>
                    <a:gd name="connsiteX1245" fmla="*/ 1412884 w 2039198"/>
                    <a:gd name="connsiteY1245" fmla="*/ 312717 h 1686927"/>
                    <a:gd name="connsiteX1246" fmla="*/ 1412402 w 2039198"/>
                    <a:gd name="connsiteY1246" fmla="*/ 311913 h 1686927"/>
                    <a:gd name="connsiteX1247" fmla="*/ 1410555 w 2039198"/>
                    <a:gd name="connsiteY1247" fmla="*/ 310146 h 1686927"/>
                    <a:gd name="connsiteX1248" fmla="*/ 1406619 w 2039198"/>
                    <a:gd name="connsiteY1248" fmla="*/ 306291 h 1686927"/>
                    <a:gd name="connsiteX1249" fmla="*/ 1409109 w 2039198"/>
                    <a:gd name="connsiteY1249" fmla="*/ 307897 h 1686927"/>
                    <a:gd name="connsiteX1250" fmla="*/ 1340589 w 2039198"/>
                    <a:gd name="connsiteY1250" fmla="*/ 312958 h 1686927"/>
                    <a:gd name="connsiteX1251" fmla="*/ 1350550 w 2039198"/>
                    <a:gd name="connsiteY1251" fmla="*/ 329666 h 1686927"/>
                    <a:gd name="connsiteX1252" fmla="*/ 1348622 w 2039198"/>
                    <a:gd name="connsiteY1252" fmla="*/ 331674 h 1686927"/>
                    <a:gd name="connsiteX1253" fmla="*/ 1342758 w 2039198"/>
                    <a:gd name="connsiteY1253" fmla="*/ 327578 h 1686927"/>
                    <a:gd name="connsiteX1254" fmla="*/ 1341152 w 2039198"/>
                    <a:gd name="connsiteY1254" fmla="*/ 320187 h 1686927"/>
                    <a:gd name="connsiteX1255" fmla="*/ 1342356 w 2039198"/>
                    <a:gd name="connsiteY1255" fmla="*/ 319866 h 1686927"/>
                    <a:gd name="connsiteX1256" fmla="*/ 1339063 w 2039198"/>
                    <a:gd name="connsiteY1256" fmla="*/ 317296 h 1686927"/>
                    <a:gd name="connsiteX1257" fmla="*/ 1340750 w 2039198"/>
                    <a:gd name="connsiteY1257" fmla="*/ 318259 h 1686927"/>
                    <a:gd name="connsiteX1258" fmla="*/ 1339786 w 2039198"/>
                    <a:gd name="connsiteY1258" fmla="*/ 312235 h 1686927"/>
                    <a:gd name="connsiteX1259" fmla="*/ 1340589 w 2039198"/>
                    <a:gd name="connsiteY1259" fmla="*/ 312958 h 1686927"/>
                    <a:gd name="connsiteX1260" fmla="*/ 1320507 w 2039198"/>
                    <a:gd name="connsiteY1260" fmla="*/ 86513 h 1686927"/>
                    <a:gd name="connsiteX1261" fmla="*/ 1320909 w 2039198"/>
                    <a:gd name="connsiteY1261" fmla="*/ 86674 h 1686927"/>
                    <a:gd name="connsiteX1262" fmla="*/ 1320507 w 2039198"/>
                    <a:gd name="connsiteY1262" fmla="*/ 86513 h 1686927"/>
                    <a:gd name="connsiteX1263" fmla="*/ 1312394 w 2039198"/>
                    <a:gd name="connsiteY1263" fmla="*/ 83380 h 1686927"/>
                    <a:gd name="connsiteX1264" fmla="*/ 1320507 w 2039198"/>
                    <a:gd name="connsiteY1264" fmla="*/ 86513 h 1686927"/>
                    <a:gd name="connsiteX1265" fmla="*/ 1312073 w 2039198"/>
                    <a:gd name="connsiteY1265" fmla="*/ 83300 h 1686927"/>
                    <a:gd name="connsiteX1266" fmla="*/ 1312073 w 2039198"/>
                    <a:gd name="connsiteY1266" fmla="*/ 83300 h 1686927"/>
                    <a:gd name="connsiteX1267" fmla="*/ 1312073 w 2039198"/>
                    <a:gd name="connsiteY1267" fmla="*/ 83300 h 1686927"/>
                    <a:gd name="connsiteX1268" fmla="*/ 1312073 w 2039198"/>
                    <a:gd name="connsiteY1268" fmla="*/ 83300 h 1686927"/>
                    <a:gd name="connsiteX1269" fmla="*/ 1312073 w 2039198"/>
                    <a:gd name="connsiteY1269" fmla="*/ 83300 h 1686927"/>
                    <a:gd name="connsiteX1270" fmla="*/ 1311993 w 2039198"/>
                    <a:gd name="connsiteY1270" fmla="*/ 83300 h 1686927"/>
                    <a:gd name="connsiteX1271" fmla="*/ 1311993 w 2039198"/>
                    <a:gd name="connsiteY1271" fmla="*/ 83300 h 1686927"/>
                    <a:gd name="connsiteX1272" fmla="*/ 1311993 w 2039198"/>
                    <a:gd name="connsiteY1272" fmla="*/ 83300 h 1686927"/>
                    <a:gd name="connsiteX1273" fmla="*/ 1311993 w 2039198"/>
                    <a:gd name="connsiteY1273" fmla="*/ 83300 h 1686927"/>
                    <a:gd name="connsiteX1274" fmla="*/ 1311993 w 2039198"/>
                    <a:gd name="connsiteY1274" fmla="*/ 83300 h 1686927"/>
                    <a:gd name="connsiteX1275" fmla="*/ 1311993 w 2039198"/>
                    <a:gd name="connsiteY1275" fmla="*/ 83300 h 1686927"/>
                    <a:gd name="connsiteX1276" fmla="*/ 1311993 w 2039198"/>
                    <a:gd name="connsiteY1276" fmla="*/ 83300 h 1686927"/>
                    <a:gd name="connsiteX1277" fmla="*/ 1311993 w 2039198"/>
                    <a:gd name="connsiteY1277" fmla="*/ 83300 h 1686927"/>
                    <a:gd name="connsiteX1278" fmla="*/ 1311993 w 2039198"/>
                    <a:gd name="connsiteY1278" fmla="*/ 83300 h 1686927"/>
                    <a:gd name="connsiteX1279" fmla="*/ 1311993 w 2039198"/>
                    <a:gd name="connsiteY1279" fmla="*/ 83300 h 1686927"/>
                    <a:gd name="connsiteX1280" fmla="*/ 1311993 w 2039198"/>
                    <a:gd name="connsiteY1280" fmla="*/ 83300 h 1686927"/>
                    <a:gd name="connsiteX1281" fmla="*/ 1311993 w 2039198"/>
                    <a:gd name="connsiteY1281" fmla="*/ 83300 h 1686927"/>
                    <a:gd name="connsiteX1282" fmla="*/ 1312073 w 2039198"/>
                    <a:gd name="connsiteY1282" fmla="*/ 83300 h 1686927"/>
                    <a:gd name="connsiteX1283" fmla="*/ 1312073 w 2039198"/>
                    <a:gd name="connsiteY1283" fmla="*/ 83300 h 1686927"/>
                    <a:gd name="connsiteX1284" fmla="*/ 1384609 w 2039198"/>
                    <a:gd name="connsiteY1284" fmla="*/ 134389 h 1686927"/>
                    <a:gd name="connsiteX1285" fmla="*/ 1384609 w 2039198"/>
                    <a:gd name="connsiteY1285" fmla="*/ 134389 h 1686927"/>
                    <a:gd name="connsiteX1286" fmla="*/ 1384609 w 2039198"/>
                    <a:gd name="connsiteY1286" fmla="*/ 134389 h 1686927"/>
                    <a:gd name="connsiteX1287" fmla="*/ 1383725 w 2039198"/>
                    <a:gd name="connsiteY1287" fmla="*/ 134228 h 1686927"/>
                    <a:gd name="connsiteX1288" fmla="*/ 1384609 w 2039198"/>
                    <a:gd name="connsiteY1288" fmla="*/ 134389 h 1686927"/>
                    <a:gd name="connsiteX1289" fmla="*/ 1385332 w 2039198"/>
                    <a:gd name="connsiteY1289" fmla="*/ 134549 h 1686927"/>
                    <a:gd name="connsiteX1290" fmla="*/ 1385332 w 2039198"/>
                    <a:gd name="connsiteY1290" fmla="*/ 134549 h 1686927"/>
                    <a:gd name="connsiteX1291" fmla="*/ 1385332 w 2039198"/>
                    <a:gd name="connsiteY1291" fmla="*/ 134549 h 1686927"/>
                    <a:gd name="connsiteX1292" fmla="*/ 1384609 w 2039198"/>
                    <a:gd name="connsiteY1292" fmla="*/ 134389 h 1686927"/>
                    <a:gd name="connsiteX1293" fmla="*/ 1384609 w 2039198"/>
                    <a:gd name="connsiteY1293" fmla="*/ 134389 h 1686927"/>
                    <a:gd name="connsiteX1294" fmla="*/ 1385332 w 2039198"/>
                    <a:gd name="connsiteY1294" fmla="*/ 134549 h 1686927"/>
                    <a:gd name="connsiteX1295" fmla="*/ 1386055 w 2039198"/>
                    <a:gd name="connsiteY1295" fmla="*/ 133425 h 1686927"/>
                    <a:gd name="connsiteX1296" fmla="*/ 1380914 w 2039198"/>
                    <a:gd name="connsiteY1296" fmla="*/ 131497 h 1686927"/>
                    <a:gd name="connsiteX1297" fmla="*/ 1386055 w 2039198"/>
                    <a:gd name="connsiteY1297" fmla="*/ 133425 h 1686927"/>
                    <a:gd name="connsiteX1298" fmla="*/ 1386055 w 2039198"/>
                    <a:gd name="connsiteY1298" fmla="*/ 133425 h 1686927"/>
                    <a:gd name="connsiteX1299" fmla="*/ 1379468 w 2039198"/>
                    <a:gd name="connsiteY1299" fmla="*/ 131256 h 1686927"/>
                    <a:gd name="connsiteX1300" fmla="*/ 1381958 w 2039198"/>
                    <a:gd name="connsiteY1300" fmla="*/ 132621 h 1686927"/>
                    <a:gd name="connsiteX1301" fmla="*/ 1380753 w 2039198"/>
                    <a:gd name="connsiteY1301" fmla="*/ 132782 h 1686927"/>
                    <a:gd name="connsiteX1302" fmla="*/ 1379147 w 2039198"/>
                    <a:gd name="connsiteY1302" fmla="*/ 131176 h 1686927"/>
                    <a:gd name="connsiteX1303" fmla="*/ 1379468 w 2039198"/>
                    <a:gd name="connsiteY1303" fmla="*/ 131256 h 1686927"/>
                    <a:gd name="connsiteX1304" fmla="*/ 1325729 w 2039198"/>
                    <a:gd name="connsiteY1304" fmla="*/ 91413 h 1686927"/>
                    <a:gd name="connsiteX1305" fmla="*/ 1330066 w 2039198"/>
                    <a:gd name="connsiteY1305" fmla="*/ 93341 h 1686927"/>
                    <a:gd name="connsiteX1306" fmla="*/ 1330147 w 2039198"/>
                    <a:gd name="connsiteY1306" fmla="*/ 93421 h 1686927"/>
                    <a:gd name="connsiteX1307" fmla="*/ 1321632 w 2039198"/>
                    <a:gd name="connsiteY1307" fmla="*/ 90048 h 1686927"/>
                    <a:gd name="connsiteX1308" fmla="*/ 1325729 w 2039198"/>
                    <a:gd name="connsiteY1308" fmla="*/ 91413 h 1686927"/>
                    <a:gd name="connsiteX1309" fmla="*/ 1103782 w 2039198"/>
                    <a:gd name="connsiteY1309" fmla="*/ 20725 h 1686927"/>
                    <a:gd name="connsiteX1310" fmla="*/ 1107799 w 2039198"/>
                    <a:gd name="connsiteY1310" fmla="*/ 21608 h 1686927"/>
                    <a:gd name="connsiteX1311" fmla="*/ 1054220 w 2039198"/>
                    <a:gd name="connsiteY1311" fmla="*/ 11567 h 1686927"/>
                    <a:gd name="connsiteX1312" fmla="*/ 1054300 w 2039198"/>
                    <a:gd name="connsiteY1312" fmla="*/ 11567 h 1686927"/>
                    <a:gd name="connsiteX1313" fmla="*/ 1103782 w 2039198"/>
                    <a:gd name="connsiteY1313" fmla="*/ 20725 h 1686927"/>
                    <a:gd name="connsiteX1314" fmla="*/ 1005381 w 2039198"/>
                    <a:gd name="connsiteY1314" fmla="*/ 4579 h 1686927"/>
                    <a:gd name="connsiteX1315" fmla="*/ 960959 w 2039198"/>
                    <a:gd name="connsiteY1315" fmla="*/ 0 h 1686927"/>
                    <a:gd name="connsiteX1316" fmla="*/ 961200 w 2039198"/>
                    <a:gd name="connsiteY1316" fmla="*/ 0 h 1686927"/>
                    <a:gd name="connsiteX1317" fmla="*/ 993412 w 2039198"/>
                    <a:gd name="connsiteY1317" fmla="*/ 3695 h 1686927"/>
                    <a:gd name="connsiteX1318" fmla="*/ 976222 w 2039198"/>
                    <a:gd name="connsiteY1318" fmla="*/ 4659 h 1686927"/>
                    <a:gd name="connsiteX1319" fmla="*/ 1028113 w 2039198"/>
                    <a:gd name="connsiteY1319" fmla="*/ 8997 h 1686927"/>
                    <a:gd name="connsiteX1320" fmla="*/ 1082174 w 2039198"/>
                    <a:gd name="connsiteY1320" fmla="*/ 19198 h 1686927"/>
                    <a:gd name="connsiteX1321" fmla="*/ 1073499 w 2039198"/>
                    <a:gd name="connsiteY1321" fmla="*/ 17913 h 1686927"/>
                    <a:gd name="connsiteX1322" fmla="*/ 1089805 w 2039198"/>
                    <a:gd name="connsiteY1322" fmla="*/ 22492 h 1686927"/>
                    <a:gd name="connsiteX1323" fmla="*/ 1094063 w 2039198"/>
                    <a:gd name="connsiteY1323" fmla="*/ 22653 h 1686927"/>
                    <a:gd name="connsiteX1324" fmla="*/ 1169250 w 2039198"/>
                    <a:gd name="connsiteY1324" fmla="*/ 41851 h 1686927"/>
                    <a:gd name="connsiteX1325" fmla="*/ 1169651 w 2039198"/>
                    <a:gd name="connsiteY1325" fmla="*/ 42735 h 1686927"/>
                    <a:gd name="connsiteX1326" fmla="*/ 1177764 w 2039198"/>
                    <a:gd name="connsiteY1326" fmla="*/ 44903 h 1686927"/>
                    <a:gd name="connsiteX1327" fmla="*/ 1331994 w 2039198"/>
                    <a:gd name="connsiteY1327" fmla="*/ 99767 h 1686927"/>
                    <a:gd name="connsiteX1328" fmla="*/ 1283315 w 2039198"/>
                    <a:gd name="connsiteY1328" fmla="*/ 88200 h 1686927"/>
                    <a:gd name="connsiteX1329" fmla="*/ 1462366 w 2039198"/>
                    <a:gd name="connsiteY1329" fmla="*/ 167805 h 1686927"/>
                    <a:gd name="connsiteX1330" fmla="*/ 1292955 w 2039198"/>
                    <a:gd name="connsiteY1330" fmla="*/ 102418 h 1686927"/>
                    <a:gd name="connsiteX1331" fmla="*/ 1363402 w 2039198"/>
                    <a:gd name="connsiteY1331" fmla="*/ 134871 h 1686927"/>
                    <a:gd name="connsiteX1332" fmla="*/ 1362358 w 2039198"/>
                    <a:gd name="connsiteY1332" fmla="*/ 134067 h 1686927"/>
                    <a:gd name="connsiteX1333" fmla="*/ 1435939 w 2039198"/>
                    <a:gd name="connsiteY1333" fmla="*/ 161620 h 1686927"/>
                    <a:gd name="connsiteX1334" fmla="*/ 1407342 w 2039198"/>
                    <a:gd name="connsiteY1334" fmla="*/ 166118 h 1686927"/>
                    <a:gd name="connsiteX1335" fmla="*/ 1427183 w 2039198"/>
                    <a:gd name="connsiteY1335" fmla="*/ 180818 h 1686927"/>
                    <a:gd name="connsiteX1336" fmla="*/ 1442124 w 2039198"/>
                    <a:gd name="connsiteY1336" fmla="*/ 191823 h 1686927"/>
                    <a:gd name="connsiteX1337" fmla="*/ 1432163 w 2039198"/>
                    <a:gd name="connsiteY1337" fmla="*/ 189815 h 1686927"/>
                    <a:gd name="connsiteX1338" fmla="*/ 1435698 w 2039198"/>
                    <a:gd name="connsiteY1338" fmla="*/ 194956 h 1686927"/>
                    <a:gd name="connsiteX1339" fmla="*/ 1450880 w 2039198"/>
                    <a:gd name="connsiteY1339" fmla="*/ 220822 h 1686927"/>
                    <a:gd name="connsiteX1340" fmla="*/ 1434171 w 2039198"/>
                    <a:gd name="connsiteY1340" fmla="*/ 210218 h 1686927"/>
                    <a:gd name="connsiteX1341" fmla="*/ 1477789 w 2039198"/>
                    <a:gd name="connsiteY1341" fmla="*/ 275766 h 1686927"/>
                    <a:gd name="connsiteX1342" fmla="*/ 1429432 w 2039198"/>
                    <a:gd name="connsiteY1342" fmla="*/ 259138 h 1686927"/>
                    <a:gd name="connsiteX1343" fmla="*/ 1490240 w 2039198"/>
                    <a:gd name="connsiteY1343" fmla="*/ 299061 h 1686927"/>
                    <a:gd name="connsiteX1344" fmla="*/ 1483252 w 2039198"/>
                    <a:gd name="connsiteY1344" fmla="*/ 307656 h 1686927"/>
                    <a:gd name="connsiteX1345" fmla="*/ 1505422 w 2039198"/>
                    <a:gd name="connsiteY1345" fmla="*/ 336574 h 1686927"/>
                    <a:gd name="connsiteX1346" fmla="*/ 1489517 w 2039198"/>
                    <a:gd name="connsiteY1346" fmla="*/ 348704 h 1686927"/>
                    <a:gd name="connsiteX1347" fmla="*/ 1506225 w 2039198"/>
                    <a:gd name="connsiteY1347" fmla="*/ 361717 h 1686927"/>
                    <a:gd name="connsiteX1348" fmla="*/ 1415696 w 2039198"/>
                    <a:gd name="connsiteY1348" fmla="*/ 338582 h 1686927"/>
                    <a:gd name="connsiteX1349" fmla="*/ 1465339 w 2039198"/>
                    <a:gd name="connsiteY1349" fmla="*/ 314163 h 1686927"/>
                    <a:gd name="connsiteX1350" fmla="*/ 1372158 w 2039198"/>
                    <a:gd name="connsiteY1350" fmla="*/ 298981 h 1686927"/>
                    <a:gd name="connsiteX1351" fmla="*/ 1365893 w 2039198"/>
                    <a:gd name="connsiteY1351" fmla="*/ 292233 h 1686927"/>
                    <a:gd name="connsiteX1352" fmla="*/ 1357860 w 2039198"/>
                    <a:gd name="connsiteY1352" fmla="*/ 294884 h 1686927"/>
                    <a:gd name="connsiteX1353" fmla="*/ 1342919 w 2039198"/>
                    <a:gd name="connsiteY1353" fmla="*/ 288297 h 1686927"/>
                    <a:gd name="connsiteX1354" fmla="*/ 1341152 w 2039198"/>
                    <a:gd name="connsiteY1354" fmla="*/ 299141 h 1686927"/>
                    <a:gd name="connsiteX1355" fmla="*/ 1322997 w 2039198"/>
                    <a:gd name="connsiteY1355" fmla="*/ 298900 h 1686927"/>
                    <a:gd name="connsiteX1356" fmla="*/ 1328379 w 2039198"/>
                    <a:gd name="connsiteY1356" fmla="*/ 292233 h 1686927"/>
                    <a:gd name="connsiteX1357" fmla="*/ 1305165 w 2039198"/>
                    <a:gd name="connsiteY1357" fmla="*/ 286610 h 1686927"/>
                    <a:gd name="connsiteX1358" fmla="*/ 1311993 w 2039198"/>
                    <a:gd name="connsiteY1358" fmla="*/ 296250 h 1686927"/>
                    <a:gd name="connsiteX1359" fmla="*/ 1296007 w 2039198"/>
                    <a:gd name="connsiteY1359" fmla="*/ 287976 h 1686927"/>
                    <a:gd name="connsiteX1360" fmla="*/ 1298176 w 2039198"/>
                    <a:gd name="connsiteY1360" fmla="*/ 296812 h 1686927"/>
                    <a:gd name="connsiteX1361" fmla="*/ 1289179 w 2039198"/>
                    <a:gd name="connsiteY1361" fmla="*/ 293840 h 1686927"/>
                    <a:gd name="connsiteX1362" fmla="*/ 1298417 w 2039198"/>
                    <a:gd name="connsiteY1362" fmla="*/ 312476 h 1686927"/>
                    <a:gd name="connsiteX1363" fmla="*/ 1282351 w 2039198"/>
                    <a:gd name="connsiteY1363" fmla="*/ 301310 h 1686927"/>
                    <a:gd name="connsiteX1364" fmla="*/ 1289099 w 2039198"/>
                    <a:gd name="connsiteY1364" fmla="*/ 320107 h 1686927"/>
                    <a:gd name="connsiteX1365" fmla="*/ 1276407 w 2039198"/>
                    <a:gd name="connsiteY1365" fmla="*/ 323481 h 1686927"/>
                    <a:gd name="connsiteX1366" fmla="*/ 1283958 w 2039198"/>
                    <a:gd name="connsiteY1366" fmla="*/ 349909 h 1686927"/>
                    <a:gd name="connsiteX1367" fmla="*/ 1277692 w 2039198"/>
                    <a:gd name="connsiteY1367" fmla="*/ 342840 h 1686927"/>
                    <a:gd name="connsiteX1368" fmla="*/ 1269820 w 2039198"/>
                    <a:gd name="connsiteY1368" fmla="*/ 348302 h 1686927"/>
                    <a:gd name="connsiteX1369" fmla="*/ 1283396 w 2039198"/>
                    <a:gd name="connsiteY1369" fmla="*/ 393045 h 1686927"/>
                    <a:gd name="connsiteX1370" fmla="*/ 1276166 w 2039198"/>
                    <a:gd name="connsiteY1370" fmla="*/ 397463 h 1686927"/>
                    <a:gd name="connsiteX1371" fmla="*/ 1289340 w 2039198"/>
                    <a:gd name="connsiteY1371" fmla="*/ 408709 h 1686927"/>
                    <a:gd name="connsiteX1372" fmla="*/ 1282110 w 2039198"/>
                    <a:gd name="connsiteY1372" fmla="*/ 414332 h 1686927"/>
                    <a:gd name="connsiteX1373" fmla="*/ 1292232 w 2039198"/>
                    <a:gd name="connsiteY1373" fmla="*/ 414010 h 1686927"/>
                    <a:gd name="connsiteX1374" fmla="*/ 1284922 w 2039198"/>
                    <a:gd name="connsiteY1374" fmla="*/ 420035 h 1686927"/>
                    <a:gd name="connsiteX1375" fmla="*/ 1285002 w 2039198"/>
                    <a:gd name="connsiteY1375" fmla="*/ 438510 h 1686927"/>
                    <a:gd name="connsiteX1376" fmla="*/ 1284199 w 2039198"/>
                    <a:gd name="connsiteY1376" fmla="*/ 438832 h 1686927"/>
                    <a:gd name="connsiteX1377" fmla="*/ 1290866 w 2039198"/>
                    <a:gd name="connsiteY1377" fmla="*/ 444133 h 1686927"/>
                    <a:gd name="connsiteX1378" fmla="*/ 1292151 w 2039198"/>
                    <a:gd name="connsiteY1378" fmla="*/ 461243 h 1686927"/>
                    <a:gd name="connsiteX1379" fmla="*/ 1301148 w 2039198"/>
                    <a:gd name="connsiteY1379" fmla="*/ 464697 h 1686927"/>
                    <a:gd name="connsiteX1380" fmla="*/ 1297855 w 2039198"/>
                    <a:gd name="connsiteY1380" fmla="*/ 511609 h 1686927"/>
                    <a:gd name="connsiteX1381" fmla="*/ 1306129 w 2039198"/>
                    <a:gd name="connsiteY1381" fmla="*/ 508075 h 1686927"/>
                    <a:gd name="connsiteX1382" fmla="*/ 1306289 w 2039198"/>
                    <a:gd name="connsiteY1382" fmla="*/ 499479 h 1686927"/>
                    <a:gd name="connsiteX1383" fmla="*/ 1311350 w 2039198"/>
                    <a:gd name="connsiteY1383" fmla="*/ 506709 h 1686927"/>
                    <a:gd name="connsiteX1384" fmla="*/ 1287974 w 2039198"/>
                    <a:gd name="connsiteY1384" fmla="*/ 519079 h 1686927"/>
                    <a:gd name="connsiteX1385" fmla="*/ 1292874 w 2039198"/>
                    <a:gd name="connsiteY1385" fmla="*/ 528879 h 1686927"/>
                    <a:gd name="connsiteX1386" fmla="*/ 1276970 w 2039198"/>
                    <a:gd name="connsiteY1386" fmla="*/ 538278 h 1686927"/>
                    <a:gd name="connsiteX1387" fmla="*/ 1287332 w 2039198"/>
                    <a:gd name="connsiteY1387" fmla="*/ 537635 h 1686927"/>
                    <a:gd name="connsiteX1388" fmla="*/ 1268214 w 2039198"/>
                    <a:gd name="connsiteY1388" fmla="*/ 557878 h 1686927"/>
                    <a:gd name="connsiteX1389" fmla="*/ 1283235 w 2039198"/>
                    <a:gd name="connsiteY1389" fmla="*/ 579486 h 1686927"/>
                    <a:gd name="connsiteX1390" fmla="*/ 1307092 w 2039198"/>
                    <a:gd name="connsiteY1390" fmla="*/ 567598 h 1686927"/>
                    <a:gd name="connsiteX1391" fmla="*/ 1303478 w 2039198"/>
                    <a:gd name="connsiteY1391" fmla="*/ 575309 h 1686927"/>
                    <a:gd name="connsiteX1392" fmla="*/ 1285002 w 2039198"/>
                    <a:gd name="connsiteY1392" fmla="*/ 580530 h 1686927"/>
                    <a:gd name="connsiteX1393" fmla="*/ 1294401 w 2039198"/>
                    <a:gd name="connsiteY1393" fmla="*/ 606235 h 1686927"/>
                    <a:gd name="connsiteX1394" fmla="*/ 1299542 w 2039198"/>
                    <a:gd name="connsiteY1394" fmla="*/ 599407 h 1686927"/>
                    <a:gd name="connsiteX1395" fmla="*/ 1302273 w 2039198"/>
                    <a:gd name="connsiteY1395" fmla="*/ 608083 h 1686927"/>
                    <a:gd name="connsiteX1396" fmla="*/ 1310707 w 2039198"/>
                    <a:gd name="connsiteY1396" fmla="*/ 605914 h 1686927"/>
                    <a:gd name="connsiteX1397" fmla="*/ 1313197 w 2039198"/>
                    <a:gd name="connsiteY1397" fmla="*/ 623425 h 1686927"/>
                    <a:gd name="connsiteX1398" fmla="*/ 1365973 w 2039198"/>
                    <a:gd name="connsiteY1398" fmla="*/ 593222 h 1686927"/>
                    <a:gd name="connsiteX1399" fmla="*/ 1364206 w 2039198"/>
                    <a:gd name="connsiteY1399" fmla="*/ 584949 h 1686927"/>
                    <a:gd name="connsiteX1400" fmla="*/ 1407342 w 2039198"/>
                    <a:gd name="connsiteY1400" fmla="*/ 609368 h 1686927"/>
                    <a:gd name="connsiteX1401" fmla="*/ 1447506 w 2039198"/>
                    <a:gd name="connsiteY1401" fmla="*/ 634671 h 1686927"/>
                    <a:gd name="connsiteX1402" fmla="*/ 1438589 w 2039198"/>
                    <a:gd name="connsiteY1402" fmla="*/ 565991 h 1686927"/>
                    <a:gd name="connsiteX1403" fmla="*/ 1452406 w 2039198"/>
                    <a:gd name="connsiteY1403" fmla="*/ 547917 h 1686927"/>
                    <a:gd name="connsiteX1404" fmla="*/ 1434332 w 2039198"/>
                    <a:gd name="connsiteY1404" fmla="*/ 549122 h 1686927"/>
                    <a:gd name="connsiteX1405" fmla="*/ 1437786 w 2039198"/>
                    <a:gd name="connsiteY1405" fmla="*/ 543419 h 1686927"/>
                    <a:gd name="connsiteX1406" fmla="*/ 1445578 w 2039198"/>
                    <a:gd name="connsiteY1406" fmla="*/ 539001 h 1686927"/>
                    <a:gd name="connsiteX1407" fmla="*/ 1443811 w 2039198"/>
                    <a:gd name="connsiteY1407" fmla="*/ 529522 h 1686927"/>
                    <a:gd name="connsiteX1408" fmla="*/ 1396096 w 2039198"/>
                    <a:gd name="connsiteY1408" fmla="*/ 484137 h 1686927"/>
                    <a:gd name="connsiteX1409" fmla="*/ 1394891 w 2039198"/>
                    <a:gd name="connsiteY1409" fmla="*/ 479237 h 1686927"/>
                    <a:gd name="connsiteX1410" fmla="*/ 1398506 w 2039198"/>
                    <a:gd name="connsiteY1410" fmla="*/ 465501 h 1686927"/>
                    <a:gd name="connsiteX1411" fmla="*/ 1397140 w 2039198"/>
                    <a:gd name="connsiteY1411" fmla="*/ 463974 h 1686927"/>
                    <a:gd name="connsiteX1412" fmla="*/ 1380512 w 2039198"/>
                    <a:gd name="connsiteY1412" fmla="*/ 421642 h 1686927"/>
                    <a:gd name="connsiteX1413" fmla="*/ 1380271 w 2039198"/>
                    <a:gd name="connsiteY1413" fmla="*/ 412966 h 1686927"/>
                    <a:gd name="connsiteX1414" fmla="*/ 1381717 w 2039198"/>
                    <a:gd name="connsiteY1414" fmla="*/ 412404 h 1686927"/>
                    <a:gd name="connsiteX1415" fmla="*/ 1419070 w 2039198"/>
                    <a:gd name="connsiteY1415" fmla="*/ 410556 h 1686927"/>
                    <a:gd name="connsiteX1416" fmla="*/ 1422443 w 2039198"/>
                    <a:gd name="connsiteY1416" fmla="*/ 450399 h 1686927"/>
                    <a:gd name="connsiteX1417" fmla="*/ 1422283 w 2039198"/>
                    <a:gd name="connsiteY1417" fmla="*/ 462127 h 1686927"/>
                    <a:gd name="connsiteX1418" fmla="*/ 1448550 w 2039198"/>
                    <a:gd name="connsiteY1418" fmla="*/ 488394 h 1686927"/>
                    <a:gd name="connsiteX1419" fmla="*/ 1447988 w 2039198"/>
                    <a:gd name="connsiteY1419" fmla="*/ 488715 h 1686927"/>
                    <a:gd name="connsiteX1420" fmla="*/ 1464535 w 2039198"/>
                    <a:gd name="connsiteY1420" fmla="*/ 502130 h 1686927"/>
                    <a:gd name="connsiteX1421" fmla="*/ 1518757 w 2039198"/>
                    <a:gd name="connsiteY1421" fmla="*/ 466384 h 1686927"/>
                    <a:gd name="connsiteX1422" fmla="*/ 1538357 w 2039198"/>
                    <a:gd name="connsiteY1422" fmla="*/ 467509 h 1686927"/>
                    <a:gd name="connsiteX1423" fmla="*/ 1503735 w 2039198"/>
                    <a:gd name="connsiteY1423" fmla="*/ 511047 h 1686927"/>
                    <a:gd name="connsiteX1424" fmla="*/ 1503896 w 2039198"/>
                    <a:gd name="connsiteY1424" fmla="*/ 520124 h 1686927"/>
                    <a:gd name="connsiteX1425" fmla="*/ 1530565 w 2039198"/>
                    <a:gd name="connsiteY1425" fmla="*/ 536029 h 1686927"/>
                    <a:gd name="connsiteX1426" fmla="*/ 1515544 w 2039198"/>
                    <a:gd name="connsiteY1426" fmla="*/ 544543 h 1686927"/>
                    <a:gd name="connsiteX1427" fmla="*/ 1526629 w 2039198"/>
                    <a:gd name="connsiteY1427" fmla="*/ 607601 h 1686927"/>
                    <a:gd name="connsiteX1428" fmla="*/ 1471363 w 2039198"/>
                    <a:gd name="connsiteY1428" fmla="*/ 648890 h 1686927"/>
                    <a:gd name="connsiteX1429" fmla="*/ 1476022 w 2039198"/>
                    <a:gd name="connsiteY1429" fmla="*/ 656039 h 1686927"/>
                    <a:gd name="connsiteX1430" fmla="*/ 1413366 w 2039198"/>
                    <a:gd name="connsiteY1430" fmla="*/ 670899 h 1686927"/>
                    <a:gd name="connsiteX1431" fmla="*/ 1386617 w 2039198"/>
                    <a:gd name="connsiteY1431" fmla="*/ 612662 h 1686927"/>
                    <a:gd name="connsiteX1432" fmla="*/ 1371998 w 2039198"/>
                    <a:gd name="connsiteY1432" fmla="*/ 634109 h 1686927"/>
                    <a:gd name="connsiteX1433" fmla="*/ 1411439 w 2039198"/>
                    <a:gd name="connsiteY1433" fmla="*/ 684555 h 1686927"/>
                    <a:gd name="connsiteX1434" fmla="*/ 1398827 w 2039198"/>
                    <a:gd name="connsiteY1434" fmla="*/ 697247 h 1686927"/>
                    <a:gd name="connsiteX1435" fmla="*/ 1390232 w 2039198"/>
                    <a:gd name="connsiteY1435" fmla="*/ 697729 h 1686927"/>
                    <a:gd name="connsiteX1436" fmla="*/ 1388304 w 2039198"/>
                    <a:gd name="connsiteY1436" fmla="*/ 706083 h 1686927"/>
                    <a:gd name="connsiteX1437" fmla="*/ 1360591 w 2039198"/>
                    <a:gd name="connsiteY1437" fmla="*/ 750986 h 1686927"/>
                    <a:gd name="connsiteX1438" fmla="*/ 1352960 w 2039198"/>
                    <a:gd name="connsiteY1438" fmla="*/ 755003 h 1686927"/>
                    <a:gd name="connsiteX1439" fmla="*/ 1361876 w 2039198"/>
                    <a:gd name="connsiteY1439" fmla="*/ 754199 h 1686927"/>
                    <a:gd name="connsiteX1440" fmla="*/ 1336171 w 2039198"/>
                    <a:gd name="connsiteY1440" fmla="*/ 785688 h 1686927"/>
                    <a:gd name="connsiteX1441" fmla="*/ 1293276 w 2039198"/>
                    <a:gd name="connsiteY1441" fmla="*/ 818301 h 1686927"/>
                    <a:gd name="connsiteX1442" fmla="*/ 1302915 w 2039198"/>
                    <a:gd name="connsiteY1442" fmla="*/ 826896 h 1686927"/>
                    <a:gd name="connsiteX1443" fmla="*/ 1294481 w 2039198"/>
                    <a:gd name="connsiteY1443" fmla="*/ 828985 h 1686927"/>
                    <a:gd name="connsiteX1444" fmla="*/ 1293758 w 2039198"/>
                    <a:gd name="connsiteY1444" fmla="*/ 831314 h 1686927"/>
                    <a:gd name="connsiteX1445" fmla="*/ 1259297 w 2039198"/>
                    <a:gd name="connsiteY1445" fmla="*/ 842801 h 1686927"/>
                    <a:gd name="connsiteX1446" fmla="*/ 1258173 w 2039198"/>
                    <a:gd name="connsiteY1446" fmla="*/ 851396 h 1686927"/>
                    <a:gd name="connsiteX1447" fmla="*/ 1303558 w 2039198"/>
                    <a:gd name="connsiteY1447" fmla="*/ 851557 h 1686927"/>
                    <a:gd name="connsiteX1448" fmla="*/ 1327817 w 2039198"/>
                    <a:gd name="connsiteY1448" fmla="*/ 868988 h 1686927"/>
                    <a:gd name="connsiteX1449" fmla="*/ 1324845 w 2039198"/>
                    <a:gd name="connsiteY1449" fmla="*/ 869631 h 1686927"/>
                    <a:gd name="connsiteX1450" fmla="*/ 1333520 w 2039198"/>
                    <a:gd name="connsiteY1450" fmla="*/ 872362 h 1686927"/>
                    <a:gd name="connsiteX1451" fmla="*/ 1329504 w 2039198"/>
                    <a:gd name="connsiteY1451" fmla="*/ 881118 h 1686927"/>
                    <a:gd name="connsiteX1452" fmla="*/ 1331994 w 2039198"/>
                    <a:gd name="connsiteY1452" fmla="*/ 884170 h 1686927"/>
                    <a:gd name="connsiteX1453" fmla="*/ 1333761 w 2039198"/>
                    <a:gd name="connsiteY1453" fmla="*/ 884813 h 1686927"/>
                    <a:gd name="connsiteX1454" fmla="*/ 1214956 w 2039198"/>
                    <a:gd name="connsiteY1454" fmla="*/ 954055 h 1686927"/>
                    <a:gd name="connsiteX1455" fmla="*/ 1219294 w 2039198"/>
                    <a:gd name="connsiteY1455" fmla="*/ 960964 h 1686927"/>
                    <a:gd name="connsiteX1456" fmla="*/ 1221463 w 2039198"/>
                    <a:gd name="connsiteY1456" fmla="*/ 960562 h 1686927"/>
                    <a:gd name="connsiteX1457" fmla="*/ 1225881 w 2039198"/>
                    <a:gd name="connsiteY1457" fmla="*/ 1005706 h 1686927"/>
                    <a:gd name="connsiteX1458" fmla="*/ 1234396 w 2039198"/>
                    <a:gd name="connsiteY1458" fmla="*/ 1006751 h 1686927"/>
                    <a:gd name="connsiteX1459" fmla="*/ 1230299 w 2039198"/>
                    <a:gd name="connsiteY1459" fmla="*/ 1014221 h 1686927"/>
                    <a:gd name="connsiteX1460" fmla="*/ 1241224 w 2039198"/>
                    <a:gd name="connsiteY1460" fmla="*/ 1030287 h 1686927"/>
                    <a:gd name="connsiteX1461" fmla="*/ 1276648 w 2039198"/>
                    <a:gd name="connsiteY1461" fmla="*/ 1021210 h 1686927"/>
                    <a:gd name="connsiteX1462" fmla="*/ 1289581 w 2039198"/>
                    <a:gd name="connsiteY1462" fmla="*/ 1022656 h 1686927"/>
                    <a:gd name="connsiteX1463" fmla="*/ 1417543 w 2039198"/>
                    <a:gd name="connsiteY1463" fmla="*/ 893729 h 1686927"/>
                    <a:gd name="connsiteX1464" fmla="*/ 1412643 w 2039198"/>
                    <a:gd name="connsiteY1464" fmla="*/ 883929 h 1686927"/>
                    <a:gd name="connsiteX1465" fmla="*/ 1433448 w 2039198"/>
                    <a:gd name="connsiteY1465" fmla="*/ 869229 h 1686927"/>
                    <a:gd name="connsiteX1466" fmla="*/ 1433207 w 2039198"/>
                    <a:gd name="connsiteY1466" fmla="*/ 868988 h 1686927"/>
                    <a:gd name="connsiteX1467" fmla="*/ 1622139 w 2039198"/>
                    <a:gd name="connsiteY1467" fmla="*/ 861437 h 1686927"/>
                    <a:gd name="connsiteX1468" fmla="*/ 1640695 w 2039198"/>
                    <a:gd name="connsiteY1468" fmla="*/ 831154 h 1686927"/>
                    <a:gd name="connsiteX1469" fmla="*/ 1528717 w 2039198"/>
                    <a:gd name="connsiteY1469" fmla="*/ 789865 h 1686927"/>
                    <a:gd name="connsiteX1470" fmla="*/ 1543096 w 2039198"/>
                    <a:gd name="connsiteY1470" fmla="*/ 780547 h 1686927"/>
                    <a:gd name="connsiteX1471" fmla="*/ 1652663 w 2039198"/>
                    <a:gd name="connsiteY1471" fmla="*/ 814927 h 1686927"/>
                    <a:gd name="connsiteX1472" fmla="*/ 1651057 w 2039198"/>
                    <a:gd name="connsiteY1472" fmla="*/ 815249 h 1686927"/>
                    <a:gd name="connsiteX1473" fmla="*/ 1701503 w 2039198"/>
                    <a:gd name="connsiteY1473" fmla="*/ 819346 h 1686927"/>
                    <a:gd name="connsiteX1474" fmla="*/ 1708170 w 2039198"/>
                    <a:gd name="connsiteY1474" fmla="*/ 822639 h 1686927"/>
                    <a:gd name="connsiteX1475" fmla="*/ 1691542 w 2039198"/>
                    <a:gd name="connsiteY1475" fmla="*/ 831636 h 1686927"/>
                    <a:gd name="connsiteX1476" fmla="*/ 1720942 w 2039198"/>
                    <a:gd name="connsiteY1476" fmla="*/ 840150 h 1686927"/>
                    <a:gd name="connsiteX1477" fmla="*/ 1714918 w 2039198"/>
                    <a:gd name="connsiteY1477" fmla="*/ 834206 h 1686927"/>
                    <a:gd name="connsiteX1478" fmla="*/ 1709295 w 2039198"/>
                    <a:gd name="connsiteY1478" fmla="*/ 828342 h 1686927"/>
                    <a:gd name="connsiteX1479" fmla="*/ 1709375 w 2039198"/>
                    <a:gd name="connsiteY1479" fmla="*/ 828262 h 1686927"/>
                    <a:gd name="connsiteX1480" fmla="*/ 1709455 w 2039198"/>
                    <a:gd name="connsiteY1480" fmla="*/ 828182 h 1686927"/>
                    <a:gd name="connsiteX1481" fmla="*/ 1709536 w 2039198"/>
                    <a:gd name="connsiteY1481" fmla="*/ 828101 h 1686927"/>
                    <a:gd name="connsiteX1482" fmla="*/ 1709616 w 2039198"/>
                    <a:gd name="connsiteY1482" fmla="*/ 828021 h 1686927"/>
                    <a:gd name="connsiteX1483" fmla="*/ 1709696 w 2039198"/>
                    <a:gd name="connsiteY1483" fmla="*/ 827941 h 1686927"/>
                    <a:gd name="connsiteX1484" fmla="*/ 1709777 w 2039198"/>
                    <a:gd name="connsiteY1484" fmla="*/ 827941 h 1686927"/>
                    <a:gd name="connsiteX1485" fmla="*/ 1709857 w 2039198"/>
                    <a:gd name="connsiteY1485" fmla="*/ 827860 h 1686927"/>
                    <a:gd name="connsiteX1486" fmla="*/ 1717408 w 2039198"/>
                    <a:gd name="connsiteY1486" fmla="*/ 820872 h 1686927"/>
                    <a:gd name="connsiteX1487" fmla="*/ 1698290 w 2039198"/>
                    <a:gd name="connsiteY1487" fmla="*/ 813160 h 1686927"/>
                    <a:gd name="connsiteX1488" fmla="*/ 1701262 w 2039198"/>
                    <a:gd name="connsiteY1488" fmla="*/ 808341 h 1686927"/>
                    <a:gd name="connsiteX1489" fmla="*/ 1689454 w 2039198"/>
                    <a:gd name="connsiteY1489" fmla="*/ 788500 h 1686927"/>
                    <a:gd name="connsiteX1490" fmla="*/ 1698611 w 2039198"/>
                    <a:gd name="connsiteY1490" fmla="*/ 792034 h 1686927"/>
                    <a:gd name="connsiteX1491" fmla="*/ 1702226 w 2039198"/>
                    <a:gd name="connsiteY1491" fmla="*/ 775165 h 1686927"/>
                    <a:gd name="connsiteX1492" fmla="*/ 1727449 w 2039198"/>
                    <a:gd name="connsiteY1492" fmla="*/ 761911 h 1686927"/>
                    <a:gd name="connsiteX1493" fmla="*/ 1725360 w 2039198"/>
                    <a:gd name="connsiteY1493" fmla="*/ 770185 h 1686927"/>
                    <a:gd name="connsiteX1494" fmla="*/ 1737731 w 2039198"/>
                    <a:gd name="connsiteY1494" fmla="*/ 745363 h 1686927"/>
                    <a:gd name="connsiteX1495" fmla="*/ 1721986 w 2039198"/>
                    <a:gd name="connsiteY1495" fmla="*/ 735001 h 1686927"/>
                    <a:gd name="connsiteX1496" fmla="*/ 1713391 w 2039198"/>
                    <a:gd name="connsiteY1496" fmla="*/ 696363 h 1686927"/>
                    <a:gd name="connsiteX1497" fmla="*/ 1712749 w 2039198"/>
                    <a:gd name="connsiteY1497" fmla="*/ 697006 h 1686927"/>
                    <a:gd name="connsiteX1498" fmla="*/ 1715078 w 2039198"/>
                    <a:gd name="connsiteY1498" fmla="*/ 651380 h 1686927"/>
                    <a:gd name="connsiteX1499" fmla="*/ 1721986 w 2039198"/>
                    <a:gd name="connsiteY1499" fmla="*/ 646480 h 1686927"/>
                    <a:gd name="connsiteX1500" fmla="*/ 1743434 w 2039198"/>
                    <a:gd name="connsiteY1500" fmla="*/ 663429 h 1686927"/>
                    <a:gd name="connsiteX1501" fmla="*/ 1761267 w 2039198"/>
                    <a:gd name="connsiteY1501" fmla="*/ 643427 h 1686927"/>
                    <a:gd name="connsiteX1502" fmla="*/ 1745362 w 2039198"/>
                    <a:gd name="connsiteY1502" fmla="*/ 635635 h 1686927"/>
                    <a:gd name="connsiteX1503" fmla="*/ 1755001 w 2039198"/>
                    <a:gd name="connsiteY1503" fmla="*/ 599488 h 1686927"/>
                    <a:gd name="connsiteX1504" fmla="*/ 1756046 w 2039198"/>
                    <a:gd name="connsiteY1504" fmla="*/ 600050 h 1686927"/>
                    <a:gd name="connsiteX1505" fmla="*/ 1760705 w 2039198"/>
                    <a:gd name="connsiteY1505" fmla="*/ 606717 h 1686927"/>
                    <a:gd name="connsiteX1506" fmla="*/ 1765123 w 2039198"/>
                    <a:gd name="connsiteY1506" fmla="*/ 634671 h 1686927"/>
                    <a:gd name="connsiteX1507" fmla="*/ 1814364 w 2039198"/>
                    <a:gd name="connsiteY1507" fmla="*/ 651862 h 1686927"/>
                    <a:gd name="connsiteX1508" fmla="*/ 1739016 w 2039198"/>
                    <a:gd name="connsiteY1508" fmla="*/ 758055 h 1686927"/>
                    <a:gd name="connsiteX1509" fmla="*/ 1731064 w 2039198"/>
                    <a:gd name="connsiteY1509" fmla="*/ 778218 h 1686927"/>
                    <a:gd name="connsiteX1510" fmla="*/ 1742631 w 2039198"/>
                    <a:gd name="connsiteY1510" fmla="*/ 782877 h 1686927"/>
                    <a:gd name="connsiteX1511" fmla="*/ 1743675 w 2039198"/>
                    <a:gd name="connsiteY1511" fmla="*/ 791632 h 1686927"/>
                    <a:gd name="connsiteX1512" fmla="*/ 1767934 w 2039198"/>
                    <a:gd name="connsiteY1512" fmla="*/ 804244 h 1686927"/>
                    <a:gd name="connsiteX1513" fmla="*/ 1825449 w 2039198"/>
                    <a:gd name="connsiteY1513" fmla="*/ 752352 h 1686927"/>
                    <a:gd name="connsiteX1514" fmla="*/ 1838301 w 2039198"/>
                    <a:gd name="connsiteY1514" fmla="*/ 840070 h 1686927"/>
                    <a:gd name="connsiteX1515" fmla="*/ 1590088 w 2039198"/>
                    <a:gd name="connsiteY1515" fmla="*/ 962731 h 1686927"/>
                    <a:gd name="connsiteX1516" fmla="*/ 1590891 w 2039198"/>
                    <a:gd name="connsiteY1516" fmla="*/ 961767 h 1686927"/>
                    <a:gd name="connsiteX1517" fmla="*/ 1582457 w 2039198"/>
                    <a:gd name="connsiteY1517" fmla="*/ 962329 h 1686927"/>
                    <a:gd name="connsiteX1518" fmla="*/ 1580690 w 2039198"/>
                    <a:gd name="connsiteY1518" fmla="*/ 960401 h 1686927"/>
                    <a:gd name="connsiteX1519" fmla="*/ 1568560 w 2039198"/>
                    <a:gd name="connsiteY1519" fmla="*/ 916703 h 1686927"/>
                    <a:gd name="connsiteX1520" fmla="*/ 1566391 w 2039198"/>
                    <a:gd name="connsiteY1520" fmla="*/ 914614 h 1686927"/>
                    <a:gd name="connsiteX1521" fmla="*/ 1559483 w 2039198"/>
                    <a:gd name="connsiteY1521" fmla="*/ 921844 h 1686927"/>
                    <a:gd name="connsiteX1522" fmla="*/ 1550085 w 2039198"/>
                    <a:gd name="connsiteY1522" fmla="*/ 919515 h 1686927"/>
                    <a:gd name="connsiteX1523" fmla="*/ 1548317 w 2039198"/>
                    <a:gd name="connsiteY1523" fmla="*/ 921924 h 1686927"/>
                    <a:gd name="connsiteX1524" fmla="*/ 1547434 w 2039198"/>
                    <a:gd name="connsiteY1524" fmla="*/ 919595 h 1686927"/>
                    <a:gd name="connsiteX1525" fmla="*/ 1510242 w 2039198"/>
                    <a:gd name="connsiteY1525" fmla="*/ 941364 h 1686927"/>
                    <a:gd name="connsiteX1526" fmla="*/ 1316411 w 2039198"/>
                    <a:gd name="connsiteY1526" fmla="*/ 1034062 h 1686927"/>
                    <a:gd name="connsiteX1527" fmla="*/ 1158646 w 2039198"/>
                    <a:gd name="connsiteY1527" fmla="*/ 1243638 h 1686927"/>
                    <a:gd name="connsiteX1528" fmla="*/ 1161538 w 2039198"/>
                    <a:gd name="connsiteY1528" fmla="*/ 1240666 h 1686927"/>
                    <a:gd name="connsiteX1529" fmla="*/ 1145794 w 2039198"/>
                    <a:gd name="connsiteY1529" fmla="*/ 1283722 h 1686927"/>
                    <a:gd name="connsiteX1530" fmla="*/ 1156076 w 2039198"/>
                    <a:gd name="connsiteY1530" fmla="*/ 1282517 h 1686927"/>
                    <a:gd name="connsiteX1531" fmla="*/ 1163386 w 2039198"/>
                    <a:gd name="connsiteY1531" fmla="*/ 1288220 h 1686927"/>
                    <a:gd name="connsiteX1532" fmla="*/ 1161137 w 2039198"/>
                    <a:gd name="connsiteY1532" fmla="*/ 1297056 h 1686927"/>
                    <a:gd name="connsiteX1533" fmla="*/ 1163787 w 2039198"/>
                    <a:gd name="connsiteY1533" fmla="*/ 1295851 h 1686927"/>
                    <a:gd name="connsiteX1534" fmla="*/ 1151658 w 2039198"/>
                    <a:gd name="connsiteY1534" fmla="*/ 1358346 h 1686927"/>
                    <a:gd name="connsiteX1535" fmla="*/ 1153666 w 2039198"/>
                    <a:gd name="connsiteY1535" fmla="*/ 1359149 h 1686927"/>
                    <a:gd name="connsiteX1536" fmla="*/ 1171258 w 2039198"/>
                    <a:gd name="connsiteY1536" fmla="*/ 1362523 h 1686927"/>
                    <a:gd name="connsiteX1537" fmla="*/ 1178809 w 2039198"/>
                    <a:gd name="connsiteY1537" fmla="*/ 1368387 h 1686927"/>
                    <a:gd name="connsiteX1538" fmla="*/ 1184512 w 2039198"/>
                    <a:gd name="connsiteY1538" fmla="*/ 1367423 h 1686927"/>
                    <a:gd name="connsiteX1539" fmla="*/ 1184512 w 2039198"/>
                    <a:gd name="connsiteY1539" fmla="*/ 1367423 h 1686927"/>
                    <a:gd name="connsiteX1540" fmla="*/ 1184512 w 2039198"/>
                    <a:gd name="connsiteY1540" fmla="*/ 1367423 h 1686927"/>
                    <a:gd name="connsiteX1541" fmla="*/ 1184512 w 2039198"/>
                    <a:gd name="connsiteY1541" fmla="*/ 1367423 h 1686927"/>
                    <a:gd name="connsiteX1542" fmla="*/ 1184512 w 2039198"/>
                    <a:gd name="connsiteY1542" fmla="*/ 1367423 h 1686927"/>
                    <a:gd name="connsiteX1543" fmla="*/ 1184512 w 2039198"/>
                    <a:gd name="connsiteY1543" fmla="*/ 1367423 h 1686927"/>
                    <a:gd name="connsiteX1544" fmla="*/ 1184512 w 2039198"/>
                    <a:gd name="connsiteY1544" fmla="*/ 1367423 h 1686927"/>
                    <a:gd name="connsiteX1545" fmla="*/ 1184512 w 2039198"/>
                    <a:gd name="connsiteY1545" fmla="*/ 1367423 h 1686927"/>
                    <a:gd name="connsiteX1546" fmla="*/ 1169892 w 2039198"/>
                    <a:gd name="connsiteY1546" fmla="*/ 1376661 h 1686927"/>
                    <a:gd name="connsiteX1547" fmla="*/ 1174712 w 2039198"/>
                    <a:gd name="connsiteY1547" fmla="*/ 1378027 h 1686927"/>
                    <a:gd name="connsiteX1548" fmla="*/ 1199614 w 2039198"/>
                    <a:gd name="connsiteY1548" fmla="*/ 1381561 h 1686927"/>
                    <a:gd name="connsiteX1549" fmla="*/ 1205558 w 2039198"/>
                    <a:gd name="connsiteY1549" fmla="*/ 1390960 h 1686927"/>
                    <a:gd name="connsiteX1550" fmla="*/ 1208610 w 2039198"/>
                    <a:gd name="connsiteY1550" fmla="*/ 1388791 h 1686927"/>
                    <a:gd name="connsiteX1551" fmla="*/ 1216965 w 2039198"/>
                    <a:gd name="connsiteY1551" fmla="*/ 1392084 h 1686927"/>
                    <a:gd name="connsiteX1552" fmla="*/ 1218571 w 2039198"/>
                    <a:gd name="connsiteY1552" fmla="*/ 1390799 h 1686927"/>
                    <a:gd name="connsiteX1553" fmla="*/ 1251265 w 2039198"/>
                    <a:gd name="connsiteY1553" fmla="*/ 1404053 h 1686927"/>
                    <a:gd name="connsiteX1554" fmla="*/ 1252791 w 2039198"/>
                    <a:gd name="connsiteY1554" fmla="*/ 1412809 h 1686927"/>
                    <a:gd name="connsiteX1555" fmla="*/ 1404852 w 2039198"/>
                    <a:gd name="connsiteY1555" fmla="*/ 1407346 h 1686927"/>
                    <a:gd name="connsiteX1556" fmla="*/ 1600450 w 2039198"/>
                    <a:gd name="connsiteY1556" fmla="*/ 1329428 h 1686927"/>
                    <a:gd name="connsiteX1557" fmla="*/ 1603503 w 2039198"/>
                    <a:gd name="connsiteY1557" fmla="*/ 1337381 h 1686927"/>
                    <a:gd name="connsiteX1558" fmla="*/ 1648968 w 2039198"/>
                    <a:gd name="connsiteY1558" fmla="*/ 1317299 h 1686927"/>
                    <a:gd name="connsiteX1559" fmla="*/ 1674031 w 2039198"/>
                    <a:gd name="connsiteY1559" fmla="*/ 1316656 h 1686927"/>
                    <a:gd name="connsiteX1560" fmla="*/ 1674352 w 2039198"/>
                    <a:gd name="connsiteY1560" fmla="*/ 1316817 h 1686927"/>
                    <a:gd name="connsiteX1561" fmla="*/ 1675557 w 2039198"/>
                    <a:gd name="connsiteY1561" fmla="*/ 1318825 h 1686927"/>
                    <a:gd name="connsiteX1562" fmla="*/ 1672826 w 2039198"/>
                    <a:gd name="connsiteY1562" fmla="*/ 1320753 h 1686927"/>
                    <a:gd name="connsiteX1563" fmla="*/ 1675316 w 2039198"/>
                    <a:gd name="connsiteY1563" fmla="*/ 1322841 h 1686927"/>
                    <a:gd name="connsiteX1564" fmla="*/ 1676119 w 2039198"/>
                    <a:gd name="connsiteY1564" fmla="*/ 1352161 h 1686927"/>
                    <a:gd name="connsiteX1565" fmla="*/ 1681983 w 2039198"/>
                    <a:gd name="connsiteY1565" fmla="*/ 1358989 h 1686927"/>
                    <a:gd name="connsiteX1566" fmla="*/ 1671300 w 2039198"/>
                    <a:gd name="connsiteY1566" fmla="*/ 1375858 h 1686927"/>
                    <a:gd name="connsiteX1567" fmla="*/ 1680859 w 2039198"/>
                    <a:gd name="connsiteY1567" fmla="*/ 1387425 h 1686927"/>
                    <a:gd name="connsiteX1568" fmla="*/ 1746246 w 2039198"/>
                    <a:gd name="connsiteY1568" fmla="*/ 1404937 h 1686927"/>
                    <a:gd name="connsiteX1569" fmla="*/ 1750664 w 2039198"/>
                    <a:gd name="connsiteY1569" fmla="*/ 1440602 h 1686927"/>
                    <a:gd name="connsiteX1570" fmla="*/ 1751065 w 2039198"/>
                    <a:gd name="connsiteY1570" fmla="*/ 1439076 h 1686927"/>
                    <a:gd name="connsiteX1571" fmla="*/ 1781188 w 2039198"/>
                    <a:gd name="connsiteY1571" fmla="*/ 1587121 h 1686927"/>
                    <a:gd name="connsiteX1572" fmla="*/ 1780305 w 2039198"/>
                    <a:gd name="connsiteY1572" fmla="*/ 1587121 h 1686927"/>
                    <a:gd name="connsiteX1573" fmla="*/ 1824806 w 2039198"/>
                    <a:gd name="connsiteY1573" fmla="*/ 1685763 h 1686927"/>
                    <a:gd name="connsiteX1574" fmla="*/ 2037515 w 2039198"/>
                    <a:gd name="connsiteY1574" fmla="*/ 1284445 h 1686927"/>
                    <a:gd name="connsiteX1575" fmla="*/ 2036631 w 2039198"/>
                    <a:gd name="connsiteY1575" fmla="*/ 1283079 h 1686927"/>
                    <a:gd name="connsiteX1576" fmla="*/ 2035105 w 2039198"/>
                    <a:gd name="connsiteY1576" fmla="*/ 1257374 h 1686927"/>
                    <a:gd name="connsiteX1577" fmla="*/ 2035747 w 2039198"/>
                    <a:gd name="connsiteY1577" fmla="*/ 1255285 h 1686927"/>
                    <a:gd name="connsiteX1578" fmla="*/ 2024903 w 2039198"/>
                    <a:gd name="connsiteY1578" fmla="*/ 1154875 h 1686927"/>
                    <a:gd name="connsiteX1579" fmla="*/ 2025305 w 2039198"/>
                    <a:gd name="connsiteY1579" fmla="*/ 1154715 h 1686927"/>
                    <a:gd name="connsiteX1580" fmla="*/ 2025385 w 2039198"/>
                    <a:gd name="connsiteY1580" fmla="*/ 1153269 h 1686927"/>
                    <a:gd name="connsiteX1581" fmla="*/ 2028518 w 2039198"/>
                    <a:gd name="connsiteY1581" fmla="*/ 932608 h 1686927"/>
                    <a:gd name="connsiteX1582" fmla="*/ 2000002 w 2039198"/>
                    <a:gd name="connsiteY1582" fmla="*/ 989239 h 1686927"/>
                    <a:gd name="connsiteX1583" fmla="*/ 1995182 w 2039198"/>
                    <a:gd name="connsiteY1583" fmla="*/ 973816 h 1686927"/>
                    <a:gd name="connsiteX1584" fmla="*/ 1967228 w 2039198"/>
                    <a:gd name="connsiteY1584" fmla="*/ 967631 h 1686927"/>
                    <a:gd name="connsiteX1585" fmla="*/ 1929152 w 2039198"/>
                    <a:gd name="connsiteY1585" fmla="*/ 922888 h 1686927"/>
                    <a:gd name="connsiteX1586" fmla="*/ 1848905 w 2039198"/>
                    <a:gd name="connsiteY1586" fmla="*/ 853485 h 1686927"/>
                    <a:gd name="connsiteX1587" fmla="*/ 1864167 w 2039198"/>
                    <a:gd name="connsiteY1587" fmla="*/ 865855 h 1686927"/>
                    <a:gd name="connsiteX1588" fmla="*/ 1871718 w 2039198"/>
                    <a:gd name="connsiteY1588" fmla="*/ 860714 h 1686927"/>
                    <a:gd name="connsiteX1589" fmla="*/ 1869549 w 2039198"/>
                    <a:gd name="connsiteY1589" fmla="*/ 841436 h 1686927"/>
                    <a:gd name="connsiteX1590" fmla="*/ 1875493 w 2039198"/>
                    <a:gd name="connsiteY1590" fmla="*/ 861277 h 1686927"/>
                    <a:gd name="connsiteX1591" fmla="*/ 1931241 w 2039198"/>
                    <a:gd name="connsiteY1591" fmla="*/ 890034 h 1686927"/>
                    <a:gd name="connsiteX1592" fmla="*/ 1930920 w 2039198"/>
                    <a:gd name="connsiteY1592" fmla="*/ 890436 h 1686927"/>
                    <a:gd name="connsiteX1593" fmla="*/ 1985221 w 2039198"/>
                    <a:gd name="connsiteY1593" fmla="*/ 947870 h 1686927"/>
                    <a:gd name="connsiteX1594" fmla="*/ 1984579 w 2039198"/>
                    <a:gd name="connsiteY1594" fmla="*/ 947870 h 1686927"/>
                    <a:gd name="connsiteX1595" fmla="*/ 1984739 w 2039198"/>
                    <a:gd name="connsiteY1595" fmla="*/ 949156 h 1686927"/>
                    <a:gd name="connsiteX1596" fmla="*/ 1995102 w 2039198"/>
                    <a:gd name="connsiteY1596" fmla="*/ 964819 h 1686927"/>
                    <a:gd name="connsiteX1597" fmla="*/ 1969236 w 2039198"/>
                    <a:gd name="connsiteY1597" fmla="*/ 732752 h 1686927"/>
                    <a:gd name="connsiteX1598" fmla="*/ 1934856 w 2039198"/>
                    <a:gd name="connsiteY1598" fmla="*/ 633627 h 1686927"/>
                    <a:gd name="connsiteX1599" fmla="*/ 1822075 w 2039198"/>
                    <a:gd name="connsiteY1599" fmla="*/ 463412 h 1686927"/>
                    <a:gd name="connsiteX1600" fmla="*/ 1682385 w 2039198"/>
                    <a:gd name="connsiteY1600" fmla="*/ 314163 h 1686927"/>
                    <a:gd name="connsiteX1601" fmla="*/ 1517150 w 2039198"/>
                    <a:gd name="connsiteY1601" fmla="*/ 188289 h 1686927"/>
                    <a:gd name="connsiteX1602" fmla="*/ 1325086 w 2039198"/>
                    <a:gd name="connsiteY1602" fmla="*/ 88682 h 1686927"/>
                    <a:gd name="connsiteX1603" fmla="*/ 1126756 w 2039198"/>
                    <a:gd name="connsiteY1603" fmla="*/ 26026 h 1686927"/>
                    <a:gd name="connsiteX1604" fmla="*/ 1005381 w 2039198"/>
                    <a:gd name="connsiteY1604" fmla="*/ 4579 h 1686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</a:cxnLst>
                  <a:rect l="l" t="t" r="r" b="b"/>
                  <a:pathLst>
                    <a:path w="2039198" h="1686927">
                      <a:moveTo>
                        <a:pt x="166194" y="373445"/>
                      </a:move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cubicBezTo>
                        <a:pt x="166194" y="373445"/>
                        <a:pt x="166194" y="373445"/>
                        <a:pt x="166194" y="373445"/>
                      </a:cubicBezTo>
                      <a:cubicBezTo>
                        <a:pt x="166194" y="373445"/>
                        <a:pt x="166194" y="373445"/>
                        <a:pt x="166194" y="373445"/>
                      </a:cubicBez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194" y="373445"/>
                      </a:moveTo>
                      <a:lnTo>
                        <a:pt x="166194" y="373445"/>
                      </a:lnTo>
                      <a:lnTo>
                        <a:pt x="166194" y="373445"/>
                      </a:lnTo>
                      <a:moveTo>
                        <a:pt x="166275" y="373445"/>
                      </a:moveTo>
                      <a:lnTo>
                        <a:pt x="166275" y="373445"/>
                      </a:lnTo>
                      <a:lnTo>
                        <a:pt x="166275" y="373445"/>
                      </a:lnTo>
                      <a:moveTo>
                        <a:pt x="166275" y="373445"/>
                      </a:moveTo>
                      <a:lnTo>
                        <a:pt x="166275" y="373445"/>
                      </a:lnTo>
                      <a:lnTo>
                        <a:pt x="166275" y="373445"/>
                      </a:lnTo>
                      <a:lnTo>
                        <a:pt x="166275" y="373445"/>
                      </a:lnTo>
                      <a:moveTo>
                        <a:pt x="142096" y="416179"/>
                      </a:moveTo>
                      <a:cubicBezTo>
                        <a:pt x="144827" y="413689"/>
                        <a:pt x="144907" y="412966"/>
                        <a:pt x="145068" y="412163"/>
                      </a:cubicBezTo>
                      <a:cubicBezTo>
                        <a:pt x="144586" y="411601"/>
                        <a:pt x="144265" y="411279"/>
                        <a:pt x="141373" y="411681"/>
                      </a:cubicBezTo>
                      <a:cubicBezTo>
                        <a:pt x="143542" y="405335"/>
                        <a:pt x="146755" y="395776"/>
                        <a:pt x="158965" y="388305"/>
                      </a:cubicBezTo>
                      <a:cubicBezTo>
                        <a:pt x="170371" y="381237"/>
                        <a:pt x="166676" y="373364"/>
                        <a:pt x="166596" y="373284"/>
                      </a:cubicBezTo>
                      <a:cubicBezTo>
                        <a:pt x="166516" y="373364"/>
                        <a:pt x="166355" y="373364"/>
                        <a:pt x="166275" y="373445"/>
                      </a:cubicBezTo>
                      <a:cubicBezTo>
                        <a:pt x="166355" y="373445"/>
                        <a:pt x="166516" y="373364"/>
                        <a:pt x="166596" y="373284"/>
                      </a:cubicBezTo>
                      <a:cubicBezTo>
                        <a:pt x="166194" y="372882"/>
                        <a:pt x="166194" y="372882"/>
                        <a:pt x="165070" y="372561"/>
                      </a:cubicBezTo>
                      <a:cubicBezTo>
                        <a:pt x="160893" y="372641"/>
                        <a:pt x="156153" y="375453"/>
                        <a:pt x="148361" y="380915"/>
                      </a:cubicBezTo>
                      <a:cubicBezTo>
                        <a:pt x="146996" y="378184"/>
                        <a:pt x="146835" y="378024"/>
                        <a:pt x="146353" y="377461"/>
                      </a:cubicBezTo>
                      <a:cubicBezTo>
                        <a:pt x="146193" y="377542"/>
                        <a:pt x="146032" y="377622"/>
                        <a:pt x="145871" y="377702"/>
                      </a:cubicBezTo>
                      <a:cubicBezTo>
                        <a:pt x="145550" y="379951"/>
                        <a:pt x="147076" y="382120"/>
                        <a:pt x="146112" y="384450"/>
                      </a:cubicBezTo>
                      <a:cubicBezTo>
                        <a:pt x="145148" y="386699"/>
                        <a:pt x="144827" y="388305"/>
                        <a:pt x="144747" y="389028"/>
                      </a:cubicBezTo>
                      <a:cubicBezTo>
                        <a:pt x="141052" y="389510"/>
                        <a:pt x="138160" y="391117"/>
                        <a:pt x="135991" y="393768"/>
                      </a:cubicBezTo>
                      <a:cubicBezTo>
                        <a:pt x="135188" y="394732"/>
                        <a:pt x="130047" y="396338"/>
                        <a:pt x="128360" y="395696"/>
                      </a:cubicBezTo>
                      <a:cubicBezTo>
                        <a:pt x="127074" y="395214"/>
                        <a:pt x="126593" y="393768"/>
                        <a:pt x="125307" y="393366"/>
                      </a:cubicBezTo>
                      <a:cubicBezTo>
                        <a:pt x="123861" y="392884"/>
                        <a:pt x="122415" y="393045"/>
                        <a:pt x="120970" y="393205"/>
                      </a:cubicBezTo>
                      <a:cubicBezTo>
                        <a:pt x="107153" y="417706"/>
                        <a:pt x="110688" y="426461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lnTo>
                        <a:pt x="115989" y="429433"/>
                      </a:lnTo>
                      <a:lnTo>
                        <a:pt x="115989" y="429433"/>
                      </a:lnTo>
                      <a:lnTo>
                        <a:pt x="115989" y="429433"/>
                      </a:ln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lnTo>
                        <a:pt x="115989" y="429433"/>
                      </a:lnTo>
                      <a:lnTo>
                        <a:pt x="115989" y="429433"/>
                      </a:ln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989" y="429433"/>
                        <a:pt x="115989" y="429433"/>
                        <a:pt x="115989" y="429433"/>
                      </a:cubicBezTo>
                      <a:cubicBezTo>
                        <a:pt x="115748" y="437065"/>
                        <a:pt x="119363" y="437225"/>
                        <a:pt x="126834" y="429996"/>
                      </a:cubicBezTo>
                      <a:cubicBezTo>
                        <a:pt x="128520" y="428389"/>
                        <a:pt x="130689" y="426059"/>
                        <a:pt x="132216" y="424212"/>
                      </a:cubicBezTo>
                      <a:cubicBezTo>
                        <a:pt x="133340" y="422927"/>
                        <a:pt x="134866" y="420758"/>
                        <a:pt x="136553" y="420517"/>
                      </a:cubicBezTo>
                      <a:cubicBezTo>
                        <a:pt x="138240" y="419392"/>
                        <a:pt x="140489" y="417625"/>
                        <a:pt x="142096" y="416179"/>
                      </a:cubicBezTo>
                      <a:moveTo>
                        <a:pt x="189811" y="406379"/>
                      </a:moveTo>
                      <a:cubicBezTo>
                        <a:pt x="189971" y="406299"/>
                        <a:pt x="190132" y="406219"/>
                        <a:pt x="190293" y="406058"/>
                      </a:cubicBezTo>
                      <a:cubicBezTo>
                        <a:pt x="193184" y="387101"/>
                        <a:pt x="192381" y="383968"/>
                        <a:pt x="188365" y="383566"/>
                      </a:cubicBezTo>
                      <a:cubicBezTo>
                        <a:pt x="186357" y="384289"/>
                        <a:pt x="183545" y="385173"/>
                        <a:pt x="177199" y="392161"/>
                      </a:cubicBezTo>
                      <a:cubicBezTo>
                        <a:pt x="170773" y="399230"/>
                        <a:pt x="165632" y="407343"/>
                        <a:pt x="159768" y="414974"/>
                      </a:cubicBezTo>
                      <a:cubicBezTo>
                        <a:pt x="160893" y="416420"/>
                        <a:pt x="164427" y="420678"/>
                        <a:pt x="171416" y="418669"/>
                      </a:cubicBezTo>
                      <a:cubicBezTo>
                        <a:pt x="174147" y="417866"/>
                        <a:pt x="178725" y="415617"/>
                        <a:pt x="184991" y="409191"/>
                      </a:cubicBezTo>
                      <a:cubicBezTo>
                        <a:pt x="185553" y="408628"/>
                        <a:pt x="186035" y="407745"/>
                        <a:pt x="186678" y="407343"/>
                      </a:cubicBezTo>
                      <a:cubicBezTo>
                        <a:pt x="187722" y="406942"/>
                        <a:pt x="188847" y="406942"/>
                        <a:pt x="189811" y="406379"/>
                      </a:cubicBezTo>
                      <a:moveTo>
                        <a:pt x="177119" y="368705"/>
                      </a:moveTo>
                      <a:cubicBezTo>
                        <a:pt x="177279" y="368625"/>
                        <a:pt x="177601" y="368545"/>
                        <a:pt x="177761" y="368464"/>
                      </a:cubicBezTo>
                      <a:cubicBezTo>
                        <a:pt x="177761" y="368464"/>
                        <a:pt x="177761" y="368464"/>
                        <a:pt x="177761" y="368464"/>
                      </a:cubicBezTo>
                      <a:cubicBezTo>
                        <a:pt x="174066" y="370071"/>
                        <a:pt x="170291" y="371678"/>
                        <a:pt x="166596" y="373284"/>
                      </a:cubicBezTo>
                      <a:cubicBezTo>
                        <a:pt x="166596" y="373284"/>
                        <a:pt x="166676" y="373284"/>
                        <a:pt x="166676" y="373204"/>
                      </a:cubicBezTo>
                      <a:cubicBezTo>
                        <a:pt x="172138" y="370955"/>
                        <a:pt x="172540" y="370714"/>
                        <a:pt x="177119" y="368705"/>
                      </a:cubicBezTo>
                      <a:moveTo>
                        <a:pt x="1093259" y="18556"/>
                      </a:moveTo>
                      <a:lnTo>
                        <a:pt x="1092617" y="18395"/>
                      </a:lnTo>
                      <a:lnTo>
                        <a:pt x="1092617" y="18395"/>
                      </a:lnTo>
                      <a:cubicBezTo>
                        <a:pt x="1092858" y="18475"/>
                        <a:pt x="1093179" y="18475"/>
                        <a:pt x="1093420" y="18556"/>
                      </a:cubicBezTo>
                      <a:cubicBezTo>
                        <a:pt x="1093420" y="18636"/>
                        <a:pt x="1093340" y="18556"/>
                        <a:pt x="1093259" y="18556"/>
                      </a:cubicBezTo>
                      <a:moveTo>
                        <a:pt x="40320" y="465099"/>
                      </a:moveTo>
                      <a:cubicBezTo>
                        <a:pt x="39517" y="465983"/>
                        <a:pt x="38553" y="465581"/>
                        <a:pt x="38553" y="465581"/>
                      </a:cubicBezTo>
                      <a:cubicBezTo>
                        <a:pt x="38071" y="465099"/>
                        <a:pt x="38633" y="463894"/>
                        <a:pt x="40320" y="461484"/>
                      </a:cubicBezTo>
                      <a:cubicBezTo>
                        <a:pt x="40963" y="461725"/>
                        <a:pt x="42891" y="462368"/>
                        <a:pt x="40320" y="465099"/>
                      </a:cubicBezTo>
                      <a:moveTo>
                        <a:pt x="54297" y="477068"/>
                      </a:moveTo>
                      <a:cubicBezTo>
                        <a:pt x="73978" y="434414"/>
                        <a:pt x="86750" y="409351"/>
                        <a:pt x="119122" y="363645"/>
                      </a:cubicBezTo>
                      <a:lnTo>
                        <a:pt x="81127" y="402604"/>
                      </a:lnTo>
                      <a:cubicBezTo>
                        <a:pt x="88115" y="388707"/>
                        <a:pt x="92774" y="379550"/>
                        <a:pt x="102012" y="364930"/>
                      </a:cubicBezTo>
                      <a:cubicBezTo>
                        <a:pt x="92453" y="375292"/>
                        <a:pt x="87633" y="378666"/>
                        <a:pt x="84902" y="377060"/>
                      </a:cubicBezTo>
                      <a:cubicBezTo>
                        <a:pt x="83456" y="377542"/>
                        <a:pt x="82733" y="377783"/>
                        <a:pt x="79440" y="379710"/>
                      </a:cubicBezTo>
                      <a:cubicBezTo>
                        <a:pt x="80806" y="377863"/>
                        <a:pt x="91971" y="361476"/>
                        <a:pt x="91971" y="361476"/>
                      </a:cubicBezTo>
                      <a:cubicBezTo>
                        <a:pt x="90445" y="361235"/>
                        <a:pt x="89722" y="361155"/>
                        <a:pt x="83858" y="362841"/>
                      </a:cubicBezTo>
                      <a:cubicBezTo>
                        <a:pt x="84822" y="362038"/>
                        <a:pt x="84822" y="362038"/>
                        <a:pt x="104342" y="344045"/>
                      </a:cubicBezTo>
                      <a:cubicBezTo>
                        <a:pt x="101691" y="344125"/>
                        <a:pt x="94381" y="344687"/>
                        <a:pt x="84340" y="348784"/>
                      </a:cubicBezTo>
                      <a:cubicBezTo>
                        <a:pt x="100004" y="338020"/>
                        <a:pt x="111089" y="322597"/>
                        <a:pt x="124665" y="309664"/>
                      </a:cubicBezTo>
                      <a:cubicBezTo>
                        <a:pt x="124343" y="309504"/>
                        <a:pt x="123942" y="309343"/>
                        <a:pt x="123701" y="309182"/>
                      </a:cubicBezTo>
                      <a:cubicBezTo>
                        <a:pt x="123379" y="309343"/>
                        <a:pt x="122897" y="309504"/>
                        <a:pt x="122496" y="309584"/>
                      </a:cubicBezTo>
                      <a:cubicBezTo>
                        <a:pt x="134465" y="298338"/>
                        <a:pt x="133902" y="290466"/>
                        <a:pt x="133902" y="290386"/>
                      </a:cubicBezTo>
                      <a:cubicBezTo>
                        <a:pt x="131814" y="287976"/>
                        <a:pt x="127878" y="288699"/>
                        <a:pt x="127797" y="288779"/>
                      </a:cubicBezTo>
                      <a:lnTo>
                        <a:pt x="56948" y="338422"/>
                      </a:lnTo>
                      <a:cubicBezTo>
                        <a:pt x="51807" y="342277"/>
                        <a:pt x="47309" y="352881"/>
                        <a:pt x="47068" y="355933"/>
                      </a:cubicBezTo>
                      <a:cubicBezTo>
                        <a:pt x="46747" y="360512"/>
                        <a:pt x="49638" y="366456"/>
                        <a:pt x="72933" y="355371"/>
                      </a:cubicBezTo>
                      <a:cubicBezTo>
                        <a:pt x="65061" y="361556"/>
                        <a:pt x="58314" y="368946"/>
                        <a:pt x="50763" y="375453"/>
                      </a:cubicBez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lnTo>
                        <a:pt x="50763" y="375453"/>
                      </a:lnTo>
                      <a:cubicBezTo>
                        <a:pt x="48514" y="388225"/>
                        <a:pt x="48514" y="388225"/>
                        <a:pt x="41204" y="389591"/>
                      </a:cubicBezTo>
                      <a:cubicBezTo>
                        <a:pt x="29878" y="391760"/>
                        <a:pt x="18551" y="400194"/>
                        <a:pt x="28432" y="428309"/>
                      </a:cubicBezTo>
                      <a:cubicBezTo>
                        <a:pt x="20319" y="426542"/>
                        <a:pt x="17828" y="418348"/>
                        <a:pt x="11965" y="414010"/>
                      </a:cubicBezTo>
                      <a:cubicBezTo>
                        <a:pt x="-16793" y="468152"/>
                        <a:pt x="12768" y="480281"/>
                        <a:pt x="32930" y="482691"/>
                      </a:cubicBezTo>
                      <a:cubicBezTo>
                        <a:pt x="44417" y="471284"/>
                        <a:pt x="46827" y="468955"/>
                        <a:pt x="54860" y="472007"/>
                      </a:cubicBezTo>
                      <a:cubicBezTo>
                        <a:pt x="53012" y="474658"/>
                        <a:pt x="52771" y="475381"/>
                        <a:pt x="52530" y="476425"/>
                      </a:cubicBezTo>
                      <a:cubicBezTo>
                        <a:pt x="52771" y="476666"/>
                        <a:pt x="53092" y="476988"/>
                        <a:pt x="53253" y="477148"/>
                      </a:cubicBezTo>
                      <a:cubicBezTo>
                        <a:pt x="53655" y="477148"/>
                        <a:pt x="53976" y="477148"/>
                        <a:pt x="54297" y="477068"/>
                      </a:cubicBezTo>
                      <a:moveTo>
                        <a:pt x="204029" y="360994"/>
                      </a:moveTo>
                      <a:lnTo>
                        <a:pt x="204029" y="360994"/>
                      </a:lnTo>
                      <a:cubicBezTo>
                        <a:pt x="203145" y="360833"/>
                        <a:pt x="202261" y="360753"/>
                        <a:pt x="201378" y="360673"/>
                      </a:cubicBezTo>
                      <a:cubicBezTo>
                        <a:pt x="201780" y="360753"/>
                        <a:pt x="203948" y="360994"/>
                        <a:pt x="204029" y="360994"/>
                      </a:cubicBezTo>
                      <a:moveTo>
                        <a:pt x="195112" y="356897"/>
                      </a:moveTo>
                      <a:cubicBezTo>
                        <a:pt x="196076" y="356014"/>
                        <a:pt x="196317" y="355291"/>
                        <a:pt x="196398" y="354969"/>
                      </a:cubicBezTo>
                      <a:cubicBezTo>
                        <a:pt x="196317" y="354969"/>
                        <a:pt x="196237" y="354969"/>
                        <a:pt x="196157" y="355050"/>
                      </a:cubicBezTo>
                      <a:cubicBezTo>
                        <a:pt x="194309" y="355532"/>
                        <a:pt x="191819" y="356656"/>
                        <a:pt x="190373" y="359146"/>
                      </a:cubicBezTo>
                      <a:cubicBezTo>
                        <a:pt x="191337" y="358825"/>
                        <a:pt x="192622" y="358343"/>
                        <a:pt x="193586" y="358022"/>
                      </a:cubicBezTo>
                      <a:cubicBezTo>
                        <a:pt x="193988" y="357781"/>
                        <a:pt x="194550" y="357460"/>
                        <a:pt x="195112" y="356897"/>
                      </a:cubicBezTo>
                      <a:moveTo>
                        <a:pt x="241140" y="370151"/>
                      </a:moveTo>
                      <a:lnTo>
                        <a:pt x="241140" y="370151"/>
                      </a:lnTo>
                      <a:cubicBezTo>
                        <a:pt x="241221" y="370151"/>
                        <a:pt x="241221" y="370071"/>
                        <a:pt x="241140" y="370151"/>
                      </a:cubicBezTo>
                      <a:lnTo>
                        <a:pt x="241140" y="370151"/>
                      </a:lnTo>
                      <a:cubicBezTo>
                        <a:pt x="241221" y="370071"/>
                        <a:pt x="241221" y="370151"/>
                        <a:pt x="241140" y="370151"/>
                      </a:cubicBezTo>
                      <a:moveTo>
                        <a:pt x="189971" y="324525"/>
                      </a:moveTo>
                      <a:cubicBezTo>
                        <a:pt x="190855" y="322597"/>
                        <a:pt x="191658" y="320589"/>
                        <a:pt x="192542" y="318581"/>
                      </a:cubicBezTo>
                      <a:cubicBezTo>
                        <a:pt x="192461" y="318661"/>
                        <a:pt x="192461" y="318822"/>
                        <a:pt x="192381" y="318902"/>
                      </a:cubicBezTo>
                      <a:cubicBezTo>
                        <a:pt x="190775" y="322436"/>
                        <a:pt x="189971" y="324525"/>
                        <a:pt x="189971" y="324525"/>
                      </a:cubicBezTo>
                      <a:moveTo>
                        <a:pt x="222103" y="355933"/>
                      </a:moveTo>
                      <a:cubicBezTo>
                        <a:pt x="225235" y="353443"/>
                        <a:pt x="229653" y="347499"/>
                        <a:pt x="239453" y="334405"/>
                      </a:cubicBezTo>
                      <a:cubicBezTo>
                        <a:pt x="239132" y="334245"/>
                        <a:pt x="238730" y="334084"/>
                        <a:pt x="238409" y="334004"/>
                      </a:cubicBezTo>
                      <a:cubicBezTo>
                        <a:pt x="236160" y="333522"/>
                        <a:pt x="233268" y="333522"/>
                        <a:pt x="227565" y="336655"/>
                      </a:cubicBezTo>
                      <a:cubicBezTo>
                        <a:pt x="227404" y="336735"/>
                        <a:pt x="214391" y="344366"/>
                        <a:pt x="210535" y="348945"/>
                      </a:cubicBezTo>
                      <a:lnTo>
                        <a:pt x="211901" y="348222"/>
                      </a:lnTo>
                      <a:cubicBezTo>
                        <a:pt x="215114" y="347981"/>
                        <a:pt x="216319" y="349748"/>
                        <a:pt x="217524" y="353684"/>
                      </a:cubicBezTo>
                      <a:cubicBezTo>
                        <a:pt x="218327" y="356335"/>
                        <a:pt x="218970" y="358423"/>
                        <a:pt x="222103" y="355933"/>
                      </a:cubicBezTo>
                      <a:moveTo>
                        <a:pt x="231180" y="331353"/>
                      </a:moveTo>
                      <a:cubicBezTo>
                        <a:pt x="232545" y="330469"/>
                        <a:pt x="233429" y="328140"/>
                        <a:pt x="233830" y="327015"/>
                      </a:cubicBezTo>
                      <a:cubicBezTo>
                        <a:pt x="233509" y="327176"/>
                        <a:pt x="233107" y="327337"/>
                        <a:pt x="232866" y="327497"/>
                      </a:cubicBezTo>
                      <a:cubicBezTo>
                        <a:pt x="225637" y="331192"/>
                        <a:pt x="224030" y="332317"/>
                        <a:pt x="223709" y="332799"/>
                      </a:cubicBezTo>
                      <a:cubicBezTo>
                        <a:pt x="223870" y="333040"/>
                        <a:pt x="224834" y="332879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091" y="331353"/>
                        <a:pt x="229091" y="331353"/>
                        <a:pt x="229091" y="331353"/>
                      </a:cubicBezTo>
                      <a:cubicBezTo>
                        <a:pt x="229653" y="331674"/>
                        <a:pt x="230296" y="331915"/>
                        <a:pt x="231180" y="331353"/>
                      </a:cubicBezTo>
                      <a:moveTo>
                        <a:pt x="249494" y="324043"/>
                      </a:moveTo>
                      <a:lnTo>
                        <a:pt x="249494" y="324043"/>
                      </a:lnTo>
                      <a:cubicBezTo>
                        <a:pt x="248771" y="323963"/>
                        <a:pt x="248048" y="323802"/>
                        <a:pt x="247325" y="323722"/>
                      </a:cubicBezTo>
                      <a:cubicBezTo>
                        <a:pt x="247727" y="323802"/>
                        <a:pt x="248209" y="323883"/>
                        <a:pt x="248611" y="323883"/>
                      </a:cubicBezTo>
                      <a:cubicBezTo>
                        <a:pt x="248932" y="323963"/>
                        <a:pt x="249173" y="324123"/>
                        <a:pt x="249494" y="324043"/>
                      </a:cubicBezTo>
                      <a:moveTo>
                        <a:pt x="184188" y="262753"/>
                      </a:moveTo>
                      <a:cubicBezTo>
                        <a:pt x="185152" y="262110"/>
                        <a:pt x="186116" y="261468"/>
                        <a:pt x="187080" y="260825"/>
                      </a:cubicBezTo>
                      <a:cubicBezTo>
                        <a:pt x="186999" y="260825"/>
                        <a:pt x="186919" y="260905"/>
                        <a:pt x="186919" y="260905"/>
                      </a:cubicBezTo>
                      <a:cubicBezTo>
                        <a:pt x="184830" y="261949"/>
                        <a:pt x="182661" y="262833"/>
                        <a:pt x="180653" y="264038"/>
                      </a:cubicBezTo>
                      <a:cubicBezTo>
                        <a:pt x="180653" y="264038"/>
                        <a:pt x="180171" y="264600"/>
                        <a:pt x="180412" y="264681"/>
                      </a:cubicBezTo>
                      <a:cubicBezTo>
                        <a:pt x="180653" y="264922"/>
                        <a:pt x="181858" y="264279"/>
                        <a:pt x="184188" y="262753"/>
                      </a:cubicBezTo>
                      <a:moveTo>
                        <a:pt x="194952" y="266207"/>
                      </a:moveTo>
                      <a:cubicBezTo>
                        <a:pt x="195273" y="266046"/>
                        <a:pt x="195755" y="265886"/>
                        <a:pt x="196157" y="265725"/>
                      </a:cubicBezTo>
                      <a:cubicBezTo>
                        <a:pt x="195755" y="265886"/>
                        <a:pt x="195273" y="266127"/>
                        <a:pt x="194871" y="266287"/>
                      </a:cubicBezTo>
                      <a:cubicBezTo>
                        <a:pt x="188606" y="268938"/>
                        <a:pt x="182340" y="271589"/>
                        <a:pt x="176155" y="274240"/>
                      </a:cubicBezTo>
                      <a:cubicBezTo>
                        <a:pt x="182340" y="271509"/>
                        <a:pt x="188606" y="268858"/>
                        <a:pt x="194952" y="266207"/>
                      </a:cubicBezTo>
                      <a:moveTo>
                        <a:pt x="338257" y="343081"/>
                      </a:moveTo>
                      <a:cubicBezTo>
                        <a:pt x="340185" y="340832"/>
                        <a:pt x="341068" y="339546"/>
                        <a:pt x="341550" y="338823"/>
                      </a:cubicBezTo>
                      <a:cubicBezTo>
                        <a:pt x="341390" y="338904"/>
                        <a:pt x="341149" y="339064"/>
                        <a:pt x="340908" y="339145"/>
                      </a:cubicBezTo>
                      <a:cubicBezTo>
                        <a:pt x="334160" y="343081"/>
                        <a:pt x="328296" y="346856"/>
                        <a:pt x="331268" y="347660"/>
                      </a:cubicBezTo>
                      <a:cubicBezTo>
                        <a:pt x="332152" y="347901"/>
                        <a:pt x="333678" y="347820"/>
                        <a:pt x="333678" y="347820"/>
                      </a:cubicBezTo>
                      <a:cubicBezTo>
                        <a:pt x="333678" y="347901"/>
                        <a:pt x="336008" y="345732"/>
                        <a:pt x="338257" y="343081"/>
                      </a:cubicBezTo>
                      <a:moveTo>
                        <a:pt x="222825" y="306210"/>
                      </a:moveTo>
                      <a:cubicBezTo>
                        <a:pt x="226922" y="303158"/>
                        <a:pt x="230698" y="298338"/>
                        <a:pt x="230698" y="298338"/>
                      </a:cubicBezTo>
                      <a:cubicBezTo>
                        <a:pt x="230698" y="298338"/>
                        <a:pt x="231099" y="295125"/>
                        <a:pt x="229573" y="294241"/>
                      </a:cubicBezTo>
                      <a:cubicBezTo>
                        <a:pt x="227083" y="293438"/>
                        <a:pt x="221621" y="298900"/>
                        <a:pt x="220496" y="301150"/>
                      </a:cubicBezTo>
                      <a:cubicBezTo>
                        <a:pt x="219371" y="303399"/>
                        <a:pt x="218327" y="304523"/>
                        <a:pt x="212383" y="309182"/>
                      </a:cubicBezTo>
                      <a:cubicBezTo>
                        <a:pt x="213748" y="309504"/>
                        <a:pt x="217283" y="310387"/>
                        <a:pt x="222825" y="306210"/>
                      </a:cubicBezTo>
                      <a:moveTo>
                        <a:pt x="230537" y="323481"/>
                      </a:moveTo>
                      <a:cubicBezTo>
                        <a:pt x="231340" y="322838"/>
                        <a:pt x="249896" y="307174"/>
                        <a:pt x="258089" y="292876"/>
                      </a:cubicBezTo>
                      <a:cubicBezTo>
                        <a:pt x="257848" y="293036"/>
                        <a:pt x="257607" y="293277"/>
                        <a:pt x="257366" y="293518"/>
                      </a:cubicBezTo>
                      <a:cubicBezTo>
                        <a:pt x="255599" y="295125"/>
                        <a:pt x="254475" y="296169"/>
                        <a:pt x="252868" y="297696"/>
                      </a:cubicBezTo>
                      <a:cubicBezTo>
                        <a:pt x="251021" y="292795"/>
                        <a:pt x="247727" y="289341"/>
                        <a:pt x="238811" y="305969"/>
                      </a:cubicBezTo>
                      <a:cubicBezTo>
                        <a:pt x="241462" y="297053"/>
                        <a:pt x="242024" y="295125"/>
                        <a:pt x="237847" y="297294"/>
                      </a:cubicBezTo>
                      <a:cubicBezTo>
                        <a:pt x="237606" y="297374"/>
                        <a:pt x="219291" y="311191"/>
                        <a:pt x="221139" y="313199"/>
                      </a:cubicBezTo>
                      <a:cubicBezTo>
                        <a:pt x="213427" y="313600"/>
                        <a:pt x="211580" y="313681"/>
                        <a:pt x="210696" y="314805"/>
                      </a:cubicBezTo>
                      <a:cubicBezTo>
                        <a:pt x="210937" y="315448"/>
                        <a:pt x="211499" y="316974"/>
                        <a:pt x="224111" y="319946"/>
                      </a:cubicBezTo>
                      <a:cubicBezTo>
                        <a:pt x="207081" y="329023"/>
                        <a:pt x="201699" y="332799"/>
                        <a:pt x="200976" y="336092"/>
                      </a:cubicBezTo>
                      <a:cubicBezTo>
                        <a:pt x="201860" y="337217"/>
                        <a:pt x="202663" y="338181"/>
                        <a:pt x="211821" y="336976"/>
                      </a:cubicBezTo>
                      <a:cubicBezTo>
                        <a:pt x="211178" y="338341"/>
                        <a:pt x="211258" y="338502"/>
                        <a:pt x="211419" y="338823"/>
                      </a:cubicBezTo>
                      <a:cubicBezTo>
                        <a:pt x="212383" y="338663"/>
                        <a:pt x="212383" y="338663"/>
                        <a:pt x="230537" y="323481"/>
                      </a:cubicBezTo>
                      <a:moveTo>
                        <a:pt x="233750" y="290627"/>
                      </a:moveTo>
                      <a:cubicBezTo>
                        <a:pt x="234071" y="290466"/>
                        <a:pt x="234393" y="290145"/>
                        <a:pt x="234634" y="289904"/>
                      </a:cubicBezTo>
                      <a:cubicBezTo>
                        <a:pt x="235517" y="289181"/>
                        <a:pt x="236401" y="288458"/>
                        <a:pt x="237204" y="287735"/>
                      </a:cubicBezTo>
                      <a:cubicBezTo>
                        <a:pt x="239293" y="285968"/>
                        <a:pt x="241381" y="284200"/>
                        <a:pt x="243470" y="282433"/>
                      </a:cubicBezTo>
                      <a:cubicBezTo>
                        <a:pt x="242747" y="282915"/>
                        <a:pt x="241783" y="283477"/>
                        <a:pt x="241060" y="283960"/>
                      </a:cubicBezTo>
                      <a:cubicBezTo>
                        <a:pt x="234553" y="289663"/>
                        <a:pt x="233750" y="290546"/>
                        <a:pt x="233750" y="290627"/>
                      </a:cubicBezTo>
                      <a:cubicBezTo>
                        <a:pt x="233750" y="290627"/>
                        <a:pt x="233750" y="290627"/>
                        <a:pt x="233750" y="290627"/>
                      </a:cubicBezTo>
                      <a:moveTo>
                        <a:pt x="297209" y="307576"/>
                      </a:moveTo>
                      <a:cubicBezTo>
                        <a:pt x="297290" y="307576"/>
                        <a:pt x="297450" y="307576"/>
                        <a:pt x="297530" y="307576"/>
                      </a:cubicBezTo>
                      <a:cubicBezTo>
                        <a:pt x="297450" y="307576"/>
                        <a:pt x="297450" y="307576"/>
                        <a:pt x="297370" y="307576"/>
                      </a:cubicBezTo>
                      <a:cubicBezTo>
                        <a:pt x="296647" y="307496"/>
                        <a:pt x="295844" y="307415"/>
                        <a:pt x="295121" y="307255"/>
                      </a:cubicBezTo>
                      <a:cubicBezTo>
                        <a:pt x="295844" y="307415"/>
                        <a:pt x="296567" y="307496"/>
                        <a:pt x="297209" y="307576"/>
                      </a:cubicBezTo>
                      <a:moveTo>
                        <a:pt x="257688" y="287253"/>
                      </a:moveTo>
                      <a:cubicBezTo>
                        <a:pt x="257929" y="287173"/>
                        <a:pt x="258250" y="287012"/>
                        <a:pt x="258491" y="286932"/>
                      </a:cubicBezTo>
                      <a:cubicBezTo>
                        <a:pt x="258250" y="286289"/>
                        <a:pt x="257929" y="286128"/>
                        <a:pt x="257527" y="285968"/>
                      </a:cubicBezTo>
                      <a:cubicBezTo>
                        <a:pt x="255921" y="285486"/>
                        <a:pt x="253511" y="286048"/>
                        <a:pt x="249173" y="288136"/>
                      </a:cubicBezTo>
                      <a:cubicBezTo>
                        <a:pt x="249173" y="290225"/>
                        <a:pt x="253591" y="289100"/>
                        <a:pt x="257688" y="287253"/>
                      </a:cubicBezTo>
                      <a:moveTo>
                        <a:pt x="802392" y="292313"/>
                      </a:moveTo>
                      <a:cubicBezTo>
                        <a:pt x="802392" y="292233"/>
                        <a:pt x="802312" y="292233"/>
                        <a:pt x="802231" y="292233"/>
                      </a:cubicBezTo>
                      <a:cubicBezTo>
                        <a:pt x="802231" y="292233"/>
                        <a:pt x="802231" y="292233"/>
                        <a:pt x="802231" y="292233"/>
                      </a:cubicBezTo>
                      <a:cubicBezTo>
                        <a:pt x="802312" y="292313"/>
                        <a:pt x="802312" y="292394"/>
                        <a:pt x="802392" y="292474"/>
                      </a:cubicBezTo>
                      <a:cubicBezTo>
                        <a:pt x="802392" y="292394"/>
                        <a:pt x="802392" y="292394"/>
                        <a:pt x="802392" y="292313"/>
                      </a:cubicBezTo>
                      <a:moveTo>
                        <a:pt x="198406" y="308700"/>
                      </a:moveTo>
                      <a:cubicBezTo>
                        <a:pt x="199852" y="307977"/>
                        <a:pt x="201780" y="306773"/>
                        <a:pt x="202904" y="305648"/>
                      </a:cubicBezTo>
                      <a:cubicBezTo>
                        <a:pt x="202502" y="304122"/>
                        <a:pt x="202502" y="303881"/>
                        <a:pt x="199048" y="303238"/>
                      </a:cubicBezTo>
                      <a:cubicBezTo>
                        <a:pt x="203707" y="299382"/>
                        <a:pt x="205234" y="297776"/>
                        <a:pt x="205635" y="296491"/>
                      </a:cubicBezTo>
                      <a:cubicBezTo>
                        <a:pt x="205555" y="296330"/>
                        <a:pt x="205394" y="296169"/>
                        <a:pt x="205314" y="296089"/>
                      </a:cubicBezTo>
                      <a:cubicBezTo>
                        <a:pt x="204350" y="296009"/>
                        <a:pt x="203868" y="296009"/>
                        <a:pt x="200896" y="297133"/>
                      </a:cubicBezTo>
                      <a:cubicBezTo>
                        <a:pt x="213347" y="286691"/>
                        <a:pt x="226360" y="276891"/>
                        <a:pt x="239052" y="266689"/>
                      </a:cubicBezTo>
                      <a:cubicBezTo>
                        <a:pt x="236722" y="268215"/>
                        <a:pt x="233670" y="270304"/>
                        <a:pt x="231421" y="271830"/>
                      </a:cubicBezTo>
                      <a:cubicBezTo>
                        <a:pt x="203225" y="290546"/>
                        <a:pt x="203225" y="290546"/>
                        <a:pt x="187963" y="302756"/>
                      </a:cubicBezTo>
                      <a:cubicBezTo>
                        <a:pt x="191498" y="286610"/>
                        <a:pt x="204832" y="276489"/>
                        <a:pt x="212222" y="262672"/>
                      </a:cubicBezTo>
                      <a:cubicBezTo>
                        <a:pt x="211499" y="262512"/>
                        <a:pt x="211017" y="262431"/>
                        <a:pt x="202261" y="270625"/>
                      </a:cubicBezTo>
                      <a:cubicBezTo>
                        <a:pt x="196237" y="267894"/>
                        <a:pt x="192863" y="268135"/>
                        <a:pt x="191176" y="277453"/>
                      </a:cubicBezTo>
                      <a:cubicBezTo>
                        <a:pt x="182902" y="277132"/>
                        <a:pt x="180975" y="277292"/>
                        <a:pt x="179770" y="278497"/>
                      </a:cubicBezTo>
                      <a:cubicBezTo>
                        <a:pt x="179850" y="279300"/>
                        <a:pt x="179850" y="280023"/>
                        <a:pt x="183625" y="282112"/>
                      </a:cubicBezTo>
                      <a:cubicBezTo>
                        <a:pt x="172701" y="286209"/>
                        <a:pt x="154386" y="293117"/>
                        <a:pt x="160411" y="295928"/>
                      </a:cubicBezTo>
                      <a:cubicBezTo>
                        <a:pt x="165150" y="298177"/>
                        <a:pt x="165150" y="298177"/>
                        <a:pt x="175191" y="292153"/>
                      </a:cubicBezTo>
                      <a:cubicBezTo>
                        <a:pt x="173986" y="293197"/>
                        <a:pt x="173825" y="293518"/>
                        <a:pt x="173584" y="293920"/>
                      </a:cubicBezTo>
                      <a:cubicBezTo>
                        <a:pt x="173665" y="294081"/>
                        <a:pt x="173825" y="294241"/>
                        <a:pt x="173986" y="294322"/>
                      </a:cubicBezTo>
                      <a:cubicBezTo>
                        <a:pt x="174388" y="294241"/>
                        <a:pt x="174950" y="294161"/>
                        <a:pt x="175352" y="294081"/>
                      </a:cubicBezTo>
                      <a:cubicBezTo>
                        <a:pt x="169809" y="297776"/>
                        <a:pt x="160571" y="303961"/>
                        <a:pt x="166917" y="305246"/>
                      </a:cubicBezTo>
                      <a:cubicBezTo>
                        <a:pt x="168604" y="305568"/>
                        <a:pt x="171255" y="305487"/>
                        <a:pt x="173102" y="305407"/>
                      </a:cubicBezTo>
                      <a:cubicBezTo>
                        <a:pt x="162017" y="309102"/>
                        <a:pt x="154627" y="310789"/>
                        <a:pt x="147397" y="311110"/>
                      </a:cubicBezTo>
                      <a:cubicBezTo>
                        <a:pt x="146273" y="313359"/>
                        <a:pt x="142738" y="320187"/>
                        <a:pt x="146675" y="320830"/>
                      </a:cubicBezTo>
                      <a:cubicBezTo>
                        <a:pt x="147397" y="320991"/>
                        <a:pt x="147397" y="320991"/>
                        <a:pt x="172299" y="315368"/>
                      </a:cubicBezTo>
                      <a:cubicBezTo>
                        <a:pt x="171978" y="316492"/>
                        <a:pt x="171657" y="317055"/>
                        <a:pt x="169970" y="317617"/>
                      </a:cubicBezTo>
                      <a:cubicBezTo>
                        <a:pt x="177601" y="315689"/>
                        <a:pt x="191739" y="311833"/>
                        <a:pt x="198406" y="308700"/>
                      </a:cubicBezTo>
                      <a:moveTo>
                        <a:pt x="232786" y="253515"/>
                      </a:moveTo>
                      <a:cubicBezTo>
                        <a:pt x="232947" y="253435"/>
                        <a:pt x="233107" y="253354"/>
                        <a:pt x="233268" y="253274"/>
                      </a:cubicBezTo>
                      <a:cubicBezTo>
                        <a:pt x="233188" y="253274"/>
                        <a:pt x="233188" y="253354"/>
                        <a:pt x="233107" y="253354"/>
                      </a:cubicBezTo>
                      <a:cubicBezTo>
                        <a:pt x="230698" y="254399"/>
                        <a:pt x="228368" y="255443"/>
                        <a:pt x="225958" y="256487"/>
                      </a:cubicBezTo>
                      <a:cubicBezTo>
                        <a:pt x="228288" y="255523"/>
                        <a:pt x="230537" y="254559"/>
                        <a:pt x="232786" y="253515"/>
                      </a:cubicBezTo>
                      <a:moveTo>
                        <a:pt x="1138886" y="67556"/>
                      </a:moveTo>
                      <a:cubicBezTo>
                        <a:pt x="1136637" y="66994"/>
                        <a:pt x="1133584" y="66271"/>
                        <a:pt x="1131335" y="65708"/>
                      </a:cubicBezTo>
                      <a:cubicBezTo>
                        <a:pt x="1131897" y="66431"/>
                        <a:pt x="1132540" y="67315"/>
                        <a:pt x="1133102" y="68038"/>
                      </a:cubicBezTo>
                      <a:cubicBezTo>
                        <a:pt x="1156558" y="79605"/>
                        <a:pt x="1156558" y="79605"/>
                        <a:pt x="1169892" y="88361"/>
                      </a:cubicBezTo>
                      <a:lnTo>
                        <a:pt x="1220901" y="116958"/>
                      </a:lnTo>
                      <a:lnTo>
                        <a:pt x="1246445" y="125794"/>
                      </a:lnTo>
                      <a:cubicBezTo>
                        <a:pt x="1247087" y="125794"/>
                        <a:pt x="1247891" y="125392"/>
                        <a:pt x="1248453" y="125633"/>
                      </a:cubicBezTo>
                      <a:cubicBezTo>
                        <a:pt x="1263153" y="132461"/>
                        <a:pt x="1276488" y="142261"/>
                        <a:pt x="1292232" y="147081"/>
                      </a:cubicBezTo>
                      <a:cubicBezTo>
                        <a:pt x="1292553" y="146759"/>
                        <a:pt x="1292955" y="146358"/>
                        <a:pt x="1293276" y="146117"/>
                      </a:cubicBezTo>
                      <a:cubicBezTo>
                        <a:pt x="1311109" y="162503"/>
                        <a:pt x="1347417" y="182907"/>
                        <a:pt x="1358824" y="180577"/>
                      </a:cubicBezTo>
                      <a:cubicBezTo>
                        <a:pt x="1359306" y="180818"/>
                        <a:pt x="1359788" y="180979"/>
                        <a:pt x="1360189" y="181220"/>
                      </a:cubicBezTo>
                      <a:cubicBezTo>
                        <a:pt x="1361876" y="184031"/>
                        <a:pt x="1362278" y="184594"/>
                        <a:pt x="1372720" y="185718"/>
                      </a:cubicBezTo>
                      <a:cubicBezTo>
                        <a:pt x="1372640" y="185558"/>
                        <a:pt x="1372479" y="185317"/>
                        <a:pt x="1372319" y="185076"/>
                      </a:cubicBezTo>
                      <a:cubicBezTo>
                        <a:pt x="1367820" y="183710"/>
                        <a:pt x="1363724" y="181059"/>
                        <a:pt x="1358904" y="180497"/>
                      </a:cubicBezTo>
                      <a:cubicBezTo>
                        <a:pt x="1361475" y="179131"/>
                        <a:pt x="1361475" y="179131"/>
                        <a:pt x="1367820" y="179212"/>
                      </a:cubicBezTo>
                      <a:cubicBezTo>
                        <a:pt x="1368865" y="180658"/>
                        <a:pt x="1368945" y="180899"/>
                        <a:pt x="1375853" y="185718"/>
                      </a:cubicBezTo>
                      <a:cubicBezTo>
                        <a:pt x="1378504" y="184594"/>
                        <a:pt x="1379227" y="184353"/>
                        <a:pt x="1382601" y="183790"/>
                      </a:cubicBezTo>
                      <a:cubicBezTo>
                        <a:pt x="1382039" y="183469"/>
                        <a:pt x="1381235" y="183067"/>
                        <a:pt x="1380673" y="182746"/>
                      </a:cubicBezTo>
                      <a:cubicBezTo>
                        <a:pt x="1382039" y="182184"/>
                        <a:pt x="1382039" y="182184"/>
                        <a:pt x="1385011" y="178971"/>
                      </a:cubicBezTo>
                      <a:lnTo>
                        <a:pt x="1383806" y="178248"/>
                      </a:lnTo>
                      <a:cubicBezTo>
                        <a:pt x="1384288" y="178248"/>
                        <a:pt x="1384930" y="178167"/>
                        <a:pt x="1385412" y="178167"/>
                      </a:cubicBezTo>
                      <a:cubicBezTo>
                        <a:pt x="1385091" y="177926"/>
                        <a:pt x="1384689" y="177525"/>
                        <a:pt x="1384368" y="177364"/>
                      </a:cubicBezTo>
                      <a:lnTo>
                        <a:pt x="1295365" y="142903"/>
                      </a:lnTo>
                      <a:cubicBezTo>
                        <a:pt x="1279540" y="134871"/>
                        <a:pt x="1265322" y="123705"/>
                        <a:pt x="1248212" y="118162"/>
                      </a:cubicBezTo>
                      <a:cubicBezTo>
                        <a:pt x="1248132" y="117680"/>
                        <a:pt x="1248051" y="117118"/>
                        <a:pt x="1247971" y="116636"/>
                      </a:cubicBezTo>
                      <a:cubicBezTo>
                        <a:pt x="1245722" y="115431"/>
                        <a:pt x="1245160" y="115110"/>
                        <a:pt x="1240099" y="113584"/>
                      </a:cubicBezTo>
                      <a:cubicBezTo>
                        <a:pt x="1240902" y="113584"/>
                        <a:pt x="1242027" y="113503"/>
                        <a:pt x="1242830" y="113423"/>
                      </a:cubicBezTo>
                      <a:cubicBezTo>
                        <a:pt x="1242509" y="113182"/>
                        <a:pt x="1192384" y="81292"/>
                        <a:pt x="1138886" y="67556"/>
                      </a:cubicBezTo>
                      <a:moveTo>
                        <a:pt x="305644" y="371919"/>
                      </a:moveTo>
                      <a:cubicBezTo>
                        <a:pt x="319219" y="357942"/>
                        <a:pt x="317211" y="350953"/>
                        <a:pt x="299539" y="351114"/>
                      </a:cubicBezTo>
                      <a:cubicBezTo>
                        <a:pt x="292149" y="351194"/>
                        <a:pt x="283232" y="352640"/>
                        <a:pt x="277930" y="353443"/>
                      </a:cubicBezTo>
                      <a:cubicBezTo>
                        <a:pt x="275681" y="351194"/>
                        <a:pt x="275521" y="348945"/>
                        <a:pt x="277047" y="344446"/>
                      </a:cubicBezTo>
                      <a:cubicBezTo>
                        <a:pt x="274878" y="345410"/>
                        <a:pt x="273512" y="346294"/>
                        <a:pt x="271504" y="348141"/>
                      </a:cubicBezTo>
                      <a:cubicBezTo>
                        <a:pt x="272227" y="347017"/>
                        <a:pt x="272388" y="346696"/>
                        <a:pt x="273191" y="345009"/>
                      </a:cubicBezTo>
                      <a:cubicBezTo>
                        <a:pt x="271826" y="345410"/>
                        <a:pt x="270058" y="345892"/>
                        <a:pt x="268693" y="346214"/>
                      </a:cubicBezTo>
                      <a:cubicBezTo>
                        <a:pt x="268130" y="342679"/>
                        <a:pt x="268130" y="342679"/>
                        <a:pt x="262588" y="342117"/>
                      </a:cubicBezTo>
                      <a:cubicBezTo>
                        <a:pt x="273352" y="333200"/>
                        <a:pt x="276485" y="327337"/>
                        <a:pt x="274958" y="318822"/>
                      </a:cubicBezTo>
                      <a:cubicBezTo>
                        <a:pt x="284999" y="315448"/>
                        <a:pt x="288614" y="313842"/>
                        <a:pt x="288775" y="311512"/>
                      </a:cubicBezTo>
                      <a:cubicBezTo>
                        <a:pt x="287489" y="310146"/>
                        <a:pt x="286124" y="309182"/>
                        <a:pt x="273271" y="308058"/>
                      </a:cubicBezTo>
                      <a:cubicBezTo>
                        <a:pt x="280260" y="300427"/>
                        <a:pt x="289819" y="289904"/>
                        <a:pt x="284116" y="288217"/>
                      </a:cubicBezTo>
                      <a:cubicBezTo>
                        <a:pt x="274235" y="287655"/>
                        <a:pt x="265801" y="296009"/>
                        <a:pt x="268693" y="299463"/>
                      </a:cubicBezTo>
                      <a:cubicBezTo>
                        <a:pt x="268853" y="299623"/>
                        <a:pt x="269175" y="299864"/>
                        <a:pt x="269416" y="299945"/>
                      </a:cubicBezTo>
                      <a:cubicBezTo>
                        <a:pt x="267327" y="303881"/>
                        <a:pt x="264435" y="309022"/>
                        <a:pt x="262186" y="312797"/>
                      </a:cubicBezTo>
                      <a:cubicBezTo>
                        <a:pt x="252627" y="328863"/>
                        <a:pt x="230296" y="367019"/>
                        <a:pt x="230296" y="367019"/>
                      </a:cubicBezTo>
                      <a:cubicBezTo>
                        <a:pt x="229011" y="369669"/>
                        <a:pt x="230457" y="373846"/>
                        <a:pt x="235035" y="372320"/>
                      </a:cubicBezTo>
                      <a:cubicBezTo>
                        <a:pt x="238088" y="371276"/>
                        <a:pt x="239453" y="367822"/>
                        <a:pt x="242747" y="367179"/>
                      </a:cubicBezTo>
                      <a:cubicBezTo>
                        <a:pt x="242827" y="367340"/>
                        <a:pt x="242907" y="367501"/>
                        <a:pt x="242988" y="367661"/>
                      </a:cubicBezTo>
                      <a:cubicBezTo>
                        <a:pt x="242506" y="368545"/>
                        <a:pt x="242425" y="368625"/>
                        <a:pt x="241301" y="369991"/>
                      </a:cubicBezTo>
                      <a:cubicBezTo>
                        <a:pt x="243791" y="373284"/>
                        <a:pt x="245639" y="377060"/>
                        <a:pt x="248611" y="379951"/>
                      </a:cubicBezTo>
                      <a:cubicBezTo>
                        <a:pt x="249012" y="379309"/>
                        <a:pt x="249575" y="378425"/>
                        <a:pt x="250057" y="377783"/>
                      </a:cubicBezTo>
                      <a:cubicBezTo>
                        <a:pt x="251824" y="381960"/>
                        <a:pt x="255760" y="380433"/>
                        <a:pt x="258973" y="378586"/>
                      </a:cubicBezTo>
                      <a:cubicBezTo>
                        <a:pt x="258411" y="380192"/>
                        <a:pt x="258411" y="380514"/>
                        <a:pt x="258411" y="381156"/>
                      </a:cubicBezTo>
                      <a:cubicBezTo>
                        <a:pt x="258571" y="381237"/>
                        <a:pt x="258732" y="381317"/>
                        <a:pt x="258812" y="381478"/>
                      </a:cubicBezTo>
                      <a:cubicBezTo>
                        <a:pt x="259535" y="381156"/>
                        <a:pt x="259937" y="380996"/>
                        <a:pt x="261785" y="379068"/>
                      </a:cubicBezTo>
                      <a:cubicBezTo>
                        <a:pt x="267729" y="388225"/>
                        <a:pt x="276163" y="376738"/>
                        <a:pt x="279296" y="372481"/>
                      </a:cubicBezTo>
                      <a:cubicBezTo>
                        <a:pt x="279296" y="373284"/>
                        <a:pt x="279296" y="374168"/>
                        <a:pt x="279537" y="375051"/>
                      </a:cubicBezTo>
                      <a:cubicBezTo>
                        <a:pt x="279617" y="375292"/>
                        <a:pt x="279778" y="375533"/>
                        <a:pt x="279858" y="375694"/>
                      </a:cubicBezTo>
                      <a:cubicBezTo>
                        <a:pt x="280099" y="376417"/>
                        <a:pt x="279457" y="377381"/>
                        <a:pt x="279296" y="378184"/>
                      </a:cubicBezTo>
                      <a:cubicBezTo>
                        <a:pt x="278814" y="380353"/>
                        <a:pt x="277770" y="387342"/>
                        <a:pt x="283553" y="387181"/>
                      </a:cubicBezTo>
                      <a:cubicBezTo>
                        <a:pt x="288373" y="387101"/>
                        <a:pt x="298334" y="379469"/>
                        <a:pt x="305644" y="371919"/>
                      </a:cubicBezTo>
                      <a:moveTo>
                        <a:pt x="230296" y="247651"/>
                      </a:moveTo>
                      <a:cubicBezTo>
                        <a:pt x="236963" y="243796"/>
                        <a:pt x="236963" y="243796"/>
                        <a:pt x="249896" y="233272"/>
                      </a:cubicBezTo>
                      <a:cubicBezTo>
                        <a:pt x="249253" y="233272"/>
                        <a:pt x="248450" y="233353"/>
                        <a:pt x="247807" y="233353"/>
                      </a:cubicBezTo>
                      <a:cubicBezTo>
                        <a:pt x="234955" y="234558"/>
                        <a:pt x="216881" y="240341"/>
                        <a:pt x="194068" y="250623"/>
                      </a:cubicBezTo>
                      <a:cubicBezTo>
                        <a:pt x="194470" y="250543"/>
                        <a:pt x="194871" y="250543"/>
                        <a:pt x="195193" y="250543"/>
                      </a:cubicBezTo>
                      <a:cubicBezTo>
                        <a:pt x="189409" y="258094"/>
                        <a:pt x="187080" y="261146"/>
                        <a:pt x="189650" y="263476"/>
                      </a:cubicBezTo>
                      <a:cubicBezTo>
                        <a:pt x="194791" y="259540"/>
                        <a:pt x="198165" y="257371"/>
                        <a:pt x="204029" y="254318"/>
                      </a:cubicBezTo>
                      <a:cubicBezTo>
                        <a:pt x="205716" y="255282"/>
                        <a:pt x="207724" y="254720"/>
                        <a:pt x="219693" y="249017"/>
                      </a:cubicBezTo>
                      <a:cubicBezTo>
                        <a:pt x="211499" y="254720"/>
                        <a:pt x="203145" y="261628"/>
                        <a:pt x="203065" y="261708"/>
                      </a:cubicBezTo>
                      <a:cubicBezTo>
                        <a:pt x="211660" y="257612"/>
                        <a:pt x="221299" y="252953"/>
                        <a:pt x="230296" y="247651"/>
                      </a:cubicBezTo>
                      <a:moveTo>
                        <a:pt x="323557" y="284200"/>
                      </a:moveTo>
                      <a:cubicBezTo>
                        <a:pt x="323557" y="284361"/>
                        <a:pt x="323557" y="284522"/>
                        <a:pt x="323557" y="284682"/>
                      </a:cubicBezTo>
                      <a:cubicBezTo>
                        <a:pt x="323557" y="284361"/>
                        <a:pt x="323557" y="283960"/>
                        <a:pt x="323557" y="283638"/>
                      </a:cubicBezTo>
                      <a:cubicBezTo>
                        <a:pt x="323557" y="282353"/>
                        <a:pt x="323557" y="281148"/>
                        <a:pt x="323557" y="279863"/>
                      </a:cubicBezTo>
                      <a:cubicBezTo>
                        <a:pt x="323557" y="279140"/>
                        <a:pt x="323717" y="278417"/>
                        <a:pt x="323557" y="277614"/>
                      </a:cubicBezTo>
                      <a:cubicBezTo>
                        <a:pt x="323637" y="277614"/>
                        <a:pt x="323476" y="280345"/>
                        <a:pt x="323557" y="284200"/>
                      </a:cubicBezTo>
                      <a:moveTo>
                        <a:pt x="267729" y="263235"/>
                      </a:moveTo>
                      <a:cubicBezTo>
                        <a:pt x="269737" y="260664"/>
                        <a:pt x="269737" y="260664"/>
                        <a:pt x="278332" y="250222"/>
                      </a:cubicBezTo>
                      <a:cubicBezTo>
                        <a:pt x="278332" y="250222"/>
                        <a:pt x="278332" y="250222"/>
                        <a:pt x="278332" y="250222"/>
                      </a:cubicBezTo>
                      <a:cubicBezTo>
                        <a:pt x="278252" y="250302"/>
                        <a:pt x="273271" y="256086"/>
                        <a:pt x="267729" y="263235"/>
                      </a:cubicBezTo>
                      <a:moveTo>
                        <a:pt x="1951082" y="1408873"/>
                      </a:moveTo>
                      <a:lnTo>
                        <a:pt x="1950761" y="1409917"/>
                      </a:lnTo>
                      <a:cubicBezTo>
                        <a:pt x="1950038" y="1410238"/>
                        <a:pt x="1950038" y="1410238"/>
                        <a:pt x="1949074" y="1411363"/>
                      </a:cubicBezTo>
                      <a:cubicBezTo>
                        <a:pt x="1948270" y="1412327"/>
                        <a:pt x="1941764" y="1420681"/>
                        <a:pt x="1941764" y="1420681"/>
                      </a:cubicBezTo>
                      <a:cubicBezTo>
                        <a:pt x="1939193" y="1424456"/>
                        <a:pt x="1937105" y="1429276"/>
                        <a:pt x="1936462" y="1430802"/>
                      </a:cubicBezTo>
                      <a:cubicBezTo>
                        <a:pt x="1936542" y="1430802"/>
                        <a:pt x="1936623" y="1430722"/>
                        <a:pt x="1936703" y="1430722"/>
                      </a:cubicBezTo>
                      <a:cubicBezTo>
                        <a:pt x="1934374" y="1434497"/>
                        <a:pt x="1933329" y="1436104"/>
                        <a:pt x="1932767" y="1436586"/>
                      </a:cubicBezTo>
                      <a:cubicBezTo>
                        <a:pt x="1932606" y="1435863"/>
                        <a:pt x="1938631" y="1421886"/>
                        <a:pt x="1943451" y="1415058"/>
                      </a:cubicBezTo>
                      <a:cubicBezTo>
                        <a:pt x="1944174" y="1413692"/>
                        <a:pt x="1945780" y="1410479"/>
                        <a:pt x="1951243" y="1408471"/>
                      </a:cubicBezTo>
                      <a:lnTo>
                        <a:pt x="1951082" y="1408873"/>
                      </a:lnTo>
                      <a:moveTo>
                        <a:pt x="1956705" y="1338666"/>
                      </a:moveTo>
                      <a:cubicBezTo>
                        <a:pt x="1955580" y="1340112"/>
                        <a:pt x="1954456" y="1341558"/>
                        <a:pt x="1953251" y="1342923"/>
                      </a:cubicBezTo>
                      <a:cubicBezTo>
                        <a:pt x="1954456" y="1341397"/>
                        <a:pt x="1955741" y="1339871"/>
                        <a:pt x="1957026" y="1338345"/>
                      </a:cubicBezTo>
                      <a:cubicBezTo>
                        <a:pt x="1956866" y="1338425"/>
                        <a:pt x="1956785" y="1338505"/>
                        <a:pt x="1956705" y="1338666"/>
                      </a:cubicBezTo>
                      <a:moveTo>
                        <a:pt x="1999118" y="1296494"/>
                      </a:moveTo>
                      <a:cubicBezTo>
                        <a:pt x="1999198" y="1306294"/>
                        <a:pt x="1996306" y="1316013"/>
                        <a:pt x="1998716" y="1325813"/>
                      </a:cubicBezTo>
                      <a:cubicBezTo>
                        <a:pt x="2000966" y="1334891"/>
                        <a:pt x="2000966" y="1334891"/>
                        <a:pt x="1999198" y="1339389"/>
                      </a:cubicBezTo>
                      <a:cubicBezTo>
                        <a:pt x="1993254" y="1315371"/>
                        <a:pt x="1997512" y="1295851"/>
                        <a:pt x="1998556" y="1294405"/>
                      </a:cubicBezTo>
                      <a:cubicBezTo>
                        <a:pt x="1998636" y="1294486"/>
                        <a:pt x="1998797" y="1294566"/>
                        <a:pt x="1998957" y="1294646"/>
                      </a:cubicBezTo>
                      <a:cubicBezTo>
                        <a:pt x="1999038" y="1295208"/>
                        <a:pt x="1999118" y="1295931"/>
                        <a:pt x="1999118" y="1296494"/>
                      </a:cubicBezTo>
                      <a:moveTo>
                        <a:pt x="1975502" y="1285569"/>
                      </a:moveTo>
                      <a:cubicBezTo>
                        <a:pt x="1973654" y="1285890"/>
                        <a:pt x="1971806" y="1286212"/>
                        <a:pt x="1969959" y="1286453"/>
                      </a:cubicBezTo>
                      <a:cubicBezTo>
                        <a:pt x="1970441" y="1286292"/>
                        <a:pt x="1970923" y="1286292"/>
                        <a:pt x="1971405" y="1286212"/>
                      </a:cubicBezTo>
                      <a:cubicBezTo>
                        <a:pt x="1972931" y="1285971"/>
                        <a:pt x="1974377" y="1285730"/>
                        <a:pt x="1975903" y="1285489"/>
                      </a:cubicBezTo>
                      <a:cubicBezTo>
                        <a:pt x="1975742" y="1285489"/>
                        <a:pt x="1975582" y="1285489"/>
                        <a:pt x="1975502" y="1285569"/>
                      </a:cubicBezTo>
                      <a:moveTo>
                        <a:pt x="1964577" y="1302759"/>
                      </a:moveTo>
                      <a:cubicBezTo>
                        <a:pt x="1964175" y="1302920"/>
                        <a:pt x="1961846" y="1303964"/>
                        <a:pt x="1959115" y="1305651"/>
                      </a:cubicBezTo>
                      <a:cubicBezTo>
                        <a:pt x="1956544" y="1295289"/>
                        <a:pt x="1948110" y="1290951"/>
                        <a:pt x="1947708" y="1290791"/>
                      </a:cubicBezTo>
                      <a:cubicBezTo>
                        <a:pt x="1947628" y="1290791"/>
                        <a:pt x="1941924" y="1287658"/>
                        <a:pt x="1940720" y="1268138"/>
                      </a:cubicBezTo>
                      <a:cubicBezTo>
                        <a:pt x="1940559" y="1264845"/>
                        <a:pt x="1940559" y="1264845"/>
                        <a:pt x="1939756" y="1262435"/>
                      </a:cubicBezTo>
                      <a:cubicBezTo>
                        <a:pt x="1940720" y="1262676"/>
                        <a:pt x="1940720" y="1262676"/>
                        <a:pt x="1965059" y="1302518"/>
                      </a:cubicBezTo>
                      <a:cubicBezTo>
                        <a:pt x="1964979" y="1302679"/>
                        <a:pt x="1964738" y="1302759"/>
                        <a:pt x="1964577" y="1302759"/>
                      </a:cubicBezTo>
                      <a:moveTo>
                        <a:pt x="1995262" y="1208213"/>
                      </a:moveTo>
                      <a:cubicBezTo>
                        <a:pt x="1995021" y="1209257"/>
                        <a:pt x="1994620" y="1210302"/>
                        <a:pt x="1994218" y="1211346"/>
                      </a:cubicBezTo>
                      <a:cubicBezTo>
                        <a:pt x="1994539" y="1210302"/>
                        <a:pt x="1994861" y="1209257"/>
                        <a:pt x="1995262" y="1208213"/>
                      </a:cubicBezTo>
                      <a:lnTo>
                        <a:pt x="1995262" y="1208213"/>
                      </a:lnTo>
                      <a:moveTo>
                        <a:pt x="1936382" y="1238979"/>
                      </a:moveTo>
                      <a:cubicBezTo>
                        <a:pt x="1936382" y="1239220"/>
                        <a:pt x="1935739" y="1241871"/>
                        <a:pt x="1933892" y="1248538"/>
                      </a:cubicBezTo>
                      <a:cubicBezTo>
                        <a:pt x="1933892" y="1248297"/>
                        <a:pt x="1933811" y="1247895"/>
                        <a:pt x="1933811" y="1247654"/>
                      </a:cubicBezTo>
                      <a:cubicBezTo>
                        <a:pt x="1933892" y="1247654"/>
                        <a:pt x="1936060" y="1239702"/>
                        <a:pt x="1936382" y="1238979"/>
                      </a:cubicBezTo>
                      <a:cubicBezTo>
                        <a:pt x="1936301" y="1239059"/>
                        <a:pt x="1936301" y="1239059"/>
                        <a:pt x="1936382" y="1238979"/>
                      </a:cubicBezTo>
                      <a:moveTo>
                        <a:pt x="1808259" y="1310632"/>
                      </a:moveTo>
                      <a:cubicBezTo>
                        <a:pt x="1808339" y="1311274"/>
                        <a:pt x="1808259" y="1311917"/>
                        <a:pt x="1808178" y="1312238"/>
                      </a:cubicBezTo>
                      <a:cubicBezTo>
                        <a:pt x="1806331" y="1311917"/>
                        <a:pt x="1805046" y="1311515"/>
                        <a:pt x="1803600" y="1310792"/>
                      </a:cubicBezTo>
                      <a:cubicBezTo>
                        <a:pt x="1805527" y="1309507"/>
                        <a:pt x="1808018" y="1308061"/>
                        <a:pt x="1808259" y="1310632"/>
                      </a:cubicBezTo>
                      <a:moveTo>
                        <a:pt x="1978795" y="1184195"/>
                      </a:moveTo>
                      <a:cubicBezTo>
                        <a:pt x="1978956" y="1187087"/>
                        <a:pt x="1977269" y="1196646"/>
                        <a:pt x="1976064" y="1198253"/>
                      </a:cubicBezTo>
                      <a:cubicBezTo>
                        <a:pt x="1974939" y="1199779"/>
                        <a:pt x="1976144" y="1200100"/>
                        <a:pt x="1976546" y="1200181"/>
                      </a:cubicBezTo>
                      <a:cubicBezTo>
                        <a:pt x="1974618" y="1202831"/>
                        <a:pt x="1973815" y="1204518"/>
                        <a:pt x="1972288" y="1209418"/>
                      </a:cubicBezTo>
                      <a:cubicBezTo>
                        <a:pt x="1973333" y="1208053"/>
                        <a:pt x="1973815" y="1208213"/>
                        <a:pt x="1974136" y="1208454"/>
                      </a:cubicBezTo>
                      <a:cubicBezTo>
                        <a:pt x="1974136" y="1208535"/>
                        <a:pt x="1974136" y="1208615"/>
                        <a:pt x="1974216" y="1208695"/>
                      </a:cubicBezTo>
                      <a:cubicBezTo>
                        <a:pt x="1973252" y="1209579"/>
                        <a:pt x="1972690" y="1210302"/>
                        <a:pt x="1972047" y="1211989"/>
                      </a:cubicBezTo>
                      <a:cubicBezTo>
                        <a:pt x="1974859" y="1209257"/>
                        <a:pt x="1975341" y="1209016"/>
                        <a:pt x="1976144" y="1208695"/>
                      </a:cubicBezTo>
                      <a:cubicBezTo>
                        <a:pt x="1976224" y="1208775"/>
                        <a:pt x="1976385" y="1208775"/>
                        <a:pt x="1976465" y="1208856"/>
                      </a:cubicBezTo>
                      <a:cubicBezTo>
                        <a:pt x="1976546" y="1210141"/>
                        <a:pt x="1974779" y="1214479"/>
                        <a:pt x="1974056" y="1214800"/>
                      </a:cubicBezTo>
                      <a:cubicBezTo>
                        <a:pt x="1969156" y="1216648"/>
                        <a:pt x="1970682" y="1220745"/>
                        <a:pt x="1971325" y="1222512"/>
                      </a:cubicBezTo>
                      <a:cubicBezTo>
                        <a:pt x="1970923" y="1223476"/>
                        <a:pt x="1970280" y="1224681"/>
                        <a:pt x="1969879" y="1225644"/>
                      </a:cubicBezTo>
                      <a:cubicBezTo>
                        <a:pt x="1970039" y="1223154"/>
                        <a:pt x="1970441" y="1218977"/>
                        <a:pt x="1967870" y="1221146"/>
                      </a:cubicBezTo>
                      <a:cubicBezTo>
                        <a:pt x="1966746" y="1222110"/>
                        <a:pt x="1964898" y="1221387"/>
                        <a:pt x="1963934" y="1222833"/>
                      </a:cubicBezTo>
                      <a:cubicBezTo>
                        <a:pt x="1962970" y="1224359"/>
                        <a:pt x="1962890" y="1225966"/>
                        <a:pt x="1963051" y="1228697"/>
                      </a:cubicBezTo>
                      <a:cubicBezTo>
                        <a:pt x="1962087" y="1228215"/>
                        <a:pt x="1961685" y="1228697"/>
                        <a:pt x="1961525" y="1230625"/>
                      </a:cubicBezTo>
                      <a:cubicBezTo>
                        <a:pt x="1961444" y="1230063"/>
                        <a:pt x="1961364" y="1229581"/>
                        <a:pt x="1961284" y="1229018"/>
                      </a:cubicBezTo>
                      <a:cubicBezTo>
                        <a:pt x="1961284" y="1228857"/>
                        <a:pt x="1961203" y="1228777"/>
                        <a:pt x="1961203" y="1228617"/>
                      </a:cubicBezTo>
                      <a:cubicBezTo>
                        <a:pt x="1956142" y="1215684"/>
                        <a:pt x="1956544" y="1203394"/>
                        <a:pt x="1962488" y="1189738"/>
                      </a:cubicBezTo>
                      <a:lnTo>
                        <a:pt x="1963292" y="1190140"/>
                      </a:lnTo>
                      <a:cubicBezTo>
                        <a:pt x="1963211" y="1190461"/>
                        <a:pt x="1963131" y="1190862"/>
                        <a:pt x="1963051" y="1191184"/>
                      </a:cubicBezTo>
                      <a:cubicBezTo>
                        <a:pt x="1963372" y="1190943"/>
                        <a:pt x="1963774" y="1190702"/>
                        <a:pt x="1964095" y="1190461"/>
                      </a:cubicBezTo>
                      <a:cubicBezTo>
                        <a:pt x="1965862" y="1188693"/>
                        <a:pt x="1966424" y="1187167"/>
                        <a:pt x="1966665" y="1183874"/>
                      </a:cubicBezTo>
                      <a:lnTo>
                        <a:pt x="1968031" y="1182026"/>
                      </a:lnTo>
                      <a:lnTo>
                        <a:pt x="1969075" y="1183713"/>
                      </a:lnTo>
                      <a:cubicBezTo>
                        <a:pt x="1969879" y="1183794"/>
                        <a:pt x="1971003" y="1183151"/>
                        <a:pt x="1971646" y="1182669"/>
                      </a:cubicBezTo>
                      <a:cubicBezTo>
                        <a:pt x="1974136" y="1180661"/>
                        <a:pt x="1978393" y="1178572"/>
                        <a:pt x="1978795" y="1184195"/>
                      </a:cubicBezTo>
                      <a:moveTo>
                        <a:pt x="1966103" y="1168049"/>
                      </a:moveTo>
                      <a:cubicBezTo>
                        <a:pt x="1964738" y="1169656"/>
                        <a:pt x="1963051" y="1171584"/>
                        <a:pt x="1964577" y="1171423"/>
                      </a:cubicBezTo>
                      <a:cubicBezTo>
                        <a:pt x="1964657" y="1171423"/>
                        <a:pt x="1964818" y="1171343"/>
                        <a:pt x="1964979" y="1171343"/>
                      </a:cubicBezTo>
                      <a:lnTo>
                        <a:pt x="1964657" y="1172628"/>
                      </a:lnTo>
                      <a:lnTo>
                        <a:pt x="1965621" y="1171503"/>
                      </a:lnTo>
                      <a:cubicBezTo>
                        <a:pt x="1965621" y="1172307"/>
                        <a:pt x="1965541" y="1173351"/>
                        <a:pt x="1965541" y="1174154"/>
                      </a:cubicBezTo>
                      <a:cubicBezTo>
                        <a:pt x="1963211" y="1173431"/>
                        <a:pt x="1961926" y="1173512"/>
                        <a:pt x="1962328" y="1175841"/>
                      </a:cubicBezTo>
                      <a:cubicBezTo>
                        <a:pt x="1961525" y="1175198"/>
                        <a:pt x="1961203" y="1175439"/>
                        <a:pt x="1961043" y="1176644"/>
                      </a:cubicBezTo>
                      <a:cubicBezTo>
                        <a:pt x="1959677" y="1177448"/>
                        <a:pt x="1959275" y="1176966"/>
                        <a:pt x="1958954" y="1176002"/>
                      </a:cubicBezTo>
                      <a:lnTo>
                        <a:pt x="1960962" y="1173512"/>
                      </a:lnTo>
                      <a:lnTo>
                        <a:pt x="1963051" y="1171262"/>
                      </a:lnTo>
                      <a:cubicBezTo>
                        <a:pt x="1963533" y="1170138"/>
                        <a:pt x="1965059" y="1167808"/>
                        <a:pt x="1966344" y="1167728"/>
                      </a:cubicBezTo>
                      <a:cubicBezTo>
                        <a:pt x="1966264" y="1167808"/>
                        <a:pt x="1966183" y="1167969"/>
                        <a:pt x="1966103" y="1168049"/>
                      </a:cubicBezTo>
                      <a:moveTo>
                        <a:pt x="1947708" y="1174235"/>
                      </a:moveTo>
                      <a:cubicBezTo>
                        <a:pt x="1947708" y="1183954"/>
                        <a:pt x="1944656" y="1192067"/>
                        <a:pt x="1941764" y="1194798"/>
                      </a:cubicBezTo>
                      <a:cubicBezTo>
                        <a:pt x="1941603" y="1190461"/>
                        <a:pt x="1944093" y="1181785"/>
                        <a:pt x="1947628" y="1174074"/>
                      </a:cubicBezTo>
                      <a:cubicBezTo>
                        <a:pt x="1947708" y="1174074"/>
                        <a:pt x="1947708" y="1174154"/>
                        <a:pt x="1947708" y="1174235"/>
                      </a:cubicBezTo>
                      <a:moveTo>
                        <a:pt x="1987631" y="1128367"/>
                      </a:moveTo>
                      <a:cubicBezTo>
                        <a:pt x="1987230" y="1128207"/>
                        <a:pt x="1986828" y="1128046"/>
                        <a:pt x="1986426" y="1127885"/>
                      </a:cubicBezTo>
                      <a:cubicBezTo>
                        <a:pt x="1986828" y="1128046"/>
                        <a:pt x="1987230" y="1128207"/>
                        <a:pt x="1987631" y="1128367"/>
                      </a:cubicBezTo>
                      <a:lnTo>
                        <a:pt x="1987631" y="1128367"/>
                      </a:lnTo>
                      <a:moveTo>
                        <a:pt x="1987551" y="1078323"/>
                      </a:moveTo>
                      <a:cubicBezTo>
                        <a:pt x="1987712" y="1081375"/>
                        <a:pt x="1987310" y="1085151"/>
                        <a:pt x="1986185" y="1086436"/>
                      </a:cubicBezTo>
                      <a:cubicBezTo>
                        <a:pt x="1986185" y="1086436"/>
                        <a:pt x="1986105" y="1086516"/>
                        <a:pt x="1986105" y="1086516"/>
                      </a:cubicBezTo>
                      <a:cubicBezTo>
                        <a:pt x="1986024" y="1086034"/>
                        <a:pt x="1985623" y="1081857"/>
                        <a:pt x="1987471" y="1077921"/>
                      </a:cubicBezTo>
                      <a:cubicBezTo>
                        <a:pt x="1987551" y="1078082"/>
                        <a:pt x="1987551" y="1078162"/>
                        <a:pt x="1987551" y="1078323"/>
                      </a:cubicBezTo>
                      <a:moveTo>
                        <a:pt x="1506145" y="1344851"/>
                      </a:moveTo>
                      <a:lnTo>
                        <a:pt x="1507029" y="1352241"/>
                      </a:lnTo>
                      <a:cubicBezTo>
                        <a:pt x="1507350" y="1351920"/>
                        <a:pt x="1507671" y="1351438"/>
                        <a:pt x="1507993" y="1351117"/>
                      </a:cubicBezTo>
                      <a:cubicBezTo>
                        <a:pt x="1505342" y="1357463"/>
                        <a:pt x="1500281" y="1358909"/>
                        <a:pt x="1489839" y="1356418"/>
                      </a:cubicBezTo>
                      <a:cubicBezTo>
                        <a:pt x="1492811" y="1356740"/>
                        <a:pt x="1494176" y="1356258"/>
                        <a:pt x="1495140" y="1354651"/>
                      </a:cubicBezTo>
                      <a:cubicBezTo>
                        <a:pt x="1499398" y="1355535"/>
                        <a:pt x="1501647" y="1354491"/>
                        <a:pt x="1503896" y="1350635"/>
                      </a:cubicBezTo>
                      <a:cubicBezTo>
                        <a:pt x="1503494" y="1350555"/>
                        <a:pt x="1502932" y="1350555"/>
                        <a:pt x="1502450" y="1350474"/>
                      </a:cubicBezTo>
                      <a:cubicBezTo>
                        <a:pt x="1503816" y="1349590"/>
                        <a:pt x="1503816" y="1348948"/>
                        <a:pt x="1502771" y="1347823"/>
                      </a:cubicBezTo>
                      <a:cubicBezTo>
                        <a:pt x="1502290" y="1347743"/>
                        <a:pt x="1501647" y="1347663"/>
                        <a:pt x="1501165" y="1347663"/>
                      </a:cubicBezTo>
                      <a:cubicBezTo>
                        <a:pt x="1502852" y="1346699"/>
                        <a:pt x="1503253" y="1346538"/>
                        <a:pt x="1503575" y="1345735"/>
                      </a:cubicBezTo>
                      <a:cubicBezTo>
                        <a:pt x="1503173" y="1345012"/>
                        <a:pt x="1502450" y="1344851"/>
                        <a:pt x="1499317" y="1344691"/>
                      </a:cubicBezTo>
                      <a:lnTo>
                        <a:pt x="1499317" y="1345494"/>
                      </a:lnTo>
                      <a:lnTo>
                        <a:pt x="1495944" y="1345815"/>
                      </a:lnTo>
                      <a:cubicBezTo>
                        <a:pt x="1497309" y="1345253"/>
                        <a:pt x="1499157" y="1344450"/>
                        <a:pt x="1500522" y="1343807"/>
                      </a:cubicBezTo>
                      <a:cubicBezTo>
                        <a:pt x="1498353" y="1343807"/>
                        <a:pt x="1495381" y="1344128"/>
                        <a:pt x="1490803" y="1346538"/>
                      </a:cubicBezTo>
                      <a:cubicBezTo>
                        <a:pt x="1492891" y="1345172"/>
                        <a:pt x="1494016" y="1344450"/>
                        <a:pt x="1495221" y="1343486"/>
                      </a:cubicBezTo>
                      <a:cubicBezTo>
                        <a:pt x="1496024" y="1343084"/>
                        <a:pt x="1497149" y="1342522"/>
                        <a:pt x="1498032" y="1342120"/>
                      </a:cubicBezTo>
                      <a:cubicBezTo>
                        <a:pt x="1496747" y="1340755"/>
                        <a:pt x="1494980" y="1339549"/>
                        <a:pt x="1491686" y="1341558"/>
                      </a:cubicBezTo>
                      <a:cubicBezTo>
                        <a:pt x="1491284" y="1340594"/>
                        <a:pt x="1490963" y="1340514"/>
                        <a:pt x="1488955" y="1340273"/>
                      </a:cubicBezTo>
                      <a:lnTo>
                        <a:pt x="1487348" y="1341718"/>
                      </a:lnTo>
                      <a:cubicBezTo>
                        <a:pt x="1487348" y="1341638"/>
                        <a:pt x="1487348" y="1341558"/>
                        <a:pt x="1487268" y="1341558"/>
                      </a:cubicBezTo>
                      <a:cubicBezTo>
                        <a:pt x="1486465" y="1340674"/>
                        <a:pt x="1484858" y="1340273"/>
                        <a:pt x="1483734" y="1340032"/>
                      </a:cubicBezTo>
                      <a:cubicBezTo>
                        <a:pt x="1483252" y="1339951"/>
                        <a:pt x="1482689" y="1339790"/>
                        <a:pt x="1482208" y="1339790"/>
                      </a:cubicBezTo>
                      <a:cubicBezTo>
                        <a:pt x="1481726" y="1339710"/>
                        <a:pt x="1481003" y="1339710"/>
                        <a:pt x="1480521" y="1339630"/>
                      </a:cubicBezTo>
                      <a:cubicBezTo>
                        <a:pt x="1479396" y="1339549"/>
                        <a:pt x="1477950" y="1339871"/>
                        <a:pt x="1476906" y="1339790"/>
                      </a:cubicBezTo>
                      <a:cubicBezTo>
                        <a:pt x="1475942" y="1339710"/>
                        <a:pt x="1475139" y="1339148"/>
                        <a:pt x="1474094" y="1339148"/>
                      </a:cubicBezTo>
                      <a:cubicBezTo>
                        <a:pt x="1471524" y="1339228"/>
                        <a:pt x="1469516" y="1340112"/>
                        <a:pt x="1466463" y="1342281"/>
                      </a:cubicBezTo>
                      <a:cubicBezTo>
                        <a:pt x="1470239" y="1339067"/>
                        <a:pt x="1473532" y="1337622"/>
                        <a:pt x="1478030" y="1337140"/>
                      </a:cubicBezTo>
                      <a:cubicBezTo>
                        <a:pt x="1475781" y="1336336"/>
                        <a:pt x="1475139" y="1335292"/>
                        <a:pt x="1475460" y="1333123"/>
                      </a:cubicBezTo>
                      <a:cubicBezTo>
                        <a:pt x="1477067" y="1334569"/>
                        <a:pt x="1480681" y="1338023"/>
                        <a:pt x="1484698" y="1335774"/>
                      </a:cubicBezTo>
                      <a:cubicBezTo>
                        <a:pt x="1485421" y="1339389"/>
                        <a:pt x="1488071" y="1339871"/>
                        <a:pt x="1495140" y="1337702"/>
                      </a:cubicBezTo>
                      <a:cubicBezTo>
                        <a:pt x="1494417" y="1338104"/>
                        <a:pt x="1493373" y="1338586"/>
                        <a:pt x="1492650" y="1338907"/>
                      </a:cubicBezTo>
                      <a:cubicBezTo>
                        <a:pt x="1499880" y="1341317"/>
                        <a:pt x="1502129" y="1340192"/>
                        <a:pt x="1500281" y="1335212"/>
                      </a:cubicBezTo>
                      <a:cubicBezTo>
                        <a:pt x="1500844" y="1334569"/>
                        <a:pt x="1501486" y="1333686"/>
                        <a:pt x="1502049" y="1333043"/>
                      </a:cubicBezTo>
                      <a:cubicBezTo>
                        <a:pt x="1498916" y="1332963"/>
                        <a:pt x="1498594" y="1331918"/>
                        <a:pt x="1500763" y="1328786"/>
                      </a:cubicBezTo>
                      <a:cubicBezTo>
                        <a:pt x="1498996" y="1332159"/>
                        <a:pt x="1499639" y="1333123"/>
                        <a:pt x="1503414" y="1332882"/>
                      </a:cubicBezTo>
                      <a:cubicBezTo>
                        <a:pt x="1503012" y="1333043"/>
                        <a:pt x="1502530" y="1333364"/>
                        <a:pt x="1502209" y="1333525"/>
                      </a:cubicBezTo>
                      <a:cubicBezTo>
                        <a:pt x="1501567" y="1337140"/>
                        <a:pt x="1501808" y="1338023"/>
                        <a:pt x="1503896" y="1338023"/>
                      </a:cubicBezTo>
                      <a:cubicBezTo>
                        <a:pt x="1504217" y="1339308"/>
                        <a:pt x="1504458" y="1340112"/>
                        <a:pt x="1505181" y="1341558"/>
                      </a:cubicBezTo>
                      <a:lnTo>
                        <a:pt x="1504780" y="1342763"/>
                      </a:lnTo>
                      <a:lnTo>
                        <a:pt x="1505904" y="1341718"/>
                      </a:lnTo>
                      <a:cubicBezTo>
                        <a:pt x="1506065" y="1342843"/>
                        <a:pt x="1506145" y="1343968"/>
                        <a:pt x="1506145" y="1344851"/>
                      </a:cubicBezTo>
                      <a:moveTo>
                        <a:pt x="1996306" y="990364"/>
                      </a:moveTo>
                      <a:lnTo>
                        <a:pt x="1996306" y="990364"/>
                      </a:lnTo>
                      <a:cubicBezTo>
                        <a:pt x="1996226" y="990364"/>
                        <a:pt x="1996226" y="990364"/>
                        <a:pt x="1996226" y="990283"/>
                      </a:cubicBezTo>
                      <a:cubicBezTo>
                        <a:pt x="1996146" y="990203"/>
                        <a:pt x="1996065" y="990123"/>
                        <a:pt x="1995985" y="989962"/>
                      </a:cubicBezTo>
                      <a:cubicBezTo>
                        <a:pt x="1995985" y="989882"/>
                        <a:pt x="1995985" y="989802"/>
                        <a:pt x="1995985" y="989721"/>
                      </a:cubicBezTo>
                      <a:cubicBezTo>
                        <a:pt x="1996065" y="989962"/>
                        <a:pt x="1996226" y="990123"/>
                        <a:pt x="1996306" y="990364"/>
                      </a:cubicBezTo>
                      <a:moveTo>
                        <a:pt x="1966183" y="1022415"/>
                      </a:moveTo>
                      <a:cubicBezTo>
                        <a:pt x="1966103" y="1022575"/>
                        <a:pt x="1965942" y="1022736"/>
                        <a:pt x="1965782" y="1022897"/>
                      </a:cubicBezTo>
                      <a:cubicBezTo>
                        <a:pt x="1965541" y="1023218"/>
                        <a:pt x="1965300" y="1023539"/>
                        <a:pt x="1964979" y="1023861"/>
                      </a:cubicBezTo>
                      <a:cubicBezTo>
                        <a:pt x="1964336" y="1024664"/>
                        <a:pt x="1963693" y="1025387"/>
                        <a:pt x="1963051" y="1026190"/>
                      </a:cubicBezTo>
                      <a:cubicBezTo>
                        <a:pt x="1964175" y="1024824"/>
                        <a:pt x="1965139" y="1023620"/>
                        <a:pt x="1966183" y="1022415"/>
                      </a:cubicBezTo>
                      <a:cubicBezTo>
                        <a:pt x="1966183" y="1022415"/>
                        <a:pt x="1966183" y="1022415"/>
                        <a:pt x="1966183" y="1022415"/>
                      </a:cubicBezTo>
                      <a:moveTo>
                        <a:pt x="1724798" y="1178010"/>
                      </a:moveTo>
                      <a:cubicBezTo>
                        <a:pt x="1723031" y="1178974"/>
                        <a:pt x="1721344" y="1179858"/>
                        <a:pt x="1719577" y="1180821"/>
                      </a:cubicBezTo>
                      <a:cubicBezTo>
                        <a:pt x="1719577" y="1180821"/>
                        <a:pt x="1719577" y="1180821"/>
                        <a:pt x="1719577" y="1180821"/>
                      </a:cubicBezTo>
                      <a:cubicBezTo>
                        <a:pt x="1721504" y="1179697"/>
                        <a:pt x="1723513" y="1178733"/>
                        <a:pt x="1725521" y="1177689"/>
                      </a:cubicBezTo>
                      <a:cubicBezTo>
                        <a:pt x="1725280" y="1177769"/>
                        <a:pt x="1725039" y="1177930"/>
                        <a:pt x="1724798" y="1178010"/>
                      </a:cubicBezTo>
                      <a:moveTo>
                        <a:pt x="1884972" y="939115"/>
                      </a:moveTo>
                      <a:cubicBezTo>
                        <a:pt x="1884811" y="939918"/>
                        <a:pt x="1884731" y="940721"/>
                        <a:pt x="1884651" y="941524"/>
                      </a:cubicBezTo>
                      <a:cubicBezTo>
                        <a:pt x="1883847" y="940882"/>
                        <a:pt x="1883044" y="940480"/>
                        <a:pt x="1882482" y="942569"/>
                      </a:cubicBezTo>
                      <a:cubicBezTo>
                        <a:pt x="1881919" y="944496"/>
                        <a:pt x="1882160" y="946505"/>
                        <a:pt x="1881438" y="948352"/>
                      </a:cubicBezTo>
                      <a:cubicBezTo>
                        <a:pt x="1880795" y="950039"/>
                        <a:pt x="1880233" y="952208"/>
                        <a:pt x="1879831" y="954296"/>
                      </a:cubicBezTo>
                      <a:cubicBezTo>
                        <a:pt x="1879269" y="957349"/>
                        <a:pt x="1879188" y="959518"/>
                        <a:pt x="1879188" y="960642"/>
                      </a:cubicBezTo>
                      <a:cubicBezTo>
                        <a:pt x="1879028" y="955180"/>
                        <a:pt x="1879590" y="950521"/>
                        <a:pt x="1881116" y="945621"/>
                      </a:cubicBezTo>
                      <a:cubicBezTo>
                        <a:pt x="1880634" y="945380"/>
                        <a:pt x="1879992" y="945059"/>
                        <a:pt x="1879510" y="944818"/>
                      </a:cubicBezTo>
                      <a:cubicBezTo>
                        <a:pt x="1880233" y="943613"/>
                        <a:pt x="1881839" y="940882"/>
                        <a:pt x="1885052" y="938793"/>
                      </a:cubicBezTo>
                      <a:cubicBezTo>
                        <a:pt x="1884972" y="938874"/>
                        <a:pt x="1884972" y="939034"/>
                        <a:pt x="1884972" y="939115"/>
                      </a:cubicBezTo>
                      <a:moveTo>
                        <a:pt x="1886739" y="928672"/>
                      </a:moveTo>
                      <a:cubicBezTo>
                        <a:pt x="1886820" y="930600"/>
                        <a:pt x="1886900" y="931082"/>
                        <a:pt x="1888747" y="931564"/>
                      </a:cubicBezTo>
                      <a:cubicBezTo>
                        <a:pt x="1887061" y="932849"/>
                        <a:pt x="1886257" y="934777"/>
                        <a:pt x="1885695" y="936223"/>
                      </a:cubicBezTo>
                      <a:cubicBezTo>
                        <a:pt x="1886900" y="928109"/>
                        <a:pt x="1884731" y="927788"/>
                        <a:pt x="1882964" y="928190"/>
                      </a:cubicBezTo>
                      <a:lnTo>
                        <a:pt x="1883446" y="926503"/>
                      </a:lnTo>
                      <a:cubicBezTo>
                        <a:pt x="1883285" y="926664"/>
                        <a:pt x="1883124" y="926905"/>
                        <a:pt x="1882964" y="927065"/>
                      </a:cubicBezTo>
                      <a:cubicBezTo>
                        <a:pt x="1882803" y="926744"/>
                        <a:pt x="1882482" y="925700"/>
                        <a:pt x="1884088" y="925780"/>
                      </a:cubicBezTo>
                      <a:cubicBezTo>
                        <a:pt x="1883767" y="923611"/>
                        <a:pt x="1883526" y="922406"/>
                        <a:pt x="1882883" y="920559"/>
                      </a:cubicBezTo>
                      <a:cubicBezTo>
                        <a:pt x="1884088" y="922969"/>
                        <a:pt x="1884651" y="923852"/>
                        <a:pt x="1886096" y="925137"/>
                      </a:cubicBezTo>
                      <a:cubicBezTo>
                        <a:pt x="1886337" y="926182"/>
                        <a:pt x="1886739" y="927627"/>
                        <a:pt x="1886739" y="928672"/>
                      </a:cubicBezTo>
                      <a:moveTo>
                        <a:pt x="1968031" y="734198"/>
                      </a:moveTo>
                      <a:cubicBezTo>
                        <a:pt x="1974939" y="759260"/>
                        <a:pt x="1974939" y="759260"/>
                        <a:pt x="1975100" y="761831"/>
                      </a:cubicBezTo>
                      <a:cubicBezTo>
                        <a:pt x="1975341" y="764481"/>
                        <a:pt x="1975341" y="764481"/>
                        <a:pt x="1973172" y="786491"/>
                      </a:cubicBezTo>
                      <a:cubicBezTo>
                        <a:pt x="1973172" y="786572"/>
                        <a:pt x="1973092" y="787214"/>
                        <a:pt x="1972610" y="787375"/>
                      </a:cubicBezTo>
                      <a:lnTo>
                        <a:pt x="1971646" y="784162"/>
                      </a:lnTo>
                      <a:cubicBezTo>
                        <a:pt x="1971485" y="784322"/>
                        <a:pt x="1971325" y="784483"/>
                        <a:pt x="1971164" y="784644"/>
                      </a:cubicBezTo>
                      <a:cubicBezTo>
                        <a:pt x="1968192" y="777414"/>
                        <a:pt x="1966103" y="772595"/>
                        <a:pt x="1964898" y="770747"/>
                      </a:cubicBezTo>
                      <a:cubicBezTo>
                        <a:pt x="1964657" y="771309"/>
                        <a:pt x="1964577" y="771470"/>
                        <a:pt x="1969236" y="785768"/>
                      </a:cubicBezTo>
                      <a:cubicBezTo>
                        <a:pt x="1963533" y="780547"/>
                        <a:pt x="1960320" y="775968"/>
                        <a:pt x="1957669" y="769301"/>
                      </a:cubicBezTo>
                      <a:cubicBezTo>
                        <a:pt x="1955098" y="768819"/>
                        <a:pt x="1953572" y="768337"/>
                        <a:pt x="1950921" y="767132"/>
                      </a:cubicBezTo>
                      <a:cubicBezTo>
                        <a:pt x="1950600" y="764883"/>
                        <a:pt x="1941121" y="758537"/>
                        <a:pt x="1937025" y="755886"/>
                      </a:cubicBezTo>
                      <a:cubicBezTo>
                        <a:pt x="1932767" y="753155"/>
                        <a:pt x="1935578" y="749942"/>
                        <a:pt x="1935578" y="749942"/>
                      </a:cubicBezTo>
                      <a:cubicBezTo>
                        <a:pt x="1933490" y="745042"/>
                        <a:pt x="1933088" y="742954"/>
                        <a:pt x="1932687" y="733957"/>
                      </a:cubicBezTo>
                      <a:cubicBezTo>
                        <a:pt x="1932526" y="733876"/>
                        <a:pt x="1932365" y="733716"/>
                        <a:pt x="1932285" y="733555"/>
                      </a:cubicBezTo>
                      <a:cubicBezTo>
                        <a:pt x="1932446" y="733314"/>
                        <a:pt x="1932767" y="733073"/>
                        <a:pt x="1933008" y="732913"/>
                      </a:cubicBezTo>
                      <a:cubicBezTo>
                        <a:pt x="1933088" y="732913"/>
                        <a:pt x="1933249" y="732993"/>
                        <a:pt x="1933329" y="732993"/>
                      </a:cubicBezTo>
                      <a:cubicBezTo>
                        <a:pt x="1933410" y="733475"/>
                        <a:pt x="1933410" y="733716"/>
                        <a:pt x="1933088" y="735001"/>
                      </a:cubicBezTo>
                      <a:cubicBezTo>
                        <a:pt x="1951002" y="741427"/>
                        <a:pt x="1961444" y="741026"/>
                        <a:pt x="1967951" y="733555"/>
                      </a:cubicBezTo>
                      <a:cubicBezTo>
                        <a:pt x="1967951" y="733796"/>
                        <a:pt x="1967951" y="734037"/>
                        <a:pt x="1968031" y="734198"/>
                      </a:cubicBezTo>
                      <a:moveTo>
                        <a:pt x="1927144" y="741267"/>
                      </a:moveTo>
                      <a:cubicBezTo>
                        <a:pt x="1924654" y="743596"/>
                        <a:pt x="1923851" y="744319"/>
                        <a:pt x="1923690" y="744319"/>
                      </a:cubicBezTo>
                      <a:cubicBezTo>
                        <a:pt x="1923690" y="744239"/>
                        <a:pt x="1923770" y="744239"/>
                        <a:pt x="1923770" y="744158"/>
                      </a:cubicBezTo>
                      <a:cubicBezTo>
                        <a:pt x="1923931" y="743998"/>
                        <a:pt x="1924092" y="743757"/>
                        <a:pt x="1924333" y="743596"/>
                      </a:cubicBezTo>
                      <a:cubicBezTo>
                        <a:pt x="1925216" y="742632"/>
                        <a:pt x="1926180" y="741749"/>
                        <a:pt x="1927064" y="740785"/>
                      </a:cubicBezTo>
                      <a:lnTo>
                        <a:pt x="1927144" y="741267"/>
                      </a:lnTo>
                      <a:moveTo>
                        <a:pt x="1863364" y="818542"/>
                      </a:moveTo>
                      <a:cubicBezTo>
                        <a:pt x="1863042" y="818703"/>
                        <a:pt x="1862801" y="818944"/>
                        <a:pt x="1862480" y="819105"/>
                      </a:cubicBezTo>
                      <a:cubicBezTo>
                        <a:pt x="1862801" y="818864"/>
                        <a:pt x="1863123" y="818703"/>
                        <a:pt x="1863364" y="818542"/>
                      </a:cubicBezTo>
                      <a:cubicBezTo>
                        <a:pt x="1863364" y="818462"/>
                        <a:pt x="1863364" y="818542"/>
                        <a:pt x="1863364" y="818542"/>
                      </a:cubicBezTo>
                      <a:moveTo>
                        <a:pt x="1861115" y="813401"/>
                      </a:moveTo>
                      <a:cubicBezTo>
                        <a:pt x="1860874" y="814204"/>
                        <a:pt x="1860713" y="815008"/>
                        <a:pt x="1860311" y="815731"/>
                      </a:cubicBezTo>
                      <a:cubicBezTo>
                        <a:pt x="1860552" y="814847"/>
                        <a:pt x="1860874" y="814044"/>
                        <a:pt x="1861195" y="813160"/>
                      </a:cubicBezTo>
                      <a:cubicBezTo>
                        <a:pt x="1861195" y="813241"/>
                        <a:pt x="1861195" y="813321"/>
                        <a:pt x="1861115" y="813401"/>
                      </a:cubicBezTo>
                      <a:moveTo>
                        <a:pt x="1861356" y="812759"/>
                      </a:moveTo>
                      <a:cubicBezTo>
                        <a:pt x="1861356" y="812759"/>
                        <a:pt x="1861356" y="812759"/>
                        <a:pt x="1861356" y="812759"/>
                      </a:cubicBezTo>
                      <a:lnTo>
                        <a:pt x="1861356" y="812759"/>
                      </a:lnTo>
                      <a:cubicBezTo>
                        <a:pt x="1861356" y="812759"/>
                        <a:pt x="1861356" y="812759"/>
                        <a:pt x="1861356" y="812759"/>
                      </a:cubicBezTo>
                      <a:moveTo>
                        <a:pt x="1854046" y="799504"/>
                      </a:moveTo>
                      <a:cubicBezTo>
                        <a:pt x="1853162" y="798380"/>
                        <a:pt x="1852760" y="797576"/>
                        <a:pt x="1853082" y="797657"/>
                      </a:cubicBezTo>
                      <a:cubicBezTo>
                        <a:pt x="1853323" y="797737"/>
                        <a:pt x="1853805" y="798219"/>
                        <a:pt x="1854046" y="798460"/>
                      </a:cubicBezTo>
                      <a:lnTo>
                        <a:pt x="1854046" y="799504"/>
                      </a:lnTo>
                      <a:moveTo>
                        <a:pt x="1901038" y="743998"/>
                      </a:moveTo>
                      <a:cubicBezTo>
                        <a:pt x="1900957" y="744239"/>
                        <a:pt x="1900797" y="744480"/>
                        <a:pt x="1900636" y="744721"/>
                      </a:cubicBezTo>
                      <a:cubicBezTo>
                        <a:pt x="1899351" y="746649"/>
                        <a:pt x="1897985" y="745283"/>
                        <a:pt x="1896620" y="740544"/>
                      </a:cubicBezTo>
                      <a:cubicBezTo>
                        <a:pt x="1898226" y="741427"/>
                        <a:pt x="1899752" y="742632"/>
                        <a:pt x="1901118" y="743917"/>
                      </a:cubicBezTo>
                      <a:cubicBezTo>
                        <a:pt x="1901038" y="743917"/>
                        <a:pt x="1901038" y="743998"/>
                        <a:pt x="1901038" y="743998"/>
                      </a:cubicBezTo>
                      <a:moveTo>
                        <a:pt x="1895415" y="738696"/>
                      </a:moveTo>
                      <a:cubicBezTo>
                        <a:pt x="1895495" y="738857"/>
                        <a:pt x="1895415" y="738937"/>
                        <a:pt x="1895415" y="739018"/>
                      </a:cubicBezTo>
                      <a:cubicBezTo>
                        <a:pt x="1895254" y="739259"/>
                        <a:pt x="1894852" y="739419"/>
                        <a:pt x="1893969" y="739660"/>
                      </a:cubicBezTo>
                      <a:cubicBezTo>
                        <a:pt x="1893808" y="739018"/>
                        <a:pt x="1893647" y="738214"/>
                        <a:pt x="1893487" y="737652"/>
                      </a:cubicBezTo>
                      <a:cubicBezTo>
                        <a:pt x="1894290" y="737893"/>
                        <a:pt x="1895254" y="738295"/>
                        <a:pt x="1895415" y="738696"/>
                      </a:cubicBezTo>
                      <a:moveTo>
                        <a:pt x="1890836" y="731868"/>
                      </a:moveTo>
                      <a:cubicBezTo>
                        <a:pt x="1891398" y="733153"/>
                        <a:pt x="1891157" y="734358"/>
                        <a:pt x="1890997" y="735001"/>
                      </a:cubicBezTo>
                      <a:cubicBezTo>
                        <a:pt x="1888988" y="734037"/>
                        <a:pt x="1887302" y="731949"/>
                        <a:pt x="1886257" y="728896"/>
                      </a:cubicBezTo>
                      <a:cubicBezTo>
                        <a:pt x="1887221" y="729137"/>
                        <a:pt x="1889872" y="729860"/>
                        <a:pt x="1890836" y="731868"/>
                      </a:cubicBezTo>
                      <a:moveTo>
                        <a:pt x="1875252" y="675237"/>
                      </a:moveTo>
                      <a:cubicBezTo>
                        <a:pt x="1875172" y="675398"/>
                        <a:pt x="1875092" y="675558"/>
                        <a:pt x="1875011" y="675719"/>
                      </a:cubicBezTo>
                      <a:cubicBezTo>
                        <a:pt x="1874449" y="676683"/>
                        <a:pt x="1872601" y="679655"/>
                        <a:pt x="1866175" y="671060"/>
                      </a:cubicBezTo>
                      <a:cubicBezTo>
                        <a:pt x="1867782" y="668731"/>
                        <a:pt x="1870754" y="670096"/>
                        <a:pt x="1875252" y="675237"/>
                      </a:cubicBezTo>
                      <a:cubicBezTo>
                        <a:pt x="1875252" y="675157"/>
                        <a:pt x="1875252" y="675157"/>
                        <a:pt x="1875252" y="675237"/>
                      </a:cubicBezTo>
                      <a:moveTo>
                        <a:pt x="1854367" y="671462"/>
                      </a:moveTo>
                      <a:cubicBezTo>
                        <a:pt x="1855411" y="676442"/>
                        <a:pt x="1855813" y="678611"/>
                        <a:pt x="1856295" y="681824"/>
                      </a:cubicBezTo>
                      <a:cubicBezTo>
                        <a:pt x="1855491" y="681583"/>
                        <a:pt x="1853724" y="681021"/>
                        <a:pt x="1852198" y="684234"/>
                      </a:cubicBezTo>
                      <a:cubicBezTo>
                        <a:pt x="1851636" y="672988"/>
                        <a:pt x="1852439" y="671301"/>
                        <a:pt x="1854206" y="670417"/>
                      </a:cubicBezTo>
                      <a:cubicBezTo>
                        <a:pt x="1854206" y="670819"/>
                        <a:pt x="1854287" y="671221"/>
                        <a:pt x="1854367" y="671462"/>
                      </a:cubicBezTo>
                      <a:moveTo>
                        <a:pt x="1799182" y="742231"/>
                      </a:moveTo>
                      <a:cubicBezTo>
                        <a:pt x="1796451" y="744399"/>
                        <a:pt x="1794362" y="742793"/>
                        <a:pt x="1792996" y="737250"/>
                      </a:cubicBezTo>
                      <a:cubicBezTo>
                        <a:pt x="1795647" y="738134"/>
                        <a:pt x="1797816" y="739660"/>
                        <a:pt x="1799423" y="741990"/>
                      </a:cubicBezTo>
                      <a:cubicBezTo>
                        <a:pt x="1799423" y="741990"/>
                        <a:pt x="1799262" y="742150"/>
                        <a:pt x="1799182" y="742231"/>
                      </a:cubicBezTo>
                      <a:moveTo>
                        <a:pt x="1851315" y="642544"/>
                      </a:moveTo>
                      <a:lnTo>
                        <a:pt x="1851315" y="642544"/>
                      </a:lnTo>
                      <a:cubicBezTo>
                        <a:pt x="1851154" y="642624"/>
                        <a:pt x="1850511" y="642704"/>
                        <a:pt x="1846656" y="642303"/>
                      </a:cubicBezTo>
                      <a:cubicBezTo>
                        <a:pt x="1846495" y="641981"/>
                        <a:pt x="1846334" y="641660"/>
                        <a:pt x="1846173" y="641339"/>
                      </a:cubicBezTo>
                      <a:cubicBezTo>
                        <a:pt x="1850592" y="642222"/>
                        <a:pt x="1851234" y="642463"/>
                        <a:pt x="1851315" y="642544"/>
                      </a:cubicBezTo>
                      <a:moveTo>
                        <a:pt x="1845210" y="494499"/>
                      </a:moveTo>
                      <a:cubicBezTo>
                        <a:pt x="1845531" y="494981"/>
                        <a:pt x="1845852" y="495463"/>
                        <a:pt x="1846173" y="495865"/>
                      </a:cubicBezTo>
                      <a:cubicBezTo>
                        <a:pt x="1846254" y="496025"/>
                        <a:pt x="1846415" y="496106"/>
                        <a:pt x="1846415" y="496266"/>
                      </a:cubicBezTo>
                      <a:cubicBezTo>
                        <a:pt x="1846093" y="496186"/>
                        <a:pt x="1844728" y="494097"/>
                        <a:pt x="1844808" y="493856"/>
                      </a:cubicBezTo>
                      <a:cubicBezTo>
                        <a:pt x="1844808" y="493856"/>
                        <a:pt x="1844808" y="493856"/>
                        <a:pt x="1844808" y="493856"/>
                      </a:cubicBezTo>
                      <a:cubicBezTo>
                        <a:pt x="1844969" y="494097"/>
                        <a:pt x="1845129" y="494338"/>
                        <a:pt x="1845210" y="494499"/>
                      </a:cubicBezTo>
                      <a:moveTo>
                        <a:pt x="1859588" y="548399"/>
                      </a:moveTo>
                      <a:cubicBezTo>
                        <a:pt x="1860392" y="550488"/>
                        <a:pt x="1860392" y="551211"/>
                        <a:pt x="1860392" y="551532"/>
                      </a:cubicBezTo>
                      <a:cubicBezTo>
                        <a:pt x="1860392" y="552897"/>
                        <a:pt x="1859267" y="552255"/>
                        <a:pt x="1859267" y="552255"/>
                      </a:cubicBezTo>
                      <a:cubicBezTo>
                        <a:pt x="1859187" y="552175"/>
                        <a:pt x="1853965" y="544061"/>
                        <a:pt x="1854769" y="543740"/>
                      </a:cubicBezTo>
                      <a:cubicBezTo>
                        <a:pt x="1855170" y="543660"/>
                        <a:pt x="1859106" y="547275"/>
                        <a:pt x="1859588" y="548399"/>
                      </a:cubicBezTo>
                      <a:moveTo>
                        <a:pt x="1639972" y="792114"/>
                      </a:moveTo>
                      <a:cubicBezTo>
                        <a:pt x="1638847" y="792596"/>
                        <a:pt x="1636758" y="793159"/>
                        <a:pt x="1634429" y="791793"/>
                      </a:cubicBezTo>
                      <a:cubicBezTo>
                        <a:pt x="1634991" y="791632"/>
                        <a:pt x="1635313" y="791472"/>
                        <a:pt x="1635795" y="791231"/>
                      </a:cubicBezTo>
                      <a:cubicBezTo>
                        <a:pt x="1636437" y="790829"/>
                        <a:pt x="1636839" y="790588"/>
                        <a:pt x="1637321" y="790026"/>
                      </a:cubicBezTo>
                      <a:cubicBezTo>
                        <a:pt x="1638526" y="790508"/>
                        <a:pt x="1639490" y="791231"/>
                        <a:pt x="1640132" y="792034"/>
                      </a:cubicBezTo>
                      <a:cubicBezTo>
                        <a:pt x="1640132" y="792114"/>
                        <a:pt x="1640052" y="792114"/>
                        <a:pt x="1639972" y="792114"/>
                      </a:cubicBezTo>
                      <a:moveTo>
                        <a:pt x="1754198" y="644712"/>
                      </a:moveTo>
                      <a:cubicBezTo>
                        <a:pt x="1753395" y="645114"/>
                        <a:pt x="1752431" y="645034"/>
                        <a:pt x="1744398" y="643989"/>
                      </a:cubicBezTo>
                      <a:cubicBezTo>
                        <a:pt x="1743836" y="641580"/>
                        <a:pt x="1743032" y="641419"/>
                        <a:pt x="1739980" y="642785"/>
                      </a:cubicBezTo>
                      <a:cubicBezTo>
                        <a:pt x="1740221" y="643186"/>
                        <a:pt x="1740462" y="643668"/>
                        <a:pt x="1740703" y="644070"/>
                      </a:cubicBezTo>
                      <a:cubicBezTo>
                        <a:pt x="1736205" y="644150"/>
                        <a:pt x="1735883" y="643989"/>
                        <a:pt x="1735562" y="643507"/>
                      </a:cubicBezTo>
                      <a:cubicBezTo>
                        <a:pt x="1735883" y="643025"/>
                        <a:pt x="1736044" y="642785"/>
                        <a:pt x="1738373" y="641740"/>
                      </a:cubicBezTo>
                      <a:cubicBezTo>
                        <a:pt x="1738213" y="641017"/>
                        <a:pt x="1738213" y="640937"/>
                        <a:pt x="1737570" y="639732"/>
                      </a:cubicBezTo>
                      <a:cubicBezTo>
                        <a:pt x="1740703" y="638447"/>
                        <a:pt x="1741346" y="638206"/>
                        <a:pt x="1742470" y="638527"/>
                      </a:cubicBezTo>
                      <a:cubicBezTo>
                        <a:pt x="1742791" y="638608"/>
                        <a:pt x="1743193" y="638768"/>
                        <a:pt x="1743434" y="638929"/>
                      </a:cubicBezTo>
                      <a:cubicBezTo>
                        <a:pt x="1744719" y="639571"/>
                        <a:pt x="1745844" y="640535"/>
                        <a:pt x="1747129" y="641178"/>
                      </a:cubicBezTo>
                      <a:cubicBezTo>
                        <a:pt x="1747691" y="641499"/>
                        <a:pt x="1748495" y="641660"/>
                        <a:pt x="1749137" y="641901"/>
                      </a:cubicBezTo>
                      <a:cubicBezTo>
                        <a:pt x="1752109" y="643025"/>
                        <a:pt x="1753877" y="643829"/>
                        <a:pt x="1754278" y="644471"/>
                      </a:cubicBezTo>
                      <a:cubicBezTo>
                        <a:pt x="1754198" y="644632"/>
                        <a:pt x="1754198" y="644712"/>
                        <a:pt x="1754198" y="644712"/>
                      </a:cubicBezTo>
                      <a:moveTo>
                        <a:pt x="1442606" y="813160"/>
                      </a:moveTo>
                      <a:cubicBezTo>
                        <a:pt x="1435858" y="815168"/>
                        <a:pt x="1434171" y="819024"/>
                        <a:pt x="1433609" y="820390"/>
                      </a:cubicBezTo>
                      <a:cubicBezTo>
                        <a:pt x="1433930" y="815008"/>
                        <a:pt x="1437063" y="812598"/>
                        <a:pt x="1442927" y="813080"/>
                      </a:cubicBezTo>
                      <a:cubicBezTo>
                        <a:pt x="1442766" y="813080"/>
                        <a:pt x="1442686" y="813160"/>
                        <a:pt x="1442606" y="813160"/>
                      </a:cubicBezTo>
                      <a:moveTo>
                        <a:pt x="1813239" y="473935"/>
                      </a:moveTo>
                      <a:cubicBezTo>
                        <a:pt x="1826413" y="492973"/>
                        <a:pt x="1832919" y="503335"/>
                        <a:pt x="1832598" y="504942"/>
                      </a:cubicBezTo>
                      <a:cubicBezTo>
                        <a:pt x="1832598" y="504942"/>
                        <a:pt x="1827859" y="502773"/>
                        <a:pt x="1820549" y="490965"/>
                      </a:cubicBezTo>
                      <a:cubicBezTo>
                        <a:pt x="1820629" y="490965"/>
                        <a:pt x="1820790" y="491045"/>
                        <a:pt x="1820870" y="491125"/>
                      </a:cubicBezTo>
                      <a:cubicBezTo>
                        <a:pt x="1817175" y="484137"/>
                        <a:pt x="1815087" y="480361"/>
                        <a:pt x="1813560" y="477791"/>
                      </a:cubicBezTo>
                      <a:cubicBezTo>
                        <a:pt x="1813400" y="477550"/>
                        <a:pt x="1813239" y="477309"/>
                        <a:pt x="1813159" y="477148"/>
                      </a:cubicBezTo>
                      <a:cubicBezTo>
                        <a:pt x="1812757" y="476506"/>
                        <a:pt x="1812114" y="476104"/>
                        <a:pt x="1811632" y="475542"/>
                      </a:cubicBezTo>
                      <a:cubicBezTo>
                        <a:pt x="1811070" y="474658"/>
                        <a:pt x="1810829" y="473694"/>
                        <a:pt x="1810267" y="472810"/>
                      </a:cubicBezTo>
                      <a:cubicBezTo>
                        <a:pt x="1809865" y="472248"/>
                        <a:pt x="1809303" y="471927"/>
                        <a:pt x="1808901" y="471686"/>
                      </a:cubicBezTo>
                      <a:cubicBezTo>
                        <a:pt x="1812355" y="472650"/>
                        <a:pt x="1812355" y="472650"/>
                        <a:pt x="1813239" y="473935"/>
                      </a:cubicBezTo>
                      <a:moveTo>
                        <a:pt x="1584706" y="734198"/>
                      </a:moveTo>
                      <a:cubicBezTo>
                        <a:pt x="1582537" y="736527"/>
                        <a:pt x="1580368" y="738857"/>
                        <a:pt x="1578199" y="741106"/>
                      </a:cubicBezTo>
                      <a:cubicBezTo>
                        <a:pt x="1580529" y="738616"/>
                        <a:pt x="1582858" y="736206"/>
                        <a:pt x="1585188" y="733716"/>
                      </a:cubicBezTo>
                      <a:cubicBezTo>
                        <a:pt x="1585108" y="733796"/>
                        <a:pt x="1584867" y="734037"/>
                        <a:pt x="1584706" y="734198"/>
                      </a:cubicBezTo>
                      <a:moveTo>
                        <a:pt x="1865613" y="576514"/>
                      </a:moveTo>
                      <a:cubicBezTo>
                        <a:pt x="1865211" y="579004"/>
                        <a:pt x="1867621" y="581093"/>
                        <a:pt x="1866738" y="583663"/>
                      </a:cubicBezTo>
                      <a:cubicBezTo>
                        <a:pt x="1865854" y="586314"/>
                        <a:pt x="1864167" y="586073"/>
                        <a:pt x="1862480" y="585591"/>
                      </a:cubicBezTo>
                      <a:cubicBezTo>
                        <a:pt x="1866497" y="593302"/>
                        <a:pt x="1869228" y="596917"/>
                        <a:pt x="1873324" y="600050"/>
                      </a:cubicBezTo>
                      <a:cubicBezTo>
                        <a:pt x="1872039" y="597239"/>
                        <a:pt x="1872039" y="596998"/>
                        <a:pt x="1872200" y="596194"/>
                      </a:cubicBezTo>
                      <a:cubicBezTo>
                        <a:pt x="1872923" y="596516"/>
                        <a:pt x="1876377" y="598122"/>
                        <a:pt x="1875814" y="600532"/>
                      </a:cubicBezTo>
                      <a:cubicBezTo>
                        <a:pt x="1875654" y="600612"/>
                        <a:pt x="1875413" y="600693"/>
                        <a:pt x="1875172" y="600773"/>
                      </a:cubicBezTo>
                      <a:cubicBezTo>
                        <a:pt x="1875333" y="601737"/>
                        <a:pt x="1875814" y="603263"/>
                        <a:pt x="1877662" y="605191"/>
                      </a:cubicBezTo>
                      <a:cubicBezTo>
                        <a:pt x="1877261" y="603102"/>
                        <a:pt x="1877582" y="602861"/>
                        <a:pt x="1878305" y="602380"/>
                      </a:cubicBezTo>
                      <a:cubicBezTo>
                        <a:pt x="1907946" y="632583"/>
                        <a:pt x="1896378" y="649211"/>
                        <a:pt x="1888747" y="648890"/>
                      </a:cubicBezTo>
                      <a:cubicBezTo>
                        <a:pt x="1882241" y="648568"/>
                        <a:pt x="1874610" y="638126"/>
                        <a:pt x="1870995" y="633145"/>
                      </a:cubicBezTo>
                      <a:cubicBezTo>
                        <a:pt x="1871397" y="633386"/>
                        <a:pt x="1871878" y="633707"/>
                        <a:pt x="1872280" y="633948"/>
                      </a:cubicBezTo>
                      <a:cubicBezTo>
                        <a:pt x="1865773" y="623345"/>
                        <a:pt x="1863926" y="617883"/>
                        <a:pt x="1864649" y="610734"/>
                      </a:cubicBezTo>
                      <a:cubicBezTo>
                        <a:pt x="1852519" y="609930"/>
                        <a:pt x="1839506" y="600934"/>
                        <a:pt x="1825850" y="584225"/>
                      </a:cubicBezTo>
                      <a:cubicBezTo>
                        <a:pt x="1826172" y="586234"/>
                        <a:pt x="1826734" y="587439"/>
                        <a:pt x="1828421" y="589447"/>
                      </a:cubicBezTo>
                      <a:cubicBezTo>
                        <a:pt x="1821352" y="585511"/>
                        <a:pt x="1818300" y="582619"/>
                        <a:pt x="1814444" y="575871"/>
                      </a:cubicBezTo>
                      <a:cubicBezTo>
                        <a:pt x="1814685" y="575952"/>
                        <a:pt x="1815006" y="576032"/>
                        <a:pt x="1815247" y="576112"/>
                      </a:cubicBezTo>
                      <a:cubicBezTo>
                        <a:pt x="1812998" y="570409"/>
                        <a:pt x="1811070" y="567035"/>
                        <a:pt x="1807857" y="563019"/>
                      </a:cubicBezTo>
                      <a:cubicBezTo>
                        <a:pt x="1808339" y="563099"/>
                        <a:pt x="1808901" y="563179"/>
                        <a:pt x="1809303" y="563179"/>
                      </a:cubicBezTo>
                      <a:cubicBezTo>
                        <a:pt x="1808982" y="553620"/>
                        <a:pt x="1808982" y="553620"/>
                        <a:pt x="1805046" y="542696"/>
                      </a:cubicBezTo>
                      <a:cubicBezTo>
                        <a:pt x="1805126" y="542535"/>
                        <a:pt x="1805287" y="542294"/>
                        <a:pt x="1805367" y="542134"/>
                      </a:cubicBezTo>
                      <a:cubicBezTo>
                        <a:pt x="1802636" y="526068"/>
                        <a:pt x="1801190" y="512332"/>
                        <a:pt x="1812275" y="521088"/>
                      </a:cubicBezTo>
                      <a:cubicBezTo>
                        <a:pt x="1815649" y="523738"/>
                        <a:pt x="1819906" y="528639"/>
                        <a:pt x="1822959" y="532253"/>
                      </a:cubicBezTo>
                      <a:cubicBezTo>
                        <a:pt x="1819505" y="539242"/>
                        <a:pt x="1820629" y="542535"/>
                        <a:pt x="1821513" y="544945"/>
                      </a:cubicBezTo>
                      <a:cubicBezTo>
                        <a:pt x="1821754" y="545588"/>
                        <a:pt x="1822155" y="546311"/>
                        <a:pt x="1822557" y="546793"/>
                      </a:cubicBezTo>
                      <a:cubicBezTo>
                        <a:pt x="1824164" y="548961"/>
                        <a:pt x="1826815" y="549925"/>
                        <a:pt x="1828501" y="552014"/>
                      </a:cubicBezTo>
                      <a:cubicBezTo>
                        <a:pt x="1830188" y="554183"/>
                        <a:pt x="1831152" y="557878"/>
                        <a:pt x="1832839" y="560127"/>
                      </a:cubicBezTo>
                      <a:cubicBezTo>
                        <a:pt x="1838462" y="567839"/>
                        <a:pt x="1848905" y="575389"/>
                        <a:pt x="1861034" y="584145"/>
                      </a:cubicBezTo>
                      <a:cubicBezTo>
                        <a:pt x="1854849" y="573381"/>
                        <a:pt x="1854126" y="570811"/>
                        <a:pt x="1855010" y="569445"/>
                      </a:cubicBezTo>
                      <a:cubicBezTo>
                        <a:pt x="1856456" y="569284"/>
                        <a:pt x="1858544" y="570248"/>
                        <a:pt x="1865613" y="576514"/>
                      </a:cubicBezTo>
                      <a:cubicBezTo>
                        <a:pt x="1865613" y="576434"/>
                        <a:pt x="1865613" y="576434"/>
                        <a:pt x="1865613" y="576514"/>
                      </a:cubicBezTo>
                      <a:moveTo>
                        <a:pt x="1732750" y="617160"/>
                      </a:moveTo>
                      <a:cubicBezTo>
                        <a:pt x="1724236" y="622622"/>
                        <a:pt x="1726726" y="632262"/>
                        <a:pt x="1727770" y="636358"/>
                      </a:cubicBezTo>
                      <a:cubicBezTo>
                        <a:pt x="1727288" y="635153"/>
                        <a:pt x="1726887" y="633948"/>
                        <a:pt x="1726405" y="632663"/>
                      </a:cubicBezTo>
                      <a:lnTo>
                        <a:pt x="1726565" y="632663"/>
                      </a:lnTo>
                      <a:cubicBezTo>
                        <a:pt x="1723995" y="620052"/>
                        <a:pt x="1726083" y="615072"/>
                        <a:pt x="1733152" y="616919"/>
                      </a:cubicBezTo>
                      <a:cubicBezTo>
                        <a:pt x="1732991" y="616999"/>
                        <a:pt x="1732831" y="617080"/>
                        <a:pt x="1732750" y="617160"/>
                      </a:cubicBezTo>
                      <a:moveTo>
                        <a:pt x="1461965" y="782073"/>
                      </a:moveTo>
                      <a:lnTo>
                        <a:pt x="1462848" y="779904"/>
                      </a:lnTo>
                      <a:lnTo>
                        <a:pt x="1465419" y="780306"/>
                      </a:lnTo>
                      <a:lnTo>
                        <a:pt x="1461965" y="782073"/>
                      </a:lnTo>
                      <a:moveTo>
                        <a:pt x="1474737" y="779021"/>
                      </a:moveTo>
                      <a:cubicBezTo>
                        <a:pt x="1474335" y="779262"/>
                        <a:pt x="1473934" y="779422"/>
                        <a:pt x="1473532" y="779663"/>
                      </a:cubicBezTo>
                      <a:cubicBezTo>
                        <a:pt x="1469837" y="781190"/>
                        <a:pt x="1467106" y="781029"/>
                        <a:pt x="1464294" y="779021"/>
                      </a:cubicBezTo>
                      <a:cubicBezTo>
                        <a:pt x="1467588" y="778700"/>
                        <a:pt x="1471444" y="778700"/>
                        <a:pt x="1474817" y="778780"/>
                      </a:cubicBezTo>
                      <a:cubicBezTo>
                        <a:pt x="1474737" y="778860"/>
                        <a:pt x="1474737" y="778941"/>
                        <a:pt x="1474737" y="779021"/>
                      </a:cubicBezTo>
                      <a:moveTo>
                        <a:pt x="1703029" y="609609"/>
                      </a:moveTo>
                      <a:cubicBezTo>
                        <a:pt x="1698370" y="610332"/>
                        <a:pt x="1692908" y="610412"/>
                        <a:pt x="1687927" y="609850"/>
                      </a:cubicBezTo>
                      <a:cubicBezTo>
                        <a:pt x="1690819" y="609448"/>
                        <a:pt x="1692024" y="609047"/>
                        <a:pt x="1693229" y="608163"/>
                      </a:cubicBezTo>
                      <a:cubicBezTo>
                        <a:pt x="1694193" y="607199"/>
                        <a:pt x="1694354" y="606316"/>
                        <a:pt x="1693791" y="604548"/>
                      </a:cubicBezTo>
                      <a:cubicBezTo>
                        <a:pt x="1696603" y="605673"/>
                        <a:pt x="1699414" y="606797"/>
                        <a:pt x="1702226" y="608003"/>
                      </a:cubicBezTo>
                      <a:cubicBezTo>
                        <a:pt x="1702467" y="608485"/>
                        <a:pt x="1702788" y="609127"/>
                        <a:pt x="1703029" y="609609"/>
                      </a:cubicBezTo>
                      <a:moveTo>
                        <a:pt x="1745522" y="378104"/>
                      </a:moveTo>
                      <a:cubicBezTo>
                        <a:pt x="1748334" y="381719"/>
                        <a:pt x="1749619" y="382923"/>
                        <a:pt x="1750664" y="383727"/>
                      </a:cubicBezTo>
                      <a:cubicBezTo>
                        <a:pt x="1750664" y="383887"/>
                        <a:pt x="1750744" y="384289"/>
                        <a:pt x="1750262" y="383968"/>
                      </a:cubicBezTo>
                      <a:cubicBezTo>
                        <a:pt x="1749539" y="383405"/>
                        <a:pt x="1748495" y="382120"/>
                        <a:pt x="1745041" y="377542"/>
                      </a:cubicBezTo>
                      <a:cubicBezTo>
                        <a:pt x="1745201" y="377702"/>
                        <a:pt x="1745442" y="377943"/>
                        <a:pt x="1745522" y="378104"/>
                      </a:cubicBezTo>
                      <a:moveTo>
                        <a:pt x="1731385" y="374409"/>
                      </a:moveTo>
                      <a:cubicBezTo>
                        <a:pt x="1732991" y="376015"/>
                        <a:pt x="1735401" y="379309"/>
                        <a:pt x="1736205" y="380514"/>
                      </a:cubicBezTo>
                      <a:cubicBezTo>
                        <a:pt x="1735000" y="379068"/>
                        <a:pt x="1732590" y="376337"/>
                        <a:pt x="1730260" y="373445"/>
                      </a:cubicBezTo>
                      <a:cubicBezTo>
                        <a:pt x="1730421" y="373605"/>
                        <a:pt x="1730742" y="373766"/>
                        <a:pt x="1731385" y="374409"/>
                      </a:cubicBezTo>
                      <a:moveTo>
                        <a:pt x="1378022" y="728093"/>
                      </a:moveTo>
                      <a:cubicBezTo>
                        <a:pt x="1375211" y="731386"/>
                        <a:pt x="1373363" y="732190"/>
                        <a:pt x="1372640" y="732431"/>
                      </a:cubicBezTo>
                      <a:cubicBezTo>
                        <a:pt x="1371596" y="732832"/>
                        <a:pt x="1368865" y="733796"/>
                        <a:pt x="1367017" y="729860"/>
                      </a:cubicBezTo>
                      <a:cubicBezTo>
                        <a:pt x="1365652" y="726968"/>
                        <a:pt x="1364768" y="725040"/>
                        <a:pt x="1366776" y="719819"/>
                      </a:cubicBezTo>
                      <a:cubicBezTo>
                        <a:pt x="1367740" y="722470"/>
                        <a:pt x="1369668" y="723112"/>
                        <a:pt x="1372640" y="721586"/>
                      </a:cubicBezTo>
                      <a:cubicBezTo>
                        <a:pt x="1374729" y="724639"/>
                        <a:pt x="1375853" y="725763"/>
                        <a:pt x="1378343" y="727691"/>
                      </a:cubicBezTo>
                      <a:cubicBezTo>
                        <a:pt x="1378263" y="727772"/>
                        <a:pt x="1378102" y="727932"/>
                        <a:pt x="1378022" y="728093"/>
                      </a:cubicBezTo>
                      <a:moveTo>
                        <a:pt x="1697326" y="328140"/>
                      </a:moveTo>
                      <a:cubicBezTo>
                        <a:pt x="1698049" y="328782"/>
                        <a:pt x="1698691" y="329425"/>
                        <a:pt x="1699414" y="330068"/>
                      </a:cubicBezTo>
                      <a:cubicBezTo>
                        <a:pt x="1698290" y="329184"/>
                        <a:pt x="1697567" y="328702"/>
                        <a:pt x="1697085" y="327899"/>
                      </a:cubicBezTo>
                      <a:cubicBezTo>
                        <a:pt x="1697085" y="327979"/>
                        <a:pt x="1697246" y="328059"/>
                        <a:pt x="1697326" y="328140"/>
                      </a:cubicBezTo>
                      <a:moveTo>
                        <a:pt x="1528958" y="608886"/>
                      </a:moveTo>
                      <a:cubicBezTo>
                        <a:pt x="1528878" y="609127"/>
                        <a:pt x="1528878" y="609368"/>
                        <a:pt x="1528798" y="609609"/>
                      </a:cubicBezTo>
                      <a:cubicBezTo>
                        <a:pt x="1528717" y="609850"/>
                        <a:pt x="1528316" y="612019"/>
                        <a:pt x="1526950" y="614268"/>
                      </a:cubicBezTo>
                      <a:cubicBezTo>
                        <a:pt x="1525585" y="616598"/>
                        <a:pt x="1524139" y="617642"/>
                        <a:pt x="1523496" y="618204"/>
                      </a:cubicBezTo>
                      <a:cubicBezTo>
                        <a:pt x="1524219" y="612260"/>
                        <a:pt x="1526468" y="608324"/>
                        <a:pt x="1530806" y="605593"/>
                      </a:cubicBezTo>
                      <a:cubicBezTo>
                        <a:pt x="1530324" y="606557"/>
                        <a:pt x="1529360" y="607762"/>
                        <a:pt x="1528958" y="608886"/>
                      </a:cubicBezTo>
                      <a:moveTo>
                        <a:pt x="1683911" y="324605"/>
                      </a:moveTo>
                      <a:cubicBezTo>
                        <a:pt x="1684152" y="325007"/>
                        <a:pt x="1684473" y="325409"/>
                        <a:pt x="1684554" y="325891"/>
                      </a:cubicBezTo>
                      <a:cubicBezTo>
                        <a:pt x="1684152" y="325409"/>
                        <a:pt x="1683911" y="324846"/>
                        <a:pt x="1683670" y="324284"/>
                      </a:cubicBezTo>
                      <a:lnTo>
                        <a:pt x="1683911" y="324605"/>
                      </a:lnTo>
                      <a:moveTo>
                        <a:pt x="1696924" y="408307"/>
                      </a:moveTo>
                      <a:cubicBezTo>
                        <a:pt x="1697888" y="411038"/>
                        <a:pt x="1699093" y="413609"/>
                        <a:pt x="1700378" y="415858"/>
                      </a:cubicBezTo>
                      <a:cubicBezTo>
                        <a:pt x="1699736" y="417786"/>
                        <a:pt x="1698450" y="423007"/>
                        <a:pt x="1701663" y="430638"/>
                      </a:cubicBezTo>
                      <a:cubicBezTo>
                        <a:pt x="1701744" y="430799"/>
                        <a:pt x="1709937" y="446865"/>
                        <a:pt x="1712588" y="445178"/>
                      </a:cubicBezTo>
                      <a:cubicBezTo>
                        <a:pt x="1713793" y="444375"/>
                        <a:pt x="1713632" y="440679"/>
                        <a:pt x="1713552" y="439233"/>
                      </a:cubicBezTo>
                      <a:cubicBezTo>
                        <a:pt x="1715721" y="446865"/>
                        <a:pt x="1720139" y="448230"/>
                        <a:pt x="1720219" y="448230"/>
                      </a:cubicBezTo>
                      <a:cubicBezTo>
                        <a:pt x="1721986" y="448070"/>
                        <a:pt x="1723111" y="449997"/>
                        <a:pt x="1723593" y="453853"/>
                      </a:cubicBezTo>
                      <a:cubicBezTo>
                        <a:pt x="1723272" y="453853"/>
                        <a:pt x="1722950" y="454014"/>
                        <a:pt x="1722709" y="453773"/>
                      </a:cubicBezTo>
                      <a:lnTo>
                        <a:pt x="1709054" y="445178"/>
                      </a:lnTo>
                      <a:cubicBezTo>
                        <a:pt x="1708411" y="444615"/>
                        <a:pt x="1708009" y="443410"/>
                        <a:pt x="1707608" y="442687"/>
                      </a:cubicBezTo>
                      <a:cubicBezTo>
                        <a:pt x="1705921" y="439796"/>
                        <a:pt x="1702065" y="433771"/>
                        <a:pt x="1694514" y="426059"/>
                      </a:cubicBezTo>
                      <a:cubicBezTo>
                        <a:pt x="1696041" y="426943"/>
                        <a:pt x="1696764" y="427024"/>
                        <a:pt x="1697165" y="426381"/>
                      </a:cubicBezTo>
                      <a:cubicBezTo>
                        <a:pt x="1694996" y="424453"/>
                        <a:pt x="1694996" y="424453"/>
                        <a:pt x="1694273" y="423489"/>
                      </a:cubicBezTo>
                      <a:cubicBezTo>
                        <a:pt x="1696362" y="422686"/>
                        <a:pt x="1697246" y="421802"/>
                        <a:pt x="1697968" y="420035"/>
                      </a:cubicBezTo>
                      <a:cubicBezTo>
                        <a:pt x="1698772" y="416420"/>
                        <a:pt x="1697727" y="413368"/>
                        <a:pt x="1693872" y="407906"/>
                      </a:cubicBezTo>
                      <a:cubicBezTo>
                        <a:pt x="1695398" y="409351"/>
                        <a:pt x="1695960" y="409833"/>
                        <a:pt x="1696603" y="409914"/>
                      </a:cubicBezTo>
                      <a:cubicBezTo>
                        <a:pt x="1696924" y="409512"/>
                        <a:pt x="1697085" y="409351"/>
                        <a:pt x="1696523" y="407263"/>
                      </a:cubicBezTo>
                      <a:cubicBezTo>
                        <a:pt x="1696603" y="407504"/>
                        <a:pt x="1696764" y="407986"/>
                        <a:pt x="1696924" y="408307"/>
                      </a:cubicBezTo>
                      <a:moveTo>
                        <a:pt x="1536911" y="518196"/>
                      </a:moveTo>
                      <a:cubicBezTo>
                        <a:pt x="1534742" y="516830"/>
                        <a:pt x="1532412" y="515304"/>
                        <a:pt x="1532894" y="515143"/>
                      </a:cubicBezTo>
                      <a:cubicBezTo>
                        <a:pt x="1533216" y="515063"/>
                        <a:pt x="1534822" y="515625"/>
                        <a:pt x="1535545" y="515866"/>
                      </a:cubicBezTo>
                      <a:lnTo>
                        <a:pt x="1536911" y="518196"/>
                      </a:lnTo>
                      <a:moveTo>
                        <a:pt x="1576754" y="485583"/>
                      </a:moveTo>
                      <a:cubicBezTo>
                        <a:pt x="1576673" y="485663"/>
                        <a:pt x="1576673" y="485743"/>
                        <a:pt x="1576593" y="485824"/>
                      </a:cubicBezTo>
                      <a:cubicBezTo>
                        <a:pt x="1575870" y="486948"/>
                        <a:pt x="1575147" y="487832"/>
                        <a:pt x="1574424" y="488394"/>
                      </a:cubicBezTo>
                      <a:cubicBezTo>
                        <a:pt x="1571532" y="490724"/>
                        <a:pt x="1570809" y="486948"/>
                        <a:pt x="1570488" y="483414"/>
                      </a:cubicBezTo>
                      <a:lnTo>
                        <a:pt x="1573540" y="483735"/>
                      </a:lnTo>
                      <a:cubicBezTo>
                        <a:pt x="1573701" y="483494"/>
                        <a:pt x="1573942" y="483092"/>
                        <a:pt x="1574103" y="482851"/>
                      </a:cubicBezTo>
                      <a:cubicBezTo>
                        <a:pt x="1575227" y="483815"/>
                        <a:pt x="1576031" y="484539"/>
                        <a:pt x="1577236" y="485342"/>
                      </a:cubicBezTo>
                      <a:cubicBezTo>
                        <a:pt x="1576995" y="485422"/>
                        <a:pt x="1576834" y="485422"/>
                        <a:pt x="1576754" y="485583"/>
                      </a:cubicBezTo>
                      <a:moveTo>
                        <a:pt x="1422524" y="569686"/>
                      </a:moveTo>
                      <a:cubicBezTo>
                        <a:pt x="1426460" y="576514"/>
                        <a:pt x="1427906" y="583502"/>
                        <a:pt x="1427022" y="591696"/>
                      </a:cubicBezTo>
                      <a:cubicBezTo>
                        <a:pt x="1421721" y="584868"/>
                        <a:pt x="1420034" y="576996"/>
                        <a:pt x="1422443" y="569525"/>
                      </a:cubicBezTo>
                      <a:cubicBezTo>
                        <a:pt x="1422443" y="569606"/>
                        <a:pt x="1422524" y="569686"/>
                        <a:pt x="1422524" y="569686"/>
                      </a:cubicBezTo>
                      <a:moveTo>
                        <a:pt x="1616275" y="443330"/>
                      </a:moveTo>
                      <a:cubicBezTo>
                        <a:pt x="1617239" y="445017"/>
                        <a:pt x="1618444" y="445901"/>
                        <a:pt x="1618926" y="446222"/>
                      </a:cubicBezTo>
                      <a:cubicBezTo>
                        <a:pt x="1618203" y="446061"/>
                        <a:pt x="1617319" y="445901"/>
                        <a:pt x="1616676" y="445820"/>
                      </a:cubicBezTo>
                      <a:cubicBezTo>
                        <a:pt x="1618042" y="447588"/>
                        <a:pt x="1618363" y="448230"/>
                        <a:pt x="1618845" y="449997"/>
                      </a:cubicBezTo>
                      <a:cubicBezTo>
                        <a:pt x="1612740" y="449194"/>
                        <a:pt x="1605672" y="447266"/>
                        <a:pt x="1599406" y="444856"/>
                      </a:cubicBezTo>
                      <a:cubicBezTo>
                        <a:pt x="1600852" y="445419"/>
                        <a:pt x="1601735" y="445419"/>
                        <a:pt x="1602699" y="445097"/>
                      </a:cubicBezTo>
                      <a:cubicBezTo>
                        <a:pt x="1605029" y="446543"/>
                        <a:pt x="1605672" y="446865"/>
                        <a:pt x="1606073" y="446784"/>
                      </a:cubicBezTo>
                      <a:cubicBezTo>
                        <a:pt x="1606073" y="446543"/>
                        <a:pt x="1606154" y="446463"/>
                        <a:pt x="1605190" y="445258"/>
                      </a:cubicBezTo>
                      <a:cubicBezTo>
                        <a:pt x="1606475" y="444937"/>
                        <a:pt x="1607680" y="444455"/>
                        <a:pt x="1608965" y="444214"/>
                      </a:cubicBezTo>
                      <a:cubicBezTo>
                        <a:pt x="1606957" y="443009"/>
                        <a:pt x="1606073" y="442366"/>
                        <a:pt x="1605511" y="441483"/>
                      </a:cubicBezTo>
                      <a:cubicBezTo>
                        <a:pt x="1601173" y="438029"/>
                        <a:pt x="1601013" y="440760"/>
                        <a:pt x="1601093" y="441643"/>
                      </a:cubicBezTo>
                      <a:cubicBezTo>
                        <a:pt x="1601093" y="442045"/>
                        <a:pt x="1601254" y="442446"/>
                        <a:pt x="1601334" y="442848"/>
                      </a:cubicBezTo>
                      <a:cubicBezTo>
                        <a:pt x="1600049" y="440840"/>
                        <a:pt x="1598924" y="439394"/>
                        <a:pt x="1597077" y="437386"/>
                      </a:cubicBezTo>
                      <a:cubicBezTo>
                        <a:pt x="1597960" y="436663"/>
                        <a:pt x="1598844" y="436100"/>
                        <a:pt x="1599647" y="435217"/>
                      </a:cubicBezTo>
                      <a:cubicBezTo>
                        <a:pt x="1600049" y="434655"/>
                        <a:pt x="1600209" y="434494"/>
                        <a:pt x="1600611" y="432887"/>
                      </a:cubicBezTo>
                      <a:cubicBezTo>
                        <a:pt x="1601896" y="439314"/>
                        <a:pt x="1608403" y="441242"/>
                        <a:pt x="1616195" y="442848"/>
                      </a:cubicBezTo>
                      <a:cubicBezTo>
                        <a:pt x="1616114" y="443009"/>
                        <a:pt x="1616195" y="443250"/>
                        <a:pt x="1616275" y="443330"/>
                      </a:cubicBezTo>
                      <a:moveTo>
                        <a:pt x="1431280" y="554183"/>
                      </a:moveTo>
                      <a:cubicBezTo>
                        <a:pt x="1429030" y="560047"/>
                        <a:pt x="1424773" y="560529"/>
                        <a:pt x="1420917" y="560288"/>
                      </a:cubicBezTo>
                      <a:cubicBezTo>
                        <a:pt x="1422524" y="558842"/>
                        <a:pt x="1424934" y="556914"/>
                        <a:pt x="1429512" y="555307"/>
                      </a:cubicBezTo>
                      <a:cubicBezTo>
                        <a:pt x="1430075" y="554826"/>
                        <a:pt x="1430878" y="554183"/>
                        <a:pt x="1431521" y="553701"/>
                      </a:cubicBezTo>
                      <a:cubicBezTo>
                        <a:pt x="1431440" y="553861"/>
                        <a:pt x="1431360" y="554022"/>
                        <a:pt x="1431280" y="554183"/>
                      </a:cubicBezTo>
                      <a:moveTo>
                        <a:pt x="1409993" y="570811"/>
                      </a:moveTo>
                      <a:cubicBezTo>
                        <a:pt x="1410073" y="572738"/>
                        <a:pt x="1410153" y="577880"/>
                        <a:pt x="1407743" y="582619"/>
                      </a:cubicBezTo>
                      <a:cubicBezTo>
                        <a:pt x="1407101" y="583904"/>
                        <a:pt x="1406378" y="585270"/>
                        <a:pt x="1404852" y="586957"/>
                      </a:cubicBezTo>
                      <a:cubicBezTo>
                        <a:pt x="1404611" y="587198"/>
                        <a:pt x="1404289" y="587599"/>
                        <a:pt x="1403968" y="587840"/>
                      </a:cubicBezTo>
                      <a:cubicBezTo>
                        <a:pt x="1403084" y="588644"/>
                        <a:pt x="1402040" y="589125"/>
                        <a:pt x="1401157" y="589848"/>
                      </a:cubicBezTo>
                      <a:cubicBezTo>
                        <a:pt x="1401076" y="589929"/>
                        <a:pt x="1401076" y="590089"/>
                        <a:pt x="1401076" y="590170"/>
                      </a:cubicBezTo>
                      <a:cubicBezTo>
                        <a:pt x="1400755" y="591214"/>
                        <a:pt x="1399550" y="591937"/>
                        <a:pt x="1399148" y="592178"/>
                      </a:cubicBezTo>
                      <a:cubicBezTo>
                        <a:pt x="1398907" y="587358"/>
                        <a:pt x="1397863" y="585350"/>
                        <a:pt x="1393606" y="581816"/>
                      </a:cubicBezTo>
                      <a:lnTo>
                        <a:pt x="1396096" y="583261"/>
                      </a:lnTo>
                      <a:cubicBezTo>
                        <a:pt x="1401237" y="578442"/>
                        <a:pt x="1401719" y="576514"/>
                        <a:pt x="1395935" y="570730"/>
                      </a:cubicBezTo>
                      <a:cubicBezTo>
                        <a:pt x="1404450" y="565027"/>
                        <a:pt x="1407984" y="568481"/>
                        <a:pt x="1409511" y="570007"/>
                      </a:cubicBezTo>
                      <a:cubicBezTo>
                        <a:pt x="1409671" y="570409"/>
                        <a:pt x="1409832" y="570570"/>
                        <a:pt x="1409993" y="570811"/>
                      </a:cubicBezTo>
                      <a:moveTo>
                        <a:pt x="1599406" y="418830"/>
                      </a:moveTo>
                      <a:cubicBezTo>
                        <a:pt x="1600129" y="419553"/>
                        <a:pt x="1600772" y="420276"/>
                        <a:pt x="1601494" y="421079"/>
                      </a:cubicBezTo>
                      <a:cubicBezTo>
                        <a:pt x="1598603" y="421240"/>
                        <a:pt x="1595309" y="420517"/>
                        <a:pt x="1592016" y="418991"/>
                      </a:cubicBezTo>
                      <a:cubicBezTo>
                        <a:pt x="1594667" y="419312"/>
                        <a:pt x="1597077" y="419071"/>
                        <a:pt x="1599085" y="418509"/>
                      </a:cubicBezTo>
                      <a:cubicBezTo>
                        <a:pt x="1599165" y="418509"/>
                        <a:pt x="1599326" y="418669"/>
                        <a:pt x="1599406" y="418830"/>
                      </a:cubicBezTo>
                      <a:moveTo>
                        <a:pt x="1306048" y="588162"/>
                      </a:moveTo>
                      <a:cubicBezTo>
                        <a:pt x="1305888" y="589527"/>
                        <a:pt x="1306289" y="590652"/>
                        <a:pt x="1306450" y="591053"/>
                      </a:cubicBezTo>
                      <a:cubicBezTo>
                        <a:pt x="1306129" y="590411"/>
                        <a:pt x="1305807" y="589929"/>
                        <a:pt x="1305325" y="589447"/>
                      </a:cubicBezTo>
                      <a:cubicBezTo>
                        <a:pt x="1305566" y="588965"/>
                        <a:pt x="1305807" y="588563"/>
                        <a:pt x="1306048" y="588081"/>
                      </a:cubicBezTo>
                      <a:cubicBezTo>
                        <a:pt x="1306048" y="588081"/>
                        <a:pt x="1306048" y="588162"/>
                        <a:pt x="1306048" y="588162"/>
                      </a:cubicBezTo>
                      <a:moveTo>
                        <a:pt x="1581011" y="407906"/>
                      </a:moveTo>
                      <a:cubicBezTo>
                        <a:pt x="1582216" y="409110"/>
                        <a:pt x="1582778" y="410556"/>
                        <a:pt x="1583019" y="411119"/>
                      </a:cubicBezTo>
                      <a:cubicBezTo>
                        <a:pt x="1582939" y="411038"/>
                        <a:pt x="1582778" y="410958"/>
                        <a:pt x="1582698" y="410878"/>
                      </a:cubicBezTo>
                      <a:cubicBezTo>
                        <a:pt x="1580931" y="408468"/>
                        <a:pt x="1579806" y="408548"/>
                        <a:pt x="1579083" y="408950"/>
                      </a:cubicBezTo>
                      <a:cubicBezTo>
                        <a:pt x="1577717" y="407986"/>
                        <a:pt x="1576754" y="407263"/>
                        <a:pt x="1575629" y="406138"/>
                      </a:cubicBezTo>
                      <a:cubicBezTo>
                        <a:pt x="1576352" y="406138"/>
                        <a:pt x="1578842" y="405817"/>
                        <a:pt x="1581011" y="407906"/>
                      </a:cubicBezTo>
                      <a:moveTo>
                        <a:pt x="1506467" y="462528"/>
                      </a:moveTo>
                      <a:cubicBezTo>
                        <a:pt x="1506467" y="462528"/>
                        <a:pt x="1507109" y="463492"/>
                        <a:pt x="1506386" y="464135"/>
                      </a:cubicBezTo>
                      <a:cubicBezTo>
                        <a:pt x="1505503" y="464938"/>
                        <a:pt x="1504619" y="465340"/>
                        <a:pt x="1503735" y="465179"/>
                      </a:cubicBezTo>
                      <a:cubicBezTo>
                        <a:pt x="1503093" y="465099"/>
                        <a:pt x="1502691" y="464778"/>
                        <a:pt x="1502450" y="464537"/>
                      </a:cubicBezTo>
                      <a:cubicBezTo>
                        <a:pt x="1503575" y="464617"/>
                        <a:pt x="1504137" y="464537"/>
                        <a:pt x="1504619" y="464215"/>
                      </a:cubicBezTo>
                      <a:cubicBezTo>
                        <a:pt x="1505181" y="463653"/>
                        <a:pt x="1505101" y="463091"/>
                        <a:pt x="1504378" y="461886"/>
                      </a:cubicBezTo>
                      <a:cubicBezTo>
                        <a:pt x="1504860" y="461886"/>
                        <a:pt x="1505985" y="461886"/>
                        <a:pt x="1506467" y="462528"/>
                      </a:cubicBezTo>
                      <a:moveTo>
                        <a:pt x="1463652" y="480201"/>
                      </a:moveTo>
                      <a:cubicBezTo>
                        <a:pt x="1463250" y="481486"/>
                        <a:pt x="1462688" y="482691"/>
                        <a:pt x="1462366" y="483976"/>
                      </a:cubicBezTo>
                      <a:cubicBezTo>
                        <a:pt x="1461804" y="486065"/>
                        <a:pt x="1461644" y="487189"/>
                        <a:pt x="1461644" y="487591"/>
                      </a:cubicBezTo>
                      <a:cubicBezTo>
                        <a:pt x="1461081" y="484539"/>
                        <a:pt x="1461804" y="481727"/>
                        <a:pt x="1463812" y="479719"/>
                      </a:cubicBezTo>
                      <a:cubicBezTo>
                        <a:pt x="1463732" y="479879"/>
                        <a:pt x="1463732" y="480040"/>
                        <a:pt x="1463652" y="480201"/>
                      </a:cubicBezTo>
                      <a:moveTo>
                        <a:pt x="1470078" y="480602"/>
                      </a:moveTo>
                      <a:cubicBezTo>
                        <a:pt x="1468311" y="480683"/>
                        <a:pt x="1466544" y="480522"/>
                        <a:pt x="1465178" y="480442"/>
                      </a:cubicBezTo>
                      <a:cubicBezTo>
                        <a:pt x="1465339" y="479397"/>
                        <a:pt x="1465580" y="478514"/>
                        <a:pt x="1465821" y="477550"/>
                      </a:cubicBezTo>
                      <a:cubicBezTo>
                        <a:pt x="1466785" y="479156"/>
                        <a:pt x="1467989" y="480040"/>
                        <a:pt x="1470239" y="480602"/>
                      </a:cubicBezTo>
                      <a:cubicBezTo>
                        <a:pt x="1470239" y="480602"/>
                        <a:pt x="1470158" y="480602"/>
                        <a:pt x="1470078" y="480602"/>
                      </a:cubicBezTo>
                      <a:moveTo>
                        <a:pt x="1544863" y="441242"/>
                      </a:moveTo>
                      <a:cubicBezTo>
                        <a:pt x="1548719" y="445499"/>
                        <a:pt x="1546872" y="450560"/>
                        <a:pt x="1546149" y="452648"/>
                      </a:cubicBezTo>
                      <a:cubicBezTo>
                        <a:pt x="1548558" y="456825"/>
                        <a:pt x="1549281" y="459637"/>
                        <a:pt x="1545827" y="461725"/>
                      </a:cubicBezTo>
                      <a:cubicBezTo>
                        <a:pt x="1544783" y="460360"/>
                        <a:pt x="1543578" y="458753"/>
                        <a:pt x="1540124" y="456825"/>
                      </a:cubicBezTo>
                      <a:cubicBezTo>
                        <a:pt x="1538196" y="455781"/>
                        <a:pt x="1536027" y="455299"/>
                        <a:pt x="1534019" y="454335"/>
                      </a:cubicBezTo>
                      <a:cubicBezTo>
                        <a:pt x="1528637" y="451765"/>
                        <a:pt x="1523496" y="448632"/>
                        <a:pt x="1518034" y="446222"/>
                      </a:cubicBezTo>
                      <a:cubicBezTo>
                        <a:pt x="1517793" y="445579"/>
                        <a:pt x="1516990" y="443732"/>
                        <a:pt x="1515142" y="441724"/>
                      </a:cubicBezTo>
                      <a:cubicBezTo>
                        <a:pt x="1514981" y="441563"/>
                        <a:pt x="1514580" y="441322"/>
                        <a:pt x="1514580" y="441081"/>
                      </a:cubicBezTo>
                      <a:cubicBezTo>
                        <a:pt x="1514098" y="437386"/>
                        <a:pt x="1514740" y="435217"/>
                        <a:pt x="1516508" y="434494"/>
                      </a:cubicBezTo>
                      <a:cubicBezTo>
                        <a:pt x="1519721" y="433048"/>
                        <a:pt x="1533296" y="434976"/>
                        <a:pt x="1538758" y="437225"/>
                      </a:cubicBezTo>
                      <a:cubicBezTo>
                        <a:pt x="1540606" y="438029"/>
                        <a:pt x="1543096" y="439314"/>
                        <a:pt x="1544863" y="441242"/>
                      </a:cubicBezTo>
                      <a:moveTo>
                        <a:pt x="1471444" y="468633"/>
                      </a:moveTo>
                      <a:cubicBezTo>
                        <a:pt x="1469757" y="473614"/>
                        <a:pt x="1472086" y="475783"/>
                        <a:pt x="1474335" y="477068"/>
                      </a:cubicBezTo>
                      <a:cubicBezTo>
                        <a:pt x="1473291" y="478674"/>
                        <a:pt x="1472729" y="480201"/>
                        <a:pt x="1475781" y="479478"/>
                      </a:cubicBezTo>
                      <a:cubicBezTo>
                        <a:pt x="1476344" y="479317"/>
                        <a:pt x="1476906" y="479156"/>
                        <a:pt x="1477468" y="478996"/>
                      </a:cubicBezTo>
                      <a:lnTo>
                        <a:pt x="1477227" y="479397"/>
                      </a:lnTo>
                      <a:lnTo>
                        <a:pt x="1479798" y="480602"/>
                      </a:lnTo>
                      <a:cubicBezTo>
                        <a:pt x="1474496" y="481325"/>
                        <a:pt x="1471363" y="480281"/>
                        <a:pt x="1470319" y="479960"/>
                      </a:cubicBezTo>
                      <a:cubicBezTo>
                        <a:pt x="1470560" y="474176"/>
                        <a:pt x="1470560" y="470079"/>
                        <a:pt x="1470480" y="467670"/>
                      </a:cubicBezTo>
                      <a:cubicBezTo>
                        <a:pt x="1470881" y="467911"/>
                        <a:pt x="1471202" y="468312"/>
                        <a:pt x="1471444" y="468633"/>
                      </a:cubicBezTo>
                      <a:moveTo>
                        <a:pt x="1486626" y="459235"/>
                      </a:moveTo>
                      <a:cubicBezTo>
                        <a:pt x="1482689" y="458994"/>
                        <a:pt x="1481726" y="459476"/>
                        <a:pt x="1482930" y="461243"/>
                      </a:cubicBezTo>
                      <a:cubicBezTo>
                        <a:pt x="1482930" y="461083"/>
                        <a:pt x="1482850" y="460842"/>
                        <a:pt x="1482850" y="460681"/>
                      </a:cubicBezTo>
                      <a:cubicBezTo>
                        <a:pt x="1483653" y="462047"/>
                        <a:pt x="1483814" y="462609"/>
                        <a:pt x="1483653" y="462850"/>
                      </a:cubicBezTo>
                      <a:cubicBezTo>
                        <a:pt x="1483171" y="463010"/>
                        <a:pt x="1482047" y="462127"/>
                        <a:pt x="1479235" y="459637"/>
                      </a:cubicBezTo>
                      <a:cubicBezTo>
                        <a:pt x="1481243" y="457227"/>
                        <a:pt x="1484135" y="458030"/>
                        <a:pt x="1486947" y="459235"/>
                      </a:cubicBezTo>
                      <a:cubicBezTo>
                        <a:pt x="1486786" y="459235"/>
                        <a:pt x="1486706" y="459235"/>
                        <a:pt x="1486626" y="459235"/>
                      </a:cubicBezTo>
                      <a:moveTo>
                        <a:pt x="1481163" y="456022"/>
                      </a:moveTo>
                      <a:cubicBezTo>
                        <a:pt x="1480521" y="455460"/>
                        <a:pt x="1480039" y="454897"/>
                        <a:pt x="1479637" y="454174"/>
                      </a:cubicBezTo>
                      <a:lnTo>
                        <a:pt x="1481163" y="456022"/>
                      </a:lnTo>
                      <a:moveTo>
                        <a:pt x="1489276" y="456022"/>
                      </a:moveTo>
                      <a:cubicBezTo>
                        <a:pt x="1488875" y="456102"/>
                        <a:pt x="1487750" y="456343"/>
                        <a:pt x="1486947" y="457066"/>
                      </a:cubicBezTo>
                      <a:cubicBezTo>
                        <a:pt x="1489919" y="457388"/>
                        <a:pt x="1489919" y="458271"/>
                        <a:pt x="1489598" y="458994"/>
                      </a:cubicBezTo>
                      <a:cubicBezTo>
                        <a:pt x="1485742" y="458592"/>
                        <a:pt x="1483252" y="457709"/>
                        <a:pt x="1481243" y="456022"/>
                      </a:cubicBezTo>
                      <a:cubicBezTo>
                        <a:pt x="1481967" y="455379"/>
                        <a:pt x="1481967" y="454897"/>
                        <a:pt x="1481243" y="454094"/>
                      </a:cubicBezTo>
                      <a:cubicBezTo>
                        <a:pt x="1483412" y="454094"/>
                        <a:pt x="1483412" y="454094"/>
                        <a:pt x="1483734" y="453853"/>
                      </a:cubicBezTo>
                      <a:cubicBezTo>
                        <a:pt x="1484457" y="453210"/>
                        <a:pt x="1482689" y="452809"/>
                        <a:pt x="1479878" y="452166"/>
                      </a:cubicBezTo>
                      <a:cubicBezTo>
                        <a:pt x="1483573" y="452889"/>
                        <a:pt x="1486626" y="454014"/>
                        <a:pt x="1489598" y="455942"/>
                      </a:cubicBezTo>
                      <a:cubicBezTo>
                        <a:pt x="1489517" y="455942"/>
                        <a:pt x="1489357" y="456022"/>
                        <a:pt x="1489276" y="456022"/>
                      </a:cubicBezTo>
                      <a:moveTo>
                        <a:pt x="1345248" y="531611"/>
                      </a:moveTo>
                      <a:cubicBezTo>
                        <a:pt x="1345730" y="532253"/>
                        <a:pt x="1345248" y="532735"/>
                        <a:pt x="1345088" y="532896"/>
                      </a:cubicBezTo>
                      <a:cubicBezTo>
                        <a:pt x="1344124" y="532253"/>
                        <a:pt x="1343722" y="531530"/>
                        <a:pt x="1343642" y="530566"/>
                      </a:cubicBezTo>
                      <a:cubicBezTo>
                        <a:pt x="1343883" y="530647"/>
                        <a:pt x="1344847" y="531048"/>
                        <a:pt x="1345248" y="531611"/>
                      </a:cubicBezTo>
                      <a:moveTo>
                        <a:pt x="1511849" y="430237"/>
                      </a:moveTo>
                      <a:lnTo>
                        <a:pt x="1511849" y="430237"/>
                      </a:lnTo>
                      <a:cubicBezTo>
                        <a:pt x="1511608" y="430237"/>
                        <a:pt x="1511447" y="430076"/>
                        <a:pt x="1511206" y="429996"/>
                      </a:cubicBezTo>
                      <a:cubicBezTo>
                        <a:pt x="1510563" y="429755"/>
                        <a:pt x="1509840" y="429433"/>
                        <a:pt x="1509198" y="429192"/>
                      </a:cubicBezTo>
                      <a:cubicBezTo>
                        <a:pt x="1509037" y="429032"/>
                        <a:pt x="1508796" y="428791"/>
                        <a:pt x="1508635" y="428630"/>
                      </a:cubicBezTo>
                      <a:cubicBezTo>
                        <a:pt x="1509439" y="429032"/>
                        <a:pt x="1511768" y="430156"/>
                        <a:pt x="1511849" y="430237"/>
                      </a:cubicBezTo>
                      <a:moveTo>
                        <a:pt x="1463893" y="460601"/>
                      </a:moveTo>
                      <a:cubicBezTo>
                        <a:pt x="1465419" y="463412"/>
                        <a:pt x="1465419" y="463412"/>
                        <a:pt x="1467507" y="464215"/>
                      </a:cubicBezTo>
                      <a:cubicBezTo>
                        <a:pt x="1466785" y="463974"/>
                        <a:pt x="1465178" y="463492"/>
                        <a:pt x="1463973" y="464457"/>
                      </a:cubicBezTo>
                      <a:cubicBezTo>
                        <a:pt x="1464053" y="464537"/>
                        <a:pt x="1464053" y="464537"/>
                        <a:pt x="1464134" y="464617"/>
                      </a:cubicBezTo>
                      <a:cubicBezTo>
                        <a:pt x="1462607" y="465260"/>
                        <a:pt x="1462045" y="465501"/>
                        <a:pt x="1461001" y="465742"/>
                      </a:cubicBezTo>
                      <a:cubicBezTo>
                        <a:pt x="1462045" y="469115"/>
                        <a:pt x="1462848" y="471043"/>
                        <a:pt x="1464214" y="473935"/>
                      </a:cubicBezTo>
                      <a:lnTo>
                        <a:pt x="1465178" y="473694"/>
                      </a:lnTo>
                      <a:cubicBezTo>
                        <a:pt x="1465017" y="474578"/>
                        <a:pt x="1464937" y="474658"/>
                        <a:pt x="1465339" y="476104"/>
                      </a:cubicBezTo>
                      <a:cubicBezTo>
                        <a:pt x="1464455" y="475702"/>
                        <a:pt x="1463893" y="475461"/>
                        <a:pt x="1463009" y="474979"/>
                      </a:cubicBezTo>
                      <a:cubicBezTo>
                        <a:pt x="1462366" y="469678"/>
                        <a:pt x="1460519" y="466866"/>
                        <a:pt x="1456422" y="465019"/>
                      </a:cubicBezTo>
                      <a:cubicBezTo>
                        <a:pt x="1457226" y="464858"/>
                        <a:pt x="1457145" y="463974"/>
                        <a:pt x="1456744" y="462689"/>
                      </a:cubicBezTo>
                      <a:lnTo>
                        <a:pt x="1457547" y="464135"/>
                      </a:lnTo>
                      <a:cubicBezTo>
                        <a:pt x="1458109" y="463814"/>
                        <a:pt x="1458832" y="463332"/>
                        <a:pt x="1459394" y="463010"/>
                      </a:cubicBezTo>
                      <a:cubicBezTo>
                        <a:pt x="1460358" y="464215"/>
                        <a:pt x="1461322" y="464938"/>
                        <a:pt x="1464294" y="462769"/>
                      </a:cubicBezTo>
                      <a:lnTo>
                        <a:pt x="1460840" y="462287"/>
                      </a:lnTo>
                      <a:lnTo>
                        <a:pt x="1463893" y="461886"/>
                      </a:lnTo>
                      <a:cubicBezTo>
                        <a:pt x="1462286" y="460601"/>
                        <a:pt x="1461724" y="459797"/>
                        <a:pt x="1461322" y="458512"/>
                      </a:cubicBezTo>
                      <a:lnTo>
                        <a:pt x="1462768" y="459717"/>
                      </a:lnTo>
                      <a:lnTo>
                        <a:pt x="1463009" y="459396"/>
                      </a:lnTo>
                      <a:cubicBezTo>
                        <a:pt x="1463250" y="459797"/>
                        <a:pt x="1463652" y="460199"/>
                        <a:pt x="1463893" y="460601"/>
                      </a:cubicBezTo>
                      <a:moveTo>
                        <a:pt x="1341393" y="523738"/>
                      </a:moveTo>
                      <a:cubicBezTo>
                        <a:pt x="1341553" y="523979"/>
                        <a:pt x="1341634" y="524220"/>
                        <a:pt x="1341634" y="524461"/>
                      </a:cubicBezTo>
                      <a:cubicBezTo>
                        <a:pt x="1341714" y="525184"/>
                        <a:pt x="1342196" y="526309"/>
                        <a:pt x="1343240" y="527755"/>
                      </a:cubicBezTo>
                      <a:cubicBezTo>
                        <a:pt x="1344525" y="529602"/>
                        <a:pt x="1345650" y="530727"/>
                        <a:pt x="1347016" y="531932"/>
                      </a:cubicBezTo>
                      <a:cubicBezTo>
                        <a:pt x="1346855" y="532012"/>
                        <a:pt x="1346694" y="532093"/>
                        <a:pt x="1346534" y="532173"/>
                      </a:cubicBezTo>
                      <a:cubicBezTo>
                        <a:pt x="1342356" y="529924"/>
                        <a:pt x="1340429" y="527353"/>
                        <a:pt x="1339786" y="523015"/>
                      </a:cubicBezTo>
                      <a:cubicBezTo>
                        <a:pt x="1340268" y="523015"/>
                        <a:pt x="1340991" y="523015"/>
                        <a:pt x="1341393" y="523738"/>
                      </a:cubicBezTo>
                      <a:moveTo>
                        <a:pt x="1541088" y="395053"/>
                      </a:moveTo>
                      <a:cubicBezTo>
                        <a:pt x="1538116" y="393045"/>
                        <a:pt x="1535867" y="391438"/>
                        <a:pt x="1536268" y="391358"/>
                      </a:cubicBezTo>
                      <a:cubicBezTo>
                        <a:pt x="1536590" y="391278"/>
                        <a:pt x="1539240" y="392563"/>
                        <a:pt x="1540204" y="393045"/>
                      </a:cubicBezTo>
                      <a:lnTo>
                        <a:pt x="1541088" y="395053"/>
                      </a:lnTo>
                      <a:moveTo>
                        <a:pt x="1488955" y="426220"/>
                      </a:moveTo>
                      <a:cubicBezTo>
                        <a:pt x="1489196" y="426461"/>
                        <a:pt x="1489357" y="426702"/>
                        <a:pt x="1489517" y="426943"/>
                      </a:cubicBezTo>
                      <a:cubicBezTo>
                        <a:pt x="1489437" y="427024"/>
                        <a:pt x="1489276" y="427184"/>
                        <a:pt x="1489196" y="427265"/>
                      </a:cubicBezTo>
                      <a:cubicBezTo>
                        <a:pt x="1487911" y="428229"/>
                        <a:pt x="1486867" y="427827"/>
                        <a:pt x="1485662" y="425979"/>
                      </a:cubicBezTo>
                      <a:cubicBezTo>
                        <a:pt x="1485662" y="425738"/>
                        <a:pt x="1485581" y="425337"/>
                        <a:pt x="1485581" y="425096"/>
                      </a:cubicBezTo>
                      <a:cubicBezTo>
                        <a:pt x="1486786" y="425096"/>
                        <a:pt x="1487991" y="425256"/>
                        <a:pt x="1488955" y="426220"/>
                      </a:cubicBezTo>
                      <a:moveTo>
                        <a:pt x="1554342" y="412966"/>
                      </a:moveTo>
                      <a:cubicBezTo>
                        <a:pt x="1556109" y="419955"/>
                        <a:pt x="1555627" y="423328"/>
                        <a:pt x="1553137" y="422043"/>
                      </a:cubicBezTo>
                      <a:cubicBezTo>
                        <a:pt x="1552254" y="421561"/>
                        <a:pt x="1551450" y="420758"/>
                        <a:pt x="1550647" y="419874"/>
                      </a:cubicBezTo>
                      <a:cubicBezTo>
                        <a:pt x="1551932" y="419392"/>
                        <a:pt x="1553217" y="418750"/>
                        <a:pt x="1551450" y="417786"/>
                      </a:cubicBezTo>
                      <a:cubicBezTo>
                        <a:pt x="1549201" y="416501"/>
                        <a:pt x="1541811" y="415215"/>
                        <a:pt x="1535144" y="414091"/>
                      </a:cubicBezTo>
                      <a:cubicBezTo>
                        <a:pt x="1529039" y="413046"/>
                        <a:pt x="1520524" y="405977"/>
                        <a:pt x="1525344" y="404612"/>
                      </a:cubicBezTo>
                      <a:cubicBezTo>
                        <a:pt x="1525745" y="404532"/>
                        <a:pt x="1526227" y="404451"/>
                        <a:pt x="1526629" y="404371"/>
                      </a:cubicBezTo>
                      <a:cubicBezTo>
                        <a:pt x="1525986" y="404853"/>
                        <a:pt x="1525906" y="405094"/>
                        <a:pt x="1525906" y="405255"/>
                      </a:cubicBezTo>
                      <a:cubicBezTo>
                        <a:pt x="1527111" y="406219"/>
                        <a:pt x="1531127" y="404933"/>
                        <a:pt x="1531609" y="404532"/>
                      </a:cubicBezTo>
                      <a:cubicBezTo>
                        <a:pt x="1531609" y="404451"/>
                        <a:pt x="1531529" y="404371"/>
                        <a:pt x="1531529" y="404291"/>
                      </a:cubicBezTo>
                      <a:cubicBezTo>
                        <a:pt x="1531207" y="404211"/>
                        <a:pt x="1530886" y="404211"/>
                        <a:pt x="1530565" y="404130"/>
                      </a:cubicBezTo>
                      <a:cubicBezTo>
                        <a:pt x="1531368" y="402363"/>
                        <a:pt x="1533617" y="397704"/>
                        <a:pt x="1523817" y="399310"/>
                      </a:cubicBezTo>
                      <a:cubicBezTo>
                        <a:pt x="1522853" y="399471"/>
                        <a:pt x="1519399" y="399712"/>
                        <a:pt x="1515062" y="395856"/>
                      </a:cubicBezTo>
                      <a:cubicBezTo>
                        <a:pt x="1520845" y="395936"/>
                        <a:pt x="1524701" y="395535"/>
                        <a:pt x="1524701" y="395535"/>
                      </a:cubicBezTo>
                      <a:cubicBezTo>
                        <a:pt x="1525022" y="395535"/>
                        <a:pt x="1525424" y="395294"/>
                        <a:pt x="1525665" y="395455"/>
                      </a:cubicBezTo>
                      <a:cubicBezTo>
                        <a:pt x="1526227" y="395696"/>
                        <a:pt x="1526790" y="396178"/>
                        <a:pt x="1527272" y="396499"/>
                      </a:cubicBezTo>
                      <a:cubicBezTo>
                        <a:pt x="1534742" y="401479"/>
                        <a:pt x="1543578" y="406219"/>
                        <a:pt x="1553619" y="410637"/>
                      </a:cubicBezTo>
                      <a:cubicBezTo>
                        <a:pt x="1553940" y="411279"/>
                        <a:pt x="1554181" y="412243"/>
                        <a:pt x="1554342" y="412966"/>
                      </a:cubicBezTo>
                      <a:moveTo>
                        <a:pt x="1488714" y="422525"/>
                      </a:moveTo>
                      <a:cubicBezTo>
                        <a:pt x="1489758" y="423569"/>
                        <a:pt x="1489999" y="424614"/>
                        <a:pt x="1490160" y="425176"/>
                      </a:cubicBezTo>
                      <a:cubicBezTo>
                        <a:pt x="1488875" y="424533"/>
                        <a:pt x="1487750" y="424132"/>
                        <a:pt x="1486143" y="423810"/>
                      </a:cubicBezTo>
                      <a:cubicBezTo>
                        <a:pt x="1485742" y="423569"/>
                        <a:pt x="1485260" y="423168"/>
                        <a:pt x="1484939" y="422927"/>
                      </a:cubicBezTo>
                      <a:cubicBezTo>
                        <a:pt x="1485822" y="423087"/>
                        <a:pt x="1486143" y="423087"/>
                        <a:pt x="1486385" y="422927"/>
                      </a:cubicBezTo>
                      <a:cubicBezTo>
                        <a:pt x="1486706" y="422445"/>
                        <a:pt x="1485260" y="421561"/>
                        <a:pt x="1482609" y="419874"/>
                      </a:cubicBezTo>
                      <a:cubicBezTo>
                        <a:pt x="1483573" y="419955"/>
                        <a:pt x="1486786" y="420517"/>
                        <a:pt x="1488714" y="422525"/>
                      </a:cubicBezTo>
                      <a:moveTo>
                        <a:pt x="1492570" y="414733"/>
                      </a:moveTo>
                      <a:cubicBezTo>
                        <a:pt x="1494096" y="416099"/>
                        <a:pt x="1494658" y="417706"/>
                        <a:pt x="1494819" y="418188"/>
                      </a:cubicBezTo>
                      <a:cubicBezTo>
                        <a:pt x="1494899" y="418268"/>
                        <a:pt x="1494980" y="418348"/>
                        <a:pt x="1495140" y="418428"/>
                      </a:cubicBezTo>
                      <a:cubicBezTo>
                        <a:pt x="1494658" y="418589"/>
                        <a:pt x="1494016" y="418830"/>
                        <a:pt x="1493534" y="418991"/>
                      </a:cubicBezTo>
                      <a:cubicBezTo>
                        <a:pt x="1492088" y="416742"/>
                        <a:pt x="1491365" y="415376"/>
                        <a:pt x="1490481" y="413287"/>
                      </a:cubicBezTo>
                      <a:cubicBezTo>
                        <a:pt x="1490803" y="413528"/>
                        <a:pt x="1491686" y="413930"/>
                        <a:pt x="1492570" y="414733"/>
                      </a:cubicBezTo>
                      <a:moveTo>
                        <a:pt x="1469676" y="436181"/>
                      </a:moveTo>
                      <a:lnTo>
                        <a:pt x="1469194" y="436583"/>
                      </a:lnTo>
                      <a:cubicBezTo>
                        <a:pt x="1469114" y="436984"/>
                        <a:pt x="1468953" y="437547"/>
                        <a:pt x="1468873" y="437868"/>
                      </a:cubicBezTo>
                      <a:cubicBezTo>
                        <a:pt x="1470721" y="438751"/>
                        <a:pt x="1471685" y="439394"/>
                        <a:pt x="1473050" y="440519"/>
                      </a:cubicBezTo>
                      <a:cubicBezTo>
                        <a:pt x="1472086" y="441804"/>
                        <a:pt x="1472568" y="442527"/>
                        <a:pt x="1474978" y="443330"/>
                      </a:cubicBezTo>
                      <a:cubicBezTo>
                        <a:pt x="1473452" y="443892"/>
                        <a:pt x="1472488" y="443571"/>
                        <a:pt x="1471042" y="442205"/>
                      </a:cubicBezTo>
                      <a:cubicBezTo>
                        <a:pt x="1472568" y="444696"/>
                        <a:pt x="1473291" y="446141"/>
                        <a:pt x="1473853" y="448311"/>
                      </a:cubicBezTo>
                      <a:cubicBezTo>
                        <a:pt x="1472247" y="447507"/>
                        <a:pt x="1471926" y="446945"/>
                        <a:pt x="1472648" y="446061"/>
                      </a:cubicBezTo>
                      <a:cubicBezTo>
                        <a:pt x="1469757" y="444696"/>
                        <a:pt x="1469596" y="444856"/>
                        <a:pt x="1469355" y="445097"/>
                      </a:cubicBezTo>
                      <a:cubicBezTo>
                        <a:pt x="1469516" y="445740"/>
                        <a:pt x="1470239" y="446624"/>
                        <a:pt x="1472407" y="448632"/>
                      </a:cubicBezTo>
                      <a:cubicBezTo>
                        <a:pt x="1471444" y="448792"/>
                        <a:pt x="1470721" y="449114"/>
                        <a:pt x="1472407" y="450399"/>
                      </a:cubicBezTo>
                      <a:cubicBezTo>
                        <a:pt x="1471604" y="450158"/>
                        <a:pt x="1470560" y="449837"/>
                        <a:pt x="1469757" y="449596"/>
                      </a:cubicBezTo>
                      <a:cubicBezTo>
                        <a:pt x="1470962" y="450961"/>
                        <a:pt x="1472247" y="452246"/>
                        <a:pt x="1473371" y="453612"/>
                      </a:cubicBezTo>
                      <a:cubicBezTo>
                        <a:pt x="1472889" y="453451"/>
                        <a:pt x="1472167" y="453210"/>
                        <a:pt x="1471685" y="452969"/>
                      </a:cubicBezTo>
                      <a:cubicBezTo>
                        <a:pt x="1472889" y="454496"/>
                        <a:pt x="1476022" y="458592"/>
                        <a:pt x="1475781" y="459637"/>
                      </a:cubicBezTo>
                      <a:cubicBezTo>
                        <a:pt x="1475701" y="459958"/>
                        <a:pt x="1475701" y="460842"/>
                        <a:pt x="1477067" y="461565"/>
                      </a:cubicBezTo>
                      <a:cubicBezTo>
                        <a:pt x="1477067" y="461243"/>
                        <a:pt x="1477147" y="460761"/>
                        <a:pt x="1477147" y="460440"/>
                      </a:cubicBezTo>
                      <a:cubicBezTo>
                        <a:pt x="1478030" y="461886"/>
                        <a:pt x="1478834" y="462769"/>
                        <a:pt x="1480521" y="464055"/>
                      </a:cubicBezTo>
                      <a:cubicBezTo>
                        <a:pt x="1478753" y="466866"/>
                        <a:pt x="1487429" y="469115"/>
                        <a:pt x="1487589" y="469115"/>
                      </a:cubicBezTo>
                      <a:cubicBezTo>
                        <a:pt x="1489196" y="468633"/>
                        <a:pt x="1488794" y="465902"/>
                        <a:pt x="1488634" y="464697"/>
                      </a:cubicBezTo>
                      <a:cubicBezTo>
                        <a:pt x="1490321" y="466786"/>
                        <a:pt x="1492329" y="469276"/>
                        <a:pt x="1493453" y="472891"/>
                      </a:cubicBezTo>
                      <a:cubicBezTo>
                        <a:pt x="1493052" y="472007"/>
                        <a:pt x="1492249" y="470320"/>
                        <a:pt x="1490883" y="469838"/>
                      </a:cubicBezTo>
                      <a:cubicBezTo>
                        <a:pt x="1490722" y="469758"/>
                        <a:pt x="1490481" y="469758"/>
                        <a:pt x="1490240" y="469758"/>
                      </a:cubicBezTo>
                      <a:lnTo>
                        <a:pt x="1485340" y="470079"/>
                      </a:lnTo>
                      <a:cubicBezTo>
                        <a:pt x="1486385" y="471847"/>
                        <a:pt x="1487268" y="472810"/>
                        <a:pt x="1489035" y="474256"/>
                      </a:cubicBezTo>
                      <a:lnTo>
                        <a:pt x="1487108" y="473774"/>
                      </a:lnTo>
                      <a:cubicBezTo>
                        <a:pt x="1486867" y="474015"/>
                        <a:pt x="1486545" y="474417"/>
                        <a:pt x="1486304" y="474658"/>
                      </a:cubicBezTo>
                      <a:cubicBezTo>
                        <a:pt x="1486063" y="472810"/>
                        <a:pt x="1485421" y="471766"/>
                        <a:pt x="1483814" y="470642"/>
                      </a:cubicBezTo>
                      <a:cubicBezTo>
                        <a:pt x="1483894" y="470883"/>
                        <a:pt x="1483975" y="471124"/>
                        <a:pt x="1484055" y="471365"/>
                      </a:cubicBezTo>
                      <a:cubicBezTo>
                        <a:pt x="1478914" y="468071"/>
                        <a:pt x="1477227" y="466786"/>
                        <a:pt x="1473371" y="463412"/>
                      </a:cubicBezTo>
                      <a:cubicBezTo>
                        <a:pt x="1473452" y="463332"/>
                        <a:pt x="1473612" y="463251"/>
                        <a:pt x="1473773" y="463171"/>
                      </a:cubicBezTo>
                      <a:cubicBezTo>
                        <a:pt x="1474335" y="462689"/>
                        <a:pt x="1475460" y="461886"/>
                        <a:pt x="1473532" y="461565"/>
                      </a:cubicBezTo>
                      <a:cubicBezTo>
                        <a:pt x="1473291" y="461565"/>
                        <a:pt x="1472970" y="461484"/>
                        <a:pt x="1472809" y="461484"/>
                      </a:cubicBezTo>
                      <a:cubicBezTo>
                        <a:pt x="1473853" y="458352"/>
                        <a:pt x="1473050" y="457066"/>
                        <a:pt x="1469596" y="456182"/>
                      </a:cubicBezTo>
                      <a:cubicBezTo>
                        <a:pt x="1472648" y="450961"/>
                        <a:pt x="1466383" y="449033"/>
                        <a:pt x="1466062" y="448953"/>
                      </a:cubicBezTo>
                      <a:cubicBezTo>
                        <a:pt x="1461885" y="447748"/>
                        <a:pt x="1462527" y="445178"/>
                        <a:pt x="1462768" y="444214"/>
                      </a:cubicBezTo>
                      <a:cubicBezTo>
                        <a:pt x="1454735" y="441965"/>
                        <a:pt x="1454414" y="441884"/>
                        <a:pt x="1452004" y="437225"/>
                      </a:cubicBezTo>
                      <a:cubicBezTo>
                        <a:pt x="1453129" y="438189"/>
                        <a:pt x="1454012" y="438510"/>
                        <a:pt x="1455539" y="438510"/>
                      </a:cubicBezTo>
                      <a:cubicBezTo>
                        <a:pt x="1455458" y="438270"/>
                        <a:pt x="1455298" y="437868"/>
                        <a:pt x="1455137" y="437627"/>
                      </a:cubicBezTo>
                      <a:cubicBezTo>
                        <a:pt x="1456904" y="437948"/>
                        <a:pt x="1458109" y="438270"/>
                        <a:pt x="1459555" y="438912"/>
                      </a:cubicBezTo>
                      <a:cubicBezTo>
                        <a:pt x="1459394" y="438992"/>
                        <a:pt x="1459153" y="439073"/>
                        <a:pt x="1458912" y="439073"/>
                      </a:cubicBezTo>
                      <a:cubicBezTo>
                        <a:pt x="1461403" y="439796"/>
                        <a:pt x="1463411" y="440519"/>
                        <a:pt x="1466222" y="441643"/>
                      </a:cubicBezTo>
                      <a:cubicBezTo>
                        <a:pt x="1464937" y="441402"/>
                        <a:pt x="1461483" y="440599"/>
                        <a:pt x="1463009" y="443169"/>
                      </a:cubicBezTo>
                      <a:cubicBezTo>
                        <a:pt x="1463170" y="443491"/>
                        <a:pt x="1463491" y="443812"/>
                        <a:pt x="1463652" y="444053"/>
                      </a:cubicBezTo>
                      <a:cubicBezTo>
                        <a:pt x="1464134" y="444375"/>
                        <a:pt x="1464776" y="444776"/>
                        <a:pt x="1465258" y="445097"/>
                      </a:cubicBezTo>
                      <a:cubicBezTo>
                        <a:pt x="1465258" y="447427"/>
                        <a:pt x="1466222" y="447668"/>
                        <a:pt x="1470480" y="448471"/>
                      </a:cubicBezTo>
                      <a:cubicBezTo>
                        <a:pt x="1467829" y="446222"/>
                        <a:pt x="1467347" y="444776"/>
                        <a:pt x="1468391" y="442768"/>
                      </a:cubicBezTo>
                      <a:cubicBezTo>
                        <a:pt x="1466945" y="441402"/>
                        <a:pt x="1465821" y="440679"/>
                        <a:pt x="1463812" y="439555"/>
                      </a:cubicBezTo>
                      <a:cubicBezTo>
                        <a:pt x="1466544" y="440679"/>
                        <a:pt x="1468391" y="441161"/>
                        <a:pt x="1471283" y="441402"/>
                      </a:cubicBezTo>
                      <a:cubicBezTo>
                        <a:pt x="1469516" y="439555"/>
                        <a:pt x="1467668" y="438510"/>
                        <a:pt x="1464616" y="437627"/>
                      </a:cubicBezTo>
                      <a:cubicBezTo>
                        <a:pt x="1465339" y="437707"/>
                        <a:pt x="1466222" y="437788"/>
                        <a:pt x="1466945" y="437868"/>
                      </a:cubicBezTo>
                      <a:cubicBezTo>
                        <a:pt x="1464455" y="435940"/>
                        <a:pt x="1464214" y="434815"/>
                        <a:pt x="1465901" y="433209"/>
                      </a:cubicBezTo>
                      <a:cubicBezTo>
                        <a:pt x="1465821" y="434092"/>
                        <a:pt x="1466142" y="434655"/>
                        <a:pt x="1467106" y="435378"/>
                      </a:cubicBezTo>
                      <a:cubicBezTo>
                        <a:pt x="1466945" y="435458"/>
                        <a:pt x="1466865" y="435538"/>
                        <a:pt x="1466704" y="435619"/>
                      </a:cubicBezTo>
                      <a:cubicBezTo>
                        <a:pt x="1467266" y="436020"/>
                        <a:pt x="1468311" y="436824"/>
                        <a:pt x="1469516" y="435779"/>
                      </a:cubicBezTo>
                      <a:lnTo>
                        <a:pt x="1469676" y="436181"/>
                      </a:lnTo>
                      <a:moveTo>
                        <a:pt x="1458270" y="430719"/>
                      </a:moveTo>
                      <a:cubicBezTo>
                        <a:pt x="1460840" y="432727"/>
                        <a:pt x="1462929" y="434976"/>
                        <a:pt x="1464214" y="436583"/>
                      </a:cubicBezTo>
                      <a:cubicBezTo>
                        <a:pt x="1461403" y="435860"/>
                        <a:pt x="1458752" y="434896"/>
                        <a:pt x="1455699" y="433369"/>
                      </a:cubicBezTo>
                      <a:cubicBezTo>
                        <a:pt x="1456101" y="433289"/>
                        <a:pt x="1457306" y="432887"/>
                        <a:pt x="1457788" y="432566"/>
                      </a:cubicBezTo>
                      <a:cubicBezTo>
                        <a:pt x="1457868" y="432486"/>
                        <a:pt x="1458029" y="432405"/>
                        <a:pt x="1458109" y="432164"/>
                      </a:cubicBezTo>
                      <a:cubicBezTo>
                        <a:pt x="1458270" y="431442"/>
                        <a:pt x="1458189" y="430719"/>
                        <a:pt x="1458270" y="429996"/>
                      </a:cubicBezTo>
                      <a:cubicBezTo>
                        <a:pt x="1458270" y="430237"/>
                        <a:pt x="1458270" y="430478"/>
                        <a:pt x="1458270" y="430719"/>
                      </a:cubicBezTo>
                      <a:moveTo>
                        <a:pt x="1357699" y="496186"/>
                      </a:moveTo>
                      <a:cubicBezTo>
                        <a:pt x="1359948" y="500202"/>
                        <a:pt x="1359466" y="501729"/>
                        <a:pt x="1356334" y="500765"/>
                      </a:cubicBezTo>
                      <a:cubicBezTo>
                        <a:pt x="1354325" y="500122"/>
                        <a:pt x="1351594" y="498596"/>
                        <a:pt x="1350309" y="497873"/>
                      </a:cubicBezTo>
                      <a:cubicBezTo>
                        <a:pt x="1349747" y="497632"/>
                        <a:pt x="1348943" y="497311"/>
                        <a:pt x="1348381" y="496989"/>
                      </a:cubicBezTo>
                      <a:cubicBezTo>
                        <a:pt x="1349024" y="496989"/>
                        <a:pt x="1349345" y="496989"/>
                        <a:pt x="1349586" y="496829"/>
                      </a:cubicBezTo>
                      <a:cubicBezTo>
                        <a:pt x="1349586" y="496829"/>
                        <a:pt x="1349666" y="496748"/>
                        <a:pt x="1349666" y="496748"/>
                      </a:cubicBezTo>
                      <a:cubicBezTo>
                        <a:pt x="1349666" y="496507"/>
                        <a:pt x="1349345" y="496266"/>
                        <a:pt x="1347979" y="495704"/>
                      </a:cubicBezTo>
                      <a:cubicBezTo>
                        <a:pt x="1349265" y="495142"/>
                        <a:pt x="1351032" y="494499"/>
                        <a:pt x="1353281" y="494580"/>
                      </a:cubicBezTo>
                      <a:cubicBezTo>
                        <a:pt x="1353442" y="494580"/>
                        <a:pt x="1356896" y="494740"/>
                        <a:pt x="1357699" y="496186"/>
                      </a:cubicBezTo>
                      <a:moveTo>
                        <a:pt x="1498112" y="431040"/>
                      </a:moveTo>
                      <a:cubicBezTo>
                        <a:pt x="1499398" y="432486"/>
                        <a:pt x="1500924" y="434815"/>
                        <a:pt x="1502290" y="436904"/>
                      </a:cubicBezTo>
                      <a:cubicBezTo>
                        <a:pt x="1502932" y="435458"/>
                        <a:pt x="1505021" y="437627"/>
                        <a:pt x="1505021" y="437627"/>
                      </a:cubicBezTo>
                      <a:cubicBezTo>
                        <a:pt x="1505021" y="437627"/>
                        <a:pt x="1505824" y="440840"/>
                        <a:pt x="1505824" y="446222"/>
                      </a:cubicBezTo>
                      <a:cubicBezTo>
                        <a:pt x="1502932" y="445820"/>
                        <a:pt x="1501647" y="446463"/>
                        <a:pt x="1501727" y="448230"/>
                      </a:cubicBezTo>
                      <a:cubicBezTo>
                        <a:pt x="1502209" y="448070"/>
                        <a:pt x="1502932" y="447829"/>
                        <a:pt x="1503414" y="447668"/>
                      </a:cubicBezTo>
                      <a:cubicBezTo>
                        <a:pt x="1503012" y="448632"/>
                        <a:pt x="1503253" y="449194"/>
                        <a:pt x="1504539" y="449917"/>
                      </a:cubicBezTo>
                      <a:cubicBezTo>
                        <a:pt x="1504057" y="452889"/>
                        <a:pt x="1504217" y="453210"/>
                        <a:pt x="1504458" y="453612"/>
                      </a:cubicBezTo>
                      <a:cubicBezTo>
                        <a:pt x="1504860" y="453692"/>
                        <a:pt x="1505181" y="453692"/>
                        <a:pt x="1506386" y="452006"/>
                      </a:cubicBezTo>
                      <a:cubicBezTo>
                        <a:pt x="1509680" y="458432"/>
                        <a:pt x="1507912" y="460601"/>
                        <a:pt x="1499157" y="460601"/>
                      </a:cubicBezTo>
                      <a:cubicBezTo>
                        <a:pt x="1498594" y="459797"/>
                        <a:pt x="1498112" y="459396"/>
                        <a:pt x="1497229" y="460119"/>
                      </a:cubicBezTo>
                      <a:cubicBezTo>
                        <a:pt x="1496265" y="459396"/>
                        <a:pt x="1495783" y="459074"/>
                        <a:pt x="1491284" y="453853"/>
                      </a:cubicBezTo>
                      <a:cubicBezTo>
                        <a:pt x="1493293" y="455460"/>
                        <a:pt x="1493855" y="455861"/>
                        <a:pt x="1494417" y="456022"/>
                      </a:cubicBezTo>
                      <a:cubicBezTo>
                        <a:pt x="1494498" y="455942"/>
                        <a:pt x="1494578" y="455861"/>
                        <a:pt x="1494658" y="455861"/>
                      </a:cubicBezTo>
                      <a:cubicBezTo>
                        <a:pt x="1494498" y="455379"/>
                        <a:pt x="1494498" y="455299"/>
                        <a:pt x="1493775" y="454255"/>
                      </a:cubicBezTo>
                      <a:cubicBezTo>
                        <a:pt x="1496586" y="452969"/>
                        <a:pt x="1494257" y="451604"/>
                        <a:pt x="1491686" y="450560"/>
                      </a:cubicBezTo>
                      <a:cubicBezTo>
                        <a:pt x="1494819" y="450801"/>
                        <a:pt x="1496747" y="451363"/>
                        <a:pt x="1499719" y="452969"/>
                      </a:cubicBezTo>
                      <a:cubicBezTo>
                        <a:pt x="1499719" y="452809"/>
                        <a:pt x="1500603" y="438832"/>
                        <a:pt x="1476906" y="439956"/>
                      </a:cubicBezTo>
                      <a:cubicBezTo>
                        <a:pt x="1476906" y="439956"/>
                        <a:pt x="1476263" y="435699"/>
                        <a:pt x="1474978" y="434574"/>
                      </a:cubicBezTo>
                      <a:cubicBezTo>
                        <a:pt x="1472247" y="432245"/>
                        <a:pt x="1468230" y="432727"/>
                        <a:pt x="1465419" y="430638"/>
                      </a:cubicBezTo>
                      <a:cubicBezTo>
                        <a:pt x="1463732" y="429433"/>
                        <a:pt x="1462768" y="427506"/>
                        <a:pt x="1461001" y="426301"/>
                      </a:cubicBezTo>
                      <a:cubicBezTo>
                        <a:pt x="1464937" y="427747"/>
                        <a:pt x="1467347" y="428791"/>
                        <a:pt x="1470239" y="430397"/>
                      </a:cubicBezTo>
                      <a:cubicBezTo>
                        <a:pt x="1470962" y="430478"/>
                        <a:pt x="1471926" y="430558"/>
                        <a:pt x="1472648" y="430638"/>
                      </a:cubicBezTo>
                      <a:cubicBezTo>
                        <a:pt x="1471444" y="429835"/>
                        <a:pt x="1470721" y="429192"/>
                        <a:pt x="1469837" y="428068"/>
                      </a:cubicBezTo>
                      <a:cubicBezTo>
                        <a:pt x="1472006" y="428710"/>
                        <a:pt x="1473693" y="428630"/>
                        <a:pt x="1474978" y="425979"/>
                      </a:cubicBezTo>
                      <a:cubicBezTo>
                        <a:pt x="1476585" y="429915"/>
                        <a:pt x="1479798" y="434334"/>
                        <a:pt x="1490321" y="433851"/>
                      </a:cubicBezTo>
                      <a:cubicBezTo>
                        <a:pt x="1488714" y="435297"/>
                        <a:pt x="1486465" y="434494"/>
                        <a:pt x="1485581" y="434092"/>
                      </a:cubicBezTo>
                      <a:cubicBezTo>
                        <a:pt x="1485742" y="434012"/>
                        <a:pt x="1485983" y="433851"/>
                        <a:pt x="1486143" y="433771"/>
                      </a:cubicBezTo>
                      <a:cubicBezTo>
                        <a:pt x="1483573" y="434092"/>
                        <a:pt x="1478191" y="434735"/>
                        <a:pt x="1480119" y="436422"/>
                      </a:cubicBezTo>
                      <a:cubicBezTo>
                        <a:pt x="1481243" y="437386"/>
                        <a:pt x="1490160" y="441402"/>
                        <a:pt x="1490321" y="437868"/>
                      </a:cubicBezTo>
                      <a:cubicBezTo>
                        <a:pt x="1490401" y="436904"/>
                        <a:pt x="1489437" y="435779"/>
                        <a:pt x="1488794" y="435056"/>
                      </a:cubicBezTo>
                      <a:cubicBezTo>
                        <a:pt x="1491445" y="435297"/>
                        <a:pt x="1492730" y="436100"/>
                        <a:pt x="1493373" y="437868"/>
                      </a:cubicBezTo>
                      <a:cubicBezTo>
                        <a:pt x="1494658" y="437466"/>
                        <a:pt x="1496104" y="436502"/>
                        <a:pt x="1497229" y="435137"/>
                      </a:cubicBezTo>
                      <a:cubicBezTo>
                        <a:pt x="1493855" y="432727"/>
                        <a:pt x="1491526" y="430558"/>
                        <a:pt x="1489517" y="427988"/>
                      </a:cubicBezTo>
                      <a:cubicBezTo>
                        <a:pt x="1491284" y="429032"/>
                        <a:pt x="1492570" y="429433"/>
                        <a:pt x="1494819" y="429514"/>
                      </a:cubicBezTo>
                      <a:cubicBezTo>
                        <a:pt x="1495060" y="429273"/>
                        <a:pt x="1495783" y="428469"/>
                        <a:pt x="1498112" y="431040"/>
                      </a:cubicBezTo>
                      <a:moveTo>
                        <a:pt x="1504378" y="392402"/>
                      </a:moveTo>
                      <a:cubicBezTo>
                        <a:pt x="1504780" y="393045"/>
                        <a:pt x="1502290" y="395374"/>
                        <a:pt x="1501325" y="396258"/>
                      </a:cubicBezTo>
                      <a:cubicBezTo>
                        <a:pt x="1500281" y="395615"/>
                        <a:pt x="1499719" y="395214"/>
                        <a:pt x="1498434" y="394170"/>
                      </a:cubicBezTo>
                      <a:cubicBezTo>
                        <a:pt x="1501325" y="392884"/>
                        <a:pt x="1504057" y="391760"/>
                        <a:pt x="1504378" y="392402"/>
                      </a:cubicBezTo>
                      <a:moveTo>
                        <a:pt x="1490642" y="419553"/>
                      </a:moveTo>
                      <a:cubicBezTo>
                        <a:pt x="1491686" y="420597"/>
                        <a:pt x="1492168" y="421240"/>
                        <a:pt x="1492650" y="421963"/>
                      </a:cubicBezTo>
                      <a:cubicBezTo>
                        <a:pt x="1492329" y="422043"/>
                        <a:pt x="1491847" y="421963"/>
                        <a:pt x="1491526" y="421802"/>
                      </a:cubicBezTo>
                      <a:cubicBezTo>
                        <a:pt x="1488634" y="420437"/>
                        <a:pt x="1480842" y="416902"/>
                        <a:pt x="1469998" y="413207"/>
                      </a:cubicBezTo>
                      <a:cubicBezTo>
                        <a:pt x="1476424" y="414974"/>
                        <a:pt x="1481163" y="413689"/>
                        <a:pt x="1481163" y="413689"/>
                      </a:cubicBezTo>
                      <a:cubicBezTo>
                        <a:pt x="1481324" y="413689"/>
                        <a:pt x="1481485" y="413528"/>
                        <a:pt x="1481565" y="413528"/>
                      </a:cubicBezTo>
                      <a:cubicBezTo>
                        <a:pt x="1481967" y="413689"/>
                        <a:pt x="1486947" y="416018"/>
                        <a:pt x="1490642" y="419553"/>
                      </a:cubicBezTo>
                      <a:moveTo>
                        <a:pt x="1457306" y="425176"/>
                      </a:moveTo>
                      <a:cubicBezTo>
                        <a:pt x="1457226" y="425176"/>
                        <a:pt x="1457226" y="425256"/>
                        <a:pt x="1457145" y="425256"/>
                      </a:cubicBezTo>
                      <a:cubicBezTo>
                        <a:pt x="1456422" y="425015"/>
                        <a:pt x="1455458" y="424694"/>
                        <a:pt x="1454735" y="424453"/>
                      </a:cubicBezTo>
                      <a:cubicBezTo>
                        <a:pt x="1455619" y="424694"/>
                        <a:pt x="1456503" y="424935"/>
                        <a:pt x="1457306" y="425176"/>
                      </a:cubicBezTo>
                      <a:cubicBezTo>
                        <a:pt x="1457306" y="425176"/>
                        <a:pt x="1457306" y="425176"/>
                        <a:pt x="1457306" y="425176"/>
                      </a:cubicBezTo>
                      <a:moveTo>
                        <a:pt x="1339224" y="497230"/>
                      </a:moveTo>
                      <a:cubicBezTo>
                        <a:pt x="1335609" y="497552"/>
                        <a:pt x="1332878" y="496588"/>
                        <a:pt x="1331030" y="494499"/>
                      </a:cubicBezTo>
                      <a:cubicBezTo>
                        <a:pt x="1331593" y="492892"/>
                        <a:pt x="1332797" y="492250"/>
                        <a:pt x="1334645" y="492491"/>
                      </a:cubicBezTo>
                      <a:cubicBezTo>
                        <a:pt x="1331914" y="495543"/>
                        <a:pt x="1335609" y="496427"/>
                        <a:pt x="1339143" y="496668"/>
                      </a:cubicBezTo>
                      <a:lnTo>
                        <a:pt x="1339224" y="497230"/>
                      </a:lnTo>
                      <a:moveTo>
                        <a:pt x="1509037" y="383486"/>
                      </a:moveTo>
                      <a:cubicBezTo>
                        <a:pt x="1509198" y="384209"/>
                        <a:pt x="1507350" y="384851"/>
                        <a:pt x="1506547" y="385173"/>
                      </a:cubicBezTo>
                      <a:cubicBezTo>
                        <a:pt x="1512090" y="388627"/>
                        <a:pt x="1515142" y="391840"/>
                        <a:pt x="1516909" y="393928"/>
                      </a:cubicBezTo>
                      <a:cubicBezTo>
                        <a:pt x="1508796" y="387181"/>
                        <a:pt x="1502932" y="385414"/>
                        <a:pt x="1500121" y="386056"/>
                      </a:cubicBezTo>
                      <a:cubicBezTo>
                        <a:pt x="1498916" y="385173"/>
                        <a:pt x="1494899" y="381237"/>
                        <a:pt x="1497229" y="380915"/>
                      </a:cubicBezTo>
                      <a:cubicBezTo>
                        <a:pt x="1497791" y="380835"/>
                        <a:pt x="1498514" y="380996"/>
                        <a:pt x="1498996" y="381076"/>
                      </a:cubicBezTo>
                      <a:cubicBezTo>
                        <a:pt x="1499076" y="381237"/>
                        <a:pt x="1499237" y="381478"/>
                        <a:pt x="1499317" y="381638"/>
                      </a:cubicBezTo>
                      <a:cubicBezTo>
                        <a:pt x="1504539" y="382120"/>
                        <a:pt x="1508796" y="382441"/>
                        <a:pt x="1509037" y="383486"/>
                      </a:cubicBezTo>
                      <a:moveTo>
                        <a:pt x="1478994" y="399069"/>
                      </a:moveTo>
                      <a:cubicBezTo>
                        <a:pt x="1479316" y="399391"/>
                        <a:pt x="1479316" y="399792"/>
                        <a:pt x="1479316" y="400033"/>
                      </a:cubicBezTo>
                      <a:cubicBezTo>
                        <a:pt x="1480601" y="400676"/>
                        <a:pt x="1481324" y="401158"/>
                        <a:pt x="1482208" y="402122"/>
                      </a:cubicBezTo>
                      <a:cubicBezTo>
                        <a:pt x="1479235" y="401319"/>
                        <a:pt x="1477789" y="400997"/>
                        <a:pt x="1475701" y="400676"/>
                      </a:cubicBezTo>
                      <a:cubicBezTo>
                        <a:pt x="1475540" y="399873"/>
                        <a:pt x="1475219" y="399310"/>
                        <a:pt x="1474255" y="398668"/>
                      </a:cubicBezTo>
                      <a:cubicBezTo>
                        <a:pt x="1476103" y="398427"/>
                        <a:pt x="1478191" y="398186"/>
                        <a:pt x="1478994" y="399069"/>
                      </a:cubicBezTo>
                      <a:moveTo>
                        <a:pt x="1451281" y="408227"/>
                      </a:moveTo>
                      <a:cubicBezTo>
                        <a:pt x="1452004" y="409512"/>
                        <a:pt x="1449755" y="411360"/>
                        <a:pt x="1447185" y="413368"/>
                      </a:cubicBezTo>
                      <a:cubicBezTo>
                        <a:pt x="1442927" y="413207"/>
                        <a:pt x="1440437" y="412323"/>
                        <a:pt x="1437384" y="409673"/>
                      </a:cubicBezTo>
                      <a:cubicBezTo>
                        <a:pt x="1440437" y="409191"/>
                        <a:pt x="1442927" y="408147"/>
                        <a:pt x="1446783" y="405496"/>
                      </a:cubicBezTo>
                      <a:cubicBezTo>
                        <a:pt x="1447265" y="405897"/>
                        <a:pt x="1447747" y="406299"/>
                        <a:pt x="1448229" y="406781"/>
                      </a:cubicBezTo>
                      <a:cubicBezTo>
                        <a:pt x="1449273" y="407022"/>
                        <a:pt x="1450799" y="407424"/>
                        <a:pt x="1451281" y="408227"/>
                      </a:cubicBezTo>
                      <a:moveTo>
                        <a:pt x="1471524" y="383887"/>
                      </a:moveTo>
                      <a:cubicBezTo>
                        <a:pt x="1471685" y="384048"/>
                        <a:pt x="1471845" y="384289"/>
                        <a:pt x="1472006" y="384450"/>
                      </a:cubicBezTo>
                      <a:cubicBezTo>
                        <a:pt x="1470239" y="385494"/>
                        <a:pt x="1468793" y="386217"/>
                        <a:pt x="1466865" y="386779"/>
                      </a:cubicBezTo>
                      <a:cubicBezTo>
                        <a:pt x="1466704" y="386538"/>
                        <a:pt x="1466463" y="386297"/>
                        <a:pt x="1466303" y="386056"/>
                      </a:cubicBezTo>
                      <a:cubicBezTo>
                        <a:pt x="1467266" y="385895"/>
                        <a:pt x="1467748" y="385735"/>
                        <a:pt x="1468150" y="385414"/>
                      </a:cubicBezTo>
                      <a:cubicBezTo>
                        <a:pt x="1468632" y="384851"/>
                        <a:pt x="1468712" y="384450"/>
                        <a:pt x="1468311" y="383566"/>
                      </a:cubicBezTo>
                      <a:cubicBezTo>
                        <a:pt x="1468070" y="383405"/>
                        <a:pt x="1467748" y="383245"/>
                        <a:pt x="1467507" y="383084"/>
                      </a:cubicBezTo>
                      <a:cubicBezTo>
                        <a:pt x="1468150" y="382843"/>
                        <a:pt x="1469917" y="382281"/>
                        <a:pt x="1471524" y="383887"/>
                      </a:cubicBezTo>
                      <a:moveTo>
                        <a:pt x="1356173" y="478433"/>
                      </a:moveTo>
                      <a:cubicBezTo>
                        <a:pt x="1356093" y="478835"/>
                        <a:pt x="1356093" y="479397"/>
                        <a:pt x="1356012" y="479799"/>
                      </a:cubicBezTo>
                      <a:cubicBezTo>
                        <a:pt x="1354647" y="478193"/>
                        <a:pt x="1353522" y="477711"/>
                        <a:pt x="1350791" y="477871"/>
                      </a:cubicBezTo>
                      <a:lnTo>
                        <a:pt x="1349907" y="477630"/>
                      </a:lnTo>
                      <a:lnTo>
                        <a:pt x="1351835" y="477630"/>
                      </a:lnTo>
                      <a:cubicBezTo>
                        <a:pt x="1343642" y="473292"/>
                        <a:pt x="1335127" y="471927"/>
                        <a:pt x="1323399" y="472891"/>
                      </a:cubicBezTo>
                      <a:cubicBezTo>
                        <a:pt x="1336493" y="470642"/>
                        <a:pt x="1347176" y="472328"/>
                        <a:pt x="1358904" y="478594"/>
                      </a:cubicBezTo>
                      <a:lnTo>
                        <a:pt x="1356173" y="478433"/>
                      </a:lnTo>
                      <a:moveTo>
                        <a:pt x="1321632" y="472168"/>
                      </a:moveTo>
                      <a:cubicBezTo>
                        <a:pt x="1320427" y="472810"/>
                        <a:pt x="1318338" y="473935"/>
                        <a:pt x="1317455" y="474337"/>
                      </a:cubicBezTo>
                      <a:lnTo>
                        <a:pt x="1317455" y="472891"/>
                      </a:lnTo>
                      <a:lnTo>
                        <a:pt x="1317776" y="471365"/>
                      </a:lnTo>
                      <a:cubicBezTo>
                        <a:pt x="1318981" y="471606"/>
                        <a:pt x="1320588" y="471847"/>
                        <a:pt x="1321793" y="472088"/>
                      </a:cubicBezTo>
                      <a:cubicBezTo>
                        <a:pt x="1321712" y="472168"/>
                        <a:pt x="1321712" y="472168"/>
                        <a:pt x="1321632" y="472168"/>
                      </a:cubicBezTo>
                      <a:moveTo>
                        <a:pt x="1452325" y="381237"/>
                      </a:moveTo>
                      <a:cubicBezTo>
                        <a:pt x="1452406" y="381799"/>
                        <a:pt x="1452486" y="382441"/>
                        <a:pt x="1452647" y="383004"/>
                      </a:cubicBezTo>
                      <a:cubicBezTo>
                        <a:pt x="1452165" y="382281"/>
                        <a:pt x="1452004" y="381638"/>
                        <a:pt x="1452325" y="381237"/>
                      </a:cubicBezTo>
                      <a:cubicBezTo>
                        <a:pt x="1452325" y="381156"/>
                        <a:pt x="1452325" y="381156"/>
                        <a:pt x="1452325" y="381237"/>
                      </a:cubicBezTo>
                      <a:moveTo>
                        <a:pt x="1461644" y="376738"/>
                      </a:moveTo>
                      <a:cubicBezTo>
                        <a:pt x="1451763" y="374168"/>
                        <a:pt x="1452165" y="379068"/>
                        <a:pt x="1452325" y="380915"/>
                      </a:cubicBezTo>
                      <a:cubicBezTo>
                        <a:pt x="1450478" y="380755"/>
                        <a:pt x="1449032" y="380514"/>
                        <a:pt x="1447185" y="380112"/>
                      </a:cubicBezTo>
                      <a:cubicBezTo>
                        <a:pt x="1447185" y="380032"/>
                        <a:pt x="1448871" y="372481"/>
                        <a:pt x="1462527" y="376979"/>
                      </a:cubicBezTo>
                      <a:cubicBezTo>
                        <a:pt x="1462286" y="376899"/>
                        <a:pt x="1461885" y="376819"/>
                        <a:pt x="1461644" y="376738"/>
                      </a:cubicBezTo>
                      <a:moveTo>
                        <a:pt x="1455298" y="364528"/>
                      </a:moveTo>
                      <a:cubicBezTo>
                        <a:pt x="1452566" y="365010"/>
                        <a:pt x="1445578" y="365653"/>
                        <a:pt x="1440196" y="361476"/>
                      </a:cubicBezTo>
                      <a:cubicBezTo>
                        <a:pt x="1445016" y="359789"/>
                        <a:pt x="1451362" y="362118"/>
                        <a:pt x="1455860" y="364368"/>
                      </a:cubicBezTo>
                      <a:cubicBezTo>
                        <a:pt x="1455699" y="364448"/>
                        <a:pt x="1455458" y="364528"/>
                        <a:pt x="1455298" y="364528"/>
                      </a:cubicBezTo>
                      <a:moveTo>
                        <a:pt x="1447988" y="356014"/>
                      </a:moveTo>
                      <a:cubicBezTo>
                        <a:pt x="1448068" y="356094"/>
                        <a:pt x="1448389" y="356174"/>
                        <a:pt x="1448309" y="356335"/>
                      </a:cubicBezTo>
                      <a:cubicBezTo>
                        <a:pt x="1448148" y="356335"/>
                        <a:pt x="1447988" y="356255"/>
                        <a:pt x="1447907" y="356174"/>
                      </a:cubicBezTo>
                      <a:cubicBezTo>
                        <a:pt x="1447024" y="355773"/>
                        <a:pt x="1446221" y="355291"/>
                        <a:pt x="1445337" y="354889"/>
                      </a:cubicBezTo>
                      <a:cubicBezTo>
                        <a:pt x="1444935" y="354728"/>
                        <a:pt x="1444534" y="354728"/>
                        <a:pt x="1444132" y="354487"/>
                      </a:cubicBezTo>
                      <a:cubicBezTo>
                        <a:pt x="1443971" y="354407"/>
                        <a:pt x="1443811" y="354327"/>
                        <a:pt x="1443650" y="354246"/>
                      </a:cubicBezTo>
                      <a:cubicBezTo>
                        <a:pt x="1442927" y="353764"/>
                        <a:pt x="1442686" y="353202"/>
                        <a:pt x="1442766" y="352399"/>
                      </a:cubicBezTo>
                      <a:cubicBezTo>
                        <a:pt x="1444132" y="353363"/>
                        <a:pt x="1447024" y="355210"/>
                        <a:pt x="1447988" y="356014"/>
                      </a:cubicBezTo>
                      <a:moveTo>
                        <a:pt x="1348783" y="430638"/>
                      </a:moveTo>
                      <a:cubicBezTo>
                        <a:pt x="1343481" y="430879"/>
                        <a:pt x="1336171" y="428469"/>
                        <a:pt x="1334725" y="427666"/>
                      </a:cubicBezTo>
                      <a:cubicBezTo>
                        <a:pt x="1334083" y="427345"/>
                        <a:pt x="1332958" y="426863"/>
                        <a:pt x="1332315" y="428068"/>
                      </a:cubicBezTo>
                      <a:cubicBezTo>
                        <a:pt x="1332155" y="426783"/>
                        <a:pt x="1331914" y="425096"/>
                        <a:pt x="1333119" y="424453"/>
                      </a:cubicBezTo>
                      <a:cubicBezTo>
                        <a:pt x="1334565" y="423650"/>
                        <a:pt x="1337938" y="424855"/>
                        <a:pt x="1337938" y="424855"/>
                      </a:cubicBezTo>
                      <a:cubicBezTo>
                        <a:pt x="1338099" y="425015"/>
                        <a:pt x="1338260" y="425256"/>
                        <a:pt x="1338420" y="425497"/>
                      </a:cubicBezTo>
                      <a:cubicBezTo>
                        <a:pt x="1338822" y="426059"/>
                        <a:pt x="1340107" y="427506"/>
                        <a:pt x="1342838" y="428630"/>
                      </a:cubicBezTo>
                      <a:cubicBezTo>
                        <a:pt x="1345489" y="429755"/>
                        <a:pt x="1348542" y="429835"/>
                        <a:pt x="1349666" y="429835"/>
                      </a:cubicBezTo>
                      <a:cubicBezTo>
                        <a:pt x="1349345" y="429996"/>
                        <a:pt x="1349024" y="430397"/>
                        <a:pt x="1348783" y="430638"/>
                      </a:cubicBezTo>
                      <a:moveTo>
                        <a:pt x="1436581" y="362359"/>
                      </a:moveTo>
                      <a:cubicBezTo>
                        <a:pt x="1435698" y="363002"/>
                        <a:pt x="1433689" y="363966"/>
                        <a:pt x="1430717" y="362761"/>
                      </a:cubicBezTo>
                      <a:cubicBezTo>
                        <a:pt x="1429512" y="362279"/>
                        <a:pt x="1428468" y="361476"/>
                        <a:pt x="1428468" y="361476"/>
                      </a:cubicBezTo>
                      <a:cubicBezTo>
                        <a:pt x="1428468" y="361476"/>
                        <a:pt x="1427745" y="359869"/>
                        <a:pt x="1427906" y="358986"/>
                      </a:cubicBezTo>
                      <a:cubicBezTo>
                        <a:pt x="1428307" y="356978"/>
                        <a:pt x="1432645" y="359548"/>
                        <a:pt x="1436742" y="362199"/>
                      </a:cubicBezTo>
                      <a:cubicBezTo>
                        <a:pt x="1436742" y="362199"/>
                        <a:pt x="1436662" y="362279"/>
                        <a:pt x="1436581" y="362359"/>
                      </a:cubicBezTo>
                      <a:moveTo>
                        <a:pt x="1415455" y="367179"/>
                      </a:moveTo>
                      <a:cubicBezTo>
                        <a:pt x="1418427" y="373445"/>
                        <a:pt x="1416740" y="375935"/>
                        <a:pt x="1410394" y="374650"/>
                      </a:cubicBezTo>
                      <a:cubicBezTo>
                        <a:pt x="1412162" y="374409"/>
                        <a:pt x="1412965" y="374168"/>
                        <a:pt x="1413929" y="373605"/>
                      </a:cubicBezTo>
                      <a:cubicBezTo>
                        <a:pt x="1415535" y="372240"/>
                        <a:pt x="1414973" y="370392"/>
                        <a:pt x="1412242" y="367661"/>
                      </a:cubicBezTo>
                      <a:cubicBezTo>
                        <a:pt x="1412402" y="367501"/>
                        <a:pt x="1412563" y="367340"/>
                        <a:pt x="1412643" y="367179"/>
                      </a:cubicBezTo>
                      <a:cubicBezTo>
                        <a:pt x="1413768" y="367179"/>
                        <a:pt x="1414411" y="367019"/>
                        <a:pt x="1415134" y="366456"/>
                      </a:cubicBezTo>
                      <a:cubicBezTo>
                        <a:pt x="1415214" y="366697"/>
                        <a:pt x="1415375" y="367019"/>
                        <a:pt x="1415455" y="367179"/>
                      </a:cubicBezTo>
                      <a:moveTo>
                        <a:pt x="1428629" y="346294"/>
                      </a:moveTo>
                      <a:cubicBezTo>
                        <a:pt x="1425335" y="346294"/>
                        <a:pt x="1422042" y="346053"/>
                        <a:pt x="1418829" y="345892"/>
                      </a:cubicBezTo>
                      <a:cubicBezTo>
                        <a:pt x="1421560" y="345973"/>
                        <a:pt x="1428388" y="346294"/>
                        <a:pt x="1428629" y="346294"/>
                      </a:cubicBezTo>
                      <a:cubicBezTo>
                        <a:pt x="1428629" y="346294"/>
                        <a:pt x="1428629" y="346294"/>
                        <a:pt x="1428629" y="346294"/>
                      </a:cubicBezTo>
                      <a:moveTo>
                        <a:pt x="1408065" y="330791"/>
                      </a:moveTo>
                      <a:cubicBezTo>
                        <a:pt x="1407984" y="331514"/>
                        <a:pt x="1407663" y="331755"/>
                        <a:pt x="1407583" y="331915"/>
                      </a:cubicBezTo>
                      <a:cubicBezTo>
                        <a:pt x="1406780" y="332558"/>
                        <a:pt x="1405494" y="332317"/>
                        <a:pt x="1403566" y="331192"/>
                      </a:cubicBezTo>
                      <a:cubicBezTo>
                        <a:pt x="1404691" y="329505"/>
                        <a:pt x="1407181" y="330309"/>
                        <a:pt x="1408065" y="330630"/>
                      </a:cubicBezTo>
                      <a:cubicBezTo>
                        <a:pt x="1408065" y="330630"/>
                        <a:pt x="1408065" y="330710"/>
                        <a:pt x="1408065" y="330791"/>
                      </a:cubicBezTo>
                      <a:moveTo>
                        <a:pt x="1313278" y="396740"/>
                      </a:moveTo>
                      <a:cubicBezTo>
                        <a:pt x="1307092" y="396258"/>
                        <a:pt x="1302353" y="396820"/>
                        <a:pt x="1300024" y="397222"/>
                      </a:cubicBezTo>
                      <a:cubicBezTo>
                        <a:pt x="1299381" y="397302"/>
                        <a:pt x="1297935" y="397543"/>
                        <a:pt x="1295686" y="395615"/>
                      </a:cubicBezTo>
                      <a:cubicBezTo>
                        <a:pt x="1302192" y="394892"/>
                        <a:pt x="1308217" y="395294"/>
                        <a:pt x="1314242" y="396901"/>
                      </a:cubicBezTo>
                      <a:cubicBezTo>
                        <a:pt x="1313920" y="396820"/>
                        <a:pt x="1313519" y="396740"/>
                        <a:pt x="1313278" y="396740"/>
                      </a:cubicBezTo>
                      <a:moveTo>
                        <a:pt x="1413929" y="317135"/>
                      </a:moveTo>
                      <a:cubicBezTo>
                        <a:pt x="1415616" y="318420"/>
                        <a:pt x="1415776" y="319705"/>
                        <a:pt x="1415776" y="320107"/>
                      </a:cubicBezTo>
                      <a:cubicBezTo>
                        <a:pt x="1412804" y="318179"/>
                        <a:pt x="1410073" y="316492"/>
                        <a:pt x="1407101" y="314805"/>
                      </a:cubicBezTo>
                      <a:cubicBezTo>
                        <a:pt x="1410796" y="315287"/>
                        <a:pt x="1412804" y="316332"/>
                        <a:pt x="1413929" y="317135"/>
                      </a:cubicBezTo>
                      <a:moveTo>
                        <a:pt x="1436340" y="154471"/>
                      </a:moveTo>
                      <a:cubicBezTo>
                        <a:pt x="1438509" y="155756"/>
                        <a:pt x="1440919" y="157202"/>
                        <a:pt x="1441080" y="157363"/>
                      </a:cubicBezTo>
                      <a:cubicBezTo>
                        <a:pt x="1440758" y="157282"/>
                        <a:pt x="1440598" y="157122"/>
                        <a:pt x="1440357" y="156961"/>
                      </a:cubicBezTo>
                      <a:cubicBezTo>
                        <a:pt x="1439393" y="156399"/>
                        <a:pt x="1438429" y="155917"/>
                        <a:pt x="1437545" y="155354"/>
                      </a:cubicBezTo>
                      <a:cubicBezTo>
                        <a:pt x="1437144" y="155033"/>
                        <a:pt x="1436581" y="154712"/>
                        <a:pt x="1436260" y="154390"/>
                      </a:cubicBezTo>
                      <a:cubicBezTo>
                        <a:pt x="1436260" y="154390"/>
                        <a:pt x="1436340" y="154390"/>
                        <a:pt x="1436340" y="154471"/>
                      </a:cubicBezTo>
                      <a:moveTo>
                        <a:pt x="1409109" y="307897"/>
                      </a:moveTo>
                      <a:cubicBezTo>
                        <a:pt x="1412643" y="310387"/>
                        <a:pt x="1414732" y="312958"/>
                        <a:pt x="1415455" y="313761"/>
                      </a:cubicBezTo>
                      <a:cubicBezTo>
                        <a:pt x="1414491" y="313600"/>
                        <a:pt x="1413688" y="313440"/>
                        <a:pt x="1413045" y="312877"/>
                      </a:cubicBezTo>
                      <a:cubicBezTo>
                        <a:pt x="1412965" y="312877"/>
                        <a:pt x="1412965" y="312797"/>
                        <a:pt x="1412884" y="312717"/>
                      </a:cubicBezTo>
                      <a:cubicBezTo>
                        <a:pt x="1412643" y="312476"/>
                        <a:pt x="1412643" y="312154"/>
                        <a:pt x="1412402" y="311913"/>
                      </a:cubicBezTo>
                      <a:cubicBezTo>
                        <a:pt x="1411840" y="311271"/>
                        <a:pt x="1411117" y="310789"/>
                        <a:pt x="1410555" y="310146"/>
                      </a:cubicBezTo>
                      <a:cubicBezTo>
                        <a:pt x="1409189" y="308861"/>
                        <a:pt x="1407904" y="307576"/>
                        <a:pt x="1406619" y="306291"/>
                      </a:cubicBezTo>
                      <a:cubicBezTo>
                        <a:pt x="1407021" y="306612"/>
                        <a:pt x="1407984" y="307094"/>
                        <a:pt x="1409109" y="307897"/>
                      </a:cubicBezTo>
                      <a:moveTo>
                        <a:pt x="1340589" y="312958"/>
                      </a:moveTo>
                      <a:cubicBezTo>
                        <a:pt x="1349907" y="322436"/>
                        <a:pt x="1351273" y="326292"/>
                        <a:pt x="1350550" y="329666"/>
                      </a:cubicBezTo>
                      <a:cubicBezTo>
                        <a:pt x="1348542" y="329586"/>
                        <a:pt x="1347979" y="330228"/>
                        <a:pt x="1348622" y="331674"/>
                      </a:cubicBezTo>
                      <a:cubicBezTo>
                        <a:pt x="1346614" y="329505"/>
                        <a:pt x="1344927" y="328381"/>
                        <a:pt x="1342758" y="327578"/>
                      </a:cubicBezTo>
                      <a:cubicBezTo>
                        <a:pt x="1342196" y="325087"/>
                        <a:pt x="1341714" y="322677"/>
                        <a:pt x="1341152" y="320187"/>
                      </a:cubicBezTo>
                      <a:cubicBezTo>
                        <a:pt x="1341553" y="320107"/>
                        <a:pt x="1342035" y="319946"/>
                        <a:pt x="1342356" y="319866"/>
                      </a:cubicBezTo>
                      <a:cubicBezTo>
                        <a:pt x="1340188" y="319143"/>
                        <a:pt x="1339465" y="318581"/>
                        <a:pt x="1339063" y="317296"/>
                      </a:cubicBezTo>
                      <a:lnTo>
                        <a:pt x="1340750" y="318259"/>
                      </a:lnTo>
                      <a:cubicBezTo>
                        <a:pt x="1340429" y="315769"/>
                        <a:pt x="1340188" y="314404"/>
                        <a:pt x="1339786" y="312235"/>
                      </a:cubicBezTo>
                      <a:cubicBezTo>
                        <a:pt x="1340027" y="312395"/>
                        <a:pt x="1340348" y="312717"/>
                        <a:pt x="1340589" y="312958"/>
                      </a:cubicBezTo>
                      <a:moveTo>
                        <a:pt x="1320507" y="86513"/>
                      </a:moveTo>
                      <a:cubicBezTo>
                        <a:pt x="1320668" y="86594"/>
                        <a:pt x="1320829" y="86674"/>
                        <a:pt x="1320909" y="86674"/>
                      </a:cubicBezTo>
                      <a:cubicBezTo>
                        <a:pt x="1320829" y="86674"/>
                        <a:pt x="1320668" y="86594"/>
                        <a:pt x="1320507" y="86513"/>
                      </a:cubicBezTo>
                      <a:cubicBezTo>
                        <a:pt x="1317856" y="85469"/>
                        <a:pt x="1315125" y="84425"/>
                        <a:pt x="1312394" y="83380"/>
                      </a:cubicBezTo>
                      <a:cubicBezTo>
                        <a:pt x="1315125" y="84425"/>
                        <a:pt x="1317776" y="85469"/>
                        <a:pt x="1320507" y="86513"/>
                      </a:cubicBezTo>
                      <a:moveTo>
                        <a:pt x="1312073" y="83300"/>
                      </a:moveTo>
                      <a:cubicBezTo>
                        <a:pt x="1312073" y="83300"/>
                        <a:pt x="1312073" y="83220"/>
                        <a:pt x="1312073" y="83300"/>
                      </a:cubicBezTo>
                      <a:cubicBezTo>
                        <a:pt x="1312073" y="83220"/>
                        <a:pt x="1312073" y="83220"/>
                        <a:pt x="1312073" y="83300"/>
                      </a:cubicBezTo>
                      <a:cubicBezTo>
                        <a:pt x="1312073" y="83220"/>
                        <a:pt x="1311993" y="83220"/>
                        <a:pt x="1312073" y="83300"/>
                      </a:cubicBezTo>
                      <a:cubicBezTo>
                        <a:pt x="1311993" y="83220"/>
                        <a:pt x="1311993" y="83220"/>
                        <a:pt x="131207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lnTo>
                        <a:pt x="1311993" y="83300"/>
                      </a:lnTo>
                      <a:cubicBezTo>
                        <a:pt x="1311993" y="83300"/>
                        <a:pt x="1311993" y="83300"/>
                        <a:pt x="1311993" y="83300"/>
                      </a:cubicBezTo>
                      <a:lnTo>
                        <a:pt x="1311993" y="83300"/>
                      </a:ln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300"/>
                        <a:pt x="1311993" y="83300"/>
                        <a:pt x="1311993" y="83300"/>
                      </a:cubicBezTo>
                      <a:cubicBezTo>
                        <a:pt x="1311993" y="83220"/>
                        <a:pt x="1311993" y="83220"/>
                        <a:pt x="1312073" y="83300"/>
                      </a:cubicBezTo>
                      <a:cubicBezTo>
                        <a:pt x="1312073" y="83300"/>
                        <a:pt x="1312073" y="83300"/>
                        <a:pt x="1312073" y="83300"/>
                      </a:cubicBezTo>
                      <a:moveTo>
                        <a:pt x="1384609" y="134389"/>
                      </a:moveTo>
                      <a:cubicBezTo>
                        <a:pt x="1384609" y="134389"/>
                        <a:pt x="1384609" y="134389"/>
                        <a:pt x="1384609" y="134389"/>
                      </a:cubicBezTo>
                      <a:cubicBezTo>
                        <a:pt x="1384609" y="134389"/>
                        <a:pt x="1384609" y="134389"/>
                        <a:pt x="1384609" y="134389"/>
                      </a:cubicBezTo>
                      <a:cubicBezTo>
                        <a:pt x="1384288" y="134308"/>
                        <a:pt x="1384047" y="134308"/>
                        <a:pt x="1383725" y="134228"/>
                      </a:cubicBezTo>
                      <a:cubicBezTo>
                        <a:pt x="1383966" y="134308"/>
                        <a:pt x="1384288" y="134308"/>
                        <a:pt x="1384609" y="134389"/>
                      </a:cubicBezTo>
                      <a:moveTo>
                        <a:pt x="1385332" y="134549"/>
                      </a:moveTo>
                      <a:lnTo>
                        <a:pt x="1385332" y="134549"/>
                      </a:lnTo>
                      <a:cubicBezTo>
                        <a:pt x="1385332" y="134549"/>
                        <a:pt x="1385332" y="134549"/>
                        <a:pt x="1385332" y="134549"/>
                      </a:cubicBezTo>
                      <a:cubicBezTo>
                        <a:pt x="1385091" y="134469"/>
                        <a:pt x="1384850" y="134469"/>
                        <a:pt x="1384609" y="134389"/>
                      </a:cubicBezTo>
                      <a:cubicBezTo>
                        <a:pt x="1384609" y="134389"/>
                        <a:pt x="1384609" y="134389"/>
                        <a:pt x="1384609" y="134389"/>
                      </a:cubicBezTo>
                      <a:cubicBezTo>
                        <a:pt x="1384850" y="134469"/>
                        <a:pt x="1385091" y="134469"/>
                        <a:pt x="1385332" y="134549"/>
                      </a:cubicBezTo>
                      <a:moveTo>
                        <a:pt x="1386055" y="133425"/>
                      </a:moveTo>
                      <a:cubicBezTo>
                        <a:pt x="1385653" y="133666"/>
                        <a:pt x="1384529" y="133666"/>
                        <a:pt x="1380914" y="131497"/>
                      </a:cubicBezTo>
                      <a:cubicBezTo>
                        <a:pt x="1382681" y="132139"/>
                        <a:pt x="1384368" y="132782"/>
                        <a:pt x="1386055" y="133425"/>
                      </a:cubicBezTo>
                      <a:cubicBezTo>
                        <a:pt x="1386055" y="133425"/>
                        <a:pt x="1386055" y="133425"/>
                        <a:pt x="1386055" y="133425"/>
                      </a:cubicBezTo>
                      <a:moveTo>
                        <a:pt x="1379468" y="131256"/>
                      </a:moveTo>
                      <a:cubicBezTo>
                        <a:pt x="1381557" y="132220"/>
                        <a:pt x="1381878" y="132461"/>
                        <a:pt x="1381958" y="132621"/>
                      </a:cubicBezTo>
                      <a:cubicBezTo>
                        <a:pt x="1382119" y="132862"/>
                        <a:pt x="1381798" y="132943"/>
                        <a:pt x="1380753" y="132782"/>
                      </a:cubicBezTo>
                      <a:cubicBezTo>
                        <a:pt x="1380271" y="132300"/>
                        <a:pt x="1379629" y="131657"/>
                        <a:pt x="1379147" y="131176"/>
                      </a:cubicBezTo>
                      <a:cubicBezTo>
                        <a:pt x="1379307" y="131176"/>
                        <a:pt x="1379388" y="131256"/>
                        <a:pt x="1379468" y="131256"/>
                      </a:cubicBezTo>
                      <a:moveTo>
                        <a:pt x="1325729" y="91413"/>
                      </a:moveTo>
                      <a:cubicBezTo>
                        <a:pt x="1328781" y="92698"/>
                        <a:pt x="1329665" y="93100"/>
                        <a:pt x="1330066" y="93341"/>
                      </a:cubicBezTo>
                      <a:cubicBezTo>
                        <a:pt x="1330066" y="93341"/>
                        <a:pt x="1330147" y="93341"/>
                        <a:pt x="1330147" y="93421"/>
                      </a:cubicBezTo>
                      <a:cubicBezTo>
                        <a:pt x="1327335" y="92297"/>
                        <a:pt x="1324443" y="91172"/>
                        <a:pt x="1321632" y="90048"/>
                      </a:cubicBezTo>
                      <a:cubicBezTo>
                        <a:pt x="1322997" y="90530"/>
                        <a:pt x="1324443" y="90851"/>
                        <a:pt x="1325729" y="91413"/>
                      </a:cubicBezTo>
                      <a:moveTo>
                        <a:pt x="1103782" y="20725"/>
                      </a:moveTo>
                      <a:cubicBezTo>
                        <a:pt x="1105148" y="20965"/>
                        <a:pt x="1106514" y="21287"/>
                        <a:pt x="1107799" y="21608"/>
                      </a:cubicBezTo>
                      <a:cubicBezTo>
                        <a:pt x="1107477" y="21528"/>
                        <a:pt x="1071892" y="14459"/>
                        <a:pt x="1054220" y="11567"/>
                      </a:cubicBezTo>
                      <a:lnTo>
                        <a:pt x="1054300" y="11567"/>
                      </a:lnTo>
                      <a:lnTo>
                        <a:pt x="1103782" y="20725"/>
                      </a:lnTo>
                      <a:moveTo>
                        <a:pt x="1005381" y="4579"/>
                      </a:moveTo>
                      <a:lnTo>
                        <a:pt x="960959" y="0"/>
                      </a:lnTo>
                      <a:lnTo>
                        <a:pt x="961200" y="0"/>
                      </a:lnTo>
                      <a:cubicBezTo>
                        <a:pt x="971964" y="1285"/>
                        <a:pt x="982648" y="2329"/>
                        <a:pt x="993412" y="3695"/>
                      </a:cubicBezTo>
                      <a:cubicBezTo>
                        <a:pt x="988271" y="3213"/>
                        <a:pt x="981041" y="2892"/>
                        <a:pt x="976222" y="4659"/>
                      </a:cubicBezTo>
                      <a:cubicBezTo>
                        <a:pt x="999677" y="6266"/>
                        <a:pt x="1006746" y="6748"/>
                        <a:pt x="1028113" y="8997"/>
                      </a:cubicBezTo>
                      <a:cubicBezTo>
                        <a:pt x="1046027" y="12933"/>
                        <a:pt x="1064341" y="14941"/>
                        <a:pt x="1082174" y="19198"/>
                      </a:cubicBezTo>
                      <a:cubicBezTo>
                        <a:pt x="1079604" y="18797"/>
                        <a:pt x="1076069" y="18315"/>
                        <a:pt x="1073499" y="17913"/>
                      </a:cubicBezTo>
                      <a:cubicBezTo>
                        <a:pt x="1078399" y="19359"/>
                        <a:pt x="1084905" y="21126"/>
                        <a:pt x="1089805" y="22492"/>
                      </a:cubicBezTo>
                      <a:lnTo>
                        <a:pt x="1094063" y="22653"/>
                      </a:lnTo>
                      <a:cubicBezTo>
                        <a:pt x="1119205" y="28677"/>
                        <a:pt x="1144187" y="35585"/>
                        <a:pt x="1169250" y="41851"/>
                      </a:cubicBezTo>
                      <a:cubicBezTo>
                        <a:pt x="1169330" y="42092"/>
                        <a:pt x="1169491" y="42493"/>
                        <a:pt x="1169651" y="42735"/>
                      </a:cubicBezTo>
                      <a:lnTo>
                        <a:pt x="1177764" y="44903"/>
                      </a:lnTo>
                      <a:cubicBezTo>
                        <a:pt x="1198891" y="48197"/>
                        <a:pt x="1242830" y="60407"/>
                        <a:pt x="1331994" y="99767"/>
                      </a:cubicBezTo>
                      <a:cubicBezTo>
                        <a:pt x="1322596" y="98482"/>
                        <a:pt x="1317455" y="97759"/>
                        <a:pt x="1283315" y="88200"/>
                      </a:cubicBezTo>
                      <a:cubicBezTo>
                        <a:pt x="1423327" y="141457"/>
                        <a:pt x="1423327" y="141457"/>
                        <a:pt x="1462366" y="167805"/>
                      </a:cubicBezTo>
                      <a:cubicBezTo>
                        <a:pt x="1416901" y="142662"/>
                        <a:pt x="1349907" y="108523"/>
                        <a:pt x="1292955" y="102418"/>
                      </a:cubicBezTo>
                      <a:cubicBezTo>
                        <a:pt x="1318901" y="112379"/>
                        <a:pt x="1330548" y="118162"/>
                        <a:pt x="1363402" y="134871"/>
                      </a:cubicBezTo>
                      <a:cubicBezTo>
                        <a:pt x="1363081" y="134630"/>
                        <a:pt x="1362679" y="134308"/>
                        <a:pt x="1362358" y="134067"/>
                      </a:cubicBezTo>
                      <a:cubicBezTo>
                        <a:pt x="1383484" y="140413"/>
                        <a:pt x="1435778" y="161539"/>
                        <a:pt x="1435939" y="161620"/>
                      </a:cubicBezTo>
                      <a:cubicBezTo>
                        <a:pt x="1427183" y="161861"/>
                        <a:pt x="1427183" y="161861"/>
                        <a:pt x="1407342" y="166118"/>
                      </a:cubicBezTo>
                      <a:cubicBezTo>
                        <a:pt x="1413125" y="174794"/>
                        <a:pt x="1414491" y="176882"/>
                        <a:pt x="1427183" y="180818"/>
                      </a:cubicBezTo>
                      <a:cubicBezTo>
                        <a:pt x="1432083" y="183469"/>
                        <a:pt x="1438268" y="187807"/>
                        <a:pt x="1442124" y="191823"/>
                      </a:cubicBezTo>
                      <a:cubicBezTo>
                        <a:pt x="1439152" y="191181"/>
                        <a:pt x="1435135" y="190377"/>
                        <a:pt x="1432163" y="189815"/>
                      </a:cubicBezTo>
                      <a:cubicBezTo>
                        <a:pt x="1433207" y="191341"/>
                        <a:pt x="1434653" y="193430"/>
                        <a:pt x="1435698" y="194956"/>
                      </a:cubicBezTo>
                      <a:cubicBezTo>
                        <a:pt x="1446542" y="208210"/>
                        <a:pt x="1446542" y="208210"/>
                        <a:pt x="1450880" y="220822"/>
                      </a:cubicBezTo>
                      <a:cubicBezTo>
                        <a:pt x="1445498" y="218251"/>
                        <a:pt x="1438670" y="214154"/>
                        <a:pt x="1434171" y="210218"/>
                      </a:cubicBezTo>
                      <a:cubicBezTo>
                        <a:pt x="1434412" y="211022"/>
                        <a:pt x="1434412" y="211022"/>
                        <a:pt x="1477789" y="275766"/>
                      </a:cubicBezTo>
                      <a:cubicBezTo>
                        <a:pt x="1451924" y="259299"/>
                        <a:pt x="1446301" y="259299"/>
                        <a:pt x="1429432" y="259138"/>
                      </a:cubicBezTo>
                      <a:cubicBezTo>
                        <a:pt x="1448068" y="274882"/>
                        <a:pt x="1470962" y="284200"/>
                        <a:pt x="1490240" y="299061"/>
                      </a:cubicBezTo>
                      <a:cubicBezTo>
                        <a:pt x="1488152" y="301632"/>
                        <a:pt x="1485340" y="305086"/>
                        <a:pt x="1483252" y="307656"/>
                      </a:cubicBezTo>
                      <a:cubicBezTo>
                        <a:pt x="1486545" y="322838"/>
                        <a:pt x="1486545" y="322838"/>
                        <a:pt x="1505422" y="336574"/>
                      </a:cubicBezTo>
                      <a:cubicBezTo>
                        <a:pt x="1500683" y="340189"/>
                        <a:pt x="1494257" y="345089"/>
                        <a:pt x="1489517" y="348704"/>
                      </a:cubicBezTo>
                      <a:cubicBezTo>
                        <a:pt x="1493614" y="353604"/>
                        <a:pt x="1500442" y="358986"/>
                        <a:pt x="1506225" y="361717"/>
                      </a:cubicBezTo>
                      <a:cubicBezTo>
                        <a:pt x="1471283" y="372561"/>
                        <a:pt x="1446542" y="343482"/>
                        <a:pt x="1415696" y="338582"/>
                      </a:cubicBezTo>
                      <a:cubicBezTo>
                        <a:pt x="1458912" y="327658"/>
                        <a:pt x="1458912" y="327658"/>
                        <a:pt x="1465339" y="314163"/>
                      </a:cubicBezTo>
                      <a:cubicBezTo>
                        <a:pt x="1451522" y="289341"/>
                        <a:pt x="1391196" y="265645"/>
                        <a:pt x="1372158" y="298981"/>
                      </a:cubicBezTo>
                      <a:cubicBezTo>
                        <a:pt x="1370230" y="296973"/>
                        <a:pt x="1367740" y="294241"/>
                        <a:pt x="1365893" y="292233"/>
                      </a:cubicBezTo>
                      <a:cubicBezTo>
                        <a:pt x="1363483" y="293036"/>
                        <a:pt x="1360270" y="294081"/>
                        <a:pt x="1357860" y="294884"/>
                      </a:cubicBezTo>
                      <a:cubicBezTo>
                        <a:pt x="1354325" y="291510"/>
                        <a:pt x="1347819" y="288538"/>
                        <a:pt x="1342919" y="288297"/>
                      </a:cubicBezTo>
                      <a:cubicBezTo>
                        <a:pt x="1342678" y="291591"/>
                        <a:pt x="1342678" y="296250"/>
                        <a:pt x="1341152" y="299141"/>
                      </a:cubicBezTo>
                      <a:cubicBezTo>
                        <a:pt x="1335770" y="299704"/>
                        <a:pt x="1328379" y="299623"/>
                        <a:pt x="1322997" y="298900"/>
                      </a:cubicBezTo>
                      <a:cubicBezTo>
                        <a:pt x="1324604" y="296892"/>
                        <a:pt x="1326773" y="294241"/>
                        <a:pt x="1328379" y="292233"/>
                      </a:cubicBezTo>
                      <a:cubicBezTo>
                        <a:pt x="1321070" y="284522"/>
                        <a:pt x="1319383" y="282674"/>
                        <a:pt x="1305165" y="286610"/>
                      </a:cubicBezTo>
                      <a:cubicBezTo>
                        <a:pt x="1307173" y="289502"/>
                        <a:pt x="1309904" y="293358"/>
                        <a:pt x="1311993" y="296250"/>
                      </a:cubicBezTo>
                      <a:cubicBezTo>
                        <a:pt x="1307333" y="293518"/>
                        <a:pt x="1300988" y="290145"/>
                        <a:pt x="1296007" y="287976"/>
                      </a:cubicBezTo>
                      <a:cubicBezTo>
                        <a:pt x="1296650" y="290627"/>
                        <a:pt x="1297533" y="294161"/>
                        <a:pt x="1298176" y="296812"/>
                      </a:cubicBezTo>
                      <a:cubicBezTo>
                        <a:pt x="1295445" y="295928"/>
                        <a:pt x="1291830" y="294723"/>
                        <a:pt x="1289179" y="293840"/>
                      </a:cubicBezTo>
                      <a:cubicBezTo>
                        <a:pt x="1291670" y="299543"/>
                        <a:pt x="1295365" y="307014"/>
                        <a:pt x="1298417" y="312476"/>
                      </a:cubicBezTo>
                      <a:cubicBezTo>
                        <a:pt x="1293517" y="309263"/>
                        <a:pt x="1287091" y="304764"/>
                        <a:pt x="1282351" y="301310"/>
                      </a:cubicBezTo>
                      <a:cubicBezTo>
                        <a:pt x="1283074" y="307255"/>
                        <a:pt x="1285886" y="315046"/>
                        <a:pt x="1289099" y="320107"/>
                      </a:cubicBezTo>
                      <a:cubicBezTo>
                        <a:pt x="1285163" y="320509"/>
                        <a:pt x="1279701" y="321312"/>
                        <a:pt x="1276407" y="323481"/>
                      </a:cubicBezTo>
                      <a:cubicBezTo>
                        <a:pt x="1280343" y="331835"/>
                        <a:pt x="1280665" y="341314"/>
                        <a:pt x="1283958" y="349909"/>
                      </a:cubicBezTo>
                      <a:cubicBezTo>
                        <a:pt x="1282110" y="347820"/>
                        <a:pt x="1279620" y="344928"/>
                        <a:pt x="1277692" y="342840"/>
                      </a:cubicBezTo>
                      <a:cubicBezTo>
                        <a:pt x="1275363" y="344446"/>
                        <a:pt x="1272150" y="346696"/>
                        <a:pt x="1269820" y="348302"/>
                      </a:cubicBezTo>
                      <a:cubicBezTo>
                        <a:pt x="1277451" y="362279"/>
                        <a:pt x="1276166" y="378907"/>
                        <a:pt x="1283396" y="393045"/>
                      </a:cubicBezTo>
                      <a:cubicBezTo>
                        <a:pt x="1281227" y="394410"/>
                        <a:pt x="1278335" y="396178"/>
                        <a:pt x="1276166" y="397463"/>
                      </a:cubicBezTo>
                      <a:cubicBezTo>
                        <a:pt x="1278978" y="401881"/>
                        <a:pt x="1284520" y="406861"/>
                        <a:pt x="1289340" y="408709"/>
                      </a:cubicBezTo>
                      <a:cubicBezTo>
                        <a:pt x="1287171" y="410396"/>
                        <a:pt x="1284279" y="412645"/>
                        <a:pt x="1282110" y="414332"/>
                      </a:cubicBezTo>
                      <a:cubicBezTo>
                        <a:pt x="1285163" y="414252"/>
                        <a:pt x="1289179" y="414091"/>
                        <a:pt x="1292232" y="414010"/>
                      </a:cubicBezTo>
                      <a:cubicBezTo>
                        <a:pt x="1290063" y="415778"/>
                        <a:pt x="1287091" y="418188"/>
                        <a:pt x="1284922" y="420035"/>
                      </a:cubicBezTo>
                      <a:cubicBezTo>
                        <a:pt x="1286288" y="425417"/>
                        <a:pt x="1286529" y="433209"/>
                        <a:pt x="1285002" y="438510"/>
                      </a:cubicBezTo>
                      <a:cubicBezTo>
                        <a:pt x="1284761" y="438591"/>
                        <a:pt x="1284440" y="438751"/>
                        <a:pt x="1284199" y="438832"/>
                      </a:cubicBezTo>
                      <a:cubicBezTo>
                        <a:pt x="1286207" y="440438"/>
                        <a:pt x="1288858" y="442527"/>
                        <a:pt x="1290866" y="444133"/>
                      </a:cubicBezTo>
                      <a:cubicBezTo>
                        <a:pt x="1289581" y="449114"/>
                        <a:pt x="1290224" y="456424"/>
                        <a:pt x="1292151" y="461243"/>
                      </a:cubicBezTo>
                      <a:cubicBezTo>
                        <a:pt x="1294883" y="462287"/>
                        <a:pt x="1298417" y="463653"/>
                        <a:pt x="1301148" y="464697"/>
                      </a:cubicBezTo>
                      <a:cubicBezTo>
                        <a:pt x="1293758" y="477550"/>
                        <a:pt x="1294079" y="502050"/>
                        <a:pt x="1297855" y="511609"/>
                      </a:cubicBezTo>
                      <a:cubicBezTo>
                        <a:pt x="1300345" y="510565"/>
                        <a:pt x="1303638" y="509119"/>
                        <a:pt x="1306129" y="508075"/>
                      </a:cubicBezTo>
                      <a:cubicBezTo>
                        <a:pt x="1306209" y="505504"/>
                        <a:pt x="1306209" y="502050"/>
                        <a:pt x="1306289" y="499479"/>
                      </a:cubicBezTo>
                      <a:cubicBezTo>
                        <a:pt x="1307815" y="501648"/>
                        <a:pt x="1309824" y="504540"/>
                        <a:pt x="1311350" y="506709"/>
                      </a:cubicBezTo>
                      <a:cubicBezTo>
                        <a:pt x="1303719" y="511127"/>
                        <a:pt x="1295124" y="513697"/>
                        <a:pt x="1287974" y="519079"/>
                      </a:cubicBezTo>
                      <a:cubicBezTo>
                        <a:pt x="1289420" y="522052"/>
                        <a:pt x="1291429" y="525988"/>
                        <a:pt x="1292874" y="528879"/>
                      </a:cubicBezTo>
                      <a:cubicBezTo>
                        <a:pt x="1288697" y="532494"/>
                        <a:pt x="1282191" y="536430"/>
                        <a:pt x="1276970" y="538278"/>
                      </a:cubicBezTo>
                      <a:cubicBezTo>
                        <a:pt x="1280102" y="538117"/>
                        <a:pt x="1284199" y="537876"/>
                        <a:pt x="1287332" y="537635"/>
                      </a:cubicBezTo>
                      <a:cubicBezTo>
                        <a:pt x="1271106" y="554102"/>
                        <a:pt x="1271106" y="554102"/>
                        <a:pt x="1268214" y="557878"/>
                      </a:cubicBezTo>
                      <a:cubicBezTo>
                        <a:pt x="1270463" y="567035"/>
                        <a:pt x="1271347" y="570891"/>
                        <a:pt x="1283235" y="579486"/>
                      </a:cubicBezTo>
                      <a:cubicBezTo>
                        <a:pt x="1290625" y="574345"/>
                        <a:pt x="1299220" y="571775"/>
                        <a:pt x="1307092" y="567598"/>
                      </a:cubicBezTo>
                      <a:cubicBezTo>
                        <a:pt x="1306048" y="569927"/>
                        <a:pt x="1304602" y="572979"/>
                        <a:pt x="1303478" y="575309"/>
                      </a:cubicBezTo>
                      <a:cubicBezTo>
                        <a:pt x="1297855" y="576674"/>
                        <a:pt x="1290465" y="578763"/>
                        <a:pt x="1285002" y="580530"/>
                      </a:cubicBezTo>
                      <a:cubicBezTo>
                        <a:pt x="1287974" y="589125"/>
                        <a:pt x="1293758" y="596756"/>
                        <a:pt x="1294401" y="606235"/>
                      </a:cubicBezTo>
                      <a:cubicBezTo>
                        <a:pt x="1295927" y="604227"/>
                        <a:pt x="1298015" y="601496"/>
                        <a:pt x="1299542" y="599407"/>
                      </a:cubicBezTo>
                      <a:cubicBezTo>
                        <a:pt x="1300345" y="601978"/>
                        <a:pt x="1301470" y="605432"/>
                        <a:pt x="1302273" y="608083"/>
                      </a:cubicBezTo>
                      <a:cubicBezTo>
                        <a:pt x="1304843" y="607440"/>
                        <a:pt x="1308217" y="606557"/>
                        <a:pt x="1310707" y="605914"/>
                      </a:cubicBezTo>
                      <a:cubicBezTo>
                        <a:pt x="1312394" y="610975"/>
                        <a:pt x="1313438" y="618124"/>
                        <a:pt x="1313197" y="623425"/>
                      </a:cubicBezTo>
                      <a:cubicBezTo>
                        <a:pt x="1326773" y="626076"/>
                        <a:pt x="1326773" y="626076"/>
                        <a:pt x="1365973" y="593222"/>
                      </a:cubicBezTo>
                      <a:cubicBezTo>
                        <a:pt x="1365411" y="590732"/>
                        <a:pt x="1364768" y="587439"/>
                        <a:pt x="1364206" y="584949"/>
                      </a:cubicBezTo>
                      <a:cubicBezTo>
                        <a:pt x="1382039" y="587037"/>
                        <a:pt x="1391035" y="604629"/>
                        <a:pt x="1407342" y="609368"/>
                      </a:cubicBezTo>
                      <a:cubicBezTo>
                        <a:pt x="1421881" y="615955"/>
                        <a:pt x="1431199" y="630976"/>
                        <a:pt x="1447506" y="634671"/>
                      </a:cubicBezTo>
                      <a:cubicBezTo>
                        <a:pt x="1470158" y="611698"/>
                        <a:pt x="1469917" y="572819"/>
                        <a:pt x="1438589" y="565991"/>
                      </a:cubicBezTo>
                      <a:cubicBezTo>
                        <a:pt x="1443570" y="561252"/>
                        <a:pt x="1449273" y="553942"/>
                        <a:pt x="1452406" y="547917"/>
                      </a:cubicBezTo>
                      <a:cubicBezTo>
                        <a:pt x="1446944" y="547596"/>
                        <a:pt x="1439634" y="548078"/>
                        <a:pt x="1434332" y="549122"/>
                      </a:cubicBezTo>
                      <a:cubicBezTo>
                        <a:pt x="1435376" y="547435"/>
                        <a:pt x="1436742" y="545106"/>
                        <a:pt x="1437786" y="543419"/>
                      </a:cubicBezTo>
                      <a:cubicBezTo>
                        <a:pt x="1440116" y="542053"/>
                        <a:pt x="1443248" y="540286"/>
                        <a:pt x="1445578" y="539001"/>
                      </a:cubicBezTo>
                      <a:cubicBezTo>
                        <a:pt x="1445016" y="536189"/>
                        <a:pt x="1444373" y="532334"/>
                        <a:pt x="1443811" y="529522"/>
                      </a:cubicBezTo>
                      <a:cubicBezTo>
                        <a:pt x="1414571" y="515947"/>
                        <a:pt x="1414571" y="515947"/>
                        <a:pt x="1396096" y="484137"/>
                      </a:cubicBezTo>
                      <a:lnTo>
                        <a:pt x="1394891" y="479237"/>
                      </a:lnTo>
                      <a:cubicBezTo>
                        <a:pt x="1395935" y="475140"/>
                        <a:pt x="1397381" y="469597"/>
                        <a:pt x="1398506" y="465501"/>
                      </a:cubicBezTo>
                      <a:lnTo>
                        <a:pt x="1397140" y="463974"/>
                      </a:lnTo>
                      <a:cubicBezTo>
                        <a:pt x="1401237" y="445499"/>
                        <a:pt x="1400273" y="439796"/>
                        <a:pt x="1380512" y="421642"/>
                      </a:cubicBezTo>
                      <a:cubicBezTo>
                        <a:pt x="1380432" y="419071"/>
                        <a:pt x="1380352" y="415537"/>
                        <a:pt x="1380271" y="412966"/>
                      </a:cubicBezTo>
                      <a:cubicBezTo>
                        <a:pt x="1380753" y="412805"/>
                        <a:pt x="1381316" y="412564"/>
                        <a:pt x="1381717" y="412404"/>
                      </a:cubicBezTo>
                      <a:cubicBezTo>
                        <a:pt x="1391437" y="386619"/>
                        <a:pt x="1410796" y="403407"/>
                        <a:pt x="1419070" y="410556"/>
                      </a:cubicBezTo>
                      <a:cubicBezTo>
                        <a:pt x="1419150" y="440679"/>
                        <a:pt x="1420837" y="445579"/>
                        <a:pt x="1422443" y="450399"/>
                      </a:cubicBezTo>
                      <a:cubicBezTo>
                        <a:pt x="1422765" y="453933"/>
                        <a:pt x="1423889" y="458994"/>
                        <a:pt x="1422283" y="462127"/>
                      </a:cubicBezTo>
                      <a:cubicBezTo>
                        <a:pt x="1430717" y="474899"/>
                        <a:pt x="1433930" y="478594"/>
                        <a:pt x="1448550" y="488394"/>
                      </a:cubicBezTo>
                      <a:cubicBezTo>
                        <a:pt x="1448389" y="488474"/>
                        <a:pt x="1448148" y="488635"/>
                        <a:pt x="1447988" y="488715"/>
                      </a:cubicBezTo>
                      <a:cubicBezTo>
                        <a:pt x="1456663" y="501006"/>
                        <a:pt x="1458029" y="501247"/>
                        <a:pt x="1464535" y="502130"/>
                      </a:cubicBezTo>
                      <a:cubicBezTo>
                        <a:pt x="1468953" y="502211"/>
                        <a:pt x="1468953" y="502211"/>
                        <a:pt x="1518757" y="466384"/>
                      </a:cubicBezTo>
                      <a:cubicBezTo>
                        <a:pt x="1524621" y="466304"/>
                        <a:pt x="1532493" y="466866"/>
                        <a:pt x="1538357" y="467509"/>
                      </a:cubicBezTo>
                      <a:cubicBezTo>
                        <a:pt x="1524621" y="482209"/>
                        <a:pt x="1503735" y="511047"/>
                        <a:pt x="1503735" y="511047"/>
                      </a:cubicBezTo>
                      <a:cubicBezTo>
                        <a:pt x="1503816" y="513778"/>
                        <a:pt x="1503816" y="517393"/>
                        <a:pt x="1503896" y="520124"/>
                      </a:cubicBezTo>
                      <a:cubicBezTo>
                        <a:pt x="1520765" y="527112"/>
                        <a:pt x="1520765" y="527112"/>
                        <a:pt x="1530565" y="536029"/>
                      </a:cubicBezTo>
                      <a:cubicBezTo>
                        <a:pt x="1526950" y="539724"/>
                        <a:pt x="1520604" y="543258"/>
                        <a:pt x="1515544" y="544543"/>
                      </a:cubicBezTo>
                      <a:cubicBezTo>
                        <a:pt x="1514499" y="566393"/>
                        <a:pt x="1536590" y="584225"/>
                        <a:pt x="1526629" y="607601"/>
                      </a:cubicBezTo>
                      <a:cubicBezTo>
                        <a:pt x="1516266" y="632101"/>
                        <a:pt x="1489758" y="635073"/>
                        <a:pt x="1471363" y="648890"/>
                      </a:cubicBezTo>
                      <a:cubicBezTo>
                        <a:pt x="1472729" y="651058"/>
                        <a:pt x="1474657" y="653870"/>
                        <a:pt x="1476022" y="656039"/>
                      </a:cubicBezTo>
                      <a:cubicBezTo>
                        <a:pt x="1434332" y="663509"/>
                        <a:pt x="1434332" y="663509"/>
                        <a:pt x="1413366" y="670899"/>
                      </a:cubicBezTo>
                      <a:cubicBezTo>
                        <a:pt x="1396819" y="654994"/>
                        <a:pt x="1397783" y="631057"/>
                        <a:pt x="1386617" y="612662"/>
                      </a:cubicBezTo>
                      <a:cubicBezTo>
                        <a:pt x="1381958" y="618927"/>
                        <a:pt x="1376014" y="627442"/>
                        <a:pt x="1371998" y="634109"/>
                      </a:cubicBezTo>
                      <a:cubicBezTo>
                        <a:pt x="1395935" y="678049"/>
                        <a:pt x="1395935" y="678049"/>
                        <a:pt x="1411439" y="684555"/>
                      </a:cubicBezTo>
                      <a:cubicBezTo>
                        <a:pt x="1407422" y="688090"/>
                        <a:pt x="1402361" y="693150"/>
                        <a:pt x="1398827" y="697247"/>
                      </a:cubicBezTo>
                      <a:cubicBezTo>
                        <a:pt x="1396257" y="697408"/>
                        <a:pt x="1392802" y="697568"/>
                        <a:pt x="1390232" y="697729"/>
                      </a:cubicBezTo>
                      <a:cubicBezTo>
                        <a:pt x="1389670" y="700219"/>
                        <a:pt x="1388866" y="703593"/>
                        <a:pt x="1388304" y="706083"/>
                      </a:cubicBezTo>
                      <a:cubicBezTo>
                        <a:pt x="1370552" y="710822"/>
                        <a:pt x="1370552" y="710822"/>
                        <a:pt x="1360591" y="750986"/>
                      </a:cubicBezTo>
                      <a:cubicBezTo>
                        <a:pt x="1358342" y="752191"/>
                        <a:pt x="1355289" y="753798"/>
                        <a:pt x="1352960" y="755003"/>
                      </a:cubicBezTo>
                      <a:cubicBezTo>
                        <a:pt x="1355611" y="754762"/>
                        <a:pt x="1359225" y="754440"/>
                        <a:pt x="1361876" y="754199"/>
                      </a:cubicBezTo>
                      <a:cubicBezTo>
                        <a:pt x="1338501" y="766008"/>
                        <a:pt x="1336412" y="770104"/>
                        <a:pt x="1336171" y="785688"/>
                      </a:cubicBezTo>
                      <a:cubicBezTo>
                        <a:pt x="1322515" y="797416"/>
                        <a:pt x="1302915" y="801272"/>
                        <a:pt x="1293276" y="818301"/>
                      </a:cubicBezTo>
                      <a:cubicBezTo>
                        <a:pt x="1296168" y="820872"/>
                        <a:pt x="1300024" y="824326"/>
                        <a:pt x="1302915" y="826896"/>
                      </a:cubicBezTo>
                      <a:cubicBezTo>
                        <a:pt x="1300345" y="827539"/>
                        <a:pt x="1296971" y="828342"/>
                        <a:pt x="1294481" y="828985"/>
                      </a:cubicBezTo>
                      <a:cubicBezTo>
                        <a:pt x="1294240" y="829708"/>
                        <a:pt x="1293999" y="830591"/>
                        <a:pt x="1293758" y="831314"/>
                      </a:cubicBezTo>
                      <a:cubicBezTo>
                        <a:pt x="1269017" y="835813"/>
                        <a:pt x="1267892" y="836616"/>
                        <a:pt x="1259297" y="842801"/>
                      </a:cubicBezTo>
                      <a:cubicBezTo>
                        <a:pt x="1258976" y="845372"/>
                        <a:pt x="1258494" y="848826"/>
                        <a:pt x="1258173" y="851396"/>
                      </a:cubicBezTo>
                      <a:cubicBezTo>
                        <a:pt x="1268615" y="853565"/>
                        <a:pt x="1268615" y="853565"/>
                        <a:pt x="1303558" y="851557"/>
                      </a:cubicBezTo>
                      <a:cubicBezTo>
                        <a:pt x="1311591" y="862160"/>
                        <a:pt x="1311591" y="862160"/>
                        <a:pt x="1327817" y="868988"/>
                      </a:cubicBezTo>
                      <a:cubicBezTo>
                        <a:pt x="1326934" y="869149"/>
                        <a:pt x="1325729" y="869390"/>
                        <a:pt x="1324845" y="869631"/>
                      </a:cubicBezTo>
                      <a:cubicBezTo>
                        <a:pt x="1327496" y="870434"/>
                        <a:pt x="1330950" y="871559"/>
                        <a:pt x="1333520" y="872362"/>
                      </a:cubicBezTo>
                      <a:cubicBezTo>
                        <a:pt x="1332315" y="875013"/>
                        <a:pt x="1330709" y="878467"/>
                        <a:pt x="1329504" y="881118"/>
                      </a:cubicBezTo>
                      <a:cubicBezTo>
                        <a:pt x="1330227" y="882001"/>
                        <a:pt x="1331271" y="883206"/>
                        <a:pt x="1331994" y="884170"/>
                      </a:cubicBezTo>
                      <a:lnTo>
                        <a:pt x="1333761" y="884813"/>
                      </a:lnTo>
                      <a:cubicBezTo>
                        <a:pt x="1294963" y="911883"/>
                        <a:pt x="1246124" y="939115"/>
                        <a:pt x="1214956" y="954055"/>
                      </a:cubicBezTo>
                      <a:cubicBezTo>
                        <a:pt x="1216242" y="956144"/>
                        <a:pt x="1218009" y="958875"/>
                        <a:pt x="1219294" y="960964"/>
                      </a:cubicBezTo>
                      <a:lnTo>
                        <a:pt x="1221463" y="960562"/>
                      </a:lnTo>
                      <a:cubicBezTo>
                        <a:pt x="1221061" y="992934"/>
                        <a:pt x="1222507" y="996710"/>
                        <a:pt x="1225881" y="1005706"/>
                      </a:cubicBezTo>
                      <a:cubicBezTo>
                        <a:pt x="1228451" y="1006028"/>
                        <a:pt x="1231825" y="1006429"/>
                        <a:pt x="1234396" y="1006751"/>
                      </a:cubicBezTo>
                      <a:cubicBezTo>
                        <a:pt x="1233191" y="1009000"/>
                        <a:pt x="1231504" y="1011972"/>
                        <a:pt x="1230299" y="1014221"/>
                      </a:cubicBezTo>
                      <a:cubicBezTo>
                        <a:pt x="1235119" y="1017515"/>
                        <a:pt x="1240019" y="1024583"/>
                        <a:pt x="1241224" y="1030287"/>
                      </a:cubicBezTo>
                      <a:cubicBezTo>
                        <a:pt x="1253192" y="1033018"/>
                        <a:pt x="1253192" y="1033018"/>
                        <a:pt x="1276648" y="1021210"/>
                      </a:cubicBezTo>
                      <a:cubicBezTo>
                        <a:pt x="1280263" y="1022575"/>
                        <a:pt x="1285966" y="1024182"/>
                        <a:pt x="1289581" y="1022656"/>
                      </a:cubicBezTo>
                      <a:cubicBezTo>
                        <a:pt x="1356093" y="1028439"/>
                        <a:pt x="1367901" y="1002574"/>
                        <a:pt x="1417543" y="893729"/>
                      </a:cubicBezTo>
                      <a:cubicBezTo>
                        <a:pt x="1416098" y="890757"/>
                        <a:pt x="1414089" y="886821"/>
                        <a:pt x="1412643" y="883929"/>
                      </a:cubicBezTo>
                      <a:cubicBezTo>
                        <a:pt x="1417062" y="873406"/>
                        <a:pt x="1417062" y="873406"/>
                        <a:pt x="1433448" y="869229"/>
                      </a:cubicBezTo>
                      <a:cubicBezTo>
                        <a:pt x="1433368" y="869149"/>
                        <a:pt x="1433288" y="869069"/>
                        <a:pt x="1433207" y="868988"/>
                      </a:cubicBezTo>
                      <a:cubicBezTo>
                        <a:pt x="1532975" y="796693"/>
                        <a:pt x="1621416" y="860634"/>
                        <a:pt x="1622139" y="861437"/>
                      </a:cubicBezTo>
                      <a:cubicBezTo>
                        <a:pt x="1632501" y="840793"/>
                        <a:pt x="1633465" y="839749"/>
                        <a:pt x="1640695" y="831154"/>
                      </a:cubicBezTo>
                      <a:cubicBezTo>
                        <a:pt x="1570809" y="816052"/>
                        <a:pt x="1560126" y="813722"/>
                        <a:pt x="1528717" y="789865"/>
                      </a:cubicBezTo>
                      <a:cubicBezTo>
                        <a:pt x="1532332" y="786250"/>
                        <a:pt x="1538276" y="782314"/>
                        <a:pt x="1543096" y="780547"/>
                      </a:cubicBezTo>
                      <a:cubicBezTo>
                        <a:pt x="1575468" y="805288"/>
                        <a:pt x="1634590" y="763919"/>
                        <a:pt x="1652663" y="814927"/>
                      </a:cubicBezTo>
                      <a:cubicBezTo>
                        <a:pt x="1652182" y="815008"/>
                        <a:pt x="1651539" y="815168"/>
                        <a:pt x="1651057" y="815249"/>
                      </a:cubicBezTo>
                      <a:cubicBezTo>
                        <a:pt x="1691221" y="826896"/>
                        <a:pt x="1691221" y="826896"/>
                        <a:pt x="1701503" y="819346"/>
                      </a:cubicBezTo>
                      <a:cubicBezTo>
                        <a:pt x="1703511" y="820309"/>
                        <a:pt x="1706162" y="821595"/>
                        <a:pt x="1708170" y="822639"/>
                      </a:cubicBezTo>
                      <a:cubicBezTo>
                        <a:pt x="1702788" y="824406"/>
                        <a:pt x="1696041" y="828182"/>
                        <a:pt x="1691542" y="831636"/>
                      </a:cubicBezTo>
                      <a:cubicBezTo>
                        <a:pt x="1698049" y="842159"/>
                        <a:pt x="1703591" y="851236"/>
                        <a:pt x="1720942" y="840150"/>
                      </a:cubicBezTo>
                      <a:cubicBezTo>
                        <a:pt x="1719095" y="838383"/>
                        <a:pt x="1716685" y="835973"/>
                        <a:pt x="1714918" y="834206"/>
                      </a:cubicBezTo>
                      <a:cubicBezTo>
                        <a:pt x="1709295" y="828342"/>
                        <a:pt x="1709295" y="828342"/>
                        <a:pt x="1709295" y="828342"/>
                      </a:cubicBezTo>
                      <a:cubicBezTo>
                        <a:pt x="1709295" y="828342"/>
                        <a:pt x="1709375" y="828342"/>
                        <a:pt x="1709375" y="828262"/>
                      </a:cubicBezTo>
                      <a:cubicBezTo>
                        <a:pt x="1709375" y="828262"/>
                        <a:pt x="1709455" y="828262"/>
                        <a:pt x="1709455" y="828182"/>
                      </a:cubicBezTo>
                      <a:cubicBezTo>
                        <a:pt x="1709455" y="828101"/>
                        <a:pt x="1709536" y="828182"/>
                        <a:pt x="1709536" y="828101"/>
                      </a:cubicBezTo>
                      <a:cubicBezTo>
                        <a:pt x="1709536" y="828101"/>
                        <a:pt x="1709616" y="828101"/>
                        <a:pt x="1709616" y="828021"/>
                      </a:cubicBezTo>
                      <a:cubicBezTo>
                        <a:pt x="1709616" y="828021"/>
                        <a:pt x="1709696" y="828021"/>
                        <a:pt x="1709696" y="827941"/>
                      </a:cubicBezTo>
                      <a:cubicBezTo>
                        <a:pt x="1709696" y="827941"/>
                        <a:pt x="1709777" y="827941"/>
                        <a:pt x="1709777" y="827941"/>
                      </a:cubicBezTo>
                      <a:cubicBezTo>
                        <a:pt x="1709777" y="827941"/>
                        <a:pt x="1709857" y="827941"/>
                        <a:pt x="1709857" y="827860"/>
                      </a:cubicBezTo>
                      <a:cubicBezTo>
                        <a:pt x="1712106" y="825772"/>
                        <a:pt x="1715159" y="822960"/>
                        <a:pt x="1717408" y="820872"/>
                      </a:cubicBezTo>
                      <a:cubicBezTo>
                        <a:pt x="1712267" y="817417"/>
                        <a:pt x="1704475" y="813642"/>
                        <a:pt x="1698290" y="813160"/>
                      </a:cubicBezTo>
                      <a:cubicBezTo>
                        <a:pt x="1699173" y="811714"/>
                        <a:pt x="1700378" y="809786"/>
                        <a:pt x="1701262" y="808341"/>
                      </a:cubicBezTo>
                      <a:cubicBezTo>
                        <a:pt x="1697888" y="802316"/>
                        <a:pt x="1693149" y="794363"/>
                        <a:pt x="1689454" y="788500"/>
                      </a:cubicBezTo>
                      <a:cubicBezTo>
                        <a:pt x="1692185" y="789544"/>
                        <a:pt x="1695880" y="790990"/>
                        <a:pt x="1698611" y="792034"/>
                      </a:cubicBezTo>
                      <a:cubicBezTo>
                        <a:pt x="1701503" y="787777"/>
                        <a:pt x="1702949" y="780306"/>
                        <a:pt x="1702226" y="775165"/>
                      </a:cubicBezTo>
                      <a:cubicBezTo>
                        <a:pt x="1710178" y="767695"/>
                        <a:pt x="1710178" y="767695"/>
                        <a:pt x="1727449" y="761911"/>
                      </a:cubicBezTo>
                      <a:cubicBezTo>
                        <a:pt x="1726806" y="764401"/>
                        <a:pt x="1726003" y="767695"/>
                        <a:pt x="1725360" y="770185"/>
                      </a:cubicBezTo>
                      <a:cubicBezTo>
                        <a:pt x="1729537" y="761911"/>
                        <a:pt x="1733072" y="753396"/>
                        <a:pt x="1737731" y="745363"/>
                      </a:cubicBezTo>
                      <a:cubicBezTo>
                        <a:pt x="1733714" y="741427"/>
                        <a:pt x="1727288" y="737009"/>
                        <a:pt x="1721986" y="735001"/>
                      </a:cubicBezTo>
                      <a:cubicBezTo>
                        <a:pt x="1718934" y="722149"/>
                        <a:pt x="1717488" y="708975"/>
                        <a:pt x="1713391" y="696363"/>
                      </a:cubicBezTo>
                      <a:cubicBezTo>
                        <a:pt x="1713231" y="696524"/>
                        <a:pt x="1712990" y="696765"/>
                        <a:pt x="1712749" y="697006"/>
                      </a:cubicBezTo>
                      <a:cubicBezTo>
                        <a:pt x="1711544" y="668409"/>
                        <a:pt x="1711142" y="659814"/>
                        <a:pt x="1715078" y="651380"/>
                      </a:cubicBezTo>
                      <a:cubicBezTo>
                        <a:pt x="1717167" y="649934"/>
                        <a:pt x="1719898" y="647926"/>
                        <a:pt x="1721986" y="646480"/>
                      </a:cubicBezTo>
                      <a:cubicBezTo>
                        <a:pt x="1730742" y="650094"/>
                        <a:pt x="1736124" y="657886"/>
                        <a:pt x="1743434" y="663429"/>
                      </a:cubicBezTo>
                      <a:cubicBezTo>
                        <a:pt x="1754439" y="660296"/>
                        <a:pt x="1757010" y="659573"/>
                        <a:pt x="1761267" y="643427"/>
                      </a:cubicBezTo>
                      <a:cubicBezTo>
                        <a:pt x="1755965" y="642704"/>
                        <a:pt x="1749137" y="639411"/>
                        <a:pt x="1745362" y="635635"/>
                      </a:cubicBezTo>
                      <a:cubicBezTo>
                        <a:pt x="1745603" y="627040"/>
                        <a:pt x="1745603" y="627040"/>
                        <a:pt x="1755001" y="599488"/>
                      </a:cubicBezTo>
                      <a:cubicBezTo>
                        <a:pt x="1755322" y="599648"/>
                        <a:pt x="1755724" y="599889"/>
                        <a:pt x="1756046" y="600050"/>
                      </a:cubicBezTo>
                      <a:lnTo>
                        <a:pt x="1760705" y="606717"/>
                      </a:lnTo>
                      <a:cubicBezTo>
                        <a:pt x="1770505" y="623586"/>
                        <a:pt x="1765203" y="634511"/>
                        <a:pt x="1765123" y="634671"/>
                      </a:cubicBezTo>
                      <a:cubicBezTo>
                        <a:pt x="1797334" y="639893"/>
                        <a:pt x="1799583" y="641499"/>
                        <a:pt x="1814364" y="651862"/>
                      </a:cubicBezTo>
                      <a:cubicBezTo>
                        <a:pt x="1817577" y="675799"/>
                        <a:pt x="1739900" y="757412"/>
                        <a:pt x="1739016" y="758055"/>
                      </a:cubicBezTo>
                      <a:cubicBezTo>
                        <a:pt x="1735000" y="763116"/>
                        <a:pt x="1730903" y="771711"/>
                        <a:pt x="1731064" y="778218"/>
                      </a:cubicBezTo>
                      <a:cubicBezTo>
                        <a:pt x="1734518" y="779583"/>
                        <a:pt x="1739177" y="781431"/>
                        <a:pt x="1742631" y="782877"/>
                      </a:cubicBezTo>
                      <a:cubicBezTo>
                        <a:pt x="1742952" y="785527"/>
                        <a:pt x="1743354" y="788982"/>
                        <a:pt x="1743675" y="791632"/>
                      </a:cubicBezTo>
                      <a:cubicBezTo>
                        <a:pt x="1759178" y="800790"/>
                        <a:pt x="1759178" y="800790"/>
                        <a:pt x="1767934" y="804244"/>
                      </a:cubicBezTo>
                      <a:cubicBezTo>
                        <a:pt x="1785526" y="785206"/>
                        <a:pt x="1809624" y="773317"/>
                        <a:pt x="1825449" y="752352"/>
                      </a:cubicBezTo>
                      <a:cubicBezTo>
                        <a:pt x="1853403" y="768257"/>
                        <a:pt x="1845370" y="806413"/>
                        <a:pt x="1838301" y="840070"/>
                      </a:cubicBezTo>
                      <a:cubicBezTo>
                        <a:pt x="1750101" y="869872"/>
                        <a:pt x="1686000" y="948433"/>
                        <a:pt x="1590088" y="962731"/>
                      </a:cubicBezTo>
                      <a:cubicBezTo>
                        <a:pt x="1590329" y="962410"/>
                        <a:pt x="1590650" y="962088"/>
                        <a:pt x="1590891" y="961767"/>
                      </a:cubicBezTo>
                      <a:cubicBezTo>
                        <a:pt x="1588321" y="961928"/>
                        <a:pt x="1584947" y="962169"/>
                        <a:pt x="1582457" y="962329"/>
                      </a:cubicBezTo>
                      <a:cubicBezTo>
                        <a:pt x="1581895" y="961767"/>
                        <a:pt x="1581172" y="960964"/>
                        <a:pt x="1580690" y="960401"/>
                      </a:cubicBezTo>
                      <a:cubicBezTo>
                        <a:pt x="1570890" y="946987"/>
                        <a:pt x="1568962" y="940078"/>
                        <a:pt x="1568560" y="916703"/>
                      </a:cubicBezTo>
                      <a:cubicBezTo>
                        <a:pt x="1567917" y="916060"/>
                        <a:pt x="1567034" y="915177"/>
                        <a:pt x="1566391" y="914614"/>
                      </a:cubicBezTo>
                      <a:cubicBezTo>
                        <a:pt x="1564303" y="916783"/>
                        <a:pt x="1561571" y="919675"/>
                        <a:pt x="1559483" y="921844"/>
                      </a:cubicBezTo>
                      <a:cubicBezTo>
                        <a:pt x="1556672" y="921121"/>
                        <a:pt x="1552896" y="920237"/>
                        <a:pt x="1550085" y="919515"/>
                      </a:cubicBezTo>
                      <a:cubicBezTo>
                        <a:pt x="1549522" y="920237"/>
                        <a:pt x="1548880" y="921201"/>
                        <a:pt x="1548317" y="921924"/>
                      </a:cubicBezTo>
                      <a:lnTo>
                        <a:pt x="1547434" y="919595"/>
                      </a:lnTo>
                      <a:cubicBezTo>
                        <a:pt x="1544783" y="922005"/>
                        <a:pt x="1544783" y="922005"/>
                        <a:pt x="1510242" y="941364"/>
                      </a:cubicBezTo>
                      <a:cubicBezTo>
                        <a:pt x="1329102" y="1035749"/>
                        <a:pt x="1329102" y="1035749"/>
                        <a:pt x="1316411" y="1034062"/>
                      </a:cubicBezTo>
                      <a:cubicBezTo>
                        <a:pt x="1255924" y="1098003"/>
                        <a:pt x="1213028" y="1175118"/>
                        <a:pt x="1158646" y="1243638"/>
                      </a:cubicBezTo>
                      <a:cubicBezTo>
                        <a:pt x="1159530" y="1242754"/>
                        <a:pt x="1160655" y="1241549"/>
                        <a:pt x="1161538" y="1240666"/>
                      </a:cubicBezTo>
                      <a:cubicBezTo>
                        <a:pt x="1150694" y="1260427"/>
                        <a:pt x="1149087" y="1264845"/>
                        <a:pt x="1145794" y="1283722"/>
                      </a:cubicBezTo>
                      <a:cubicBezTo>
                        <a:pt x="1148927" y="1283481"/>
                        <a:pt x="1153264" y="1283882"/>
                        <a:pt x="1156076" y="1282517"/>
                      </a:cubicBezTo>
                      <a:cubicBezTo>
                        <a:pt x="1158245" y="1284204"/>
                        <a:pt x="1161137" y="1286533"/>
                        <a:pt x="1163386" y="1288220"/>
                      </a:cubicBezTo>
                      <a:cubicBezTo>
                        <a:pt x="1162663" y="1290871"/>
                        <a:pt x="1161779" y="1294405"/>
                        <a:pt x="1161137" y="1297056"/>
                      </a:cubicBezTo>
                      <a:cubicBezTo>
                        <a:pt x="1161940" y="1296735"/>
                        <a:pt x="1162984" y="1296253"/>
                        <a:pt x="1163787" y="1295851"/>
                      </a:cubicBezTo>
                      <a:cubicBezTo>
                        <a:pt x="1175033" y="1319950"/>
                        <a:pt x="1172382" y="1333445"/>
                        <a:pt x="1151658" y="1358346"/>
                      </a:cubicBezTo>
                      <a:cubicBezTo>
                        <a:pt x="1152220" y="1358587"/>
                        <a:pt x="1153024" y="1358909"/>
                        <a:pt x="1153666" y="1359149"/>
                      </a:cubicBezTo>
                      <a:cubicBezTo>
                        <a:pt x="1158968" y="1359712"/>
                        <a:pt x="1166117" y="1360917"/>
                        <a:pt x="1171258" y="1362523"/>
                      </a:cubicBezTo>
                      <a:cubicBezTo>
                        <a:pt x="1173507" y="1364291"/>
                        <a:pt x="1176560" y="1366620"/>
                        <a:pt x="1178809" y="1368387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84512" y="1367423"/>
                        <a:pt x="1184512" y="1367423"/>
                        <a:pt x="1184512" y="1367423"/>
                      </a:cubicBezTo>
                      <a:cubicBezTo>
                        <a:pt x="1179451" y="1368709"/>
                        <a:pt x="1173105" y="1372564"/>
                        <a:pt x="1169892" y="1376661"/>
                      </a:cubicBezTo>
                      <a:cubicBezTo>
                        <a:pt x="1171338" y="1377063"/>
                        <a:pt x="1173266" y="1377625"/>
                        <a:pt x="1174712" y="1378027"/>
                      </a:cubicBezTo>
                      <a:cubicBezTo>
                        <a:pt x="1190055" y="1385417"/>
                        <a:pt x="1190055" y="1385417"/>
                        <a:pt x="1199614" y="1381561"/>
                      </a:cubicBezTo>
                      <a:cubicBezTo>
                        <a:pt x="1201381" y="1384373"/>
                        <a:pt x="1203791" y="1388148"/>
                        <a:pt x="1205558" y="1390960"/>
                      </a:cubicBezTo>
                      <a:lnTo>
                        <a:pt x="1208610" y="1388791"/>
                      </a:lnTo>
                      <a:cubicBezTo>
                        <a:pt x="1211101" y="1389754"/>
                        <a:pt x="1214474" y="1391120"/>
                        <a:pt x="1216965" y="1392084"/>
                      </a:cubicBezTo>
                      <a:cubicBezTo>
                        <a:pt x="1217446" y="1391682"/>
                        <a:pt x="1218089" y="1391201"/>
                        <a:pt x="1218571" y="1390799"/>
                      </a:cubicBezTo>
                      <a:cubicBezTo>
                        <a:pt x="1224756" y="1395217"/>
                        <a:pt x="1224756" y="1395217"/>
                        <a:pt x="1251265" y="1404053"/>
                      </a:cubicBezTo>
                      <a:cubicBezTo>
                        <a:pt x="1251747" y="1406704"/>
                        <a:pt x="1252309" y="1410158"/>
                        <a:pt x="1252791" y="1412809"/>
                      </a:cubicBezTo>
                      <a:cubicBezTo>
                        <a:pt x="1299140" y="1425260"/>
                        <a:pt x="1342999" y="1436907"/>
                        <a:pt x="1404852" y="1407346"/>
                      </a:cubicBezTo>
                      <a:cubicBezTo>
                        <a:pt x="1573621" y="1326777"/>
                        <a:pt x="1573621" y="1326777"/>
                        <a:pt x="1600450" y="1329428"/>
                      </a:cubicBezTo>
                      <a:cubicBezTo>
                        <a:pt x="1601334" y="1331838"/>
                        <a:pt x="1602619" y="1334971"/>
                        <a:pt x="1603503" y="1337381"/>
                      </a:cubicBezTo>
                      <a:cubicBezTo>
                        <a:pt x="1627681" y="1342441"/>
                        <a:pt x="1648808" y="1317620"/>
                        <a:pt x="1648968" y="1317299"/>
                      </a:cubicBezTo>
                      <a:cubicBezTo>
                        <a:pt x="1668006" y="1319066"/>
                        <a:pt x="1668006" y="1319066"/>
                        <a:pt x="1674031" y="1316656"/>
                      </a:cubicBezTo>
                      <a:lnTo>
                        <a:pt x="1674352" y="1316817"/>
                      </a:lnTo>
                      <a:lnTo>
                        <a:pt x="1675557" y="1318825"/>
                      </a:lnTo>
                      <a:lnTo>
                        <a:pt x="1672826" y="1320753"/>
                      </a:lnTo>
                      <a:lnTo>
                        <a:pt x="1675316" y="1322841"/>
                      </a:lnTo>
                      <a:cubicBezTo>
                        <a:pt x="1681180" y="1333445"/>
                        <a:pt x="1682626" y="1335935"/>
                        <a:pt x="1676119" y="1352161"/>
                      </a:cubicBezTo>
                      <a:cubicBezTo>
                        <a:pt x="1677886" y="1354250"/>
                        <a:pt x="1680216" y="1356981"/>
                        <a:pt x="1681983" y="1358989"/>
                      </a:cubicBezTo>
                      <a:cubicBezTo>
                        <a:pt x="1679413" y="1364371"/>
                        <a:pt x="1675075" y="1371199"/>
                        <a:pt x="1671300" y="1375858"/>
                      </a:cubicBezTo>
                      <a:cubicBezTo>
                        <a:pt x="1674995" y="1378428"/>
                        <a:pt x="1679413" y="1383168"/>
                        <a:pt x="1680859" y="1387425"/>
                      </a:cubicBezTo>
                      <a:cubicBezTo>
                        <a:pt x="1702708" y="1393209"/>
                        <a:pt x="1723352" y="1403009"/>
                        <a:pt x="1746246" y="1404937"/>
                      </a:cubicBezTo>
                      <a:cubicBezTo>
                        <a:pt x="1741506" y="1417628"/>
                        <a:pt x="1739739" y="1422368"/>
                        <a:pt x="1750664" y="1440602"/>
                      </a:cubicBezTo>
                      <a:cubicBezTo>
                        <a:pt x="1750744" y="1440120"/>
                        <a:pt x="1750905" y="1439477"/>
                        <a:pt x="1751065" y="1439076"/>
                      </a:cubicBezTo>
                      <a:cubicBezTo>
                        <a:pt x="1736044" y="1511451"/>
                        <a:pt x="1742791" y="1544627"/>
                        <a:pt x="1781188" y="1587121"/>
                      </a:cubicBezTo>
                      <a:cubicBezTo>
                        <a:pt x="1780947" y="1587121"/>
                        <a:pt x="1780546" y="1587121"/>
                        <a:pt x="1780305" y="1587121"/>
                      </a:cubicBezTo>
                      <a:cubicBezTo>
                        <a:pt x="1792354" y="1621260"/>
                        <a:pt x="1814926" y="1650579"/>
                        <a:pt x="1824806" y="1685763"/>
                      </a:cubicBezTo>
                      <a:cubicBezTo>
                        <a:pt x="1920156" y="1709380"/>
                        <a:pt x="2043941" y="1367022"/>
                        <a:pt x="2037515" y="1284445"/>
                      </a:cubicBezTo>
                      <a:cubicBezTo>
                        <a:pt x="2037113" y="1282436"/>
                        <a:pt x="2036872" y="1282758"/>
                        <a:pt x="2036631" y="1283079"/>
                      </a:cubicBezTo>
                      <a:cubicBezTo>
                        <a:pt x="2035828" y="1262917"/>
                        <a:pt x="2035828" y="1262917"/>
                        <a:pt x="2035105" y="1257374"/>
                      </a:cubicBezTo>
                      <a:lnTo>
                        <a:pt x="2035747" y="1255285"/>
                      </a:lnTo>
                      <a:cubicBezTo>
                        <a:pt x="2031972" y="1251671"/>
                        <a:pt x="2013577" y="1230063"/>
                        <a:pt x="2024903" y="1154875"/>
                      </a:cubicBezTo>
                      <a:cubicBezTo>
                        <a:pt x="2024984" y="1154795"/>
                        <a:pt x="2025144" y="1154795"/>
                        <a:pt x="2025305" y="1154715"/>
                      </a:cubicBezTo>
                      <a:lnTo>
                        <a:pt x="2025385" y="1153269"/>
                      </a:lnTo>
                      <a:cubicBezTo>
                        <a:pt x="2054384" y="1015747"/>
                        <a:pt x="2028759" y="933251"/>
                        <a:pt x="2028518" y="932608"/>
                      </a:cubicBezTo>
                      <a:cubicBezTo>
                        <a:pt x="2014220" y="977511"/>
                        <a:pt x="2014220" y="977511"/>
                        <a:pt x="2000002" y="989239"/>
                      </a:cubicBezTo>
                      <a:cubicBezTo>
                        <a:pt x="1999680" y="984419"/>
                        <a:pt x="1997993" y="977752"/>
                        <a:pt x="1995182" y="973816"/>
                      </a:cubicBezTo>
                      <a:cubicBezTo>
                        <a:pt x="1978554" y="967952"/>
                        <a:pt x="1978393" y="967952"/>
                        <a:pt x="1967228" y="967631"/>
                      </a:cubicBezTo>
                      <a:cubicBezTo>
                        <a:pt x="1954697" y="952529"/>
                        <a:pt x="1932285" y="945942"/>
                        <a:pt x="1929152" y="922888"/>
                      </a:cubicBezTo>
                      <a:cubicBezTo>
                        <a:pt x="1904974" y="908188"/>
                        <a:pt x="1849226" y="853886"/>
                        <a:pt x="1848905" y="853485"/>
                      </a:cubicBezTo>
                      <a:cubicBezTo>
                        <a:pt x="1853162" y="857501"/>
                        <a:pt x="1859347" y="862482"/>
                        <a:pt x="1864167" y="865855"/>
                      </a:cubicBezTo>
                      <a:cubicBezTo>
                        <a:pt x="1866416" y="864329"/>
                        <a:pt x="1869469" y="862241"/>
                        <a:pt x="1871718" y="860714"/>
                      </a:cubicBezTo>
                      <a:cubicBezTo>
                        <a:pt x="1871477" y="854931"/>
                        <a:pt x="1870593" y="847139"/>
                        <a:pt x="1869549" y="841436"/>
                      </a:cubicBezTo>
                      <a:cubicBezTo>
                        <a:pt x="1871557" y="847300"/>
                        <a:pt x="1873967" y="855252"/>
                        <a:pt x="1875493" y="861277"/>
                      </a:cubicBezTo>
                      <a:cubicBezTo>
                        <a:pt x="1901038" y="871237"/>
                        <a:pt x="1907865" y="874691"/>
                        <a:pt x="1931241" y="890034"/>
                      </a:cubicBezTo>
                      <a:cubicBezTo>
                        <a:pt x="1931161" y="890195"/>
                        <a:pt x="1931000" y="890275"/>
                        <a:pt x="1930920" y="890436"/>
                      </a:cubicBezTo>
                      <a:cubicBezTo>
                        <a:pt x="1953331" y="909072"/>
                        <a:pt x="1967067" y="923611"/>
                        <a:pt x="1985221" y="947870"/>
                      </a:cubicBezTo>
                      <a:cubicBezTo>
                        <a:pt x="1985061" y="947870"/>
                        <a:pt x="1984739" y="947870"/>
                        <a:pt x="1984579" y="947870"/>
                      </a:cubicBezTo>
                      <a:lnTo>
                        <a:pt x="1984739" y="949156"/>
                      </a:lnTo>
                      <a:cubicBezTo>
                        <a:pt x="1988193" y="953574"/>
                        <a:pt x="1992290" y="959919"/>
                        <a:pt x="1995102" y="964819"/>
                      </a:cubicBezTo>
                      <a:cubicBezTo>
                        <a:pt x="2033338" y="905457"/>
                        <a:pt x="2005785" y="771149"/>
                        <a:pt x="1969236" y="732752"/>
                      </a:cubicBezTo>
                      <a:cubicBezTo>
                        <a:pt x="1975582" y="712429"/>
                        <a:pt x="1972529" y="706485"/>
                        <a:pt x="1934856" y="633627"/>
                      </a:cubicBezTo>
                      <a:cubicBezTo>
                        <a:pt x="1870674" y="526711"/>
                        <a:pt x="1868183" y="522533"/>
                        <a:pt x="1822075" y="463412"/>
                      </a:cubicBezTo>
                      <a:cubicBezTo>
                        <a:pt x="1743916" y="371838"/>
                        <a:pt x="1739257" y="366376"/>
                        <a:pt x="1682385" y="314163"/>
                      </a:cubicBezTo>
                      <a:cubicBezTo>
                        <a:pt x="1595631" y="241225"/>
                        <a:pt x="1586553" y="233594"/>
                        <a:pt x="1517150" y="188289"/>
                      </a:cubicBezTo>
                      <a:cubicBezTo>
                        <a:pt x="1429191" y="136477"/>
                        <a:pt x="1413286" y="127079"/>
                        <a:pt x="1325086" y="88682"/>
                      </a:cubicBezTo>
                      <a:cubicBezTo>
                        <a:pt x="1246606" y="59041"/>
                        <a:pt x="1225479" y="51008"/>
                        <a:pt x="1126756" y="26026"/>
                      </a:cubicBezTo>
                      <a:cubicBezTo>
                        <a:pt x="1058156" y="11888"/>
                        <a:pt x="1044018" y="8997"/>
                        <a:pt x="1005381" y="4579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7" name="Freeform: Shape 426">
                  <a:extLst>
                    <a:ext uri="{FF2B5EF4-FFF2-40B4-BE49-F238E27FC236}">
                      <a16:creationId xmlns:a16="http://schemas.microsoft.com/office/drawing/2014/main" id="{C9925EFF-4393-69E6-0EB5-AC94A8731274}"/>
                    </a:ext>
                  </a:extLst>
                </p:cNvPr>
                <p:cNvSpPr/>
                <p:nvPr/>
              </p:nvSpPr>
              <p:spPr>
                <a:xfrm>
                  <a:off x="-5342303" y="2003516"/>
                  <a:ext cx="2172185" cy="1418833"/>
                </a:xfrm>
                <a:custGeom>
                  <a:avLst/>
                  <a:gdLst>
                    <a:gd name="connsiteX0" fmla="*/ 97334 w 2172185"/>
                    <a:gd name="connsiteY0" fmla="*/ 1142023 h 1418833"/>
                    <a:gd name="connsiteX1" fmla="*/ 96290 w 2172185"/>
                    <a:gd name="connsiteY1" fmla="*/ 1138649 h 1418833"/>
                    <a:gd name="connsiteX2" fmla="*/ 95968 w 2172185"/>
                    <a:gd name="connsiteY2" fmla="*/ 1138489 h 1418833"/>
                    <a:gd name="connsiteX3" fmla="*/ 95486 w 2172185"/>
                    <a:gd name="connsiteY3" fmla="*/ 1148610 h 1418833"/>
                    <a:gd name="connsiteX4" fmla="*/ 97334 w 2172185"/>
                    <a:gd name="connsiteY4" fmla="*/ 1142023 h 1418833"/>
                    <a:gd name="connsiteX5" fmla="*/ 301688 w 2172185"/>
                    <a:gd name="connsiteY5" fmla="*/ 1161864 h 1418833"/>
                    <a:gd name="connsiteX6" fmla="*/ 301688 w 2172185"/>
                    <a:gd name="connsiteY6" fmla="*/ 1161864 h 1418833"/>
                    <a:gd name="connsiteX7" fmla="*/ 300965 w 2172185"/>
                    <a:gd name="connsiteY7" fmla="*/ 1162989 h 1418833"/>
                    <a:gd name="connsiteX8" fmla="*/ 301287 w 2172185"/>
                    <a:gd name="connsiteY8" fmla="*/ 1163712 h 1418833"/>
                    <a:gd name="connsiteX9" fmla="*/ 301688 w 2172185"/>
                    <a:gd name="connsiteY9" fmla="*/ 1161864 h 1418833"/>
                    <a:gd name="connsiteX10" fmla="*/ 300323 w 2172185"/>
                    <a:gd name="connsiteY10" fmla="*/ 1161623 h 1418833"/>
                    <a:gd name="connsiteX11" fmla="*/ 300403 w 2172185"/>
                    <a:gd name="connsiteY11" fmla="*/ 1161703 h 1418833"/>
                    <a:gd name="connsiteX12" fmla="*/ 298636 w 2172185"/>
                    <a:gd name="connsiteY12" fmla="*/ 1158089 h 1418833"/>
                    <a:gd name="connsiteX13" fmla="*/ 298716 w 2172185"/>
                    <a:gd name="connsiteY13" fmla="*/ 1158169 h 1418833"/>
                    <a:gd name="connsiteX14" fmla="*/ 300323 w 2172185"/>
                    <a:gd name="connsiteY14" fmla="*/ 1161623 h 1418833"/>
                    <a:gd name="connsiteX15" fmla="*/ 236783 w 2172185"/>
                    <a:gd name="connsiteY15" fmla="*/ 1129572 h 1418833"/>
                    <a:gd name="connsiteX16" fmla="*/ 237667 w 2172185"/>
                    <a:gd name="connsiteY16" fmla="*/ 1131179 h 1418833"/>
                    <a:gd name="connsiteX17" fmla="*/ 237346 w 2172185"/>
                    <a:gd name="connsiteY17" fmla="*/ 1129653 h 1418833"/>
                    <a:gd name="connsiteX18" fmla="*/ 237346 w 2172185"/>
                    <a:gd name="connsiteY18" fmla="*/ 1129653 h 1418833"/>
                    <a:gd name="connsiteX19" fmla="*/ 236783 w 2172185"/>
                    <a:gd name="connsiteY19" fmla="*/ 1129572 h 1418833"/>
                    <a:gd name="connsiteX20" fmla="*/ 2172125 w 2172185"/>
                    <a:gd name="connsiteY20" fmla="*/ 746809 h 1418833"/>
                    <a:gd name="connsiteX21" fmla="*/ 2172125 w 2172185"/>
                    <a:gd name="connsiteY21" fmla="*/ 746809 h 1418833"/>
                    <a:gd name="connsiteX22" fmla="*/ 2169956 w 2172185"/>
                    <a:gd name="connsiteY22" fmla="*/ 747050 h 1418833"/>
                    <a:gd name="connsiteX23" fmla="*/ 2170037 w 2172185"/>
                    <a:gd name="connsiteY23" fmla="*/ 747050 h 1418833"/>
                    <a:gd name="connsiteX24" fmla="*/ 2172125 w 2172185"/>
                    <a:gd name="connsiteY24" fmla="*/ 746809 h 1418833"/>
                    <a:gd name="connsiteX25" fmla="*/ 2169956 w 2172185"/>
                    <a:gd name="connsiteY25" fmla="*/ 747050 h 1418833"/>
                    <a:gd name="connsiteX26" fmla="*/ 2169956 w 2172185"/>
                    <a:gd name="connsiteY26" fmla="*/ 747050 h 1418833"/>
                    <a:gd name="connsiteX27" fmla="*/ 2169394 w 2172185"/>
                    <a:gd name="connsiteY27" fmla="*/ 746729 h 1418833"/>
                    <a:gd name="connsiteX28" fmla="*/ 2169394 w 2172185"/>
                    <a:gd name="connsiteY28" fmla="*/ 746729 h 1418833"/>
                    <a:gd name="connsiteX29" fmla="*/ 2169555 w 2172185"/>
                    <a:gd name="connsiteY29" fmla="*/ 747131 h 1418833"/>
                    <a:gd name="connsiteX30" fmla="*/ 2169956 w 2172185"/>
                    <a:gd name="connsiteY30" fmla="*/ 747050 h 1418833"/>
                    <a:gd name="connsiteX31" fmla="*/ 6242 w 2172185"/>
                    <a:gd name="connsiteY31" fmla="*/ 844488 h 1418833"/>
                    <a:gd name="connsiteX32" fmla="*/ 6242 w 2172185"/>
                    <a:gd name="connsiteY32" fmla="*/ 844488 h 1418833"/>
                    <a:gd name="connsiteX33" fmla="*/ 6644 w 2172185"/>
                    <a:gd name="connsiteY33" fmla="*/ 842801 h 1418833"/>
                    <a:gd name="connsiteX34" fmla="*/ 6644 w 2172185"/>
                    <a:gd name="connsiteY34" fmla="*/ 842882 h 1418833"/>
                    <a:gd name="connsiteX35" fmla="*/ 6242 w 2172185"/>
                    <a:gd name="connsiteY35" fmla="*/ 844488 h 1418833"/>
                    <a:gd name="connsiteX36" fmla="*/ 1958854 w 2172185"/>
                    <a:gd name="connsiteY36" fmla="*/ 775406 h 1418833"/>
                    <a:gd name="connsiteX37" fmla="*/ 1958854 w 2172185"/>
                    <a:gd name="connsiteY37" fmla="*/ 775326 h 1418833"/>
                    <a:gd name="connsiteX38" fmla="*/ 1958854 w 2172185"/>
                    <a:gd name="connsiteY38" fmla="*/ 775406 h 1418833"/>
                    <a:gd name="connsiteX39" fmla="*/ 1959095 w 2172185"/>
                    <a:gd name="connsiteY39" fmla="*/ 778539 h 1418833"/>
                    <a:gd name="connsiteX40" fmla="*/ 1958854 w 2172185"/>
                    <a:gd name="connsiteY40" fmla="*/ 775406 h 1418833"/>
                    <a:gd name="connsiteX41" fmla="*/ 1954838 w 2172185"/>
                    <a:gd name="connsiteY41" fmla="*/ 777254 h 1418833"/>
                    <a:gd name="connsiteX42" fmla="*/ 1955802 w 2172185"/>
                    <a:gd name="connsiteY42" fmla="*/ 774844 h 1418833"/>
                    <a:gd name="connsiteX43" fmla="*/ 1954517 w 2172185"/>
                    <a:gd name="connsiteY43" fmla="*/ 775888 h 1418833"/>
                    <a:gd name="connsiteX44" fmla="*/ 1932667 w 2172185"/>
                    <a:gd name="connsiteY44" fmla="*/ 791311 h 1418833"/>
                    <a:gd name="connsiteX45" fmla="*/ 1930258 w 2172185"/>
                    <a:gd name="connsiteY45" fmla="*/ 791713 h 1418833"/>
                    <a:gd name="connsiteX46" fmla="*/ 1917887 w 2172185"/>
                    <a:gd name="connsiteY46" fmla="*/ 795408 h 1418833"/>
                    <a:gd name="connsiteX47" fmla="*/ 1959095 w 2172185"/>
                    <a:gd name="connsiteY47" fmla="*/ 798782 h 1418833"/>
                    <a:gd name="connsiteX48" fmla="*/ 1956525 w 2172185"/>
                    <a:gd name="connsiteY48" fmla="*/ 791713 h 1418833"/>
                    <a:gd name="connsiteX49" fmla="*/ 1957087 w 2172185"/>
                    <a:gd name="connsiteY49" fmla="*/ 790829 h 1418833"/>
                    <a:gd name="connsiteX50" fmla="*/ 1954838 w 2172185"/>
                    <a:gd name="connsiteY50" fmla="*/ 777254 h 1418833"/>
                    <a:gd name="connsiteX51" fmla="*/ 1978856 w 2172185"/>
                    <a:gd name="connsiteY51" fmla="*/ 735965 h 1418833"/>
                    <a:gd name="connsiteX52" fmla="*/ 1977972 w 2172185"/>
                    <a:gd name="connsiteY52" fmla="*/ 736045 h 1418833"/>
                    <a:gd name="connsiteX53" fmla="*/ 1977731 w 2172185"/>
                    <a:gd name="connsiteY53" fmla="*/ 736206 h 1418833"/>
                    <a:gd name="connsiteX54" fmla="*/ 1978776 w 2172185"/>
                    <a:gd name="connsiteY54" fmla="*/ 736286 h 1418833"/>
                    <a:gd name="connsiteX55" fmla="*/ 1978856 w 2172185"/>
                    <a:gd name="connsiteY55" fmla="*/ 735965 h 1418833"/>
                    <a:gd name="connsiteX56" fmla="*/ 17809 w 2172185"/>
                    <a:gd name="connsiteY56" fmla="*/ 792195 h 1418833"/>
                    <a:gd name="connsiteX57" fmla="*/ 17809 w 2172185"/>
                    <a:gd name="connsiteY57" fmla="*/ 792195 h 1418833"/>
                    <a:gd name="connsiteX58" fmla="*/ 17970 w 2172185"/>
                    <a:gd name="connsiteY58" fmla="*/ 791713 h 1418833"/>
                    <a:gd name="connsiteX59" fmla="*/ 17809 w 2172185"/>
                    <a:gd name="connsiteY59" fmla="*/ 792195 h 1418833"/>
                    <a:gd name="connsiteX60" fmla="*/ 1862541 w 2172185"/>
                    <a:gd name="connsiteY60" fmla="*/ 787536 h 1418833"/>
                    <a:gd name="connsiteX61" fmla="*/ 1855954 w 2172185"/>
                    <a:gd name="connsiteY61" fmla="*/ 778218 h 1418833"/>
                    <a:gd name="connsiteX62" fmla="*/ 1846556 w 2172185"/>
                    <a:gd name="connsiteY62" fmla="*/ 780547 h 1418833"/>
                    <a:gd name="connsiteX63" fmla="*/ 1836033 w 2172185"/>
                    <a:gd name="connsiteY63" fmla="*/ 788580 h 1418833"/>
                    <a:gd name="connsiteX64" fmla="*/ 1836435 w 2172185"/>
                    <a:gd name="connsiteY64" fmla="*/ 790749 h 1418833"/>
                    <a:gd name="connsiteX65" fmla="*/ 1847118 w 2172185"/>
                    <a:gd name="connsiteY65" fmla="*/ 802718 h 1418833"/>
                    <a:gd name="connsiteX66" fmla="*/ 1853544 w 2172185"/>
                    <a:gd name="connsiteY66" fmla="*/ 811875 h 1418833"/>
                    <a:gd name="connsiteX67" fmla="*/ 1856195 w 2172185"/>
                    <a:gd name="connsiteY67" fmla="*/ 810429 h 1418833"/>
                    <a:gd name="connsiteX68" fmla="*/ 1857320 w 2172185"/>
                    <a:gd name="connsiteY68" fmla="*/ 808983 h 1418833"/>
                    <a:gd name="connsiteX69" fmla="*/ 1859007 w 2172185"/>
                    <a:gd name="connsiteY69" fmla="*/ 805690 h 1418833"/>
                    <a:gd name="connsiteX70" fmla="*/ 1862059 w 2172185"/>
                    <a:gd name="connsiteY70" fmla="*/ 801754 h 1418833"/>
                    <a:gd name="connsiteX71" fmla="*/ 1863826 w 2172185"/>
                    <a:gd name="connsiteY71" fmla="*/ 792034 h 1418833"/>
                    <a:gd name="connsiteX72" fmla="*/ 1862541 w 2172185"/>
                    <a:gd name="connsiteY72" fmla="*/ 787536 h 1418833"/>
                    <a:gd name="connsiteX73" fmla="*/ 478088 w 2172185"/>
                    <a:gd name="connsiteY73" fmla="*/ 993657 h 1418833"/>
                    <a:gd name="connsiteX74" fmla="*/ 478088 w 2172185"/>
                    <a:gd name="connsiteY74" fmla="*/ 993657 h 1418833"/>
                    <a:gd name="connsiteX75" fmla="*/ 477607 w 2172185"/>
                    <a:gd name="connsiteY75" fmla="*/ 993979 h 1418833"/>
                    <a:gd name="connsiteX76" fmla="*/ 478008 w 2172185"/>
                    <a:gd name="connsiteY76" fmla="*/ 993738 h 1418833"/>
                    <a:gd name="connsiteX77" fmla="*/ 478088 w 2172185"/>
                    <a:gd name="connsiteY77" fmla="*/ 993657 h 1418833"/>
                    <a:gd name="connsiteX78" fmla="*/ 1845030 w 2172185"/>
                    <a:gd name="connsiteY78" fmla="*/ 756529 h 1418833"/>
                    <a:gd name="connsiteX79" fmla="*/ 1842138 w 2172185"/>
                    <a:gd name="connsiteY79" fmla="*/ 755003 h 1418833"/>
                    <a:gd name="connsiteX80" fmla="*/ 1839567 w 2172185"/>
                    <a:gd name="connsiteY80" fmla="*/ 757332 h 1418833"/>
                    <a:gd name="connsiteX81" fmla="*/ 1836354 w 2172185"/>
                    <a:gd name="connsiteY81" fmla="*/ 759180 h 1418833"/>
                    <a:gd name="connsiteX82" fmla="*/ 1834667 w 2172185"/>
                    <a:gd name="connsiteY82" fmla="*/ 760706 h 1418833"/>
                    <a:gd name="connsiteX83" fmla="*/ 1831695 w 2172185"/>
                    <a:gd name="connsiteY83" fmla="*/ 766490 h 1418833"/>
                    <a:gd name="connsiteX84" fmla="*/ 1833784 w 2172185"/>
                    <a:gd name="connsiteY84" fmla="*/ 766811 h 1418833"/>
                    <a:gd name="connsiteX85" fmla="*/ 1832659 w 2172185"/>
                    <a:gd name="connsiteY85" fmla="*/ 768418 h 1418833"/>
                    <a:gd name="connsiteX86" fmla="*/ 1837158 w 2172185"/>
                    <a:gd name="connsiteY86" fmla="*/ 771470 h 1418833"/>
                    <a:gd name="connsiteX87" fmla="*/ 1847199 w 2172185"/>
                    <a:gd name="connsiteY87" fmla="*/ 775968 h 1418833"/>
                    <a:gd name="connsiteX88" fmla="*/ 1845030 w 2172185"/>
                    <a:gd name="connsiteY88" fmla="*/ 756529 h 1418833"/>
                    <a:gd name="connsiteX89" fmla="*/ 383944 w 2172185"/>
                    <a:gd name="connsiteY89" fmla="*/ 948995 h 1418833"/>
                    <a:gd name="connsiteX90" fmla="*/ 383944 w 2172185"/>
                    <a:gd name="connsiteY90" fmla="*/ 948995 h 1418833"/>
                    <a:gd name="connsiteX91" fmla="*/ 383382 w 2172185"/>
                    <a:gd name="connsiteY91" fmla="*/ 949075 h 1418833"/>
                    <a:gd name="connsiteX92" fmla="*/ 383382 w 2172185"/>
                    <a:gd name="connsiteY92" fmla="*/ 949075 h 1418833"/>
                    <a:gd name="connsiteX93" fmla="*/ 383462 w 2172185"/>
                    <a:gd name="connsiteY93" fmla="*/ 949075 h 1418833"/>
                    <a:gd name="connsiteX94" fmla="*/ 383944 w 2172185"/>
                    <a:gd name="connsiteY94" fmla="*/ 948995 h 1418833"/>
                    <a:gd name="connsiteX95" fmla="*/ 548697 w 2172185"/>
                    <a:gd name="connsiteY95" fmla="*/ 959438 h 1418833"/>
                    <a:gd name="connsiteX96" fmla="*/ 548777 w 2172185"/>
                    <a:gd name="connsiteY96" fmla="*/ 959357 h 1418833"/>
                    <a:gd name="connsiteX97" fmla="*/ 548777 w 2172185"/>
                    <a:gd name="connsiteY97" fmla="*/ 959357 h 1418833"/>
                    <a:gd name="connsiteX98" fmla="*/ 548697 w 2172185"/>
                    <a:gd name="connsiteY98" fmla="*/ 959438 h 1418833"/>
                    <a:gd name="connsiteX99" fmla="*/ 545243 w 2172185"/>
                    <a:gd name="connsiteY99" fmla="*/ 961285 h 1418833"/>
                    <a:gd name="connsiteX100" fmla="*/ 548697 w 2172185"/>
                    <a:gd name="connsiteY100" fmla="*/ 959438 h 1418833"/>
                    <a:gd name="connsiteX101" fmla="*/ 330124 w 2172185"/>
                    <a:gd name="connsiteY101" fmla="*/ 928190 h 1418833"/>
                    <a:gd name="connsiteX102" fmla="*/ 330205 w 2172185"/>
                    <a:gd name="connsiteY102" fmla="*/ 928110 h 1418833"/>
                    <a:gd name="connsiteX103" fmla="*/ 330124 w 2172185"/>
                    <a:gd name="connsiteY103" fmla="*/ 928190 h 1418833"/>
                    <a:gd name="connsiteX104" fmla="*/ 328036 w 2172185"/>
                    <a:gd name="connsiteY104" fmla="*/ 929716 h 1418833"/>
                    <a:gd name="connsiteX105" fmla="*/ 329080 w 2172185"/>
                    <a:gd name="connsiteY105" fmla="*/ 929556 h 1418833"/>
                    <a:gd name="connsiteX106" fmla="*/ 330124 w 2172185"/>
                    <a:gd name="connsiteY106" fmla="*/ 928190 h 1418833"/>
                    <a:gd name="connsiteX107" fmla="*/ 330847 w 2172185"/>
                    <a:gd name="connsiteY107" fmla="*/ 926985 h 1418833"/>
                    <a:gd name="connsiteX108" fmla="*/ 330847 w 2172185"/>
                    <a:gd name="connsiteY108" fmla="*/ 926985 h 1418833"/>
                    <a:gd name="connsiteX109" fmla="*/ 330847 w 2172185"/>
                    <a:gd name="connsiteY109" fmla="*/ 926985 h 1418833"/>
                    <a:gd name="connsiteX110" fmla="*/ 330205 w 2172185"/>
                    <a:gd name="connsiteY110" fmla="*/ 928029 h 1418833"/>
                    <a:gd name="connsiteX111" fmla="*/ 330847 w 2172185"/>
                    <a:gd name="connsiteY111" fmla="*/ 926985 h 1418833"/>
                    <a:gd name="connsiteX112" fmla="*/ 2079909 w 2172185"/>
                    <a:gd name="connsiteY112" fmla="*/ 539081 h 1418833"/>
                    <a:gd name="connsiteX113" fmla="*/ 2079828 w 2172185"/>
                    <a:gd name="connsiteY113" fmla="*/ 539001 h 1418833"/>
                    <a:gd name="connsiteX114" fmla="*/ 2079909 w 2172185"/>
                    <a:gd name="connsiteY114" fmla="*/ 539081 h 1418833"/>
                    <a:gd name="connsiteX115" fmla="*/ 2080310 w 2172185"/>
                    <a:gd name="connsiteY115" fmla="*/ 542535 h 1418833"/>
                    <a:gd name="connsiteX116" fmla="*/ 2079909 w 2172185"/>
                    <a:gd name="connsiteY116" fmla="*/ 539081 h 1418833"/>
                    <a:gd name="connsiteX117" fmla="*/ 2052918 w 2172185"/>
                    <a:gd name="connsiteY117" fmla="*/ 559002 h 1418833"/>
                    <a:gd name="connsiteX118" fmla="*/ 2052918 w 2172185"/>
                    <a:gd name="connsiteY118" fmla="*/ 559002 h 1418833"/>
                    <a:gd name="connsiteX119" fmla="*/ 2051312 w 2172185"/>
                    <a:gd name="connsiteY119" fmla="*/ 559565 h 1418833"/>
                    <a:gd name="connsiteX120" fmla="*/ 2051392 w 2172185"/>
                    <a:gd name="connsiteY120" fmla="*/ 559565 h 1418833"/>
                    <a:gd name="connsiteX121" fmla="*/ 2052918 w 2172185"/>
                    <a:gd name="connsiteY121" fmla="*/ 559002 h 1418833"/>
                    <a:gd name="connsiteX122" fmla="*/ 584121 w 2172185"/>
                    <a:gd name="connsiteY122" fmla="*/ 891561 h 1418833"/>
                    <a:gd name="connsiteX123" fmla="*/ 584282 w 2172185"/>
                    <a:gd name="connsiteY123" fmla="*/ 891561 h 1418833"/>
                    <a:gd name="connsiteX124" fmla="*/ 580748 w 2172185"/>
                    <a:gd name="connsiteY124" fmla="*/ 890757 h 1418833"/>
                    <a:gd name="connsiteX125" fmla="*/ 579703 w 2172185"/>
                    <a:gd name="connsiteY125" fmla="*/ 890757 h 1418833"/>
                    <a:gd name="connsiteX126" fmla="*/ 579543 w 2172185"/>
                    <a:gd name="connsiteY126" fmla="*/ 891641 h 1418833"/>
                    <a:gd name="connsiteX127" fmla="*/ 584121 w 2172185"/>
                    <a:gd name="connsiteY127" fmla="*/ 891561 h 1418833"/>
                    <a:gd name="connsiteX128" fmla="*/ 706622 w 2172185"/>
                    <a:gd name="connsiteY128" fmla="*/ 901602 h 1418833"/>
                    <a:gd name="connsiteX129" fmla="*/ 702766 w 2172185"/>
                    <a:gd name="connsiteY129" fmla="*/ 903529 h 1418833"/>
                    <a:gd name="connsiteX130" fmla="*/ 706702 w 2172185"/>
                    <a:gd name="connsiteY130" fmla="*/ 901521 h 1418833"/>
                    <a:gd name="connsiteX131" fmla="*/ 706622 w 2172185"/>
                    <a:gd name="connsiteY131" fmla="*/ 901602 h 1418833"/>
                    <a:gd name="connsiteX132" fmla="*/ 699794 w 2172185"/>
                    <a:gd name="connsiteY132" fmla="*/ 886018 h 1418833"/>
                    <a:gd name="connsiteX133" fmla="*/ 682122 w 2172185"/>
                    <a:gd name="connsiteY133" fmla="*/ 895657 h 1418833"/>
                    <a:gd name="connsiteX134" fmla="*/ 700035 w 2172185"/>
                    <a:gd name="connsiteY134" fmla="*/ 884090 h 1418833"/>
                    <a:gd name="connsiteX135" fmla="*/ 699794 w 2172185"/>
                    <a:gd name="connsiteY135" fmla="*/ 886018 h 1418833"/>
                    <a:gd name="connsiteX136" fmla="*/ 766305 w 2172185"/>
                    <a:gd name="connsiteY136" fmla="*/ 916060 h 1418833"/>
                    <a:gd name="connsiteX137" fmla="*/ 769277 w 2172185"/>
                    <a:gd name="connsiteY137" fmla="*/ 913731 h 1418833"/>
                    <a:gd name="connsiteX138" fmla="*/ 763333 w 2172185"/>
                    <a:gd name="connsiteY138" fmla="*/ 912446 h 1418833"/>
                    <a:gd name="connsiteX139" fmla="*/ 761646 w 2172185"/>
                    <a:gd name="connsiteY139" fmla="*/ 914293 h 1418833"/>
                    <a:gd name="connsiteX140" fmla="*/ 751846 w 2172185"/>
                    <a:gd name="connsiteY140" fmla="*/ 904895 h 1418833"/>
                    <a:gd name="connsiteX141" fmla="*/ 754015 w 2172185"/>
                    <a:gd name="connsiteY141" fmla="*/ 902003 h 1418833"/>
                    <a:gd name="connsiteX142" fmla="*/ 762048 w 2172185"/>
                    <a:gd name="connsiteY142" fmla="*/ 896219 h 1418833"/>
                    <a:gd name="connsiteX143" fmla="*/ 761566 w 2172185"/>
                    <a:gd name="connsiteY143" fmla="*/ 895577 h 1418833"/>
                    <a:gd name="connsiteX144" fmla="*/ 745661 w 2172185"/>
                    <a:gd name="connsiteY144" fmla="*/ 899192 h 1418833"/>
                    <a:gd name="connsiteX145" fmla="*/ 752810 w 2172185"/>
                    <a:gd name="connsiteY145" fmla="*/ 894131 h 1418833"/>
                    <a:gd name="connsiteX146" fmla="*/ 745661 w 2172185"/>
                    <a:gd name="connsiteY146" fmla="*/ 892524 h 1418833"/>
                    <a:gd name="connsiteX147" fmla="*/ 753292 w 2172185"/>
                    <a:gd name="connsiteY147" fmla="*/ 884170 h 1418833"/>
                    <a:gd name="connsiteX148" fmla="*/ 741002 w 2172185"/>
                    <a:gd name="connsiteY148" fmla="*/ 883447 h 1418833"/>
                    <a:gd name="connsiteX149" fmla="*/ 740761 w 2172185"/>
                    <a:gd name="connsiteY149" fmla="*/ 880073 h 1418833"/>
                    <a:gd name="connsiteX150" fmla="*/ 725900 w 2172185"/>
                    <a:gd name="connsiteY150" fmla="*/ 888026 h 1418833"/>
                    <a:gd name="connsiteX151" fmla="*/ 727828 w 2172185"/>
                    <a:gd name="connsiteY151" fmla="*/ 880475 h 1418833"/>
                    <a:gd name="connsiteX152" fmla="*/ 726945 w 2172185"/>
                    <a:gd name="connsiteY152" fmla="*/ 882724 h 1418833"/>
                    <a:gd name="connsiteX153" fmla="*/ 726061 w 2172185"/>
                    <a:gd name="connsiteY153" fmla="*/ 881118 h 1418833"/>
                    <a:gd name="connsiteX154" fmla="*/ 714413 w 2172185"/>
                    <a:gd name="connsiteY154" fmla="*/ 881921 h 1418833"/>
                    <a:gd name="connsiteX155" fmla="*/ 718189 w 2172185"/>
                    <a:gd name="connsiteY155" fmla="*/ 878065 h 1418833"/>
                    <a:gd name="connsiteX156" fmla="*/ 715618 w 2172185"/>
                    <a:gd name="connsiteY156" fmla="*/ 878226 h 1418833"/>
                    <a:gd name="connsiteX157" fmla="*/ 722848 w 2172185"/>
                    <a:gd name="connsiteY157" fmla="*/ 873487 h 1418833"/>
                    <a:gd name="connsiteX158" fmla="*/ 713931 w 2172185"/>
                    <a:gd name="connsiteY158" fmla="*/ 873487 h 1418833"/>
                    <a:gd name="connsiteX159" fmla="*/ 702846 w 2172185"/>
                    <a:gd name="connsiteY159" fmla="*/ 879270 h 1418833"/>
                    <a:gd name="connsiteX160" fmla="*/ 723571 w 2172185"/>
                    <a:gd name="connsiteY160" fmla="*/ 846336 h 1418833"/>
                    <a:gd name="connsiteX161" fmla="*/ 723571 w 2172185"/>
                    <a:gd name="connsiteY161" fmla="*/ 846336 h 1418833"/>
                    <a:gd name="connsiteX162" fmla="*/ 703489 w 2172185"/>
                    <a:gd name="connsiteY162" fmla="*/ 853565 h 1418833"/>
                    <a:gd name="connsiteX163" fmla="*/ 699472 w 2172185"/>
                    <a:gd name="connsiteY163" fmla="*/ 858867 h 1418833"/>
                    <a:gd name="connsiteX164" fmla="*/ 698508 w 2172185"/>
                    <a:gd name="connsiteY164" fmla="*/ 861919 h 1418833"/>
                    <a:gd name="connsiteX165" fmla="*/ 695697 w 2172185"/>
                    <a:gd name="connsiteY165" fmla="*/ 863687 h 1418833"/>
                    <a:gd name="connsiteX166" fmla="*/ 687022 w 2172185"/>
                    <a:gd name="connsiteY166" fmla="*/ 881439 h 1418833"/>
                    <a:gd name="connsiteX167" fmla="*/ 681158 w 2172185"/>
                    <a:gd name="connsiteY167" fmla="*/ 883849 h 1418833"/>
                    <a:gd name="connsiteX168" fmla="*/ 683648 w 2172185"/>
                    <a:gd name="connsiteY168" fmla="*/ 885777 h 1418833"/>
                    <a:gd name="connsiteX169" fmla="*/ 683005 w 2172185"/>
                    <a:gd name="connsiteY169" fmla="*/ 889954 h 1418833"/>
                    <a:gd name="connsiteX170" fmla="*/ 669831 w 2172185"/>
                    <a:gd name="connsiteY170" fmla="*/ 894774 h 1418833"/>
                    <a:gd name="connsiteX171" fmla="*/ 663325 w 2172185"/>
                    <a:gd name="connsiteY171" fmla="*/ 897826 h 1418833"/>
                    <a:gd name="connsiteX172" fmla="*/ 676820 w 2172185"/>
                    <a:gd name="connsiteY172" fmla="*/ 897826 h 1418833"/>
                    <a:gd name="connsiteX173" fmla="*/ 660594 w 2172185"/>
                    <a:gd name="connsiteY173" fmla="*/ 909152 h 1418833"/>
                    <a:gd name="connsiteX174" fmla="*/ 661076 w 2172185"/>
                    <a:gd name="connsiteY174" fmla="*/ 910437 h 1418833"/>
                    <a:gd name="connsiteX175" fmla="*/ 675776 w 2172185"/>
                    <a:gd name="connsiteY175" fmla="*/ 911000 h 1418833"/>
                    <a:gd name="connsiteX176" fmla="*/ 675695 w 2172185"/>
                    <a:gd name="connsiteY176" fmla="*/ 911884 h 1418833"/>
                    <a:gd name="connsiteX177" fmla="*/ 716341 w 2172185"/>
                    <a:gd name="connsiteY177" fmla="*/ 909072 h 1418833"/>
                    <a:gd name="connsiteX178" fmla="*/ 711602 w 2172185"/>
                    <a:gd name="connsiteY178" fmla="*/ 914454 h 1418833"/>
                    <a:gd name="connsiteX179" fmla="*/ 734094 w 2172185"/>
                    <a:gd name="connsiteY179" fmla="*/ 911321 h 1418833"/>
                    <a:gd name="connsiteX180" fmla="*/ 718510 w 2172185"/>
                    <a:gd name="connsiteY180" fmla="*/ 923210 h 1418833"/>
                    <a:gd name="connsiteX181" fmla="*/ 739154 w 2172185"/>
                    <a:gd name="connsiteY181" fmla="*/ 913008 h 1418833"/>
                    <a:gd name="connsiteX182" fmla="*/ 737548 w 2172185"/>
                    <a:gd name="connsiteY182" fmla="*/ 915980 h 1418833"/>
                    <a:gd name="connsiteX183" fmla="*/ 766305 w 2172185"/>
                    <a:gd name="connsiteY183" fmla="*/ 916060 h 1418833"/>
                    <a:gd name="connsiteX184" fmla="*/ 173083 w 2172185"/>
                    <a:gd name="connsiteY184" fmla="*/ 747934 h 1418833"/>
                    <a:gd name="connsiteX185" fmla="*/ 173886 w 2172185"/>
                    <a:gd name="connsiteY185" fmla="*/ 745444 h 1418833"/>
                    <a:gd name="connsiteX186" fmla="*/ 173806 w 2172185"/>
                    <a:gd name="connsiteY186" fmla="*/ 745524 h 1418833"/>
                    <a:gd name="connsiteX187" fmla="*/ 172521 w 2172185"/>
                    <a:gd name="connsiteY187" fmla="*/ 748978 h 1418833"/>
                    <a:gd name="connsiteX188" fmla="*/ 173083 w 2172185"/>
                    <a:gd name="connsiteY188" fmla="*/ 747934 h 1418833"/>
                    <a:gd name="connsiteX189" fmla="*/ 2055168 w 2172185"/>
                    <a:gd name="connsiteY189" fmla="*/ 355050 h 1418833"/>
                    <a:gd name="connsiteX190" fmla="*/ 2055168 w 2172185"/>
                    <a:gd name="connsiteY190" fmla="*/ 355050 h 1418833"/>
                    <a:gd name="connsiteX191" fmla="*/ 2055168 w 2172185"/>
                    <a:gd name="connsiteY191" fmla="*/ 355050 h 1418833"/>
                    <a:gd name="connsiteX192" fmla="*/ 2055087 w 2172185"/>
                    <a:gd name="connsiteY192" fmla="*/ 355050 h 1418833"/>
                    <a:gd name="connsiteX193" fmla="*/ 2055087 w 2172185"/>
                    <a:gd name="connsiteY193" fmla="*/ 355050 h 1418833"/>
                    <a:gd name="connsiteX194" fmla="*/ 2055168 w 2172185"/>
                    <a:gd name="connsiteY194" fmla="*/ 355050 h 1418833"/>
                    <a:gd name="connsiteX195" fmla="*/ 1466605 w 2172185"/>
                    <a:gd name="connsiteY195" fmla="*/ 686001 h 1418833"/>
                    <a:gd name="connsiteX196" fmla="*/ 1466203 w 2172185"/>
                    <a:gd name="connsiteY196" fmla="*/ 685519 h 1418833"/>
                    <a:gd name="connsiteX197" fmla="*/ 1464596 w 2172185"/>
                    <a:gd name="connsiteY197" fmla="*/ 686563 h 1418833"/>
                    <a:gd name="connsiteX198" fmla="*/ 1466605 w 2172185"/>
                    <a:gd name="connsiteY198" fmla="*/ 686001 h 1418833"/>
                    <a:gd name="connsiteX199" fmla="*/ 1850331 w 2172185"/>
                    <a:gd name="connsiteY199" fmla="*/ 522534 h 1418833"/>
                    <a:gd name="connsiteX200" fmla="*/ 1845271 w 2172185"/>
                    <a:gd name="connsiteY200" fmla="*/ 523016 h 1418833"/>
                    <a:gd name="connsiteX201" fmla="*/ 1845592 w 2172185"/>
                    <a:gd name="connsiteY201" fmla="*/ 523016 h 1418833"/>
                    <a:gd name="connsiteX202" fmla="*/ 1850331 w 2172185"/>
                    <a:gd name="connsiteY202" fmla="*/ 522534 h 1418833"/>
                    <a:gd name="connsiteX203" fmla="*/ 1519219 w 2172185"/>
                    <a:gd name="connsiteY203" fmla="*/ 662626 h 1418833"/>
                    <a:gd name="connsiteX204" fmla="*/ 1519059 w 2172185"/>
                    <a:gd name="connsiteY204" fmla="*/ 662786 h 1418833"/>
                    <a:gd name="connsiteX205" fmla="*/ 1515605 w 2172185"/>
                    <a:gd name="connsiteY205" fmla="*/ 662304 h 1418833"/>
                    <a:gd name="connsiteX206" fmla="*/ 1515685 w 2172185"/>
                    <a:gd name="connsiteY206" fmla="*/ 660377 h 1418833"/>
                    <a:gd name="connsiteX207" fmla="*/ 1519219 w 2172185"/>
                    <a:gd name="connsiteY207" fmla="*/ 662626 h 1418833"/>
                    <a:gd name="connsiteX208" fmla="*/ 1532956 w 2172185"/>
                    <a:gd name="connsiteY208" fmla="*/ 660377 h 1418833"/>
                    <a:gd name="connsiteX209" fmla="*/ 1525565 w 2172185"/>
                    <a:gd name="connsiteY209" fmla="*/ 658850 h 1418833"/>
                    <a:gd name="connsiteX210" fmla="*/ 1504600 w 2172185"/>
                    <a:gd name="connsiteY210" fmla="*/ 653549 h 1418833"/>
                    <a:gd name="connsiteX211" fmla="*/ 1504600 w 2172185"/>
                    <a:gd name="connsiteY211" fmla="*/ 653549 h 1418833"/>
                    <a:gd name="connsiteX212" fmla="*/ 1504600 w 2172185"/>
                    <a:gd name="connsiteY212" fmla="*/ 653549 h 1418833"/>
                    <a:gd name="connsiteX213" fmla="*/ 1504600 w 2172185"/>
                    <a:gd name="connsiteY213" fmla="*/ 653549 h 1418833"/>
                    <a:gd name="connsiteX214" fmla="*/ 1504600 w 2172185"/>
                    <a:gd name="connsiteY214" fmla="*/ 653549 h 1418833"/>
                    <a:gd name="connsiteX215" fmla="*/ 1504600 w 2172185"/>
                    <a:gd name="connsiteY215" fmla="*/ 653549 h 1418833"/>
                    <a:gd name="connsiteX216" fmla="*/ 1504600 w 2172185"/>
                    <a:gd name="connsiteY216" fmla="*/ 653549 h 1418833"/>
                    <a:gd name="connsiteX217" fmla="*/ 1504600 w 2172185"/>
                    <a:gd name="connsiteY217" fmla="*/ 653549 h 1418833"/>
                    <a:gd name="connsiteX218" fmla="*/ 1504600 w 2172185"/>
                    <a:gd name="connsiteY218" fmla="*/ 653549 h 1418833"/>
                    <a:gd name="connsiteX219" fmla="*/ 1497611 w 2172185"/>
                    <a:gd name="connsiteY219" fmla="*/ 653227 h 1418833"/>
                    <a:gd name="connsiteX220" fmla="*/ 1498977 w 2172185"/>
                    <a:gd name="connsiteY220" fmla="*/ 654031 h 1418833"/>
                    <a:gd name="connsiteX221" fmla="*/ 1496085 w 2172185"/>
                    <a:gd name="connsiteY221" fmla="*/ 661421 h 1418833"/>
                    <a:gd name="connsiteX222" fmla="*/ 1495844 w 2172185"/>
                    <a:gd name="connsiteY222" fmla="*/ 659814 h 1418833"/>
                    <a:gd name="connsiteX223" fmla="*/ 1492390 w 2172185"/>
                    <a:gd name="connsiteY223" fmla="*/ 657083 h 1418833"/>
                    <a:gd name="connsiteX224" fmla="*/ 1493193 w 2172185"/>
                    <a:gd name="connsiteY224" fmla="*/ 658127 h 1418833"/>
                    <a:gd name="connsiteX225" fmla="*/ 1481465 w 2172185"/>
                    <a:gd name="connsiteY225" fmla="*/ 671542 h 1418833"/>
                    <a:gd name="connsiteX226" fmla="*/ 1491426 w 2172185"/>
                    <a:gd name="connsiteY226" fmla="*/ 669373 h 1418833"/>
                    <a:gd name="connsiteX227" fmla="*/ 1466685 w 2172185"/>
                    <a:gd name="connsiteY227" fmla="*/ 686001 h 1418833"/>
                    <a:gd name="connsiteX228" fmla="*/ 1467729 w 2172185"/>
                    <a:gd name="connsiteY228" fmla="*/ 687286 h 1418833"/>
                    <a:gd name="connsiteX229" fmla="*/ 1468854 w 2172185"/>
                    <a:gd name="connsiteY229" fmla="*/ 686563 h 1418833"/>
                    <a:gd name="connsiteX230" fmla="*/ 1469496 w 2172185"/>
                    <a:gd name="connsiteY230" fmla="*/ 690821 h 1418833"/>
                    <a:gd name="connsiteX231" fmla="*/ 1474637 w 2172185"/>
                    <a:gd name="connsiteY231" fmla="*/ 689054 h 1418833"/>
                    <a:gd name="connsiteX232" fmla="*/ 1475119 w 2172185"/>
                    <a:gd name="connsiteY232" fmla="*/ 690339 h 1418833"/>
                    <a:gd name="connsiteX233" fmla="*/ 1470942 w 2172185"/>
                    <a:gd name="connsiteY233" fmla="*/ 693632 h 1418833"/>
                    <a:gd name="connsiteX234" fmla="*/ 1474316 w 2172185"/>
                    <a:gd name="connsiteY234" fmla="*/ 694436 h 1418833"/>
                    <a:gd name="connsiteX235" fmla="*/ 1469255 w 2172185"/>
                    <a:gd name="connsiteY235" fmla="*/ 697890 h 1418833"/>
                    <a:gd name="connsiteX236" fmla="*/ 1474477 w 2172185"/>
                    <a:gd name="connsiteY236" fmla="*/ 698452 h 1418833"/>
                    <a:gd name="connsiteX237" fmla="*/ 1473513 w 2172185"/>
                    <a:gd name="connsiteY237" fmla="*/ 699657 h 1418833"/>
                    <a:gd name="connsiteX238" fmla="*/ 1489177 w 2172185"/>
                    <a:gd name="connsiteY238" fmla="*/ 697729 h 1418833"/>
                    <a:gd name="connsiteX239" fmla="*/ 1482670 w 2172185"/>
                    <a:gd name="connsiteY239" fmla="*/ 704477 h 1418833"/>
                    <a:gd name="connsiteX240" fmla="*/ 1478011 w 2172185"/>
                    <a:gd name="connsiteY240" fmla="*/ 712911 h 1418833"/>
                    <a:gd name="connsiteX241" fmla="*/ 1491346 w 2172185"/>
                    <a:gd name="connsiteY241" fmla="*/ 705601 h 1418833"/>
                    <a:gd name="connsiteX242" fmla="*/ 1495041 w 2172185"/>
                    <a:gd name="connsiteY242" fmla="*/ 705922 h 1418833"/>
                    <a:gd name="connsiteX243" fmla="*/ 1479216 w 2172185"/>
                    <a:gd name="connsiteY243" fmla="*/ 715722 h 1418833"/>
                    <a:gd name="connsiteX244" fmla="*/ 1482349 w 2172185"/>
                    <a:gd name="connsiteY244" fmla="*/ 717650 h 1418833"/>
                    <a:gd name="connsiteX245" fmla="*/ 1473352 w 2172185"/>
                    <a:gd name="connsiteY245" fmla="*/ 722390 h 1418833"/>
                    <a:gd name="connsiteX246" fmla="*/ 1481064 w 2172185"/>
                    <a:gd name="connsiteY246" fmla="*/ 720381 h 1418833"/>
                    <a:gd name="connsiteX247" fmla="*/ 1476164 w 2172185"/>
                    <a:gd name="connsiteY247" fmla="*/ 727772 h 1418833"/>
                    <a:gd name="connsiteX248" fmla="*/ 1487410 w 2172185"/>
                    <a:gd name="connsiteY248" fmla="*/ 723113 h 1418833"/>
                    <a:gd name="connsiteX249" fmla="*/ 1480903 w 2172185"/>
                    <a:gd name="connsiteY249" fmla="*/ 730021 h 1418833"/>
                    <a:gd name="connsiteX250" fmla="*/ 1489900 w 2172185"/>
                    <a:gd name="connsiteY250" fmla="*/ 726004 h 1418833"/>
                    <a:gd name="connsiteX251" fmla="*/ 1486205 w 2172185"/>
                    <a:gd name="connsiteY251" fmla="*/ 730664 h 1418833"/>
                    <a:gd name="connsiteX252" fmla="*/ 1506206 w 2172185"/>
                    <a:gd name="connsiteY252" fmla="*/ 717409 h 1418833"/>
                    <a:gd name="connsiteX253" fmla="*/ 1526208 w 2172185"/>
                    <a:gd name="connsiteY253" fmla="*/ 704637 h 1418833"/>
                    <a:gd name="connsiteX254" fmla="*/ 1528136 w 2172185"/>
                    <a:gd name="connsiteY254" fmla="*/ 705762 h 1418833"/>
                    <a:gd name="connsiteX255" fmla="*/ 1536249 w 2172185"/>
                    <a:gd name="connsiteY255" fmla="*/ 701585 h 1418833"/>
                    <a:gd name="connsiteX256" fmla="*/ 1533518 w 2172185"/>
                    <a:gd name="connsiteY256" fmla="*/ 700621 h 1418833"/>
                    <a:gd name="connsiteX257" fmla="*/ 1524521 w 2172185"/>
                    <a:gd name="connsiteY257" fmla="*/ 670096 h 1418833"/>
                    <a:gd name="connsiteX258" fmla="*/ 1532474 w 2172185"/>
                    <a:gd name="connsiteY258" fmla="*/ 662063 h 1418833"/>
                    <a:gd name="connsiteX259" fmla="*/ 1529341 w 2172185"/>
                    <a:gd name="connsiteY259" fmla="*/ 659573 h 1418833"/>
                    <a:gd name="connsiteX260" fmla="*/ 1532956 w 2172185"/>
                    <a:gd name="connsiteY260" fmla="*/ 660377 h 1418833"/>
                    <a:gd name="connsiteX261" fmla="*/ 1653287 w 2172185"/>
                    <a:gd name="connsiteY261" fmla="*/ 662706 h 1418833"/>
                    <a:gd name="connsiteX262" fmla="*/ 1627341 w 2172185"/>
                    <a:gd name="connsiteY262" fmla="*/ 658288 h 1418833"/>
                    <a:gd name="connsiteX263" fmla="*/ 1610070 w 2172185"/>
                    <a:gd name="connsiteY263" fmla="*/ 648488 h 1418833"/>
                    <a:gd name="connsiteX264" fmla="*/ 1622360 w 2172185"/>
                    <a:gd name="connsiteY264" fmla="*/ 646399 h 1418833"/>
                    <a:gd name="connsiteX265" fmla="*/ 1615131 w 2172185"/>
                    <a:gd name="connsiteY265" fmla="*/ 638929 h 1418833"/>
                    <a:gd name="connsiteX266" fmla="*/ 1544523 w 2172185"/>
                    <a:gd name="connsiteY266" fmla="*/ 623667 h 1418833"/>
                    <a:gd name="connsiteX267" fmla="*/ 1557857 w 2172185"/>
                    <a:gd name="connsiteY267" fmla="*/ 617080 h 1418833"/>
                    <a:gd name="connsiteX268" fmla="*/ 1549182 w 2172185"/>
                    <a:gd name="connsiteY268" fmla="*/ 616678 h 1418833"/>
                    <a:gd name="connsiteX269" fmla="*/ 1548137 w 2172185"/>
                    <a:gd name="connsiteY269" fmla="*/ 591294 h 1418833"/>
                    <a:gd name="connsiteX270" fmla="*/ 1526529 w 2172185"/>
                    <a:gd name="connsiteY270" fmla="*/ 599006 h 1418833"/>
                    <a:gd name="connsiteX271" fmla="*/ 1528296 w 2172185"/>
                    <a:gd name="connsiteY271" fmla="*/ 593383 h 1418833"/>
                    <a:gd name="connsiteX272" fmla="*/ 1525485 w 2172185"/>
                    <a:gd name="connsiteY272" fmla="*/ 593624 h 1418833"/>
                    <a:gd name="connsiteX273" fmla="*/ 1529019 w 2172185"/>
                    <a:gd name="connsiteY273" fmla="*/ 576996 h 1418833"/>
                    <a:gd name="connsiteX274" fmla="*/ 1524682 w 2172185"/>
                    <a:gd name="connsiteY274" fmla="*/ 578201 h 1418833"/>
                    <a:gd name="connsiteX275" fmla="*/ 1507893 w 2172185"/>
                    <a:gd name="connsiteY275" fmla="*/ 590572 h 1418833"/>
                    <a:gd name="connsiteX276" fmla="*/ 1509098 w 2172185"/>
                    <a:gd name="connsiteY276" fmla="*/ 598283 h 1418833"/>
                    <a:gd name="connsiteX277" fmla="*/ 1506046 w 2172185"/>
                    <a:gd name="connsiteY277" fmla="*/ 606316 h 1418833"/>
                    <a:gd name="connsiteX278" fmla="*/ 1503636 w 2172185"/>
                    <a:gd name="connsiteY278" fmla="*/ 608966 h 1418833"/>
                    <a:gd name="connsiteX279" fmla="*/ 1506849 w 2172185"/>
                    <a:gd name="connsiteY279" fmla="*/ 610493 h 1418833"/>
                    <a:gd name="connsiteX280" fmla="*/ 1508134 w 2172185"/>
                    <a:gd name="connsiteY280" fmla="*/ 624470 h 1418833"/>
                    <a:gd name="connsiteX281" fmla="*/ 1518496 w 2172185"/>
                    <a:gd name="connsiteY281" fmla="*/ 618767 h 1418833"/>
                    <a:gd name="connsiteX282" fmla="*/ 1521710 w 2172185"/>
                    <a:gd name="connsiteY282" fmla="*/ 645275 h 1418833"/>
                    <a:gd name="connsiteX283" fmla="*/ 1524521 w 2172185"/>
                    <a:gd name="connsiteY283" fmla="*/ 633627 h 1418833"/>
                    <a:gd name="connsiteX284" fmla="*/ 1525003 w 2172185"/>
                    <a:gd name="connsiteY284" fmla="*/ 634350 h 1418833"/>
                    <a:gd name="connsiteX285" fmla="*/ 1529100 w 2172185"/>
                    <a:gd name="connsiteY285" fmla="*/ 627603 h 1418833"/>
                    <a:gd name="connsiteX286" fmla="*/ 1534160 w 2172185"/>
                    <a:gd name="connsiteY286" fmla="*/ 630414 h 1418833"/>
                    <a:gd name="connsiteX287" fmla="*/ 1534883 w 2172185"/>
                    <a:gd name="connsiteY287" fmla="*/ 649211 h 1418833"/>
                    <a:gd name="connsiteX288" fmla="*/ 1534080 w 2172185"/>
                    <a:gd name="connsiteY288" fmla="*/ 651139 h 1418833"/>
                    <a:gd name="connsiteX289" fmla="*/ 1539382 w 2172185"/>
                    <a:gd name="connsiteY289" fmla="*/ 653629 h 1418833"/>
                    <a:gd name="connsiteX290" fmla="*/ 1564926 w 2172185"/>
                    <a:gd name="connsiteY290" fmla="*/ 639973 h 1418833"/>
                    <a:gd name="connsiteX291" fmla="*/ 1576574 w 2172185"/>
                    <a:gd name="connsiteY291" fmla="*/ 660135 h 1418833"/>
                    <a:gd name="connsiteX292" fmla="*/ 1582437 w 2172185"/>
                    <a:gd name="connsiteY292" fmla="*/ 666321 h 1418833"/>
                    <a:gd name="connsiteX293" fmla="*/ 1576895 w 2172185"/>
                    <a:gd name="connsiteY293" fmla="*/ 665919 h 1418833"/>
                    <a:gd name="connsiteX294" fmla="*/ 1575529 w 2172185"/>
                    <a:gd name="connsiteY294" fmla="*/ 667204 h 1418833"/>
                    <a:gd name="connsiteX295" fmla="*/ 1577698 w 2172185"/>
                    <a:gd name="connsiteY295" fmla="*/ 668972 h 1418833"/>
                    <a:gd name="connsiteX296" fmla="*/ 1557295 w 2172185"/>
                    <a:gd name="connsiteY296" fmla="*/ 684314 h 1418833"/>
                    <a:gd name="connsiteX297" fmla="*/ 1565247 w 2172185"/>
                    <a:gd name="connsiteY297" fmla="*/ 679655 h 1418833"/>
                    <a:gd name="connsiteX298" fmla="*/ 1569826 w 2172185"/>
                    <a:gd name="connsiteY298" fmla="*/ 685278 h 1418833"/>
                    <a:gd name="connsiteX299" fmla="*/ 1555126 w 2172185"/>
                    <a:gd name="connsiteY299" fmla="*/ 702468 h 1418833"/>
                    <a:gd name="connsiteX300" fmla="*/ 1574646 w 2172185"/>
                    <a:gd name="connsiteY300" fmla="*/ 700219 h 1418833"/>
                    <a:gd name="connsiteX301" fmla="*/ 1573119 w 2172185"/>
                    <a:gd name="connsiteY301" fmla="*/ 702468 h 1418833"/>
                    <a:gd name="connsiteX302" fmla="*/ 1591274 w 2172185"/>
                    <a:gd name="connsiteY302" fmla="*/ 697809 h 1418833"/>
                    <a:gd name="connsiteX303" fmla="*/ 1561954 w 2172185"/>
                    <a:gd name="connsiteY303" fmla="*/ 733957 h 1418833"/>
                    <a:gd name="connsiteX304" fmla="*/ 1614729 w 2172185"/>
                    <a:gd name="connsiteY304" fmla="*/ 706003 h 1418833"/>
                    <a:gd name="connsiteX305" fmla="*/ 1612962 w 2172185"/>
                    <a:gd name="connsiteY305" fmla="*/ 704878 h 1418833"/>
                    <a:gd name="connsiteX306" fmla="*/ 1622762 w 2172185"/>
                    <a:gd name="connsiteY306" fmla="*/ 699576 h 1418833"/>
                    <a:gd name="connsiteX307" fmla="*/ 1620995 w 2172185"/>
                    <a:gd name="connsiteY307" fmla="*/ 698854 h 1418833"/>
                    <a:gd name="connsiteX308" fmla="*/ 1656902 w 2172185"/>
                    <a:gd name="connsiteY308" fmla="*/ 684475 h 1418833"/>
                    <a:gd name="connsiteX309" fmla="*/ 1656902 w 2172185"/>
                    <a:gd name="connsiteY309" fmla="*/ 682949 h 1418833"/>
                    <a:gd name="connsiteX310" fmla="*/ 1644129 w 2172185"/>
                    <a:gd name="connsiteY310" fmla="*/ 679896 h 1418833"/>
                    <a:gd name="connsiteX311" fmla="*/ 1649672 w 2172185"/>
                    <a:gd name="connsiteY311" fmla="*/ 675719 h 1418833"/>
                    <a:gd name="connsiteX312" fmla="*/ 1646941 w 2172185"/>
                    <a:gd name="connsiteY312" fmla="*/ 673952 h 1418833"/>
                    <a:gd name="connsiteX313" fmla="*/ 1653287 w 2172185"/>
                    <a:gd name="connsiteY313" fmla="*/ 662706 h 1418833"/>
                    <a:gd name="connsiteX314" fmla="*/ 1629188 w 2172185"/>
                    <a:gd name="connsiteY314" fmla="*/ 387342 h 1418833"/>
                    <a:gd name="connsiteX315" fmla="*/ 1625493 w 2172185"/>
                    <a:gd name="connsiteY315" fmla="*/ 386137 h 1418833"/>
                    <a:gd name="connsiteX316" fmla="*/ 1625333 w 2172185"/>
                    <a:gd name="connsiteY316" fmla="*/ 386297 h 1418833"/>
                    <a:gd name="connsiteX317" fmla="*/ 1624288 w 2172185"/>
                    <a:gd name="connsiteY317" fmla="*/ 389591 h 1418833"/>
                    <a:gd name="connsiteX318" fmla="*/ 1629188 w 2172185"/>
                    <a:gd name="connsiteY318" fmla="*/ 387342 h 1418833"/>
                    <a:gd name="connsiteX319" fmla="*/ 1748475 w 2172185"/>
                    <a:gd name="connsiteY319" fmla="*/ 317215 h 1418833"/>
                    <a:gd name="connsiteX320" fmla="*/ 1748636 w 2172185"/>
                    <a:gd name="connsiteY320" fmla="*/ 315609 h 1418833"/>
                    <a:gd name="connsiteX321" fmla="*/ 1746307 w 2172185"/>
                    <a:gd name="connsiteY321" fmla="*/ 316974 h 1418833"/>
                    <a:gd name="connsiteX322" fmla="*/ 1745905 w 2172185"/>
                    <a:gd name="connsiteY322" fmla="*/ 317617 h 1418833"/>
                    <a:gd name="connsiteX323" fmla="*/ 1748475 w 2172185"/>
                    <a:gd name="connsiteY323" fmla="*/ 317215 h 1418833"/>
                    <a:gd name="connsiteX324" fmla="*/ 1814103 w 2172185"/>
                    <a:gd name="connsiteY324" fmla="*/ 260745 h 1418833"/>
                    <a:gd name="connsiteX325" fmla="*/ 1810971 w 2172185"/>
                    <a:gd name="connsiteY325" fmla="*/ 259460 h 1418833"/>
                    <a:gd name="connsiteX326" fmla="*/ 1811131 w 2172185"/>
                    <a:gd name="connsiteY326" fmla="*/ 260664 h 1418833"/>
                    <a:gd name="connsiteX327" fmla="*/ 1810810 w 2172185"/>
                    <a:gd name="connsiteY327" fmla="*/ 260584 h 1418833"/>
                    <a:gd name="connsiteX328" fmla="*/ 1815790 w 2172185"/>
                    <a:gd name="connsiteY328" fmla="*/ 262833 h 1418833"/>
                    <a:gd name="connsiteX329" fmla="*/ 1814103 w 2172185"/>
                    <a:gd name="connsiteY329" fmla="*/ 260745 h 1418833"/>
                    <a:gd name="connsiteX330" fmla="*/ 1623887 w 2172185"/>
                    <a:gd name="connsiteY330" fmla="*/ 369027 h 1418833"/>
                    <a:gd name="connsiteX331" fmla="*/ 1621638 w 2172185"/>
                    <a:gd name="connsiteY331" fmla="*/ 368705 h 1418833"/>
                    <a:gd name="connsiteX332" fmla="*/ 1621798 w 2172185"/>
                    <a:gd name="connsiteY332" fmla="*/ 368705 h 1418833"/>
                    <a:gd name="connsiteX333" fmla="*/ 1623887 w 2172185"/>
                    <a:gd name="connsiteY333" fmla="*/ 369027 h 1418833"/>
                    <a:gd name="connsiteX334" fmla="*/ 451259 w 2172185"/>
                    <a:gd name="connsiteY334" fmla="*/ 578763 h 1418833"/>
                    <a:gd name="connsiteX335" fmla="*/ 456159 w 2172185"/>
                    <a:gd name="connsiteY335" fmla="*/ 578683 h 1418833"/>
                    <a:gd name="connsiteX336" fmla="*/ 456079 w 2172185"/>
                    <a:gd name="connsiteY336" fmla="*/ 576434 h 1418833"/>
                    <a:gd name="connsiteX337" fmla="*/ 453749 w 2172185"/>
                    <a:gd name="connsiteY337" fmla="*/ 574747 h 1418833"/>
                    <a:gd name="connsiteX338" fmla="*/ 449492 w 2172185"/>
                    <a:gd name="connsiteY338" fmla="*/ 566071 h 1418833"/>
                    <a:gd name="connsiteX339" fmla="*/ 430052 w 2172185"/>
                    <a:gd name="connsiteY339" fmla="*/ 517312 h 1418833"/>
                    <a:gd name="connsiteX340" fmla="*/ 424590 w 2172185"/>
                    <a:gd name="connsiteY340" fmla="*/ 522935 h 1418833"/>
                    <a:gd name="connsiteX341" fmla="*/ 386274 w 2172185"/>
                    <a:gd name="connsiteY341" fmla="*/ 566312 h 1418833"/>
                    <a:gd name="connsiteX342" fmla="*/ 451259 w 2172185"/>
                    <a:gd name="connsiteY342" fmla="*/ 578763 h 1418833"/>
                    <a:gd name="connsiteX343" fmla="*/ 1621798 w 2172185"/>
                    <a:gd name="connsiteY343" fmla="*/ 355692 h 1418833"/>
                    <a:gd name="connsiteX344" fmla="*/ 1619549 w 2172185"/>
                    <a:gd name="connsiteY344" fmla="*/ 354889 h 1418833"/>
                    <a:gd name="connsiteX345" fmla="*/ 1619549 w 2172185"/>
                    <a:gd name="connsiteY345" fmla="*/ 355130 h 1418833"/>
                    <a:gd name="connsiteX346" fmla="*/ 1620593 w 2172185"/>
                    <a:gd name="connsiteY346" fmla="*/ 359227 h 1418833"/>
                    <a:gd name="connsiteX347" fmla="*/ 1621798 w 2172185"/>
                    <a:gd name="connsiteY347" fmla="*/ 355692 h 1418833"/>
                    <a:gd name="connsiteX348" fmla="*/ 1323299 w 2172185"/>
                    <a:gd name="connsiteY348" fmla="*/ 483414 h 1418833"/>
                    <a:gd name="connsiteX349" fmla="*/ 1310849 w 2172185"/>
                    <a:gd name="connsiteY349" fmla="*/ 480763 h 1418833"/>
                    <a:gd name="connsiteX350" fmla="*/ 1301611 w 2172185"/>
                    <a:gd name="connsiteY350" fmla="*/ 463091 h 1418833"/>
                    <a:gd name="connsiteX351" fmla="*/ 1267231 w 2172185"/>
                    <a:gd name="connsiteY351" fmla="*/ 482048 h 1418833"/>
                    <a:gd name="connsiteX352" fmla="*/ 1225139 w 2172185"/>
                    <a:gd name="connsiteY352" fmla="*/ 508717 h 1418833"/>
                    <a:gd name="connsiteX353" fmla="*/ 1219435 w 2172185"/>
                    <a:gd name="connsiteY353" fmla="*/ 502050 h 1418833"/>
                    <a:gd name="connsiteX354" fmla="*/ 1214857 w 2172185"/>
                    <a:gd name="connsiteY354" fmla="*/ 499801 h 1418833"/>
                    <a:gd name="connsiteX355" fmla="*/ 1204735 w 2172185"/>
                    <a:gd name="connsiteY355" fmla="*/ 488555 h 1418833"/>
                    <a:gd name="connsiteX356" fmla="*/ 1196863 w 2172185"/>
                    <a:gd name="connsiteY356" fmla="*/ 486065 h 1418833"/>
                    <a:gd name="connsiteX357" fmla="*/ 1200237 w 2172185"/>
                    <a:gd name="connsiteY357" fmla="*/ 489519 h 1418833"/>
                    <a:gd name="connsiteX358" fmla="*/ 1198470 w 2172185"/>
                    <a:gd name="connsiteY358" fmla="*/ 495945 h 1418833"/>
                    <a:gd name="connsiteX359" fmla="*/ 1188670 w 2172185"/>
                    <a:gd name="connsiteY359" fmla="*/ 494499 h 1418833"/>
                    <a:gd name="connsiteX360" fmla="*/ 1189393 w 2172185"/>
                    <a:gd name="connsiteY360" fmla="*/ 497793 h 1418833"/>
                    <a:gd name="connsiteX361" fmla="*/ 1185135 w 2172185"/>
                    <a:gd name="connsiteY361" fmla="*/ 498114 h 1418833"/>
                    <a:gd name="connsiteX362" fmla="*/ 1185216 w 2172185"/>
                    <a:gd name="connsiteY362" fmla="*/ 499158 h 1418833"/>
                    <a:gd name="connsiteX363" fmla="*/ 1188911 w 2172185"/>
                    <a:gd name="connsiteY363" fmla="*/ 501247 h 1418833"/>
                    <a:gd name="connsiteX364" fmla="*/ 1185778 w 2172185"/>
                    <a:gd name="connsiteY364" fmla="*/ 503255 h 1418833"/>
                    <a:gd name="connsiteX365" fmla="*/ 1188830 w 2172185"/>
                    <a:gd name="connsiteY365" fmla="*/ 503737 h 1418833"/>
                    <a:gd name="connsiteX366" fmla="*/ 1183368 w 2172185"/>
                    <a:gd name="connsiteY366" fmla="*/ 505343 h 1418833"/>
                    <a:gd name="connsiteX367" fmla="*/ 1189393 w 2172185"/>
                    <a:gd name="connsiteY367" fmla="*/ 510565 h 1418833"/>
                    <a:gd name="connsiteX368" fmla="*/ 1216945 w 2172185"/>
                    <a:gd name="connsiteY368" fmla="*/ 512171 h 1418833"/>
                    <a:gd name="connsiteX369" fmla="*/ 1193570 w 2172185"/>
                    <a:gd name="connsiteY369" fmla="*/ 527032 h 1418833"/>
                    <a:gd name="connsiteX370" fmla="*/ 1223211 w 2172185"/>
                    <a:gd name="connsiteY370" fmla="*/ 524221 h 1418833"/>
                    <a:gd name="connsiteX371" fmla="*/ 1220480 w 2172185"/>
                    <a:gd name="connsiteY371" fmla="*/ 530326 h 1418833"/>
                    <a:gd name="connsiteX372" fmla="*/ 1218873 w 2172185"/>
                    <a:gd name="connsiteY372" fmla="*/ 532494 h 1418833"/>
                    <a:gd name="connsiteX373" fmla="*/ 1226103 w 2172185"/>
                    <a:gd name="connsiteY373" fmla="*/ 529361 h 1418833"/>
                    <a:gd name="connsiteX374" fmla="*/ 1211483 w 2172185"/>
                    <a:gd name="connsiteY374" fmla="*/ 539483 h 1418833"/>
                    <a:gd name="connsiteX375" fmla="*/ 1213652 w 2172185"/>
                    <a:gd name="connsiteY375" fmla="*/ 544945 h 1418833"/>
                    <a:gd name="connsiteX376" fmla="*/ 1234698 w 2172185"/>
                    <a:gd name="connsiteY376" fmla="*/ 538037 h 1418833"/>
                    <a:gd name="connsiteX377" fmla="*/ 1244980 w 2172185"/>
                    <a:gd name="connsiteY377" fmla="*/ 538840 h 1418833"/>
                    <a:gd name="connsiteX378" fmla="*/ 1277754 w 2172185"/>
                    <a:gd name="connsiteY378" fmla="*/ 539001 h 1418833"/>
                    <a:gd name="connsiteX379" fmla="*/ 1280565 w 2172185"/>
                    <a:gd name="connsiteY379" fmla="*/ 536350 h 1418833"/>
                    <a:gd name="connsiteX380" fmla="*/ 1309885 w 2172185"/>
                    <a:gd name="connsiteY380" fmla="*/ 514019 h 1418833"/>
                    <a:gd name="connsiteX381" fmla="*/ 1320488 w 2172185"/>
                    <a:gd name="connsiteY381" fmla="*/ 501809 h 1418833"/>
                    <a:gd name="connsiteX382" fmla="*/ 1319604 w 2172185"/>
                    <a:gd name="connsiteY382" fmla="*/ 498756 h 1418833"/>
                    <a:gd name="connsiteX383" fmla="*/ 1323299 w 2172185"/>
                    <a:gd name="connsiteY383" fmla="*/ 483414 h 1418833"/>
                    <a:gd name="connsiteX384" fmla="*/ 1805107 w 2172185"/>
                    <a:gd name="connsiteY384" fmla="*/ 201864 h 1418833"/>
                    <a:gd name="connsiteX385" fmla="*/ 1805267 w 2172185"/>
                    <a:gd name="connsiteY385" fmla="*/ 201864 h 1418833"/>
                    <a:gd name="connsiteX386" fmla="*/ 1802456 w 2172185"/>
                    <a:gd name="connsiteY386" fmla="*/ 201141 h 1418833"/>
                    <a:gd name="connsiteX387" fmla="*/ 1802456 w 2172185"/>
                    <a:gd name="connsiteY387" fmla="*/ 201141 h 1418833"/>
                    <a:gd name="connsiteX388" fmla="*/ 1805107 w 2172185"/>
                    <a:gd name="connsiteY388" fmla="*/ 201864 h 1418833"/>
                    <a:gd name="connsiteX389" fmla="*/ 800204 w 2172185"/>
                    <a:gd name="connsiteY389" fmla="*/ 504781 h 1418833"/>
                    <a:gd name="connsiteX390" fmla="*/ 800364 w 2172185"/>
                    <a:gd name="connsiteY390" fmla="*/ 504701 h 1418833"/>
                    <a:gd name="connsiteX391" fmla="*/ 800204 w 2172185"/>
                    <a:gd name="connsiteY391" fmla="*/ 504781 h 1418833"/>
                    <a:gd name="connsiteX392" fmla="*/ 794741 w 2172185"/>
                    <a:gd name="connsiteY392" fmla="*/ 507512 h 1418833"/>
                    <a:gd name="connsiteX393" fmla="*/ 800204 w 2172185"/>
                    <a:gd name="connsiteY393" fmla="*/ 504781 h 1418833"/>
                    <a:gd name="connsiteX394" fmla="*/ 1591354 w 2172185"/>
                    <a:gd name="connsiteY394" fmla="*/ 316733 h 1418833"/>
                    <a:gd name="connsiteX395" fmla="*/ 1589506 w 2172185"/>
                    <a:gd name="connsiteY395" fmla="*/ 315287 h 1418833"/>
                    <a:gd name="connsiteX396" fmla="*/ 1589506 w 2172185"/>
                    <a:gd name="connsiteY396" fmla="*/ 315528 h 1418833"/>
                    <a:gd name="connsiteX397" fmla="*/ 1589988 w 2172185"/>
                    <a:gd name="connsiteY397" fmla="*/ 317778 h 1418833"/>
                    <a:gd name="connsiteX398" fmla="*/ 1592237 w 2172185"/>
                    <a:gd name="connsiteY398" fmla="*/ 321392 h 1418833"/>
                    <a:gd name="connsiteX399" fmla="*/ 1591354 w 2172185"/>
                    <a:gd name="connsiteY399" fmla="*/ 316733 h 1418833"/>
                    <a:gd name="connsiteX400" fmla="*/ 1595611 w 2172185"/>
                    <a:gd name="connsiteY400" fmla="*/ 308459 h 1418833"/>
                    <a:gd name="connsiteX401" fmla="*/ 1593683 w 2172185"/>
                    <a:gd name="connsiteY401" fmla="*/ 307737 h 1418833"/>
                    <a:gd name="connsiteX402" fmla="*/ 1592237 w 2172185"/>
                    <a:gd name="connsiteY402" fmla="*/ 308138 h 1418833"/>
                    <a:gd name="connsiteX403" fmla="*/ 1592398 w 2172185"/>
                    <a:gd name="connsiteY403" fmla="*/ 316091 h 1418833"/>
                    <a:gd name="connsiteX404" fmla="*/ 1592559 w 2172185"/>
                    <a:gd name="connsiteY404" fmla="*/ 313440 h 1418833"/>
                    <a:gd name="connsiteX405" fmla="*/ 1593764 w 2172185"/>
                    <a:gd name="connsiteY405" fmla="*/ 313842 h 1418833"/>
                    <a:gd name="connsiteX406" fmla="*/ 1595611 w 2172185"/>
                    <a:gd name="connsiteY406" fmla="*/ 308459 h 1418833"/>
                    <a:gd name="connsiteX407" fmla="*/ 553838 w 2172185"/>
                    <a:gd name="connsiteY407" fmla="*/ 477309 h 1418833"/>
                    <a:gd name="connsiteX408" fmla="*/ 554721 w 2172185"/>
                    <a:gd name="connsiteY408" fmla="*/ 476024 h 1418833"/>
                    <a:gd name="connsiteX409" fmla="*/ 553677 w 2172185"/>
                    <a:gd name="connsiteY409" fmla="*/ 477470 h 1418833"/>
                    <a:gd name="connsiteX410" fmla="*/ 539057 w 2172185"/>
                    <a:gd name="connsiteY410" fmla="*/ 498596 h 1418833"/>
                    <a:gd name="connsiteX411" fmla="*/ 553838 w 2172185"/>
                    <a:gd name="connsiteY411" fmla="*/ 477309 h 1418833"/>
                    <a:gd name="connsiteX412" fmla="*/ 342013 w 2172185"/>
                    <a:gd name="connsiteY412" fmla="*/ 398909 h 1418833"/>
                    <a:gd name="connsiteX413" fmla="*/ 342013 w 2172185"/>
                    <a:gd name="connsiteY413" fmla="*/ 398587 h 1418833"/>
                    <a:gd name="connsiteX414" fmla="*/ 336631 w 2172185"/>
                    <a:gd name="connsiteY414" fmla="*/ 398186 h 1418833"/>
                    <a:gd name="connsiteX415" fmla="*/ 334141 w 2172185"/>
                    <a:gd name="connsiteY415" fmla="*/ 400435 h 1418833"/>
                    <a:gd name="connsiteX416" fmla="*/ 342013 w 2172185"/>
                    <a:gd name="connsiteY416" fmla="*/ 398909 h 1418833"/>
                    <a:gd name="connsiteX417" fmla="*/ 1605652 w 2172185"/>
                    <a:gd name="connsiteY417" fmla="*/ 286610 h 1418833"/>
                    <a:gd name="connsiteX418" fmla="*/ 1605492 w 2172185"/>
                    <a:gd name="connsiteY418" fmla="*/ 286691 h 1418833"/>
                    <a:gd name="connsiteX419" fmla="*/ 1603403 w 2172185"/>
                    <a:gd name="connsiteY419" fmla="*/ 293358 h 1418833"/>
                    <a:gd name="connsiteX420" fmla="*/ 1590310 w 2172185"/>
                    <a:gd name="connsiteY420" fmla="*/ 281228 h 1418833"/>
                    <a:gd name="connsiteX421" fmla="*/ 1592639 w 2172185"/>
                    <a:gd name="connsiteY421" fmla="*/ 292474 h 1418833"/>
                    <a:gd name="connsiteX422" fmla="*/ 1589828 w 2172185"/>
                    <a:gd name="connsiteY422" fmla="*/ 289904 h 1418833"/>
                    <a:gd name="connsiteX423" fmla="*/ 1587980 w 2172185"/>
                    <a:gd name="connsiteY423" fmla="*/ 290145 h 1418833"/>
                    <a:gd name="connsiteX424" fmla="*/ 1589988 w 2172185"/>
                    <a:gd name="connsiteY424" fmla="*/ 292956 h 1418833"/>
                    <a:gd name="connsiteX425" fmla="*/ 1589105 w 2172185"/>
                    <a:gd name="connsiteY425" fmla="*/ 293117 h 1418833"/>
                    <a:gd name="connsiteX426" fmla="*/ 1593442 w 2172185"/>
                    <a:gd name="connsiteY426" fmla="*/ 294723 h 1418833"/>
                    <a:gd name="connsiteX427" fmla="*/ 1597861 w 2172185"/>
                    <a:gd name="connsiteY427" fmla="*/ 307576 h 1418833"/>
                    <a:gd name="connsiteX428" fmla="*/ 1603002 w 2172185"/>
                    <a:gd name="connsiteY428" fmla="*/ 301391 h 1418833"/>
                    <a:gd name="connsiteX429" fmla="*/ 1605652 w 2172185"/>
                    <a:gd name="connsiteY429" fmla="*/ 286610 h 1418833"/>
                    <a:gd name="connsiteX430" fmla="*/ 1760605 w 2172185"/>
                    <a:gd name="connsiteY430" fmla="*/ 131577 h 1418833"/>
                    <a:gd name="connsiteX431" fmla="*/ 1746789 w 2172185"/>
                    <a:gd name="connsiteY431" fmla="*/ 130372 h 1418833"/>
                    <a:gd name="connsiteX432" fmla="*/ 1748716 w 2172185"/>
                    <a:gd name="connsiteY432" fmla="*/ 131899 h 1418833"/>
                    <a:gd name="connsiteX433" fmla="*/ 1764380 w 2172185"/>
                    <a:gd name="connsiteY433" fmla="*/ 140333 h 1418833"/>
                    <a:gd name="connsiteX434" fmla="*/ 1759400 w 2172185"/>
                    <a:gd name="connsiteY434" fmla="*/ 131417 h 1418833"/>
                    <a:gd name="connsiteX435" fmla="*/ 1761890 w 2172185"/>
                    <a:gd name="connsiteY435" fmla="*/ 132381 h 1418833"/>
                    <a:gd name="connsiteX436" fmla="*/ 1760605 w 2172185"/>
                    <a:gd name="connsiteY436" fmla="*/ 131577 h 1418833"/>
                    <a:gd name="connsiteX437" fmla="*/ 1603323 w 2172185"/>
                    <a:gd name="connsiteY437" fmla="*/ 266528 h 1418833"/>
                    <a:gd name="connsiteX438" fmla="*/ 1596656 w 2172185"/>
                    <a:gd name="connsiteY438" fmla="*/ 265404 h 1418833"/>
                    <a:gd name="connsiteX439" fmla="*/ 1594487 w 2172185"/>
                    <a:gd name="connsiteY439" fmla="*/ 264761 h 1418833"/>
                    <a:gd name="connsiteX440" fmla="*/ 1594487 w 2172185"/>
                    <a:gd name="connsiteY440" fmla="*/ 265564 h 1418833"/>
                    <a:gd name="connsiteX441" fmla="*/ 1598342 w 2172185"/>
                    <a:gd name="connsiteY441" fmla="*/ 269742 h 1418833"/>
                    <a:gd name="connsiteX442" fmla="*/ 1600913 w 2172185"/>
                    <a:gd name="connsiteY442" fmla="*/ 278417 h 1418833"/>
                    <a:gd name="connsiteX443" fmla="*/ 1604367 w 2172185"/>
                    <a:gd name="connsiteY443" fmla="*/ 278417 h 1418833"/>
                    <a:gd name="connsiteX444" fmla="*/ 1603483 w 2172185"/>
                    <a:gd name="connsiteY444" fmla="*/ 272874 h 1418833"/>
                    <a:gd name="connsiteX445" fmla="*/ 1603323 w 2172185"/>
                    <a:gd name="connsiteY445" fmla="*/ 266528 h 1418833"/>
                    <a:gd name="connsiteX446" fmla="*/ 400331 w 2172185"/>
                    <a:gd name="connsiteY446" fmla="*/ 420999 h 1418833"/>
                    <a:gd name="connsiteX447" fmla="*/ 401456 w 2172185"/>
                    <a:gd name="connsiteY447" fmla="*/ 420919 h 1418833"/>
                    <a:gd name="connsiteX448" fmla="*/ 405070 w 2172185"/>
                    <a:gd name="connsiteY448" fmla="*/ 410316 h 1418833"/>
                    <a:gd name="connsiteX449" fmla="*/ 407480 w 2172185"/>
                    <a:gd name="connsiteY449" fmla="*/ 391438 h 1418833"/>
                    <a:gd name="connsiteX450" fmla="*/ 399447 w 2172185"/>
                    <a:gd name="connsiteY450" fmla="*/ 398587 h 1418833"/>
                    <a:gd name="connsiteX451" fmla="*/ 399367 w 2172185"/>
                    <a:gd name="connsiteY451" fmla="*/ 394571 h 1418833"/>
                    <a:gd name="connsiteX452" fmla="*/ 398965 w 2172185"/>
                    <a:gd name="connsiteY452" fmla="*/ 394732 h 1418833"/>
                    <a:gd name="connsiteX453" fmla="*/ 397680 w 2172185"/>
                    <a:gd name="connsiteY453" fmla="*/ 396820 h 1418833"/>
                    <a:gd name="connsiteX454" fmla="*/ 394949 w 2172185"/>
                    <a:gd name="connsiteY454" fmla="*/ 399150 h 1418833"/>
                    <a:gd name="connsiteX455" fmla="*/ 385149 w 2172185"/>
                    <a:gd name="connsiteY455" fmla="*/ 410235 h 1418833"/>
                    <a:gd name="connsiteX456" fmla="*/ 386033 w 2172185"/>
                    <a:gd name="connsiteY456" fmla="*/ 418509 h 1418833"/>
                    <a:gd name="connsiteX457" fmla="*/ 400331 w 2172185"/>
                    <a:gd name="connsiteY457" fmla="*/ 420999 h 1418833"/>
                    <a:gd name="connsiteX458" fmla="*/ 817876 w 2172185"/>
                    <a:gd name="connsiteY458" fmla="*/ 449435 h 1418833"/>
                    <a:gd name="connsiteX459" fmla="*/ 800927 w 2172185"/>
                    <a:gd name="connsiteY459" fmla="*/ 444375 h 1418833"/>
                    <a:gd name="connsiteX460" fmla="*/ 799159 w 2172185"/>
                    <a:gd name="connsiteY460" fmla="*/ 445178 h 1418833"/>
                    <a:gd name="connsiteX461" fmla="*/ 797151 w 2172185"/>
                    <a:gd name="connsiteY461" fmla="*/ 443812 h 1418833"/>
                    <a:gd name="connsiteX462" fmla="*/ 796107 w 2172185"/>
                    <a:gd name="connsiteY462" fmla="*/ 445419 h 1418833"/>
                    <a:gd name="connsiteX463" fmla="*/ 795304 w 2172185"/>
                    <a:gd name="connsiteY463" fmla="*/ 453371 h 1418833"/>
                    <a:gd name="connsiteX464" fmla="*/ 805586 w 2172185"/>
                    <a:gd name="connsiteY464" fmla="*/ 457147 h 1418833"/>
                    <a:gd name="connsiteX465" fmla="*/ 817876 w 2172185"/>
                    <a:gd name="connsiteY465" fmla="*/ 449435 h 1418833"/>
                    <a:gd name="connsiteX466" fmla="*/ 346511 w 2172185"/>
                    <a:gd name="connsiteY466" fmla="*/ 271027 h 1418833"/>
                    <a:gd name="connsiteX467" fmla="*/ 346511 w 2172185"/>
                    <a:gd name="connsiteY467" fmla="*/ 271027 h 1418833"/>
                    <a:gd name="connsiteX468" fmla="*/ 346511 w 2172185"/>
                    <a:gd name="connsiteY468" fmla="*/ 270866 h 1418833"/>
                    <a:gd name="connsiteX469" fmla="*/ 345547 w 2172185"/>
                    <a:gd name="connsiteY469" fmla="*/ 271187 h 1418833"/>
                    <a:gd name="connsiteX470" fmla="*/ 346511 w 2172185"/>
                    <a:gd name="connsiteY470" fmla="*/ 271027 h 1418833"/>
                    <a:gd name="connsiteX471" fmla="*/ 1602841 w 2172185"/>
                    <a:gd name="connsiteY471" fmla="*/ 238735 h 1418833"/>
                    <a:gd name="connsiteX472" fmla="*/ 1602600 w 2172185"/>
                    <a:gd name="connsiteY472" fmla="*/ 238494 h 1418833"/>
                    <a:gd name="connsiteX473" fmla="*/ 1602841 w 2172185"/>
                    <a:gd name="connsiteY473" fmla="*/ 238735 h 1418833"/>
                    <a:gd name="connsiteX474" fmla="*/ 1605813 w 2172185"/>
                    <a:gd name="connsiteY474" fmla="*/ 241787 h 1418833"/>
                    <a:gd name="connsiteX475" fmla="*/ 1602841 w 2172185"/>
                    <a:gd name="connsiteY475" fmla="*/ 238735 h 1418833"/>
                    <a:gd name="connsiteX476" fmla="*/ 1599708 w 2172185"/>
                    <a:gd name="connsiteY476" fmla="*/ 248615 h 1418833"/>
                    <a:gd name="connsiteX477" fmla="*/ 1591836 w 2172185"/>
                    <a:gd name="connsiteY477" fmla="*/ 244277 h 1418833"/>
                    <a:gd name="connsiteX478" fmla="*/ 1591996 w 2172185"/>
                    <a:gd name="connsiteY478" fmla="*/ 244920 h 1418833"/>
                    <a:gd name="connsiteX479" fmla="*/ 1595852 w 2172185"/>
                    <a:gd name="connsiteY479" fmla="*/ 249258 h 1418833"/>
                    <a:gd name="connsiteX480" fmla="*/ 1599146 w 2172185"/>
                    <a:gd name="connsiteY480" fmla="*/ 256005 h 1418833"/>
                    <a:gd name="connsiteX481" fmla="*/ 1598021 w 2172185"/>
                    <a:gd name="connsiteY481" fmla="*/ 255604 h 1418833"/>
                    <a:gd name="connsiteX482" fmla="*/ 1601957 w 2172185"/>
                    <a:gd name="connsiteY482" fmla="*/ 262673 h 1418833"/>
                    <a:gd name="connsiteX483" fmla="*/ 1599708 w 2172185"/>
                    <a:gd name="connsiteY483" fmla="*/ 248615 h 1418833"/>
                    <a:gd name="connsiteX484" fmla="*/ 346511 w 2172185"/>
                    <a:gd name="connsiteY484" fmla="*/ 277292 h 1418833"/>
                    <a:gd name="connsiteX485" fmla="*/ 346511 w 2172185"/>
                    <a:gd name="connsiteY485" fmla="*/ 277292 h 1418833"/>
                    <a:gd name="connsiteX486" fmla="*/ 346752 w 2172185"/>
                    <a:gd name="connsiteY486" fmla="*/ 276650 h 1418833"/>
                    <a:gd name="connsiteX487" fmla="*/ 346672 w 2172185"/>
                    <a:gd name="connsiteY487" fmla="*/ 276730 h 1418833"/>
                    <a:gd name="connsiteX488" fmla="*/ 346029 w 2172185"/>
                    <a:gd name="connsiteY488" fmla="*/ 277453 h 1418833"/>
                    <a:gd name="connsiteX489" fmla="*/ 346511 w 2172185"/>
                    <a:gd name="connsiteY489" fmla="*/ 277292 h 1418833"/>
                    <a:gd name="connsiteX490" fmla="*/ 1601074 w 2172185"/>
                    <a:gd name="connsiteY490" fmla="*/ 243555 h 1418833"/>
                    <a:gd name="connsiteX491" fmla="*/ 1594246 w 2172185"/>
                    <a:gd name="connsiteY491" fmla="*/ 242269 h 1418833"/>
                    <a:gd name="connsiteX492" fmla="*/ 1594567 w 2172185"/>
                    <a:gd name="connsiteY492" fmla="*/ 242591 h 1418833"/>
                    <a:gd name="connsiteX493" fmla="*/ 1597539 w 2172185"/>
                    <a:gd name="connsiteY493" fmla="*/ 243876 h 1418833"/>
                    <a:gd name="connsiteX494" fmla="*/ 1601074 w 2172185"/>
                    <a:gd name="connsiteY494" fmla="*/ 243555 h 1418833"/>
                    <a:gd name="connsiteX495" fmla="*/ 1601074 w 2172185"/>
                    <a:gd name="connsiteY495" fmla="*/ 243555 h 1418833"/>
                    <a:gd name="connsiteX496" fmla="*/ 1745664 w 2172185"/>
                    <a:gd name="connsiteY496" fmla="*/ 84103 h 1418833"/>
                    <a:gd name="connsiteX497" fmla="*/ 1746789 w 2172185"/>
                    <a:gd name="connsiteY497" fmla="*/ 84505 h 1418833"/>
                    <a:gd name="connsiteX498" fmla="*/ 1729839 w 2172185"/>
                    <a:gd name="connsiteY498" fmla="*/ 78400 h 1418833"/>
                    <a:gd name="connsiteX499" fmla="*/ 1745664 w 2172185"/>
                    <a:gd name="connsiteY499" fmla="*/ 84103 h 1418833"/>
                    <a:gd name="connsiteX500" fmla="*/ 1729839 w 2172185"/>
                    <a:gd name="connsiteY500" fmla="*/ 78400 h 1418833"/>
                    <a:gd name="connsiteX501" fmla="*/ 1729839 w 2172185"/>
                    <a:gd name="connsiteY501" fmla="*/ 78400 h 1418833"/>
                    <a:gd name="connsiteX502" fmla="*/ 1729839 w 2172185"/>
                    <a:gd name="connsiteY502" fmla="*/ 78400 h 1418833"/>
                    <a:gd name="connsiteX503" fmla="*/ 1729839 w 2172185"/>
                    <a:gd name="connsiteY503" fmla="*/ 78400 h 1418833"/>
                    <a:gd name="connsiteX504" fmla="*/ 346833 w 2172185"/>
                    <a:gd name="connsiteY504" fmla="*/ 276569 h 1418833"/>
                    <a:gd name="connsiteX505" fmla="*/ 346833 w 2172185"/>
                    <a:gd name="connsiteY505" fmla="*/ 276650 h 1418833"/>
                    <a:gd name="connsiteX506" fmla="*/ 349323 w 2172185"/>
                    <a:gd name="connsiteY506" fmla="*/ 273919 h 1418833"/>
                    <a:gd name="connsiteX507" fmla="*/ 349242 w 2172185"/>
                    <a:gd name="connsiteY507" fmla="*/ 273999 h 1418833"/>
                    <a:gd name="connsiteX508" fmla="*/ 346833 w 2172185"/>
                    <a:gd name="connsiteY508" fmla="*/ 276569 h 1418833"/>
                    <a:gd name="connsiteX509" fmla="*/ 1617139 w 2172185"/>
                    <a:gd name="connsiteY509" fmla="*/ 221625 h 1418833"/>
                    <a:gd name="connsiteX510" fmla="*/ 1612239 w 2172185"/>
                    <a:gd name="connsiteY510" fmla="*/ 218653 h 1418833"/>
                    <a:gd name="connsiteX511" fmla="*/ 1612159 w 2172185"/>
                    <a:gd name="connsiteY511" fmla="*/ 218894 h 1418833"/>
                    <a:gd name="connsiteX512" fmla="*/ 1615613 w 2172185"/>
                    <a:gd name="connsiteY512" fmla="*/ 226043 h 1418833"/>
                    <a:gd name="connsiteX513" fmla="*/ 1615533 w 2172185"/>
                    <a:gd name="connsiteY513" fmla="*/ 225240 h 1418833"/>
                    <a:gd name="connsiteX514" fmla="*/ 1618746 w 2172185"/>
                    <a:gd name="connsiteY514" fmla="*/ 224597 h 1418833"/>
                    <a:gd name="connsiteX515" fmla="*/ 1617139 w 2172185"/>
                    <a:gd name="connsiteY515" fmla="*/ 221625 h 1418833"/>
                    <a:gd name="connsiteX516" fmla="*/ 808959 w 2172185"/>
                    <a:gd name="connsiteY516" fmla="*/ 424935 h 1418833"/>
                    <a:gd name="connsiteX517" fmla="*/ 809120 w 2172185"/>
                    <a:gd name="connsiteY517" fmla="*/ 424935 h 1418833"/>
                    <a:gd name="connsiteX518" fmla="*/ 803417 w 2172185"/>
                    <a:gd name="connsiteY518" fmla="*/ 423489 h 1418833"/>
                    <a:gd name="connsiteX519" fmla="*/ 803577 w 2172185"/>
                    <a:gd name="connsiteY519" fmla="*/ 423570 h 1418833"/>
                    <a:gd name="connsiteX520" fmla="*/ 808959 w 2172185"/>
                    <a:gd name="connsiteY520" fmla="*/ 424935 h 1418833"/>
                    <a:gd name="connsiteX521" fmla="*/ 1613765 w 2172185"/>
                    <a:gd name="connsiteY521" fmla="*/ 216966 h 1418833"/>
                    <a:gd name="connsiteX522" fmla="*/ 1611677 w 2172185"/>
                    <a:gd name="connsiteY522" fmla="*/ 215440 h 1418833"/>
                    <a:gd name="connsiteX523" fmla="*/ 1610231 w 2172185"/>
                    <a:gd name="connsiteY523" fmla="*/ 215118 h 1418833"/>
                    <a:gd name="connsiteX524" fmla="*/ 1610552 w 2172185"/>
                    <a:gd name="connsiteY524" fmla="*/ 215359 h 1418833"/>
                    <a:gd name="connsiteX525" fmla="*/ 1615533 w 2172185"/>
                    <a:gd name="connsiteY525" fmla="*/ 218412 h 1418833"/>
                    <a:gd name="connsiteX526" fmla="*/ 1613765 w 2172185"/>
                    <a:gd name="connsiteY526" fmla="*/ 216966 h 1418833"/>
                    <a:gd name="connsiteX527" fmla="*/ 1606938 w 2172185"/>
                    <a:gd name="connsiteY527" fmla="*/ 216163 h 1418833"/>
                    <a:gd name="connsiteX528" fmla="*/ 1605251 w 2172185"/>
                    <a:gd name="connsiteY528" fmla="*/ 214877 h 1418833"/>
                    <a:gd name="connsiteX529" fmla="*/ 1605331 w 2172185"/>
                    <a:gd name="connsiteY529" fmla="*/ 215279 h 1418833"/>
                    <a:gd name="connsiteX530" fmla="*/ 1600993 w 2172185"/>
                    <a:gd name="connsiteY530" fmla="*/ 224436 h 1418833"/>
                    <a:gd name="connsiteX531" fmla="*/ 1608303 w 2172185"/>
                    <a:gd name="connsiteY531" fmla="*/ 224677 h 1418833"/>
                    <a:gd name="connsiteX532" fmla="*/ 1608785 w 2172185"/>
                    <a:gd name="connsiteY532" fmla="*/ 218573 h 1418833"/>
                    <a:gd name="connsiteX533" fmla="*/ 1606938 w 2172185"/>
                    <a:gd name="connsiteY533" fmla="*/ 216163 h 1418833"/>
                    <a:gd name="connsiteX534" fmla="*/ 1131878 w 2172185"/>
                    <a:gd name="connsiteY534" fmla="*/ 385815 h 1418833"/>
                    <a:gd name="connsiteX535" fmla="*/ 1132440 w 2172185"/>
                    <a:gd name="connsiteY535" fmla="*/ 384691 h 1418833"/>
                    <a:gd name="connsiteX536" fmla="*/ 1119266 w 2172185"/>
                    <a:gd name="connsiteY536" fmla="*/ 382442 h 1418833"/>
                    <a:gd name="connsiteX537" fmla="*/ 1105209 w 2172185"/>
                    <a:gd name="connsiteY537" fmla="*/ 394250 h 1418833"/>
                    <a:gd name="connsiteX538" fmla="*/ 1131878 w 2172185"/>
                    <a:gd name="connsiteY538" fmla="*/ 385815 h 1418833"/>
                    <a:gd name="connsiteX539" fmla="*/ 1616497 w 2172185"/>
                    <a:gd name="connsiteY539" fmla="*/ 199856 h 1418833"/>
                    <a:gd name="connsiteX540" fmla="*/ 1616657 w 2172185"/>
                    <a:gd name="connsiteY540" fmla="*/ 199535 h 1418833"/>
                    <a:gd name="connsiteX541" fmla="*/ 1613203 w 2172185"/>
                    <a:gd name="connsiteY541" fmla="*/ 199535 h 1418833"/>
                    <a:gd name="connsiteX542" fmla="*/ 1613123 w 2172185"/>
                    <a:gd name="connsiteY542" fmla="*/ 200097 h 1418833"/>
                    <a:gd name="connsiteX543" fmla="*/ 1614408 w 2172185"/>
                    <a:gd name="connsiteY543" fmla="*/ 202668 h 1418833"/>
                    <a:gd name="connsiteX544" fmla="*/ 1616497 w 2172185"/>
                    <a:gd name="connsiteY544" fmla="*/ 199856 h 1418833"/>
                    <a:gd name="connsiteX545" fmla="*/ 219754 w 2172185"/>
                    <a:gd name="connsiteY545" fmla="*/ 1343165 h 1418833"/>
                    <a:gd name="connsiteX546" fmla="*/ 217665 w 2172185"/>
                    <a:gd name="connsiteY546" fmla="*/ 1344369 h 1418833"/>
                    <a:gd name="connsiteX547" fmla="*/ 214050 w 2172185"/>
                    <a:gd name="connsiteY547" fmla="*/ 1340755 h 1418833"/>
                    <a:gd name="connsiteX548" fmla="*/ 219754 w 2172185"/>
                    <a:gd name="connsiteY548" fmla="*/ 1343165 h 1418833"/>
                    <a:gd name="connsiteX549" fmla="*/ 184088 w 2172185"/>
                    <a:gd name="connsiteY549" fmla="*/ 1292799 h 1418833"/>
                    <a:gd name="connsiteX550" fmla="*/ 179911 w 2172185"/>
                    <a:gd name="connsiteY550" fmla="*/ 1294968 h 1418833"/>
                    <a:gd name="connsiteX551" fmla="*/ 177903 w 2172185"/>
                    <a:gd name="connsiteY551" fmla="*/ 1293441 h 1418833"/>
                    <a:gd name="connsiteX552" fmla="*/ 184329 w 2172185"/>
                    <a:gd name="connsiteY552" fmla="*/ 1292397 h 1418833"/>
                    <a:gd name="connsiteX553" fmla="*/ 184088 w 2172185"/>
                    <a:gd name="connsiteY553" fmla="*/ 1292799 h 1418833"/>
                    <a:gd name="connsiteX554" fmla="*/ 122155 w 2172185"/>
                    <a:gd name="connsiteY554" fmla="*/ 1264604 h 1418833"/>
                    <a:gd name="connsiteX555" fmla="*/ 121111 w 2172185"/>
                    <a:gd name="connsiteY555" fmla="*/ 1263078 h 1418833"/>
                    <a:gd name="connsiteX556" fmla="*/ 122155 w 2172185"/>
                    <a:gd name="connsiteY556" fmla="*/ 1264604 h 1418833"/>
                    <a:gd name="connsiteX557" fmla="*/ 122155 w 2172185"/>
                    <a:gd name="connsiteY557" fmla="*/ 1264604 h 1418833"/>
                    <a:gd name="connsiteX558" fmla="*/ 48575 w 2172185"/>
                    <a:gd name="connsiteY558" fmla="*/ 1176725 h 1418833"/>
                    <a:gd name="connsiteX559" fmla="*/ 47450 w 2172185"/>
                    <a:gd name="connsiteY559" fmla="*/ 1176082 h 1418833"/>
                    <a:gd name="connsiteX560" fmla="*/ 43835 w 2172185"/>
                    <a:gd name="connsiteY560" fmla="*/ 1172226 h 1418833"/>
                    <a:gd name="connsiteX561" fmla="*/ 48735 w 2172185"/>
                    <a:gd name="connsiteY561" fmla="*/ 1176564 h 1418833"/>
                    <a:gd name="connsiteX562" fmla="*/ 48575 w 2172185"/>
                    <a:gd name="connsiteY562" fmla="*/ 1176725 h 1418833"/>
                    <a:gd name="connsiteX563" fmla="*/ 83999 w 2172185"/>
                    <a:gd name="connsiteY563" fmla="*/ 1114471 h 1418833"/>
                    <a:gd name="connsiteX564" fmla="*/ 83357 w 2172185"/>
                    <a:gd name="connsiteY564" fmla="*/ 1114872 h 1418833"/>
                    <a:gd name="connsiteX565" fmla="*/ 82232 w 2172185"/>
                    <a:gd name="connsiteY565" fmla="*/ 1111338 h 1418833"/>
                    <a:gd name="connsiteX566" fmla="*/ 81991 w 2172185"/>
                    <a:gd name="connsiteY566" fmla="*/ 1107884 h 1418833"/>
                    <a:gd name="connsiteX567" fmla="*/ 83999 w 2172185"/>
                    <a:gd name="connsiteY567" fmla="*/ 1114471 h 1418833"/>
                    <a:gd name="connsiteX568" fmla="*/ 288916 w 2172185"/>
                    <a:gd name="connsiteY568" fmla="*/ 1149172 h 1418833"/>
                    <a:gd name="connsiteX569" fmla="*/ 288193 w 2172185"/>
                    <a:gd name="connsiteY569" fmla="*/ 1150217 h 1418833"/>
                    <a:gd name="connsiteX570" fmla="*/ 287390 w 2172185"/>
                    <a:gd name="connsiteY570" fmla="*/ 1145879 h 1418833"/>
                    <a:gd name="connsiteX571" fmla="*/ 288916 w 2172185"/>
                    <a:gd name="connsiteY571" fmla="*/ 1149172 h 1418833"/>
                    <a:gd name="connsiteX572" fmla="*/ 74280 w 2172185"/>
                    <a:gd name="connsiteY572" fmla="*/ 1069808 h 1418833"/>
                    <a:gd name="connsiteX573" fmla="*/ 72994 w 2172185"/>
                    <a:gd name="connsiteY573" fmla="*/ 1069326 h 1418833"/>
                    <a:gd name="connsiteX574" fmla="*/ 71468 w 2172185"/>
                    <a:gd name="connsiteY574" fmla="*/ 1067800 h 1418833"/>
                    <a:gd name="connsiteX575" fmla="*/ 71870 w 2172185"/>
                    <a:gd name="connsiteY575" fmla="*/ 1066595 h 1418833"/>
                    <a:gd name="connsiteX576" fmla="*/ 73717 w 2172185"/>
                    <a:gd name="connsiteY576" fmla="*/ 1068764 h 1418833"/>
                    <a:gd name="connsiteX577" fmla="*/ 73798 w 2172185"/>
                    <a:gd name="connsiteY577" fmla="*/ 1069005 h 1418833"/>
                    <a:gd name="connsiteX578" fmla="*/ 74199 w 2172185"/>
                    <a:gd name="connsiteY578" fmla="*/ 1068202 h 1418833"/>
                    <a:gd name="connsiteX579" fmla="*/ 74280 w 2172185"/>
                    <a:gd name="connsiteY579" fmla="*/ 1069808 h 1418833"/>
                    <a:gd name="connsiteX580" fmla="*/ 74280 w 2172185"/>
                    <a:gd name="connsiteY580" fmla="*/ 1069808 h 1418833"/>
                    <a:gd name="connsiteX581" fmla="*/ 175814 w 2172185"/>
                    <a:gd name="connsiteY581" fmla="*/ 1106438 h 1418833"/>
                    <a:gd name="connsiteX582" fmla="*/ 175252 w 2172185"/>
                    <a:gd name="connsiteY582" fmla="*/ 1104992 h 1418833"/>
                    <a:gd name="connsiteX583" fmla="*/ 175814 w 2172185"/>
                    <a:gd name="connsiteY583" fmla="*/ 1106438 h 1418833"/>
                    <a:gd name="connsiteX584" fmla="*/ 175814 w 2172185"/>
                    <a:gd name="connsiteY584" fmla="*/ 1106438 h 1418833"/>
                    <a:gd name="connsiteX585" fmla="*/ 285462 w 2172185"/>
                    <a:gd name="connsiteY585" fmla="*/ 1088525 h 1418833"/>
                    <a:gd name="connsiteX586" fmla="*/ 280723 w 2172185"/>
                    <a:gd name="connsiteY586" fmla="*/ 1087802 h 1418833"/>
                    <a:gd name="connsiteX587" fmla="*/ 285060 w 2172185"/>
                    <a:gd name="connsiteY587" fmla="*/ 1087561 h 1418833"/>
                    <a:gd name="connsiteX588" fmla="*/ 281124 w 2172185"/>
                    <a:gd name="connsiteY588" fmla="*/ 1084749 h 1418833"/>
                    <a:gd name="connsiteX589" fmla="*/ 281285 w 2172185"/>
                    <a:gd name="connsiteY589" fmla="*/ 1082581 h 1418833"/>
                    <a:gd name="connsiteX590" fmla="*/ 285864 w 2172185"/>
                    <a:gd name="connsiteY590" fmla="*/ 1088605 h 1418833"/>
                    <a:gd name="connsiteX591" fmla="*/ 285462 w 2172185"/>
                    <a:gd name="connsiteY591" fmla="*/ 1088525 h 1418833"/>
                    <a:gd name="connsiteX592" fmla="*/ 11704 w 2172185"/>
                    <a:gd name="connsiteY592" fmla="*/ 938151 h 1418833"/>
                    <a:gd name="connsiteX593" fmla="*/ 11785 w 2172185"/>
                    <a:gd name="connsiteY593" fmla="*/ 932769 h 1418833"/>
                    <a:gd name="connsiteX594" fmla="*/ 11704 w 2172185"/>
                    <a:gd name="connsiteY594" fmla="*/ 938151 h 1418833"/>
                    <a:gd name="connsiteX595" fmla="*/ 225377 w 2172185"/>
                    <a:gd name="connsiteY595" fmla="*/ 1060892 h 1418833"/>
                    <a:gd name="connsiteX596" fmla="*/ 216782 w 2172185"/>
                    <a:gd name="connsiteY596" fmla="*/ 1055430 h 1418833"/>
                    <a:gd name="connsiteX597" fmla="*/ 226180 w 2172185"/>
                    <a:gd name="connsiteY597" fmla="*/ 1060892 h 1418833"/>
                    <a:gd name="connsiteX598" fmla="*/ 225377 w 2172185"/>
                    <a:gd name="connsiteY598" fmla="*/ 1060892 h 1418833"/>
                    <a:gd name="connsiteX599" fmla="*/ 17729 w 2172185"/>
                    <a:gd name="connsiteY599" fmla="*/ 915257 h 1418833"/>
                    <a:gd name="connsiteX600" fmla="*/ 15399 w 2172185"/>
                    <a:gd name="connsiteY600" fmla="*/ 909393 h 1418833"/>
                    <a:gd name="connsiteX601" fmla="*/ 18291 w 2172185"/>
                    <a:gd name="connsiteY601" fmla="*/ 906823 h 1418833"/>
                    <a:gd name="connsiteX602" fmla="*/ 17809 w 2172185"/>
                    <a:gd name="connsiteY602" fmla="*/ 915659 h 1418833"/>
                    <a:gd name="connsiteX603" fmla="*/ 17729 w 2172185"/>
                    <a:gd name="connsiteY603" fmla="*/ 915257 h 1418833"/>
                    <a:gd name="connsiteX604" fmla="*/ 216782 w 2172185"/>
                    <a:gd name="connsiteY604" fmla="*/ 1037757 h 1418833"/>
                    <a:gd name="connsiteX605" fmla="*/ 215416 w 2172185"/>
                    <a:gd name="connsiteY605" fmla="*/ 1037998 h 1418833"/>
                    <a:gd name="connsiteX606" fmla="*/ 215978 w 2172185"/>
                    <a:gd name="connsiteY606" fmla="*/ 1032777 h 1418833"/>
                    <a:gd name="connsiteX607" fmla="*/ 215496 w 2172185"/>
                    <a:gd name="connsiteY607" fmla="*/ 1033500 h 1418833"/>
                    <a:gd name="connsiteX608" fmla="*/ 215095 w 2172185"/>
                    <a:gd name="connsiteY608" fmla="*/ 1022094 h 1418833"/>
                    <a:gd name="connsiteX609" fmla="*/ 216782 w 2172185"/>
                    <a:gd name="connsiteY609" fmla="*/ 1037757 h 1418833"/>
                    <a:gd name="connsiteX610" fmla="*/ 7126 w 2172185"/>
                    <a:gd name="connsiteY610" fmla="*/ 869470 h 1418833"/>
                    <a:gd name="connsiteX611" fmla="*/ 6885 w 2172185"/>
                    <a:gd name="connsiteY611" fmla="*/ 869310 h 1418833"/>
                    <a:gd name="connsiteX612" fmla="*/ 7206 w 2172185"/>
                    <a:gd name="connsiteY612" fmla="*/ 869069 h 1418833"/>
                    <a:gd name="connsiteX613" fmla="*/ 7126 w 2172185"/>
                    <a:gd name="connsiteY613" fmla="*/ 869470 h 1418833"/>
                    <a:gd name="connsiteX614" fmla="*/ 37811 w 2172185"/>
                    <a:gd name="connsiteY614" fmla="*/ 911402 h 1418833"/>
                    <a:gd name="connsiteX615" fmla="*/ 34999 w 2172185"/>
                    <a:gd name="connsiteY615" fmla="*/ 917828 h 1418833"/>
                    <a:gd name="connsiteX616" fmla="*/ 30501 w 2172185"/>
                    <a:gd name="connsiteY616" fmla="*/ 917426 h 1418833"/>
                    <a:gd name="connsiteX617" fmla="*/ 30581 w 2172185"/>
                    <a:gd name="connsiteY617" fmla="*/ 915418 h 1418833"/>
                    <a:gd name="connsiteX618" fmla="*/ 32188 w 2172185"/>
                    <a:gd name="connsiteY618" fmla="*/ 915418 h 1418833"/>
                    <a:gd name="connsiteX619" fmla="*/ 32670 w 2172185"/>
                    <a:gd name="connsiteY619" fmla="*/ 915659 h 1418833"/>
                    <a:gd name="connsiteX620" fmla="*/ 38212 w 2172185"/>
                    <a:gd name="connsiteY620" fmla="*/ 911000 h 1418833"/>
                    <a:gd name="connsiteX621" fmla="*/ 37811 w 2172185"/>
                    <a:gd name="connsiteY621" fmla="*/ 911402 h 1418833"/>
                    <a:gd name="connsiteX622" fmla="*/ 14194 w 2172185"/>
                    <a:gd name="connsiteY622" fmla="*/ 840793 h 1418833"/>
                    <a:gd name="connsiteX623" fmla="*/ 14194 w 2172185"/>
                    <a:gd name="connsiteY623" fmla="*/ 840793 h 1418833"/>
                    <a:gd name="connsiteX624" fmla="*/ 14435 w 2172185"/>
                    <a:gd name="connsiteY624" fmla="*/ 839347 h 1418833"/>
                    <a:gd name="connsiteX625" fmla="*/ 14194 w 2172185"/>
                    <a:gd name="connsiteY625" fmla="*/ 840793 h 1418833"/>
                    <a:gd name="connsiteX626" fmla="*/ 14516 w 2172185"/>
                    <a:gd name="connsiteY626" fmla="*/ 838785 h 1418833"/>
                    <a:gd name="connsiteX627" fmla="*/ 14676 w 2172185"/>
                    <a:gd name="connsiteY627" fmla="*/ 837580 h 1418833"/>
                    <a:gd name="connsiteX628" fmla="*/ 14516 w 2172185"/>
                    <a:gd name="connsiteY628" fmla="*/ 838785 h 1418833"/>
                    <a:gd name="connsiteX629" fmla="*/ 14516 w 2172185"/>
                    <a:gd name="connsiteY629" fmla="*/ 838785 h 1418833"/>
                    <a:gd name="connsiteX630" fmla="*/ 42068 w 2172185"/>
                    <a:gd name="connsiteY630" fmla="*/ 870996 h 1418833"/>
                    <a:gd name="connsiteX631" fmla="*/ 40703 w 2172185"/>
                    <a:gd name="connsiteY631" fmla="*/ 871880 h 1418833"/>
                    <a:gd name="connsiteX632" fmla="*/ 42068 w 2172185"/>
                    <a:gd name="connsiteY632" fmla="*/ 867542 h 1418833"/>
                    <a:gd name="connsiteX633" fmla="*/ 42068 w 2172185"/>
                    <a:gd name="connsiteY633" fmla="*/ 870996 h 1418833"/>
                    <a:gd name="connsiteX634" fmla="*/ 42068 w 2172185"/>
                    <a:gd name="connsiteY634" fmla="*/ 870996 h 1418833"/>
                    <a:gd name="connsiteX635" fmla="*/ 19094 w 2172185"/>
                    <a:gd name="connsiteY635" fmla="*/ 804244 h 1418833"/>
                    <a:gd name="connsiteX636" fmla="*/ 19175 w 2172185"/>
                    <a:gd name="connsiteY636" fmla="*/ 801593 h 1418833"/>
                    <a:gd name="connsiteX637" fmla="*/ 19014 w 2172185"/>
                    <a:gd name="connsiteY637" fmla="*/ 802477 h 1418833"/>
                    <a:gd name="connsiteX638" fmla="*/ 19496 w 2172185"/>
                    <a:gd name="connsiteY638" fmla="*/ 801995 h 1418833"/>
                    <a:gd name="connsiteX639" fmla="*/ 19094 w 2172185"/>
                    <a:gd name="connsiteY639" fmla="*/ 804244 h 1418833"/>
                    <a:gd name="connsiteX640" fmla="*/ 19094 w 2172185"/>
                    <a:gd name="connsiteY640" fmla="*/ 804244 h 1418833"/>
                    <a:gd name="connsiteX641" fmla="*/ 43755 w 2172185"/>
                    <a:gd name="connsiteY641" fmla="*/ 859590 h 1418833"/>
                    <a:gd name="connsiteX642" fmla="*/ 41747 w 2172185"/>
                    <a:gd name="connsiteY642" fmla="*/ 859028 h 1418833"/>
                    <a:gd name="connsiteX643" fmla="*/ 42149 w 2172185"/>
                    <a:gd name="connsiteY643" fmla="*/ 856296 h 1418833"/>
                    <a:gd name="connsiteX644" fmla="*/ 41426 w 2172185"/>
                    <a:gd name="connsiteY644" fmla="*/ 857501 h 1418833"/>
                    <a:gd name="connsiteX645" fmla="*/ 44157 w 2172185"/>
                    <a:gd name="connsiteY645" fmla="*/ 846898 h 1418833"/>
                    <a:gd name="connsiteX646" fmla="*/ 44398 w 2172185"/>
                    <a:gd name="connsiteY646" fmla="*/ 852441 h 1418833"/>
                    <a:gd name="connsiteX647" fmla="*/ 43755 w 2172185"/>
                    <a:gd name="connsiteY647" fmla="*/ 859590 h 1418833"/>
                    <a:gd name="connsiteX648" fmla="*/ 26003 w 2172185"/>
                    <a:gd name="connsiteY648" fmla="*/ 797818 h 1418833"/>
                    <a:gd name="connsiteX649" fmla="*/ 26003 w 2172185"/>
                    <a:gd name="connsiteY649" fmla="*/ 797818 h 1418833"/>
                    <a:gd name="connsiteX650" fmla="*/ 26003 w 2172185"/>
                    <a:gd name="connsiteY650" fmla="*/ 797818 h 1418833"/>
                    <a:gd name="connsiteX651" fmla="*/ 26003 w 2172185"/>
                    <a:gd name="connsiteY651" fmla="*/ 797818 h 1418833"/>
                    <a:gd name="connsiteX652" fmla="*/ 26003 w 2172185"/>
                    <a:gd name="connsiteY652" fmla="*/ 797818 h 1418833"/>
                    <a:gd name="connsiteX653" fmla="*/ 26003 w 2172185"/>
                    <a:gd name="connsiteY653" fmla="*/ 797818 h 1418833"/>
                    <a:gd name="connsiteX654" fmla="*/ 26003 w 2172185"/>
                    <a:gd name="connsiteY654" fmla="*/ 797818 h 1418833"/>
                    <a:gd name="connsiteX655" fmla="*/ 26003 w 2172185"/>
                    <a:gd name="connsiteY655" fmla="*/ 797818 h 1418833"/>
                    <a:gd name="connsiteX656" fmla="*/ 26003 w 2172185"/>
                    <a:gd name="connsiteY656" fmla="*/ 797818 h 1418833"/>
                    <a:gd name="connsiteX657" fmla="*/ 26003 w 2172185"/>
                    <a:gd name="connsiteY657" fmla="*/ 797818 h 1418833"/>
                    <a:gd name="connsiteX658" fmla="*/ 26003 w 2172185"/>
                    <a:gd name="connsiteY658" fmla="*/ 797818 h 1418833"/>
                    <a:gd name="connsiteX659" fmla="*/ 26003 w 2172185"/>
                    <a:gd name="connsiteY659" fmla="*/ 797818 h 1418833"/>
                    <a:gd name="connsiteX660" fmla="*/ 26003 w 2172185"/>
                    <a:gd name="connsiteY660" fmla="*/ 797818 h 1418833"/>
                    <a:gd name="connsiteX661" fmla="*/ 26003 w 2172185"/>
                    <a:gd name="connsiteY661" fmla="*/ 797818 h 1418833"/>
                    <a:gd name="connsiteX662" fmla="*/ 26003 w 2172185"/>
                    <a:gd name="connsiteY662" fmla="*/ 797818 h 1418833"/>
                    <a:gd name="connsiteX663" fmla="*/ 26003 w 2172185"/>
                    <a:gd name="connsiteY663" fmla="*/ 797818 h 1418833"/>
                    <a:gd name="connsiteX664" fmla="*/ 26003 w 2172185"/>
                    <a:gd name="connsiteY664" fmla="*/ 797818 h 1418833"/>
                    <a:gd name="connsiteX665" fmla="*/ 26003 w 2172185"/>
                    <a:gd name="connsiteY665" fmla="*/ 797818 h 1418833"/>
                    <a:gd name="connsiteX666" fmla="*/ 26003 w 2172185"/>
                    <a:gd name="connsiteY666" fmla="*/ 797818 h 1418833"/>
                    <a:gd name="connsiteX667" fmla="*/ 26003 w 2172185"/>
                    <a:gd name="connsiteY667" fmla="*/ 797818 h 1418833"/>
                    <a:gd name="connsiteX668" fmla="*/ 26003 w 2172185"/>
                    <a:gd name="connsiteY668" fmla="*/ 797818 h 1418833"/>
                    <a:gd name="connsiteX669" fmla="*/ 26003 w 2172185"/>
                    <a:gd name="connsiteY669" fmla="*/ 797818 h 1418833"/>
                    <a:gd name="connsiteX670" fmla="*/ 26003 w 2172185"/>
                    <a:gd name="connsiteY670" fmla="*/ 797818 h 1418833"/>
                    <a:gd name="connsiteX671" fmla="*/ 26003 w 2172185"/>
                    <a:gd name="connsiteY671" fmla="*/ 797818 h 1418833"/>
                    <a:gd name="connsiteX672" fmla="*/ 26003 w 2172185"/>
                    <a:gd name="connsiteY672" fmla="*/ 797818 h 1418833"/>
                    <a:gd name="connsiteX673" fmla="*/ 26003 w 2172185"/>
                    <a:gd name="connsiteY673" fmla="*/ 797818 h 1418833"/>
                    <a:gd name="connsiteX674" fmla="*/ 26003 w 2172185"/>
                    <a:gd name="connsiteY674" fmla="*/ 797818 h 1418833"/>
                    <a:gd name="connsiteX675" fmla="*/ 26003 w 2172185"/>
                    <a:gd name="connsiteY675" fmla="*/ 797818 h 1418833"/>
                    <a:gd name="connsiteX676" fmla="*/ 26003 w 2172185"/>
                    <a:gd name="connsiteY676" fmla="*/ 797818 h 1418833"/>
                    <a:gd name="connsiteX677" fmla="*/ 26003 w 2172185"/>
                    <a:gd name="connsiteY677" fmla="*/ 797818 h 1418833"/>
                    <a:gd name="connsiteX678" fmla="*/ 26003 w 2172185"/>
                    <a:gd name="connsiteY678" fmla="*/ 797818 h 1418833"/>
                    <a:gd name="connsiteX679" fmla="*/ 26003 w 2172185"/>
                    <a:gd name="connsiteY679" fmla="*/ 797818 h 1418833"/>
                    <a:gd name="connsiteX680" fmla="*/ 26003 w 2172185"/>
                    <a:gd name="connsiteY680" fmla="*/ 797818 h 1418833"/>
                    <a:gd name="connsiteX681" fmla="*/ 26003 w 2172185"/>
                    <a:gd name="connsiteY681" fmla="*/ 797818 h 1418833"/>
                    <a:gd name="connsiteX682" fmla="*/ 26003 w 2172185"/>
                    <a:gd name="connsiteY682" fmla="*/ 797818 h 1418833"/>
                    <a:gd name="connsiteX683" fmla="*/ 26003 w 2172185"/>
                    <a:gd name="connsiteY683" fmla="*/ 797818 h 1418833"/>
                    <a:gd name="connsiteX684" fmla="*/ 26003 w 2172185"/>
                    <a:gd name="connsiteY684" fmla="*/ 797818 h 1418833"/>
                    <a:gd name="connsiteX685" fmla="*/ 26003 w 2172185"/>
                    <a:gd name="connsiteY685" fmla="*/ 797818 h 1418833"/>
                    <a:gd name="connsiteX686" fmla="*/ 26003 w 2172185"/>
                    <a:gd name="connsiteY686" fmla="*/ 797818 h 1418833"/>
                    <a:gd name="connsiteX687" fmla="*/ 26003 w 2172185"/>
                    <a:gd name="connsiteY687" fmla="*/ 797818 h 1418833"/>
                    <a:gd name="connsiteX688" fmla="*/ 26003 w 2172185"/>
                    <a:gd name="connsiteY688" fmla="*/ 797818 h 1418833"/>
                    <a:gd name="connsiteX689" fmla="*/ 26003 w 2172185"/>
                    <a:gd name="connsiteY689" fmla="*/ 797818 h 1418833"/>
                    <a:gd name="connsiteX690" fmla="*/ 26003 w 2172185"/>
                    <a:gd name="connsiteY690" fmla="*/ 797818 h 1418833"/>
                    <a:gd name="connsiteX691" fmla="*/ 26003 w 2172185"/>
                    <a:gd name="connsiteY691" fmla="*/ 797818 h 1418833"/>
                    <a:gd name="connsiteX692" fmla="*/ 26003 w 2172185"/>
                    <a:gd name="connsiteY692" fmla="*/ 797818 h 1418833"/>
                    <a:gd name="connsiteX693" fmla="*/ 26003 w 2172185"/>
                    <a:gd name="connsiteY693" fmla="*/ 797818 h 1418833"/>
                    <a:gd name="connsiteX694" fmla="*/ 26003 w 2172185"/>
                    <a:gd name="connsiteY694" fmla="*/ 797818 h 1418833"/>
                    <a:gd name="connsiteX695" fmla="*/ 26003 w 2172185"/>
                    <a:gd name="connsiteY695" fmla="*/ 797818 h 1418833"/>
                    <a:gd name="connsiteX696" fmla="*/ 26003 w 2172185"/>
                    <a:gd name="connsiteY696" fmla="*/ 797818 h 1418833"/>
                    <a:gd name="connsiteX697" fmla="*/ 26003 w 2172185"/>
                    <a:gd name="connsiteY697" fmla="*/ 797818 h 1418833"/>
                    <a:gd name="connsiteX698" fmla="*/ 26003 w 2172185"/>
                    <a:gd name="connsiteY698" fmla="*/ 797818 h 1418833"/>
                    <a:gd name="connsiteX699" fmla="*/ 26003 w 2172185"/>
                    <a:gd name="connsiteY699" fmla="*/ 797818 h 1418833"/>
                    <a:gd name="connsiteX700" fmla="*/ 26003 w 2172185"/>
                    <a:gd name="connsiteY700" fmla="*/ 797818 h 1418833"/>
                    <a:gd name="connsiteX701" fmla="*/ 26003 w 2172185"/>
                    <a:gd name="connsiteY701" fmla="*/ 797818 h 1418833"/>
                    <a:gd name="connsiteX702" fmla="*/ 26003 w 2172185"/>
                    <a:gd name="connsiteY702" fmla="*/ 797818 h 1418833"/>
                    <a:gd name="connsiteX703" fmla="*/ 26003 w 2172185"/>
                    <a:gd name="connsiteY703" fmla="*/ 797818 h 1418833"/>
                    <a:gd name="connsiteX704" fmla="*/ 26003 w 2172185"/>
                    <a:gd name="connsiteY704" fmla="*/ 797818 h 1418833"/>
                    <a:gd name="connsiteX705" fmla="*/ 26003 w 2172185"/>
                    <a:gd name="connsiteY705" fmla="*/ 797818 h 1418833"/>
                    <a:gd name="connsiteX706" fmla="*/ 26003 w 2172185"/>
                    <a:gd name="connsiteY706" fmla="*/ 797818 h 1418833"/>
                    <a:gd name="connsiteX707" fmla="*/ 26003 w 2172185"/>
                    <a:gd name="connsiteY707" fmla="*/ 797818 h 1418833"/>
                    <a:gd name="connsiteX708" fmla="*/ 26003 w 2172185"/>
                    <a:gd name="connsiteY708" fmla="*/ 797818 h 1418833"/>
                    <a:gd name="connsiteX709" fmla="*/ 26003 w 2172185"/>
                    <a:gd name="connsiteY709" fmla="*/ 797818 h 1418833"/>
                    <a:gd name="connsiteX710" fmla="*/ 26003 w 2172185"/>
                    <a:gd name="connsiteY710" fmla="*/ 797818 h 1418833"/>
                    <a:gd name="connsiteX711" fmla="*/ 26003 w 2172185"/>
                    <a:gd name="connsiteY711" fmla="*/ 797818 h 1418833"/>
                    <a:gd name="connsiteX712" fmla="*/ 26003 w 2172185"/>
                    <a:gd name="connsiteY712" fmla="*/ 797818 h 1418833"/>
                    <a:gd name="connsiteX713" fmla="*/ 26003 w 2172185"/>
                    <a:gd name="connsiteY713" fmla="*/ 797818 h 1418833"/>
                    <a:gd name="connsiteX714" fmla="*/ 26003 w 2172185"/>
                    <a:gd name="connsiteY714" fmla="*/ 797818 h 1418833"/>
                    <a:gd name="connsiteX715" fmla="*/ 26003 w 2172185"/>
                    <a:gd name="connsiteY715" fmla="*/ 797818 h 1418833"/>
                    <a:gd name="connsiteX716" fmla="*/ 26003 w 2172185"/>
                    <a:gd name="connsiteY716" fmla="*/ 797818 h 1418833"/>
                    <a:gd name="connsiteX717" fmla="*/ 26003 w 2172185"/>
                    <a:gd name="connsiteY717" fmla="*/ 797818 h 1418833"/>
                    <a:gd name="connsiteX718" fmla="*/ 26003 w 2172185"/>
                    <a:gd name="connsiteY718" fmla="*/ 797818 h 1418833"/>
                    <a:gd name="connsiteX719" fmla="*/ 26003 w 2172185"/>
                    <a:gd name="connsiteY719" fmla="*/ 797818 h 1418833"/>
                    <a:gd name="connsiteX720" fmla="*/ 26003 w 2172185"/>
                    <a:gd name="connsiteY720" fmla="*/ 797818 h 1418833"/>
                    <a:gd name="connsiteX721" fmla="*/ 26003 w 2172185"/>
                    <a:gd name="connsiteY721" fmla="*/ 797818 h 1418833"/>
                    <a:gd name="connsiteX722" fmla="*/ 26003 w 2172185"/>
                    <a:gd name="connsiteY722" fmla="*/ 797818 h 1418833"/>
                    <a:gd name="connsiteX723" fmla="*/ 26003 w 2172185"/>
                    <a:gd name="connsiteY723" fmla="*/ 797818 h 1418833"/>
                    <a:gd name="connsiteX724" fmla="*/ 26003 w 2172185"/>
                    <a:gd name="connsiteY724" fmla="*/ 797818 h 1418833"/>
                    <a:gd name="connsiteX725" fmla="*/ 26003 w 2172185"/>
                    <a:gd name="connsiteY725" fmla="*/ 797818 h 1418833"/>
                    <a:gd name="connsiteX726" fmla="*/ 26003 w 2172185"/>
                    <a:gd name="connsiteY726" fmla="*/ 797818 h 1418833"/>
                    <a:gd name="connsiteX727" fmla="*/ 26003 w 2172185"/>
                    <a:gd name="connsiteY727" fmla="*/ 797818 h 1418833"/>
                    <a:gd name="connsiteX728" fmla="*/ 26003 w 2172185"/>
                    <a:gd name="connsiteY728" fmla="*/ 797818 h 1418833"/>
                    <a:gd name="connsiteX729" fmla="*/ 26003 w 2172185"/>
                    <a:gd name="connsiteY729" fmla="*/ 797818 h 1418833"/>
                    <a:gd name="connsiteX730" fmla="*/ 26003 w 2172185"/>
                    <a:gd name="connsiteY730" fmla="*/ 797818 h 1418833"/>
                    <a:gd name="connsiteX731" fmla="*/ 26003 w 2172185"/>
                    <a:gd name="connsiteY731" fmla="*/ 797818 h 1418833"/>
                    <a:gd name="connsiteX732" fmla="*/ 26003 w 2172185"/>
                    <a:gd name="connsiteY732" fmla="*/ 797818 h 1418833"/>
                    <a:gd name="connsiteX733" fmla="*/ 26003 w 2172185"/>
                    <a:gd name="connsiteY733" fmla="*/ 797818 h 1418833"/>
                    <a:gd name="connsiteX734" fmla="*/ 26003 w 2172185"/>
                    <a:gd name="connsiteY734" fmla="*/ 797818 h 1418833"/>
                    <a:gd name="connsiteX735" fmla="*/ 26003 w 2172185"/>
                    <a:gd name="connsiteY735" fmla="*/ 797818 h 1418833"/>
                    <a:gd name="connsiteX736" fmla="*/ 26003 w 2172185"/>
                    <a:gd name="connsiteY736" fmla="*/ 797818 h 1418833"/>
                    <a:gd name="connsiteX737" fmla="*/ 26003 w 2172185"/>
                    <a:gd name="connsiteY737" fmla="*/ 797818 h 1418833"/>
                    <a:gd name="connsiteX738" fmla="*/ 26003 w 2172185"/>
                    <a:gd name="connsiteY738" fmla="*/ 797818 h 1418833"/>
                    <a:gd name="connsiteX739" fmla="*/ 26003 w 2172185"/>
                    <a:gd name="connsiteY739" fmla="*/ 797818 h 1418833"/>
                    <a:gd name="connsiteX740" fmla="*/ 26003 w 2172185"/>
                    <a:gd name="connsiteY740" fmla="*/ 797818 h 1418833"/>
                    <a:gd name="connsiteX741" fmla="*/ 26003 w 2172185"/>
                    <a:gd name="connsiteY741" fmla="*/ 797818 h 1418833"/>
                    <a:gd name="connsiteX742" fmla="*/ 26003 w 2172185"/>
                    <a:gd name="connsiteY742" fmla="*/ 797818 h 1418833"/>
                    <a:gd name="connsiteX743" fmla="*/ 26003 w 2172185"/>
                    <a:gd name="connsiteY743" fmla="*/ 797818 h 1418833"/>
                    <a:gd name="connsiteX744" fmla="*/ 26003 w 2172185"/>
                    <a:gd name="connsiteY744" fmla="*/ 797818 h 1418833"/>
                    <a:gd name="connsiteX745" fmla="*/ 26003 w 2172185"/>
                    <a:gd name="connsiteY745" fmla="*/ 797818 h 1418833"/>
                    <a:gd name="connsiteX746" fmla="*/ 26003 w 2172185"/>
                    <a:gd name="connsiteY746" fmla="*/ 797818 h 1418833"/>
                    <a:gd name="connsiteX747" fmla="*/ 26003 w 2172185"/>
                    <a:gd name="connsiteY747" fmla="*/ 797818 h 1418833"/>
                    <a:gd name="connsiteX748" fmla="*/ 26003 w 2172185"/>
                    <a:gd name="connsiteY748" fmla="*/ 797818 h 1418833"/>
                    <a:gd name="connsiteX749" fmla="*/ 26003 w 2172185"/>
                    <a:gd name="connsiteY749" fmla="*/ 797818 h 1418833"/>
                    <a:gd name="connsiteX750" fmla="*/ 26003 w 2172185"/>
                    <a:gd name="connsiteY750" fmla="*/ 797818 h 1418833"/>
                    <a:gd name="connsiteX751" fmla="*/ 26003 w 2172185"/>
                    <a:gd name="connsiteY751" fmla="*/ 797818 h 1418833"/>
                    <a:gd name="connsiteX752" fmla="*/ 26003 w 2172185"/>
                    <a:gd name="connsiteY752" fmla="*/ 797818 h 1418833"/>
                    <a:gd name="connsiteX753" fmla="*/ 26003 w 2172185"/>
                    <a:gd name="connsiteY753" fmla="*/ 797818 h 1418833"/>
                    <a:gd name="connsiteX754" fmla="*/ 26003 w 2172185"/>
                    <a:gd name="connsiteY754" fmla="*/ 797818 h 1418833"/>
                    <a:gd name="connsiteX755" fmla="*/ 26003 w 2172185"/>
                    <a:gd name="connsiteY755" fmla="*/ 797818 h 1418833"/>
                    <a:gd name="connsiteX756" fmla="*/ 26003 w 2172185"/>
                    <a:gd name="connsiteY756" fmla="*/ 797818 h 1418833"/>
                    <a:gd name="connsiteX757" fmla="*/ 26003 w 2172185"/>
                    <a:gd name="connsiteY757" fmla="*/ 797818 h 1418833"/>
                    <a:gd name="connsiteX758" fmla="*/ 26003 w 2172185"/>
                    <a:gd name="connsiteY758" fmla="*/ 797818 h 1418833"/>
                    <a:gd name="connsiteX759" fmla="*/ 26003 w 2172185"/>
                    <a:gd name="connsiteY759" fmla="*/ 797818 h 1418833"/>
                    <a:gd name="connsiteX760" fmla="*/ 26003 w 2172185"/>
                    <a:gd name="connsiteY760" fmla="*/ 797818 h 1418833"/>
                    <a:gd name="connsiteX761" fmla="*/ 26003 w 2172185"/>
                    <a:gd name="connsiteY761" fmla="*/ 797818 h 1418833"/>
                    <a:gd name="connsiteX762" fmla="*/ 26003 w 2172185"/>
                    <a:gd name="connsiteY762" fmla="*/ 797818 h 1418833"/>
                    <a:gd name="connsiteX763" fmla="*/ 26003 w 2172185"/>
                    <a:gd name="connsiteY763" fmla="*/ 797818 h 1418833"/>
                    <a:gd name="connsiteX764" fmla="*/ 26003 w 2172185"/>
                    <a:gd name="connsiteY764" fmla="*/ 797818 h 1418833"/>
                    <a:gd name="connsiteX765" fmla="*/ 26003 w 2172185"/>
                    <a:gd name="connsiteY765" fmla="*/ 797818 h 1418833"/>
                    <a:gd name="connsiteX766" fmla="*/ 26003 w 2172185"/>
                    <a:gd name="connsiteY766" fmla="*/ 797818 h 1418833"/>
                    <a:gd name="connsiteX767" fmla="*/ 26003 w 2172185"/>
                    <a:gd name="connsiteY767" fmla="*/ 797818 h 1418833"/>
                    <a:gd name="connsiteX768" fmla="*/ 26003 w 2172185"/>
                    <a:gd name="connsiteY768" fmla="*/ 797818 h 1418833"/>
                    <a:gd name="connsiteX769" fmla="*/ 26003 w 2172185"/>
                    <a:gd name="connsiteY769" fmla="*/ 797818 h 1418833"/>
                    <a:gd name="connsiteX770" fmla="*/ 26003 w 2172185"/>
                    <a:gd name="connsiteY770" fmla="*/ 797818 h 1418833"/>
                    <a:gd name="connsiteX771" fmla="*/ 26003 w 2172185"/>
                    <a:gd name="connsiteY771" fmla="*/ 797818 h 1418833"/>
                    <a:gd name="connsiteX772" fmla="*/ 26003 w 2172185"/>
                    <a:gd name="connsiteY772" fmla="*/ 797818 h 1418833"/>
                    <a:gd name="connsiteX773" fmla="*/ 26003 w 2172185"/>
                    <a:gd name="connsiteY773" fmla="*/ 797818 h 1418833"/>
                    <a:gd name="connsiteX774" fmla="*/ 26003 w 2172185"/>
                    <a:gd name="connsiteY774" fmla="*/ 797818 h 1418833"/>
                    <a:gd name="connsiteX775" fmla="*/ 26003 w 2172185"/>
                    <a:gd name="connsiteY775" fmla="*/ 797818 h 1418833"/>
                    <a:gd name="connsiteX776" fmla="*/ 26003 w 2172185"/>
                    <a:gd name="connsiteY776" fmla="*/ 797818 h 1418833"/>
                    <a:gd name="connsiteX777" fmla="*/ 26003 w 2172185"/>
                    <a:gd name="connsiteY777" fmla="*/ 797818 h 1418833"/>
                    <a:gd name="connsiteX778" fmla="*/ 26003 w 2172185"/>
                    <a:gd name="connsiteY778" fmla="*/ 797818 h 1418833"/>
                    <a:gd name="connsiteX779" fmla="*/ 26003 w 2172185"/>
                    <a:gd name="connsiteY779" fmla="*/ 797818 h 1418833"/>
                    <a:gd name="connsiteX780" fmla="*/ 26003 w 2172185"/>
                    <a:gd name="connsiteY780" fmla="*/ 797818 h 1418833"/>
                    <a:gd name="connsiteX781" fmla="*/ 26003 w 2172185"/>
                    <a:gd name="connsiteY781" fmla="*/ 797818 h 1418833"/>
                    <a:gd name="connsiteX782" fmla="*/ 26003 w 2172185"/>
                    <a:gd name="connsiteY782" fmla="*/ 797818 h 1418833"/>
                    <a:gd name="connsiteX783" fmla="*/ 26003 w 2172185"/>
                    <a:gd name="connsiteY783" fmla="*/ 797818 h 1418833"/>
                    <a:gd name="connsiteX784" fmla="*/ 26003 w 2172185"/>
                    <a:gd name="connsiteY784" fmla="*/ 797818 h 1418833"/>
                    <a:gd name="connsiteX785" fmla="*/ 26003 w 2172185"/>
                    <a:gd name="connsiteY785" fmla="*/ 797818 h 1418833"/>
                    <a:gd name="connsiteX786" fmla="*/ 26003 w 2172185"/>
                    <a:gd name="connsiteY786" fmla="*/ 797818 h 1418833"/>
                    <a:gd name="connsiteX787" fmla="*/ 26003 w 2172185"/>
                    <a:gd name="connsiteY787" fmla="*/ 797818 h 1418833"/>
                    <a:gd name="connsiteX788" fmla="*/ 26003 w 2172185"/>
                    <a:gd name="connsiteY788" fmla="*/ 797818 h 1418833"/>
                    <a:gd name="connsiteX789" fmla="*/ 26003 w 2172185"/>
                    <a:gd name="connsiteY789" fmla="*/ 797818 h 1418833"/>
                    <a:gd name="connsiteX790" fmla="*/ 26003 w 2172185"/>
                    <a:gd name="connsiteY790" fmla="*/ 797818 h 1418833"/>
                    <a:gd name="connsiteX791" fmla="*/ 26003 w 2172185"/>
                    <a:gd name="connsiteY791" fmla="*/ 797818 h 1418833"/>
                    <a:gd name="connsiteX792" fmla="*/ 26003 w 2172185"/>
                    <a:gd name="connsiteY792" fmla="*/ 797818 h 1418833"/>
                    <a:gd name="connsiteX793" fmla="*/ 26003 w 2172185"/>
                    <a:gd name="connsiteY793" fmla="*/ 797818 h 1418833"/>
                    <a:gd name="connsiteX794" fmla="*/ 26003 w 2172185"/>
                    <a:gd name="connsiteY794" fmla="*/ 797818 h 1418833"/>
                    <a:gd name="connsiteX795" fmla="*/ 26003 w 2172185"/>
                    <a:gd name="connsiteY795" fmla="*/ 797818 h 1418833"/>
                    <a:gd name="connsiteX796" fmla="*/ 26003 w 2172185"/>
                    <a:gd name="connsiteY796" fmla="*/ 797818 h 1418833"/>
                    <a:gd name="connsiteX797" fmla="*/ 26003 w 2172185"/>
                    <a:gd name="connsiteY797" fmla="*/ 797818 h 1418833"/>
                    <a:gd name="connsiteX798" fmla="*/ 26003 w 2172185"/>
                    <a:gd name="connsiteY798" fmla="*/ 797818 h 1418833"/>
                    <a:gd name="connsiteX799" fmla="*/ 26003 w 2172185"/>
                    <a:gd name="connsiteY799" fmla="*/ 797818 h 1418833"/>
                    <a:gd name="connsiteX800" fmla="*/ 26003 w 2172185"/>
                    <a:gd name="connsiteY800" fmla="*/ 797818 h 1418833"/>
                    <a:gd name="connsiteX801" fmla="*/ 26003 w 2172185"/>
                    <a:gd name="connsiteY801" fmla="*/ 797818 h 1418833"/>
                    <a:gd name="connsiteX802" fmla="*/ 26003 w 2172185"/>
                    <a:gd name="connsiteY802" fmla="*/ 797818 h 1418833"/>
                    <a:gd name="connsiteX803" fmla="*/ 26003 w 2172185"/>
                    <a:gd name="connsiteY803" fmla="*/ 797818 h 1418833"/>
                    <a:gd name="connsiteX804" fmla="*/ 26003 w 2172185"/>
                    <a:gd name="connsiteY804" fmla="*/ 797818 h 1418833"/>
                    <a:gd name="connsiteX805" fmla="*/ 26003 w 2172185"/>
                    <a:gd name="connsiteY805" fmla="*/ 797818 h 1418833"/>
                    <a:gd name="connsiteX806" fmla="*/ 26003 w 2172185"/>
                    <a:gd name="connsiteY806" fmla="*/ 797818 h 1418833"/>
                    <a:gd name="connsiteX807" fmla="*/ 26003 w 2172185"/>
                    <a:gd name="connsiteY807" fmla="*/ 797818 h 1418833"/>
                    <a:gd name="connsiteX808" fmla="*/ 26003 w 2172185"/>
                    <a:gd name="connsiteY808" fmla="*/ 797818 h 1418833"/>
                    <a:gd name="connsiteX809" fmla="*/ 26003 w 2172185"/>
                    <a:gd name="connsiteY809" fmla="*/ 797818 h 1418833"/>
                    <a:gd name="connsiteX810" fmla="*/ 26003 w 2172185"/>
                    <a:gd name="connsiteY810" fmla="*/ 797818 h 1418833"/>
                    <a:gd name="connsiteX811" fmla="*/ 26003 w 2172185"/>
                    <a:gd name="connsiteY811" fmla="*/ 797818 h 1418833"/>
                    <a:gd name="connsiteX812" fmla="*/ 26003 w 2172185"/>
                    <a:gd name="connsiteY812" fmla="*/ 797818 h 1418833"/>
                    <a:gd name="connsiteX813" fmla="*/ 26003 w 2172185"/>
                    <a:gd name="connsiteY813" fmla="*/ 797818 h 1418833"/>
                    <a:gd name="connsiteX814" fmla="*/ 26003 w 2172185"/>
                    <a:gd name="connsiteY814" fmla="*/ 797818 h 1418833"/>
                    <a:gd name="connsiteX815" fmla="*/ 26003 w 2172185"/>
                    <a:gd name="connsiteY815" fmla="*/ 797818 h 1418833"/>
                    <a:gd name="connsiteX816" fmla="*/ 26003 w 2172185"/>
                    <a:gd name="connsiteY816" fmla="*/ 797818 h 1418833"/>
                    <a:gd name="connsiteX817" fmla="*/ 26003 w 2172185"/>
                    <a:gd name="connsiteY817" fmla="*/ 797818 h 1418833"/>
                    <a:gd name="connsiteX818" fmla="*/ 26003 w 2172185"/>
                    <a:gd name="connsiteY818" fmla="*/ 797818 h 1418833"/>
                    <a:gd name="connsiteX819" fmla="*/ 26003 w 2172185"/>
                    <a:gd name="connsiteY819" fmla="*/ 797818 h 1418833"/>
                    <a:gd name="connsiteX820" fmla="*/ 26003 w 2172185"/>
                    <a:gd name="connsiteY820" fmla="*/ 797818 h 1418833"/>
                    <a:gd name="connsiteX821" fmla="*/ 26003 w 2172185"/>
                    <a:gd name="connsiteY821" fmla="*/ 797818 h 1418833"/>
                    <a:gd name="connsiteX822" fmla="*/ 26003 w 2172185"/>
                    <a:gd name="connsiteY822" fmla="*/ 797818 h 1418833"/>
                    <a:gd name="connsiteX823" fmla="*/ 26003 w 2172185"/>
                    <a:gd name="connsiteY823" fmla="*/ 797818 h 1418833"/>
                    <a:gd name="connsiteX824" fmla="*/ 26003 w 2172185"/>
                    <a:gd name="connsiteY824" fmla="*/ 797818 h 1418833"/>
                    <a:gd name="connsiteX825" fmla="*/ 26003 w 2172185"/>
                    <a:gd name="connsiteY825" fmla="*/ 797818 h 1418833"/>
                    <a:gd name="connsiteX826" fmla="*/ 26003 w 2172185"/>
                    <a:gd name="connsiteY826" fmla="*/ 797818 h 1418833"/>
                    <a:gd name="connsiteX827" fmla="*/ 26003 w 2172185"/>
                    <a:gd name="connsiteY827" fmla="*/ 797818 h 1418833"/>
                    <a:gd name="connsiteX828" fmla="*/ 26003 w 2172185"/>
                    <a:gd name="connsiteY828" fmla="*/ 797818 h 1418833"/>
                    <a:gd name="connsiteX829" fmla="*/ 26003 w 2172185"/>
                    <a:gd name="connsiteY829" fmla="*/ 797818 h 1418833"/>
                    <a:gd name="connsiteX830" fmla="*/ 26003 w 2172185"/>
                    <a:gd name="connsiteY830" fmla="*/ 797818 h 1418833"/>
                    <a:gd name="connsiteX831" fmla="*/ 26003 w 2172185"/>
                    <a:gd name="connsiteY831" fmla="*/ 797818 h 1418833"/>
                    <a:gd name="connsiteX832" fmla="*/ 26003 w 2172185"/>
                    <a:gd name="connsiteY832" fmla="*/ 797818 h 1418833"/>
                    <a:gd name="connsiteX833" fmla="*/ 51949 w 2172185"/>
                    <a:gd name="connsiteY833" fmla="*/ 846255 h 1418833"/>
                    <a:gd name="connsiteX834" fmla="*/ 50744 w 2172185"/>
                    <a:gd name="connsiteY834" fmla="*/ 849308 h 1418833"/>
                    <a:gd name="connsiteX835" fmla="*/ 51065 w 2172185"/>
                    <a:gd name="connsiteY835" fmla="*/ 847300 h 1418833"/>
                    <a:gd name="connsiteX836" fmla="*/ 52109 w 2172185"/>
                    <a:gd name="connsiteY836" fmla="*/ 845854 h 1418833"/>
                    <a:gd name="connsiteX837" fmla="*/ 51949 w 2172185"/>
                    <a:gd name="connsiteY837" fmla="*/ 846255 h 1418833"/>
                    <a:gd name="connsiteX838" fmla="*/ 26244 w 2172185"/>
                    <a:gd name="connsiteY838" fmla="*/ 785126 h 1418833"/>
                    <a:gd name="connsiteX839" fmla="*/ 27770 w 2172185"/>
                    <a:gd name="connsiteY839" fmla="*/ 779663 h 1418833"/>
                    <a:gd name="connsiteX840" fmla="*/ 26163 w 2172185"/>
                    <a:gd name="connsiteY840" fmla="*/ 785287 h 1418833"/>
                    <a:gd name="connsiteX841" fmla="*/ 26244 w 2172185"/>
                    <a:gd name="connsiteY841" fmla="*/ 785126 h 1418833"/>
                    <a:gd name="connsiteX842" fmla="*/ 376393 w 2172185"/>
                    <a:gd name="connsiteY842" fmla="*/ 974218 h 1418833"/>
                    <a:gd name="connsiteX843" fmla="*/ 375028 w 2172185"/>
                    <a:gd name="connsiteY843" fmla="*/ 975503 h 1418833"/>
                    <a:gd name="connsiteX844" fmla="*/ 377277 w 2172185"/>
                    <a:gd name="connsiteY844" fmla="*/ 972370 h 1418833"/>
                    <a:gd name="connsiteX845" fmla="*/ 377518 w 2172185"/>
                    <a:gd name="connsiteY845" fmla="*/ 972531 h 1418833"/>
                    <a:gd name="connsiteX846" fmla="*/ 376393 w 2172185"/>
                    <a:gd name="connsiteY846" fmla="*/ 974218 h 1418833"/>
                    <a:gd name="connsiteX847" fmla="*/ 379687 w 2172185"/>
                    <a:gd name="connsiteY847" fmla="*/ 975262 h 1418833"/>
                    <a:gd name="connsiteX848" fmla="*/ 379446 w 2172185"/>
                    <a:gd name="connsiteY848" fmla="*/ 976387 h 1418833"/>
                    <a:gd name="connsiteX849" fmla="*/ 379365 w 2172185"/>
                    <a:gd name="connsiteY849" fmla="*/ 969157 h 1418833"/>
                    <a:gd name="connsiteX850" fmla="*/ 379687 w 2172185"/>
                    <a:gd name="connsiteY850" fmla="*/ 975262 h 1418833"/>
                    <a:gd name="connsiteX851" fmla="*/ 373421 w 2172185"/>
                    <a:gd name="connsiteY851" fmla="*/ 971165 h 1418833"/>
                    <a:gd name="connsiteX852" fmla="*/ 375108 w 2172185"/>
                    <a:gd name="connsiteY852" fmla="*/ 968274 h 1418833"/>
                    <a:gd name="connsiteX853" fmla="*/ 375028 w 2172185"/>
                    <a:gd name="connsiteY853" fmla="*/ 969479 h 1418833"/>
                    <a:gd name="connsiteX854" fmla="*/ 373421 w 2172185"/>
                    <a:gd name="connsiteY854" fmla="*/ 971165 h 1418833"/>
                    <a:gd name="connsiteX855" fmla="*/ 386033 w 2172185"/>
                    <a:gd name="connsiteY855" fmla="*/ 971889 h 1418833"/>
                    <a:gd name="connsiteX856" fmla="*/ 385551 w 2172185"/>
                    <a:gd name="connsiteY856" fmla="*/ 969318 h 1418833"/>
                    <a:gd name="connsiteX857" fmla="*/ 386193 w 2172185"/>
                    <a:gd name="connsiteY857" fmla="*/ 971889 h 1418833"/>
                    <a:gd name="connsiteX858" fmla="*/ 386033 w 2172185"/>
                    <a:gd name="connsiteY858" fmla="*/ 971889 h 1418833"/>
                    <a:gd name="connsiteX859" fmla="*/ 384346 w 2172185"/>
                    <a:gd name="connsiteY859" fmla="*/ 975744 h 1418833"/>
                    <a:gd name="connsiteX860" fmla="*/ 382819 w 2172185"/>
                    <a:gd name="connsiteY860" fmla="*/ 968595 h 1418833"/>
                    <a:gd name="connsiteX861" fmla="*/ 384587 w 2172185"/>
                    <a:gd name="connsiteY861" fmla="*/ 975985 h 1418833"/>
                    <a:gd name="connsiteX862" fmla="*/ 384346 w 2172185"/>
                    <a:gd name="connsiteY862" fmla="*/ 975744 h 1418833"/>
                    <a:gd name="connsiteX863" fmla="*/ 387880 w 2172185"/>
                    <a:gd name="connsiteY863" fmla="*/ 970844 h 1418833"/>
                    <a:gd name="connsiteX864" fmla="*/ 387318 w 2172185"/>
                    <a:gd name="connsiteY864" fmla="*/ 968997 h 1418833"/>
                    <a:gd name="connsiteX865" fmla="*/ 389005 w 2172185"/>
                    <a:gd name="connsiteY865" fmla="*/ 972049 h 1418833"/>
                    <a:gd name="connsiteX866" fmla="*/ 387880 w 2172185"/>
                    <a:gd name="connsiteY866" fmla="*/ 970844 h 1418833"/>
                    <a:gd name="connsiteX867" fmla="*/ 352697 w 2172185"/>
                    <a:gd name="connsiteY867" fmla="*/ 965141 h 1418833"/>
                    <a:gd name="connsiteX868" fmla="*/ 292611 w 2172185"/>
                    <a:gd name="connsiteY868" fmla="*/ 975102 h 1418833"/>
                    <a:gd name="connsiteX869" fmla="*/ 297029 w 2172185"/>
                    <a:gd name="connsiteY869" fmla="*/ 975021 h 1418833"/>
                    <a:gd name="connsiteX870" fmla="*/ 296788 w 2172185"/>
                    <a:gd name="connsiteY870" fmla="*/ 960642 h 1418833"/>
                    <a:gd name="connsiteX871" fmla="*/ 300805 w 2172185"/>
                    <a:gd name="connsiteY871" fmla="*/ 969479 h 1418833"/>
                    <a:gd name="connsiteX872" fmla="*/ 310364 w 2172185"/>
                    <a:gd name="connsiteY872" fmla="*/ 965462 h 1418833"/>
                    <a:gd name="connsiteX873" fmla="*/ 310042 w 2172185"/>
                    <a:gd name="connsiteY873" fmla="*/ 966346 h 1418833"/>
                    <a:gd name="connsiteX874" fmla="*/ 335426 w 2172185"/>
                    <a:gd name="connsiteY874" fmla="*/ 966667 h 1418833"/>
                    <a:gd name="connsiteX875" fmla="*/ 352777 w 2172185"/>
                    <a:gd name="connsiteY875" fmla="*/ 962892 h 1418833"/>
                    <a:gd name="connsiteX876" fmla="*/ 352697 w 2172185"/>
                    <a:gd name="connsiteY876" fmla="*/ 965141 h 1418833"/>
                    <a:gd name="connsiteX877" fmla="*/ 396797 w 2172185"/>
                    <a:gd name="connsiteY877" fmla="*/ 966908 h 1418833"/>
                    <a:gd name="connsiteX878" fmla="*/ 393101 w 2172185"/>
                    <a:gd name="connsiteY878" fmla="*/ 965382 h 1418833"/>
                    <a:gd name="connsiteX879" fmla="*/ 393101 w 2172185"/>
                    <a:gd name="connsiteY879" fmla="*/ 965382 h 1418833"/>
                    <a:gd name="connsiteX880" fmla="*/ 397680 w 2172185"/>
                    <a:gd name="connsiteY880" fmla="*/ 966747 h 1418833"/>
                    <a:gd name="connsiteX881" fmla="*/ 396797 w 2172185"/>
                    <a:gd name="connsiteY881" fmla="*/ 966908 h 1418833"/>
                    <a:gd name="connsiteX882" fmla="*/ 34598 w 2172185"/>
                    <a:gd name="connsiteY882" fmla="*/ 788018 h 1418833"/>
                    <a:gd name="connsiteX883" fmla="*/ 34678 w 2172185"/>
                    <a:gd name="connsiteY883" fmla="*/ 786491 h 1418833"/>
                    <a:gd name="connsiteX884" fmla="*/ 34598 w 2172185"/>
                    <a:gd name="connsiteY884" fmla="*/ 788178 h 1418833"/>
                    <a:gd name="connsiteX885" fmla="*/ 34598 w 2172185"/>
                    <a:gd name="connsiteY885" fmla="*/ 788018 h 1418833"/>
                    <a:gd name="connsiteX886" fmla="*/ 464834 w 2172185"/>
                    <a:gd name="connsiteY886" fmla="*/ 968916 h 1418833"/>
                    <a:gd name="connsiteX887" fmla="*/ 464754 w 2172185"/>
                    <a:gd name="connsiteY887" fmla="*/ 968916 h 1418833"/>
                    <a:gd name="connsiteX888" fmla="*/ 462184 w 2172185"/>
                    <a:gd name="connsiteY888" fmla="*/ 967229 h 1418833"/>
                    <a:gd name="connsiteX889" fmla="*/ 462906 w 2172185"/>
                    <a:gd name="connsiteY889" fmla="*/ 966265 h 1418833"/>
                    <a:gd name="connsiteX890" fmla="*/ 464834 w 2172185"/>
                    <a:gd name="connsiteY890" fmla="*/ 968916 h 1418833"/>
                    <a:gd name="connsiteX891" fmla="*/ 133401 w 2172185"/>
                    <a:gd name="connsiteY891" fmla="*/ 893408 h 1418833"/>
                    <a:gd name="connsiteX892" fmla="*/ 131955 w 2172185"/>
                    <a:gd name="connsiteY892" fmla="*/ 876378 h 1418833"/>
                    <a:gd name="connsiteX893" fmla="*/ 134124 w 2172185"/>
                    <a:gd name="connsiteY893" fmla="*/ 893810 h 1418833"/>
                    <a:gd name="connsiteX894" fmla="*/ 133401 w 2172185"/>
                    <a:gd name="connsiteY894" fmla="*/ 893408 h 1418833"/>
                    <a:gd name="connsiteX895" fmla="*/ 562995 w 2172185"/>
                    <a:gd name="connsiteY895" fmla="*/ 966265 h 1418833"/>
                    <a:gd name="connsiteX896" fmla="*/ 560987 w 2172185"/>
                    <a:gd name="connsiteY896" fmla="*/ 966346 h 1418833"/>
                    <a:gd name="connsiteX897" fmla="*/ 560425 w 2172185"/>
                    <a:gd name="connsiteY897" fmla="*/ 965382 h 1418833"/>
                    <a:gd name="connsiteX898" fmla="*/ 561389 w 2172185"/>
                    <a:gd name="connsiteY898" fmla="*/ 964739 h 1418833"/>
                    <a:gd name="connsiteX899" fmla="*/ 563477 w 2172185"/>
                    <a:gd name="connsiteY899" fmla="*/ 965221 h 1418833"/>
                    <a:gd name="connsiteX900" fmla="*/ 562995 w 2172185"/>
                    <a:gd name="connsiteY900" fmla="*/ 966265 h 1418833"/>
                    <a:gd name="connsiteX901" fmla="*/ 398724 w 2172185"/>
                    <a:gd name="connsiteY901" fmla="*/ 946665 h 1418833"/>
                    <a:gd name="connsiteX902" fmla="*/ 391495 w 2172185"/>
                    <a:gd name="connsiteY902" fmla="*/ 951485 h 1418833"/>
                    <a:gd name="connsiteX903" fmla="*/ 391977 w 2172185"/>
                    <a:gd name="connsiteY903" fmla="*/ 952610 h 1418833"/>
                    <a:gd name="connsiteX904" fmla="*/ 393905 w 2172185"/>
                    <a:gd name="connsiteY904" fmla="*/ 952449 h 1418833"/>
                    <a:gd name="connsiteX905" fmla="*/ 393503 w 2172185"/>
                    <a:gd name="connsiteY905" fmla="*/ 953493 h 1418833"/>
                    <a:gd name="connsiteX906" fmla="*/ 395270 w 2172185"/>
                    <a:gd name="connsiteY906" fmla="*/ 953815 h 1418833"/>
                    <a:gd name="connsiteX907" fmla="*/ 392700 w 2172185"/>
                    <a:gd name="connsiteY907" fmla="*/ 955100 h 1418833"/>
                    <a:gd name="connsiteX908" fmla="*/ 352937 w 2172185"/>
                    <a:gd name="connsiteY908" fmla="*/ 949557 h 1418833"/>
                    <a:gd name="connsiteX909" fmla="*/ 374546 w 2172185"/>
                    <a:gd name="connsiteY909" fmla="*/ 950360 h 1418833"/>
                    <a:gd name="connsiteX910" fmla="*/ 374144 w 2172185"/>
                    <a:gd name="connsiteY910" fmla="*/ 950360 h 1418833"/>
                    <a:gd name="connsiteX911" fmla="*/ 378241 w 2172185"/>
                    <a:gd name="connsiteY911" fmla="*/ 951726 h 1418833"/>
                    <a:gd name="connsiteX912" fmla="*/ 377679 w 2172185"/>
                    <a:gd name="connsiteY912" fmla="*/ 951967 h 1418833"/>
                    <a:gd name="connsiteX913" fmla="*/ 377839 w 2172185"/>
                    <a:gd name="connsiteY913" fmla="*/ 952208 h 1418833"/>
                    <a:gd name="connsiteX914" fmla="*/ 379124 w 2172185"/>
                    <a:gd name="connsiteY914" fmla="*/ 952208 h 1418833"/>
                    <a:gd name="connsiteX915" fmla="*/ 383703 w 2172185"/>
                    <a:gd name="connsiteY915" fmla="*/ 952610 h 1418833"/>
                    <a:gd name="connsiteX916" fmla="*/ 381213 w 2172185"/>
                    <a:gd name="connsiteY916" fmla="*/ 952610 h 1418833"/>
                    <a:gd name="connsiteX917" fmla="*/ 384185 w 2172185"/>
                    <a:gd name="connsiteY917" fmla="*/ 950521 h 1418833"/>
                    <a:gd name="connsiteX918" fmla="*/ 382819 w 2172185"/>
                    <a:gd name="connsiteY918" fmla="*/ 950280 h 1418833"/>
                    <a:gd name="connsiteX919" fmla="*/ 381775 w 2172185"/>
                    <a:gd name="connsiteY919" fmla="*/ 950119 h 1418833"/>
                    <a:gd name="connsiteX920" fmla="*/ 380972 w 2172185"/>
                    <a:gd name="connsiteY920" fmla="*/ 949959 h 1418833"/>
                    <a:gd name="connsiteX921" fmla="*/ 380329 w 2172185"/>
                    <a:gd name="connsiteY921" fmla="*/ 949879 h 1418833"/>
                    <a:gd name="connsiteX922" fmla="*/ 379767 w 2172185"/>
                    <a:gd name="connsiteY922" fmla="*/ 949798 h 1418833"/>
                    <a:gd name="connsiteX923" fmla="*/ 379124 w 2172185"/>
                    <a:gd name="connsiteY923" fmla="*/ 949718 h 1418833"/>
                    <a:gd name="connsiteX924" fmla="*/ 378401 w 2172185"/>
                    <a:gd name="connsiteY924" fmla="*/ 949638 h 1418833"/>
                    <a:gd name="connsiteX925" fmla="*/ 377518 w 2172185"/>
                    <a:gd name="connsiteY925" fmla="*/ 949477 h 1418833"/>
                    <a:gd name="connsiteX926" fmla="*/ 377919 w 2172185"/>
                    <a:gd name="connsiteY926" fmla="*/ 948915 h 1418833"/>
                    <a:gd name="connsiteX927" fmla="*/ 373983 w 2172185"/>
                    <a:gd name="connsiteY927" fmla="*/ 949236 h 1418833"/>
                    <a:gd name="connsiteX928" fmla="*/ 382177 w 2172185"/>
                    <a:gd name="connsiteY928" fmla="*/ 948674 h 1418833"/>
                    <a:gd name="connsiteX929" fmla="*/ 381936 w 2172185"/>
                    <a:gd name="connsiteY929" fmla="*/ 949236 h 1418833"/>
                    <a:gd name="connsiteX930" fmla="*/ 383301 w 2172185"/>
                    <a:gd name="connsiteY930" fmla="*/ 949075 h 1418833"/>
                    <a:gd name="connsiteX931" fmla="*/ 398724 w 2172185"/>
                    <a:gd name="connsiteY931" fmla="*/ 946264 h 1418833"/>
                    <a:gd name="connsiteX932" fmla="*/ 398724 w 2172185"/>
                    <a:gd name="connsiteY932" fmla="*/ 946665 h 1418833"/>
                    <a:gd name="connsiteX933" fmla="*/ 67050 w 2172185"/>
                    <a:gd name="connsiteY933" fmla="*/ 817659 h 1418833"/>
                    <a:gd name="connsiteX934" fmla="*/ 67131 w 2172185"/>
                    <a:gd name="connsiteY934" fmla="*/ 816695 h 1418833"/>
                    <a:gd name="connsiteX935" fmla="*/ 66568 w 2172185"/>
                    <a:gd name="connsiteY935" fmla="*/ 816614 h 1418833"/>
                    <a:gd name="connsiteX936" fmla="*/ 68094 w 2172185"/>
                    <a:gd name="connsiteY936" fmla="*/ 816454 h 1418833"/>
                    <a:gd name="connsiteX937" fmla="*/ 67452 w 2172185"/>
                    <a:gd name="connsiteY937" fmla="*/ 819506 h 1418833"/>
                    <a:gd name="connsiteX938" fmla="*/ 67050 w 2172185"/>
                    <a:gd name="connsiteY938" fmla="*/ 817659 h 1418833"/>
                    <a:gd name="connsiteX939" fmla="*/ 353018 w 2172185"/>
                    <a:gd name="connsiteY939" fmla="*/ 938954 h 1418833"/>
                    <a:gd name="connsiteX940" fmla="*/ 348118 w 2172185"/>
                    <a:gd name="connsiteY940" fmla="*/ 942408 h 1418833"/>
                    <a:gd name="connsiteX941" fmla="*/ 351331 w 2172185"/>
                    <a:gd name="connsiteY941" fmla="*/ 935339 h 1418833"/>
                    <a:gd name="connsiteX942" fmla="*/ 353098 w 2172185"/>
                    <a:gd name="connsiteY942" fmla="*/ 938311 h 1418833"/>
                    <a:gd name="connsiteX943" fmla="*/ 353018 w 2172185"/>
                    <a:gd name="connsiteY943" fmla="*/ 938954 h 1418833"/>
                    <a:gd name="connsiteX944" fmla="*/ 439692 w 2172185"/>
                    <a:gd name="connsiteY944" fmla="*/ 946023 h 1418833"/>
                    <a:gd name="connsiteX945" fmla="*/ 437282 w 2172185"/>
                    <a:gd name="connsiteY945" fmla="*/ 952208 h 1418833"/>
                    <a:gd name="connsiteX946" fmla="*/ 437202 w 2172185"/>
                    <a:gd name="connsiteY946" fmla="*/ 952128 h 1418833"/>
                    <a:gd name="connsiteX947" fmla="*/ 433747 w 2172185"/>
                    <a:gd name="connsiteY947" fmla="*/ 962651 h 1418833"/>
                    <a:gd name="connsiteX948" fmla="*/ 437683 w 2172185"/>
                    <a:gd name="connsiteY948" fmla="*/ 942729 h 1418833"/>
                    <a:gd name="connsiteX949" fmla="*/ 439692 w 2172185"/>
                    <a:gd name="connsiteY949" fmla="*/ 946023 h 1418833"/>
                    <a:gd name="connsiteX950" fmla="*/ 433024 w 2172185"/>
                    <a:gd name="connsiteY950" fmla="*/ 931403 h 1418833"/>
                    <a:gd name="connsiteX951" fmla="*/ 427482 w 2172185"/>
                    <a:gd name="connsiteY951" fmla="*/ 934536 h 1418833"/>
                    <a:gd name="connsiteX952" fmla="*/ 424670 w 2172185"/>
                    <a:gd name="connsiteY952" fmla="*/ 933010 h 1418833"/>
                    <a:gd name="connsiteX953" fmla="*/ 433426 w 2172185"/>
                    <a:gd name="connsiteY953" fmla="*/ 931242 h 1418833"/>
                    <a:gd name="connsiteX954" fmla="*/ 433024 w 2172185"/>
                    <a:gd name="connsiteY954" fmla="*/ 931403 h 1418833"/>
                    <a:gd name="connsiteX955" fmla="*/ 527089 w 2172185"/>
                    <a:gd name="connsiteY955" fmla="*/ 941525 h 1418833"/>
                    <a:gd name="connsiteX956" fmla="*/ 525964 w 2172185"/>
                    <a:gd name="connsiteY956" fmla="*/ 941525 h 1418833"/>
                    <a:gd name="connsiteX957" fmla="*/ 521225 w 2172185"/>
                    <a:gd name="connsiteY957" fmla="*/ 938954 h 1418833"/>
                    <a:gd name="connsiteX958" fmla="*/ 522349 w 2172185"/>
                    <a:gd name="connsiteY958" fmla="*/ 938633 h 1418833"/>
                    <a:gd name="connsiteX959" fmla="*/ 527008 w 2172185"/>
                    <a:gd name="connsiteY959" fmla="*/ 940239 h 1418833"/>
                    <a:gd name="connsiteX960" fmla="*/ 527249 w 2172185"/>
                    <a:gd name="connsiteY960" fmla="*/ 941444 h 1418833"/>
                    <a:gd name="connsiteX961" fmla="*/ 527089 w 2172185"/>
                    <a:gd name="connsiteY961" fmla="*/ 941525 h 1418833"/>
                    <a:gd name="connsiteX962" fmla="*/ 192362 w 2172185"/>
                    <a:gd name="connsiteY962" fmla="*/ 867060 h 1418833"/>
                    <a:gd name="connsiteX963" fmla="*/ 191880 w 2172185"/>
                    <a:gd name="connsiteY963" fmla="*/ 864249 h 1418833"/>
                    <a:gd name="connsiteX964" fmla="*/ 192362 w 2172185"/>
                    <a:gd name="connsiteY964" fmla="*/ 867221 h 1418833"/>
                    <a:gd name="connsiteX965" fmla="*/ 192362 w 2172185"/>
                    <a:gd name="connsiteY965" fmla="*/ 867060 h 1418833"/>
                    <a:gd name="connsiteX966" fmla="*/ 354303 w 2172185"/>
                    <a:gd name="connsiteY966" fmla="*/ 909715 h 1418833"/>
                    <a:gd name="connsiteX967" fmla="*/ 347957 w 2172185"/>
                    <a:gd name="connsiteY967" fmla="*/ 910598 h 1418833"/>
                    <a:gd name="connsiteX968" fmla="*/ 342495 w 2172185"/>
                    <a:gd name="connsiteY968" fmla="*/ 907626 h 1418833"/>
                    <a:gd name="connsiteX969" fmla="*/ 354383 w 2172185"/>
                    <a:gd name="connsiteY969" fmla="*/ 909634 h 1418833"/>
                    <a:gd name="connsiteX970" fmla="*/ 354303 w 2172185"/>
                    <a:gd name="connsiteY970" fmla="*/ 909715 h 1418833"/>
                    <a:gd name="connsiteX971" fmla="*/ 129867 w 2172185"/>
                    <a:gd name="connsiteY971" fmla="*/ 856698 h 1418833"/>
                    <a:gd name="connsiteX972" fmla="*/ 126172 w 2172185"/>
                    <a:gd name="connsiteY972" fmla="*/ 859108 h 1418833"/>
                    <a:gd name="connsiteX973" fmla="*/ 125770 w 2172185"/>
                    <a:gd name="connsiteY973" fmla="*/ 863847 h 1418833"/>
                    <a:gd name="connsiteX974" fmla="*/ 121914 w 2172185"/>
                    <a:gd name="connsiteY974" fmla="*/ 857260 h 1418833"/>
                    <a:gd name="connsiteX975" fmla="*/ 125690 w 2172185"/>
                    <a:gd name="connsiteY975" fmla="*/ 856698 h 1418833"/>
                    <a:gd name="connsiteX976" fmla="*/ 126895 w 2172185"/>
                    <a:gd name="connsiteY976" fmla="*/ 858787 h 1418833"/>
                    <a:gd name="connsiteX977" fmla="*/ 129304 w 2172185"/>
                    <a:gd name="connsiteY977" fmla="*/ 850272 h 1418833"/>
                    <a:gd name="connsiteX978" fmla="*/ 131393 w 2172185"/>
                    <a:gd name="connsiteY978" fmla="*/ 850834 h 1418833"/>
                    <a:gd name="connsiteX979" fmla="*/ 130670 w 2172185"/>
                    <a:gd name="connsiteY979" fmla="*/ 845452 h 1418833"/>
                    <a:gd name="connsiteX980" fmla="*/ 135088 w 2172185"/>
                    <a:gd name="connsiteY980" fmla="*/ 829868 h 1418833"/>
                    <a:gd name="connsiteX981" fmla="*/ 129867 w 2172185"/>
                    <a:gd name="connsiteY981" fmla="*/ 856698 h 1418833"/>
                    <a:gd name="connsiteX982" fmla="*/ 408765 w 2172185"/>
                    <a:gd name="connsiteY982" fmla="*/ 909795 h 1418833"/>
                    <a:gd name="connsiteX983" fmla="*/ 406356 w 2172185"/>
                    <a:gd name="connsiteY983" fmla="*/ 910839 h 1418833"/>
                    <a:gd name="connsiteX984" fmla="*/ 404026 w 2172185"/>
                    <a:gd name="connsiteY984" fmla="*/ 909875 h 1418833"/>
                    <a:gd name="connsiteX985" fmla="*/ 408926 w 2172185"/>
                    <a:gd name="connsiteY985" fmla="*/ 906582 h 1418833"/>
                    <a:gd name="connsiteX986" fmla="*/ 408765 w 2172185"/>
                    <a:gd name="connsiteY986" fmla="*/ 909795 h 1418833"/>
                    <a:gd name="connsiteX987" fmla="*/ 190595 w 2172185"/>
                    <a:gd name="connsiteY987" fmla="*/ 848665 h 1418833"/>
                    <a:gd name="connsiteX988" fmla="*/ 187301 w 2172185"/>
                    <a:gd name="connsiteY988" fmla="*/ 848906 h 1418833"/>
                    <a:gd name="connsiteX989" fmla="*/ 187703 w 2172185"/>
                    <a:gd name="connsiteY989" fmla="*/ 846496 h 1418833"/>
                    <a:gd name="connsiteX990" fmla="*/ 190996 w 2172185"/>
                    <a:gd name="connsiteY990" fmla="*/ 846496 h 1418833"/>
                    <a:gd name="connsiteX991" fmla="*/ 190273 w 2172185"/>
                    <a:gd name="connsiteY991" fmla="*/ 848103 h 1418833"/>
                    <a:gd name="connsiteX992" fmla="*/ 190916 w 2172185"/>
                    <a:gd name="connsiteY992" fmla="*/ 848183 h 1418833"/>
                    <a:gd name="connsiteX993" fmla="*/ 190595 w 2172185"/>
                    <a:gd name="connsiteY993" fmla="*/ 848665 h 1418833"/>
                    <a:gd name="connsiteX994" fmla="*/ 52832 w 2172185"/>
                    <a:gd name="connsiteY994" fmla="*/ 708573 h 1418833"/>
                    <a:gd name="connsiteX995" fmla="*/ 52190 w 2172185"/>
                    <a:gd name="connsiteY995" fmla="*/ 708332 h 1418833"/>
                    <a:gd name="connsiteX996" fmla="*/ 53314 w 2172185"/>
                    <a:gd name="connsiteY996" fmla="*/ 706565 h 1418833"/>
                    <a:gd name="connsiteX997" fmla="*/ 52832 w 2172185"/>
                    <a:gd name="connsiteY997" fmla="*/ 708573 h 1418833"/>
                    <a:gd name="connsiteX998" fmla="*/ 52832 w 2172185"/>
                    <a:gd name="connsiteY998" fmla="*/ 708573 h 1418833"/>
                    <a:gd name="connsiteX999" fmla="*/ 393262 w 2172185"/>
                    <a:gd name="connsiteY999" fmla="*/ 896701 h 1418833"/>
                    <a:gd name="connsiteX1000" fmla="*/ 390451 w 2172185"/>
                    <a:gd name="connsiteY1000" fmla="*/ 896942 h 1418833"/>
                    <a:gd name="connsiteX1001" fmla="*/ 389165 w 2172185"/>
                    <a:gd name="connsiteY1001" fmla="*/ 897746 h 1418833"/>
                    <a:gd name="connsiteX1002" fmla="*/ 389728 w 2172185"/>
                    <a:gd name="connsiteY1002" fmla="*/ 893328 h 1418833"/>
                    <a:gd name="connsiteX1003" fmla="*/ 393503 w 2172185"/>
                    <a:gd name="connsiteY1003" fmla="*/ 896862 h 1418833"/>
                    <a:gd name="connsiteX1004" fmla="*/ 393262 w 2172185"/>
                    <a:gd name="connsiteY1004" fmla="*/ 896701 h 1418833"/>
                    <a:gd name="connsiteX1005" fmla="*/ 372377 w 2172185"/>
                    <a:gd name="connsiteY1005" fmla="*/ 889793 h 1418833"/>
                    <a:gd name="connsiteX1006" fmla="*/ 369646 w 2172185"/>
                    <a:gd name="connsiteY1006" fmla="*/ 889954 h 1418833"/>
                    <a:gd name="connsiteX1007" fmla="*/ 372537 w 2172185"/>
                    <a:gd name="connsiteY1007" fmla="*/ 889793 h 1418833"/>
                    <a:gd name="connsiteX1008" fmla="*/ 372377 w 2172185"/>
                    <a:gd name="connsiteY1008" fmla="*/ 889793 h 1418833"/>
                    <a:gd name="connsiteX1009" fmla="*/ 400090 w 2172185"/>
                    <a:gd name="connsiteY1009" fmla="*/ 902967 h 1418833"/>
                    <a:gd name="connsiteX1010" fmla="*/ 397038 w 2172185"/>
                    <a:gd name="connsiteY1010" fmla="*/ 901119 h 1418833"/>
                    <a:gd name="connsiteX1011" fmla="*/ 397198 w 2172185"/>
                    <a:gd name="connsiteY1011" fmla="*/ 901762 h 1418833"/>
                    <a:gd name="connsiteX1012" fmla="*/ 400572 w 2172185"/>
                    <a:gd name="connsiteY1012" fmla="*/ 893729 h 1418833"/>
                    <a:gd name="connsiteX1013" fmla="*/ 397279 w 2172185"/>
                    <a:gd name="connsiteY1013" fmla="*/ 896059 h 1418833"/>
                    <a:gd name="connsiteX1014" fmla="*/ 399046 w 2172185"/>
                    <a:gd name="connsiteY1014" fmla="*/ 895497 h 1418833"/>
                    <a:gd name="connsiteX1015" fmla="*/ 398323 w 2172185"/>
                    <a:gd name="connsiteY1015" fmla="*/ 896541 h 1418833"/>
                    <a:gd name="connsiteX1016" fmla="*/ 400090 w 2172185"/>
                    <a:gd name="connsiteY1016" fmla="*/ 902967 h 1418833"/>
                    <a:gd name="connsiteX1017" fmla="*/ 104965 w 2172185"/>
                    <a:gd name="connsiteY1017" fmla="*/ 790347 h 1418833"/>
                    <a:gd name="connsiteX1018" fmla="*/ 105447 w 2172185"/>
                    <a:gd name="connsiteY1018" fmla="*/ 785287 h 1418833"/>
                    <a:gd name="connsiteX1019" fmla="*/ 104563 w 2172185"/>
                    <a:gd name="connsiteY1019" fmla="*/ 785929 h 1418833"/>
                    <a:gd name="connsiteX1020" fmla="*/ 102234 w 2172185"/>
                    <a:gd name="connsiteY1020" fmla="*/ 786250 h 1418833"/>
                    <a:gd name="connsiteX1021" fmla="*/ 95326 w 2172185"/>
                    <a:gd name="connsiteY1021" fmla="*/ 784885 h 1418833"/>
                    <a:gd name="connsiteX1022" fmla="*/ 95968 w 2172185"/>
                    <a:gd name="connsiteY1022" fmla="*/ 782073 h 1418833"/>
                    <a:gd name="connsiteX1023" fmla="*/ 96209 w 2172185"/>
                    <a:gd name="connsiteY1023" fmla="*/ 782314 h 1418833"/>
                    <a:gd name="connsiteX1024" fmla="*/ 98057 w 2172185"/>
                    <a:gd name="connsiteY1024" fmla="*/ 781270 h 1418833"/>
                    <a:gd name="connsiteX1025" fmla="*/ 102314 w 2172185"/>
                    <a:gd name="connsiteY1025" fmla="*/ 784483 h 1418833"/>
                    <a:gd name="connsiteX1026" fmla="*/ 106572 w 2172185"/>
                    <a:gd name="connsiteY1026" fmla="*/ 785206 h 1418833"/>
                    <a:gd name="connsiteX1027" fmla="*/ 105367 w 2172185"/>
                    <a:gd name="connsiteY1027" fmla="*/ 790106 h 1418833"/>
                    <a:gd name="connsiteX1028" fmla="*/ 104965 w 2172185"/>
                    <a:gd name="connsiteY1028" fmla="*/ 790347 h 1418833"/>
                    <a:gd name="connsiteX1029" fmla="*/ 135088 w 2172185"/>
                    <a:gd name="connsiteY1029" fmla="*/ 813401 h 1418833"/>
                    <a:gd name="connsiteX1030" fmla="*/ 133321 w 2172185"/>
                    <a:gd name="connsiteY1030" fmla="*/ 812357 h 1418833"/>
                    <a:gd name="connsiteX1031" fmla="*/ 128421 w 2172185"/>
                    <a:gd name="connsiteY1031" fmla="*/ 808019 h 1418833"/>
                    <a:gd name="connsiteX1032" fmla="*/ 128340 w 2172185"/>
                    <a:gd name="connsiteY1032" fmla="*/ 798621 h 1418833"/>
                    <a:gd name="connsiteX1033" fmla="*/ 131955 w 2172185"/>
                    <a:gd name="connsiteY1033" fmla="*/ 802155 h 1418833"/>
                    <a:gd name="connsiteX1034" fmla="*/ 137498 w 2172185"/>
                    <a:gd name="connsiteY1034" fmla="*/ 813080 h 1418833"/>
                    <a:gd name="connsiteX1035" fmla="*/ 135088 w 2172185"/>
                    <a:gd name="connsiteY1035" fmla="*/ 813401 h 1418833"/>
                    <a:gd name="connsiteX1036" fmla="*/ 73396 w 2172185"/>
                    <a:gd name="connsiteY1036" fmla="*/ 746970 h 1418833"/>
                    <a:gd name="connsiteX1037" fmla="*/ 72031 w 2172185"/>
                    <a:gd name="connsiteY1037" fmla="*/ 748416 h 1418833"/>
                    <a:gd name="connsiteX1038" fmla="*/ 73878 w 2172185"/>
                    <a:gd name="connsiteY1038" fmla="*/ 743436 h 1418833"/>
                    <a:gd name="connsiteX1039" fmla="*/ 74440 w 2172185"/>
                    <a:gd name="connsiteY1039" fmla="*/ 742713 h 1418833"/>
                    <a:gd name="connsiteX1040" fmla="*/ 73396 w 2172185"/>
                    <a:gd name="connsiteY1040" fmla="*/ 746970 h 1418833"/>
                    <a:gd name="connsiteX1041" fmla="*/ 124083 w 2172185"/>
                    <a:gd name="connsiteY1041" fmla="*/ 794364 h 1418833"/>
                    <a:gd name="connsiteX1042" fmla="*/ 124003 w 2172185"/>
                    <a:gd name="connsiteY1042" fmla="*/ 794283 h 1418833"/>
                    <a:gd name="connsiteX1043" fmla="*/ 123762 w 2172185"/>
                    <a:gd name="connsiteY1043" fmla="*/ 794042 h 1418833"/>
                    <a:gd name="connsiteX1044" fmla="*/ 124083 w 2172185"/>
                    <a:gd name="connsiteY1044" fmla="*/ 794364 h 1418833"/>
                    <a:gd name="connsiteX1045" fmla="*/ 124083 w 2172185"/>
                    <a:gd name="connsiteY1045" fmla="*/ 794364 h 1418833"/>
                    <a:gd name="connsiteX1046" fmla="*/ 59821 w 2172185"/>
                    <a:gd name="connsiteY1046" fmla="*/ 712831 h 1418833"/>
                    <a:gd name="connsiteX1047" fmla="*/ 61588 w 2172185"/>
                    <a:gd name="connsiteY1047" fmla="*/ 704798 h 1418833"/>
                    <a:gd name="connsiteX1048" fmla="*/ 59580 w 2172185"/>
                    <a:gd name="connsiteY1048" fmla="*/ 714759 h 1418833"/>
                    <a:gd name="connsiteX1049" fmla="*/ 59821 w 2172185"/>
                    <a:gd name="connsiteY1049" fmla="*/ 712831 h 1418833"/>
                    <a:gd name="connsiteX1050" fmla="*/ 68657 w 2172185"/>
                    <a:gd name="connsiteY1050" fmla="*/ 730503 h 1418833"/>
                    <a:gd name="connsiteX1051" fmla="*/ 66970 w 2172185"/>
                    <a:gd name="connsiteY1051" fmla="*/ 731708 h 1418833"/>
                    <a:gd name="connsiteX1052" fmla="*/ 68737 w 2172185"/>
                    <a:gd name="connsiteY1052" fmla="*/ 727370 h 1418833"/>
                    <a:gd name="connsiteX1053" fmla="*/ 69058 w 2172185"/>
                    <a:gd name="connsiteY1053" fmla="*/ 730664 h 1418833"/>
                    <a:gd name="connsiteX1054" fmla="*/ 68657 w 2172185"/>
                    <a:gd name="connsiteY1054" fmla="*/ 730503 h 1418833"/>
                    <a:gd name="connsiteX1055" fmla="*/ 313336 w 2172185"/>
                    <a:gd name="connsiteY1055" fmla="*/ 863526 h 1418833"/>
                    <a:gd name="connsiteX1056" fmla="*/ 306508 w 2172185"/>
                    <a:gd name="connsiteY1056" fmla="*/ 865133 h 1418833"/>
                    <a:gd name="connsiteX1057" fmla="*/ 313496 w 2172185"/>
                    <a:gd name="connsiteY1057" fmla="*/ 863365 h 1418833"/>
                    <a:gd name="connsiteX1058" fmla="*/ 313336 w 2172185"/>
                    <a:gd name="connsiteY1058" fmla="*/ 863526 h 1418833"/>
                    <a:gd name="connsiteX1059" fmla="*/ 345146 w 2172185"/>
                    <a:gd name="connsiteY1059" fmla="*/ 933652 h 1418833"/>
                    <a:gd name="connsiteX1060" fmla="*/ 330526 w 2172185"/>
                    <a:gd name="connsiteY1060" fmla="*/ 932688 h 1418833"/>
                    <a:gd name="connsiteX1061" fmla="*/ 329321 w 2172185"/>
                    <a:gd name="connsiteY1061" fmla="*/ 929556 h 1418833"/>
                    <a:gd name="connsiteX1062" fmla="*/ 315424 w 2172185"/>
                    <a:gd name="connsiteY1062" fmla="*/ 938552 h 1418833"/>
                    <a:gd name="connsiteX1063" fmla="*/ 306749 w 2172185"/>
                    <a:gd name="connsiteY1063" fmla="*/ 939195 h 1418833"/>
                    <a:gd name="connsiteX1064" fmla="*/ 295824 w 2172185"/>
                    <a:gd name="connsiteY1064" fmla="*/ 936624 h 1418833"/>
                    <a:gd name="connsiteX1065" fmla="*/ 289960 w 2172185"/>
                    <a:gd name="connsiteY1065" fmla="*/ 938070 h 1418833"/>
                    <a:gd name="connsiteX1066" fmla="*/ 289639 w 2172185"/>
                    <a:gd name="connsiteY1066" fmla="*/ 937267 h 1418833"/>
                    <a:gd name="connsiteX1067" fmla="*/ 294619 w 2172185"/>
                    <a:gd name="connsiteY1067" fmla="*/ 932206 h 1418833"/>
                    <a:gd name="connsiteX1068" fmla="*/ 301126 w 2172185"/>
                    <a:gd name="connsiteY1068" fmla="*/ 919836 h 1418833"/>
                    <a:gd name="connsiteX1069" fmla="*/ 282972 w 2172185"/>
                    <a:gd name="connsiteY1069" fmla="*/ 902887 h 1418833"/>
                    <a:gd name="connsiteX1070" fmla="*/ 282249 w 2172185"/>
                    <a:gd name="connsiteY1070" fmla="*/ 908670 h 1418833"/>
                    <a:gd name="connsiteX1071" fmla="*/ 272529 w 2172185"/>
                    <a:gd name="connsiteY1071" fmla="*/ 914534 h 1418833"/>
                    <a:gd name="connsiteX1072" fmla="*/ 272690 w 2172185"/>
                    <a:gd name="connsiteY1072" fmla="*/ 914695 h 1418833"/>
                    <a:gd name="connsiteX1073" fmla="*/ 271485 w 2172185"/>
                    <a:gd name="connsiteY1073" fmla="*/ 916060 h 1418833"/>
                    <a:gd name="connsiteX1074" fmla="*/ 271967 w 2172185"/>
                    <a:gd name="connsiteY1074" fmla="*/ 915579 h 1418833"/>
                    <a:gd name="connsiteX1075" fmla="*/ 238952 w 2172185"/>
                    <a:gd name="connsiteY1075" fmla="*/ 958072 h 1418833"/>
                    <a:gd name="connsiteX1076" fmla="*/ 259918 w 2172185"/>
                    <a:gd name="connsiteY1076" fmla="*/ 894211 h 1418833"/>
                    <a:gd name="connsiteX1077" fmla="*/ 264657 w 2172185"/>
                    <a:gd name="connsiteY1077" fmla="*/ 896059 h 1418833"/>
                    <a:gd name="connsiteX1078" fmla="*/ 262970 w 2172185"/>
                    <a:gd name="connsiteY1078" fmla="*/ 899995 h 1418833"/>
                    <a:gd name="connsiteX1079" fmla="*/ 291567 w 2172185"/>
                    <a:gd name="connsiteY1079" fmla="*/ 892605 h 1418833"/>
                    <a:gd name="connsiteX1080" fmla="*/ 287229 w 2172185"/>
                    <a:gd name="connsiteY1080" fmla="*/ 886982 h 1418833"/>
                    <a:gd name="connsiteX1081" fmla="*/ 246985 w 2172185"/>
                    <a:gd name="connsiteY1081" fmla="*/ 874129 h 1418833"/>
                    <a:gd name="connsiteX1082" fmla="*/ 222485 w 2172185"/>
                    <a:gd name="connsiteY1082" fmla="*/ 869229 h 1418833"/>
                    <a:gd name="connsiteX1083" fmla="*/ 209391 w 2172185"/>
                    <a:gd name="connsiteY1083" fmla="*/ 862562 h 1418833"/>
                    <a:gd name="connsiteX1084" fmla="*/ 252528 w 2172185"/>
                    <a:gd name="connsiteY1084" fmla="*/ 845452 h 1418833"/>
                    <a:gd name="connsiteX1085" fmla="*/ 249555 w 2172185"/>
                    <a:gd name="connsiteY1085" fmla="*/ 848906 h 1418833"/>
                    <a:gd name="connsiteX1086" fmla="*/ 267870 w 2172185"/>
                    <a:gd name="connsiteY1086" fmla="*/ 855574 h 1418833"/>
                    <a:gd name="connsiteX1087" fmla="*/ 277028 w 2172185"/>
                    <a:gd name="connsiteY1087" fmla="*/ 868506 h 1418833"/>
                    <a:gd name="connsiteX1088" fmla="*/ 293495 w 2172185"/>
                    <a:gd name="connsiteY1088" fmla="*/ 889392 h 1418833"/>
                    <a:gd name="connsiteX1089" fmla="*/ 324501 w 2172185"/>
                    <a:gd name="connsiteY1089" fmla="*/ 907706 h 1418833"/>
                    <a:gd name="connsiteX1090" fmla="*/ 326751 w 2172185"/>
                    <a:gd name="connsiteY1090" fmla="*/ 907305 h 1418833"/>
                    <a:gd name="connsiteX1091" fmla="*/ 326028 w 2172185"/>
                    <a:gd name="connsiteY1091" fmla="*/ 908349 h 1418833"/>
                    <a:gd name="connsiteX1092" fmla="*/ 326028 w 2172185"/>
                    <a:gd name="connsiteY1092" fmla="*/ 909393 h 1418833"/>
                    <a:gd name="connsiteX1093" fmla="*/ 338639 w 2172185"/>
                    <a:gd name="connsiteY1093" fmla="*/ 915338 h 1418833"/>
                    <a:gd name="connsiteX1094" fmla="*/ 347636 w 2172185"/>
                    <a:gd name="connsiteY1094" fmla="*/ 931805 h 1418833"/>
                    <a:gd name="connsiteX1095" fmla="*/ 347556 w 2172185"/>
                    <a:gd name="connsiteY1095" fmla="*/ 933572 h 1418833"/>
                    <a:gd name="connsiteX1096" fmla="*/ 345146 w 2172185"/>
                    <a:gd name="connsiteY1096" fmla="*/ 933652 h 1418833"/>
                    <a:gd name="connsiteX1097" fmla="*/ 435836 w 2172185"/>
                    <a:gd name="connsiteY1097" fmla="*/ 887142 h 1418833"/>
                    <a:gd name="connsiteX1098" fmla="*/ 428285 w 2172185"/>
                    <a:gd name="connsiteY1098" fmla="*/ 886259 h 1418833"/>
                    <a:gd name="connsiteX1099" fmla="*/ 421698 w 2172185"/>
                    <a:gd name="connsiteY1099" fmla="*/ 886500 h 1418833"/>
                    <a:gd name="connsiteX1100" fmla="*/ 424590 w 2172185"/>
                    <a:gd name="connsiteY1100" fmla="*/ 881439 h 1418833"/>
                    <a:gd name="connsiteX1101" fmla="*/ 421698 w 2172185"/>
                    <a:gd name="connsiteY1101" fmla="*/ 884411 h 1418833"/>
                    <a:gd name="connsiteX1102" fmla="*/ 418405 w 2172185"/>
                    <a:gd name="connsiteY1102" fmla="*/ 883528 h 1418833"/>
                    <a:gd name="connsiteX1103" fmla="*/ 436639 w 2172185"/>
                    <a:gd name="connsiteY1103" fmla="*/ 887062 h 1418833"/>
                    <a:gd name="connsiteX1104" fmla="*/ 435836 w 2172185"/>
                    <a:gd name="connsiteY1104" fmla="*/ 887142 h 1418833"/>
                    <a:gd name="connsiteX1105" fmla="*/ 467566 w 2172185"/>
                    <a:gd name="connsiteY1105" fmla="*/ 888508 h 1418833"/>
                    <a:gd name="connsiteX1106" fmla="*/ 465477 w 2172185"/>
                    <a:gd name="connsiteY1106" fmla="*/ 883769 h 1418833"/>
                    <a:gd name="connsiteX1107" fmla="*/ 467084 w 2172185"/>
                    <a:gd name="connsiteY1107" fmla="*/ 887303 h 1418833"/>
                    <a:gd name="connsiteX1108" fmla="*/ 467566 w 2172185"/>
                    <a:gd name="connsiteY1108" fmla="*/ 888508 h 1418833"/>
                    <a:gd name="connsiteX1109" fmla="*/ 467566 w 2172185"/>
                    <a:gd name="connsiteY1109" fmla="*/ 888508 h 1418833"/>
                    <a:gd name="connsiteX1110" fmla="*/ 367075 w 2172185"/>
                    <a:gd name="connsiteY1110" fmla="*/ 873406 h 1418833"/>
                    <a:gd name="connsiteX1111" fmla="*/ 365790 w 2172185"/>
                    <a:gd name="connsiteY1111" fmla="*/ 875013 h 1418833"/>
                    <a:gd name="connsiteX1112" fmla="*/ 355990 w 2172185"/>
                    <a:gd name="connsiteY1112" fmla="*/ 866900 h 1418833"/>
                    <a:gd name="connsiteX1113" fmla="*/ 359846 w 2172185"/>
                    <a:gd name="connsiteY1113" fmla="*/ 866980 h 1418833"/>
                    <a:gd name="connsiteX1114" fmla="*/ 363862 w 2172185"/>
                    <a:gd name="connsiteY1114" fmla="*/ 868506 h 1418833"/>
                    <a:gd name="connsiteX1115" fmla="*/ 367236 w 2172185"/>
                    <a:gd name="connsiteY1115" fmla="*/ 872924 h 1418833"/>
                    <a:gd name="connsiteX1116" fmla="*/ 367075 w 2172185"/>
                    <a:gd name="connsiteY1116" fmla="*/ 873406 h 1418833"/>
                    <a:gd name="connsiteX1117" fmla="*/ 213167 w 2172185"/>
                    <a:gd name="connsiteY1117" fmla="*/ 833564 h 1418833"/>
                    <a:gd name="connsiteX1118" fmla="*/ 213327 w 2172185"/>
                    <a:gd name="connsiteY1118" fmla="*/ 833483 h 1418833"/>
                    <a:gd name="connsiteX1119" fmla="*/ 210275 w 2172185"/>
                    <a:gd name="connsiteY1119" fmla="*/ 834447 h 1418833"/>
                    <a:gd name="connsiteX1120" fmla="*/ 212444 w 2172185"/>
                    <a:gd name="connsiteY1120" fmla="*/ 832680 h 1418833"/>
                    <a:gd name="connsiteX1121" fmla="*/ 210436 w 2172185"/>
                    <a:gd name="connsiteY1121" fmla="*/ 830591 h 1418833"/>
                    <a:gd name="connsiteX1122" fmla="*/ 208186 w 2172185"/>
                    <a:gd name="connsiteY1122" fmla="*/ 829868 h 1418833"/>
                    <a:gd name="connsiteX1123" fmla="*/ 207062 w 2172185"/>
                    <a:gd name="connsiteY1123" fmla="*/ 827459 h 1418833"/>
                    <a:gd name="connsiteX1124" fmla="*/ 205616 w 2172185"/>
                    <a:gd name="connsiteY1124" fmla="*/ 824085 h 1418833"/>
                    <a:gd name="connsiteX1125" fmla="*/ 205857 w 2172185"/>
                    <a:gd name="connsiteY1125" fmla="*/ 824085 h 1418833"/>
                    <a:gd name="connsiteX1126" fmla="*/ 207303 w 2172185"/>
                    <a:gd name="connsiteY1126" fmla="*/ 824567 h 1418833"/>
                    <a:gd name="connsiteX1127" fmla="*/ 207383 w 2172185"/>
                    <a:gd name="connsiteY1127" fmla="*/ 823523 h 1418833"/>
                    <a:gd name="connsiteX1128" fmla="*/ 208909 w 2172185"/>
                    <a:gd name="connsiteY1128" fmla="*/ 823603 h 1418833"/>
                    <a:gd name="connsiteX1129" fmla="*/ 209632 w 2172185"/>
                    <a:gd name="connsiteY1129" fmla="*/ 827700 h 1418833"/>
                    <a:gd name="connsiteX1130" fmla="*/ 209070 w 2172185"/>
                    <a:gd name="connsiteY1130" fmla="*/ 828423 h 1418833"/>
                    <a:gd name="connsiteX1131" fmla="*/ 212524 w 2172185"/>
                    <a:gd name="connsiteY1131" fmla="*/ 829788 h 1418833"/>
                    <a:gd name="connsiteX1132" fmla="*/ 213649 w 2172185"/>
                    <a:gd name="connsiteY1132" fmla="*/ 833323 h 1418833"/>
                    <a:gd name="connsiteX1133" fmla="*/ 213167 w 2172185"/>
                    <a:gd name="connsiteY1133" fmla="*/ 833564 h 1418833"/>
                    <a:gd name="connsiteX1134" fmla="*/ 72994 w 2172185"/>
                    <a:gd name="connsiteY1134" fmla="*/ 703272 h 1418833"/>
                    <a:gd name="connsiteX1135" fmla="*/ 75967 w 2172185"/>
                    <a:gd name="connsiteY1135" fmla="*/ 695399 h 1418833"/>
                    <a:gd name="connsiteX1136" fmla="*/ 73155 w 2172185"/>
                    <a:gd name="connsiteY1136" fmla="*/ 703513 h 1418833"/>
                    <a:gd name="connsiteX1137" fmla="*/ 72994 w 2172185"/>
                    <a:gd name="connsiteY1137" fmla="*/ 703272 h 1418833"/>
                    <a:gd name="connsiteX1138" fmla="*/ 202162 w 2172185"/>
                    <a:gd name="connsiteY1138" fmla="*/ 816936 h 1418833"/>
                    <a:gd name="connsiteX1139" fmla="*/ 194129 w 2172185"/>
                    <a:gd name="connsiteY1139" fmla="*/ 813160 h 1418833"/>
                    <a:gd name="connsiteX1140" fmla="*/ 193968 w 2172185"/>
                    <a:gd name="connsiteY1140" fmla="*/ 810108 h 1418833"/>
                    <a:gd name="connsiteX1141" fmla="*/ 194450 w 2172185"/>
                    <a:gd name="connsiteY1141" fmla="*/ 809144 h 1418833"/>
                    <a:gd name="connsiteX1142" fmla="*/ 195414 w 2172185"/>
                    <a:gd name="connsiteY1142" fmla="*/ 807939 h 1418833"/>
                    <a:gd name="connsiteX1143" fmla="*/ 196700 w 2172185"/>
                    <a:gd name="connsiteY1143" fmla="*/ 805610 h 1418833"/>
                    <a:gd name="connsiteX1144" fmla="*/ 197904 w 2172185"/>
                    <a:gd name="connsiteY1144" fmla="*/ 807055 h 1418833"/>
                    <a:gd name="connsiteX1145" fmla="*/ 204170 w 2172185"/>
                    <a:gd name="connsiteY1145" fmla="*/ 807537 h 1418833"/>
                    <a:gd name="connsiteX1146" fmla="*/ 203206 w 2172185"/>
                    <a:gd name="connsiteY1146" fmla="*/ 814285 h 1418833"/>
                    <a:gd name="connsiteX1147" fmla="*/ 202564 w 2172185"/>
                    <a:gd name="connsiteY1147" fmla="*/ 812357 h 1418833"/>
                    <a:gd name="connsiteX1148" fmla="*/ 198949 w 2172185"/>
                    <a:gd name="connsiteY1148" fmla="*/ 811313 h 1418833"/>
                    <a:gd name="connsiteX1149" fmla="*/ 202965 w 2172185"/>
                    <a:gd name="connsiteY1149" fmla="*/ 817257 h 1418833"/>
                    <a:gd name="connsiteX1150" fmla="*/ 202162 w 2172185"/>
                    <a:gd name="connsiteY1150" fmla="*/ 816936 h 1418833"/>
                    <a:gd name="connsiteX1151" fmla="*/ 501143 w 2172185"/>
                    <a:gd name="connsiteY1151" fmla="*/ 877342 h 1418833"/>
                    <a:gd name="connsiteX1152" fmla="*/ 497688 w 2172185"/>
                    <a:gd name="connsiteY1152" fmla="*/ 875174 h 1418833"/>
                    <a:gd name="connsiteX1153" fmla="*/ 491262 w 2172185"/>
                    <a:gd name="connsiteY1153" fmla="*/ 875093 h 1418833"/>
                    <a:gd name="connsiteX1154" fmla="*/ 488772 w 2172185"/>
                    <a:gd name="connsiteY1154" fmla="*/ 874531 h 1418833"/>
                    <a:gd name="connsiteX1155" fmla="*/ 484836 w 2172185"/>
                    <a:gd name="connsiteY1155" fmla="*/ 874531 h 1418833"/>
                    <a:gd name="connsiteX1156" fmla="*/ 487487 w 2172185"/>
                    <a:gd name="connsiteY1156" fmla="*/ 870996 h 1418833"/>
                    <a:gd name="connsiteX1157" fmla="*/ 490298 w 2172185"/>
                    <a:gd name="connsiteY1157" fmla="*/ 871720 h 1418833"/>
                    <a:gd name="connsiteX1158" fmla="*/ 494877 w 2172185"/>
                    <a:gd name="connsiteY1158" fmla="*/ 867141 h 1418833"/>
                    <a:gd name="connsiteX1159" fmla="*/ 497207 w 2172185"/>
                    <a:gd name="connsiteY1159" fmla="*/ 870354 h 1418833"/>
                    <a:gd name="connsiteX1160" fmla="*/ 501785 w 2172185"/>
                    <a:gd name="connsiteY1160" fmla="*/ 877262 h 1418833"/>
                    <a:gd name="connsiteX1161" fmla="*/ 501143 w 2172185"/>
                    <a:gd name="connsiteY1161" fmla="*/ 877342 h 1418833"/>
                    <a:gd name="connsiteX1162" fmla="*/ 265139 w 2172185"/>
                    <a:gd name="connsiteY1162" fmla="*/ 828503 h 1418833"/>
                    <a:gd name="connsiteX1163" fmla="*/ 263131 w 2172185"/>
                    <a:gd name="connsiteY1163" fmla="*/ 830431 h 1418833"/>
                    <a:gd name="connsiteX1164" fmla="*/ 259918 w 2172185"/>
                    <a:gd name="connsiteY1164" fmla="*/ 830190 h 1418833"/>
                    <a:gd name="connsiteX1165" fmla="*/ 258552 w 2172185"/>
                    <a:gd name="connsiteY1165" fmla="*/ 830350 h 1418833"/>
                    <a:gd name="connsiteX1166" fmla="*/ 257749 w 2172185"/>
                    <a:gd name="connsiteY1166" fmla="*/ 829949 h 1418833"/>
                    <a:gd name="connsiteX1167" fmla="*/ 255178 w 2172185"/>
                    <a:gd name="connsiteY1167" fmla="*/ 828262 h 1418833"/>
                    <a:gd name="connsiteX1168" fmla="*/ 256785 w 2172185"/>
                    <a:gd name="connsiteY1168" fmla="*/ 825531 h 1418833"/>
                    <a:gd name="connsiteX1169" fmla="*/ 255741 w 2172185"/>
                    <a:gd name="connsiteY1169" fmla="*/ 823924 h 1418833"/>
                    <a:gd name="connsiteX1170" fmla="*/ 256464 w 2172185"/>
                    <a:gd name="connsiteY1170" fmla="*/ 824567 h 1418833"/>
                    <a:gd name="connsiteX1171" fmla="*/ 257347 w 2172185"/>
                    <a:gd name="connsiteY1171" fmla="*/ 823362 h 1418833"/>
                    <a:gd name="connsiteX1172" fmla="*/ 265139 w 2172185"/>
                    <a:gd name="connsiteY1172" fmla="*/ 818141 h 1418833"/>
                    <a:gd name="connsiteX1173" fmla="*/ 266826 w 2172185"/>
                    <a:gd name="connsiteY1173" fmla="*/ 821916 h 1418833"/>
                    <a:gd name="connsiteX1174" fmla="*/ 265541 w 2172185"/>
                    <a:gd name="connsiteY1174" fmla="*/ 824567 h 1418833"/>
                    <a:gd name="connsiteX1175" fmla="*/ 265139 w 2172185"/>
                    <a:gd name="connsiteY1175" fmla="*/ 828503 h 1418833"/>
                    <a:gd name="connsiteX1176" fmla="*/ 447564 w 2172185"/>
                    <a:gd name="connsiteY1176" fmla="*/ 854529 h 1418833"/>
                    <a:gd name="connsiteX1177" fmla="*/ 440977 w 2172185"/>
                    <a:gd name="connsiteY1177" fmla="*/ 858385 h 1418833"/>
                    <a:gd name="connsiteX1178" fmla="*/ 447724 w 2172185"/>
                    <a:gd name="connsiteY1178" fmla="*/ 853405 h 1418833"/>
                    <a:gd name="connsiteX1179" fmla="*/ 447564 w 2172185"/>
                    <a:gd name="connsiteY1179" fmla="*/ 854529 h 1418833"/>
                    <a:gd name="connsiteX1180" fmla="*/ 247788 w 2172185"/>
                    <a:gd name="connsiteY1180" fmla="*/ 796773 h 1418833"/>
                    <a:gd name="connsiteX1181" fmla="*/ 238952 w 2172185"/>
                    <a:gd name="connsiteY1181" fmla="*/ 797416 h 1418833"/>
                    <a:gd name="connsiteX1182" fmla="*/ 239354 w 2172185"/>
                    <a:gd name="connsiteY1182" fmla="*/ 796773 h 1418833"/>
                    <a:gd name="connsiteX1183" fmla="*/ 247788 w 2172185"/>
                    <a:gd name="connsiteY1183" fmla="*/ 796773 h 1418833"/>
                    <a:gd name="connsiteX1184" fmla="*/ 247788 w 2172185"/>
                    <a:gd name="connsiteY1184" fmla="*/ 796773 h 1418833"/>
                    <a:gd name="connsiteX1185" fmla="*/ 386916 w 2172185"/>
                    <a:gd name="connsiteY1185" fmla="*/ 832921 h 1418833"/>
                    <a:gd name="connsiteX1186" fmla="*/ 386515 w 2172185"/>
                    <a:gd name="connsiteY1186" fmla="*/ 832841 h 1418833"/>
                    <a:gd name="connsiteX1187" fmla="*/ 383944 w 2172185"/>
                    <a:gd name="connsiteY1187" fmla="*/ 830270 h 1418833"/>
                    <a:gd name="connsiteX1188" fmla="*/ 384265 w 2172185"/>
                    <a:gd name="connsiteY1188" fmla="*/ 830431 h 1418833"/>
                    <a:gd name="connsiteX1189" fmla="*/ 386916 w 2172185"/>
                    <a:gd name="connsiteY1189" fmla="*/ 832921 h 1418833"/>
                    <a:gd name="connsiteX1190" fmla="*/ 386916 w 2172185"/>
                    <a:gd name="connsiteY1190" fmla="*/ 832921 h 1418833"/>
                    <a:gd name="connsiteX1191" fmla="*/ 239514 w 2172185"/>
                    <a:gd name="connsiteY1191" fmla="*/ 794926 h 1418833"/>
                    <a:gd name="connsiteX1192" fmla="*/ 239273 w 2172185"/>
                    <a:gd name="connsiteY1192" fmla="*/ 794846 h 1418833"/>
                    <a:gd name="connsiteX1193" fmla="*/ 237586 w 2172185"/>
                    <a:gd name="connsiteY1193" fmla="*/ 792596 h 1418833"/>
                    <a:gd name="connsiteX1194" fmla="*/ 239514 w 2172185"/>
                    <a:gd name="connsiteY1194" fmla="*/ 794926 h 1418833"/>
                    <a:gd name="connsiteX1195" fmla="*/ 239514 w 2172185"/>
                    <a:gd name="connsiteY1195" fmla="*/ 794926 h 1418833"/>
                    <a:gd name="connsiteX1196" fmla="*/ 466039 w 2172185"/>
                    <a:gd name="connsiteY1196" fmla="*/ 840793 h 1418833"/>
                    <a:gd name="connsiteX1197" fmla="*/ 454311 w 2172185"/>
                    <a:gd name="connsiteY1197" fmla="*/ 846898 h 1418833"/>
                    <a:gd name="connsiteX1198" fmla="*/ 458488 w 2172185"/>
                    <a:gd name="connsiteY1198" fmla="*/ 841677 h 1418833"/>
                    <a:gd name="connsiteX1199" fmla="*/ 448206 w 2172185"/>
                    <a:gd name="connsiteY1199" fmla="*/ 853405 h 1418833"/>
                    <a:gd name="connsiteX1200" fmla="*/ 447885 w 2172185"/>
                    <a:gd name="connsiteY1200" fmla="*/ 853083 h 1418833"/>
                    <a:gd name="connsiteX1201" fmla="*/ 448528 w 2172185"/>
                    <a:gd name="connsiteY1201" fmla="*/ 849067 h 1418833"/>
                    <a:gd name="connsiteX1202" fmla="*/ 446439 w 2172185"/>
                    <a:gd name="connsiteY1202" fmla="*/ 852039 h 1418833"/>
                    <a:gd name="connsiteX1203" fmla="*/ 443547 w 2172185"/>
                    <a:gd name="connsiteY1203" fmla="*/ 852601 h 1418833"/>
                    <a:gd name="connsiteX1204" fmla="*/ 450616 w 2172185"/>
                    <a:gd name="connsiteY1204" fmla="*/ 843203 h 1418833"/>
                    <a:gd name="connsiteX1205" fmla="*/ 463308 w 2172185"/>
                    <a:gd name="connsiteY1205" fmla="*/ 837259 h 1418833"/>
                    <a:gd name="connsiteX1206" fmla="*/ 461862 w 2172185"/>
                    <a:gd name="connsiteY1206" fmla="*/ 838464 h 1418833"/>
                    <a:gd name="connsiteX1207" fmla="*/ 466923 w 2172185"/>
                    <a:gd name="connsiteY1207" fmla="*/ 840472 h 1418833"/>
                    <a:gd name="connsiteX1208" fmla="*/ 466039 w 2172185"/>
                    <a:gd name="connsiteY1208" fmla="*/ 840793 h 1418833"/>
                    <a:gd name="connsiteX1209" fmla="*/ 414549 w 2172185"/>
                    <a:gd name="connsiteY1209" fmla="*/ 831556 h 1418833"/>
                    <a:gd name="connsiteX1210" fmla="*/ 411015 w 2172185"/>
                    <a:gd name="connsiteY1210" fmla="*/ 832198 h 1418833"/>
                    <a:gd name="connsiteX1211" fmla="*/ 408283 w 2172185"/>
                    <a:gd name="connsiteY1211" fmla="*/ 831074 h 1418833"/>
                    <a:gd name="connsiteX1212" fmla="*/ 414710 w 2172185"/>
                    <a:gd name="connsiteY1212" fmla="*/ 831475 h 1418833"/>
                    <a:gd name="connsiteX1213" fmla="*/ 414549 w 2172185"/>
                    <a:gd name="connsiteY1213" fmla="*/ 831556 h 1418833"/>
                    <a:gd name="connsiteX1214" fmla="*/ 177341 w 2172185"/>
                    <a:gd name="connsiteY1214" fmla="*/ 781993 h 1418833"/>
                    <a:gd name="connsiteX1215" fmla="*/ 175011 w 2172185"/>
                    <a:gd name="connsiteY1215" fmla="*/ 764642 h 1418833"/>
                    <a:gd name="connsiteX1216" fmla="*/ 175091 w 2172185"/>
                    <a:gd name="connsiteY1216" fmla="*/ 767213 h 1418833"/>
                    <a:gd name="connsiteX1217" fmla="*/ 173726 w 2172185"/>
                    <a:gd name="connsiteY1217" fmla="*/ 755806 h 1418833"/>
                    <a:gd name="connsiteX1218" fmla="*/ 177903 w 2172185"/>
                    <a:gd name="connsiteY1218" fmla="*/ 753316 h 1418833"/>
                    <a:gd name="connsiteX1219" fmla="*/ 177180 w 2172185"/>
                    <a:gd name="connsiteY1219" fmla="*/ 760787 h 1418833"/>
                    <a:gd name="connsiteX1220" fmla="*/ 178545 w 2172185"/>
                    <a:gd name="connsiteY1220" fmla="*/ 758939 h 1418833"/>
                    <a:gd name="connsiteX1221" fmla="*/ 178304 w 2172185"/>
                    <a:gd name="connsiteY1221" fmla="*/ 771791 h 1418833"/>
                    <a:gd name="connsiteX1222" fmla="*/ 177662 w 2172185"/>
                    <a:gd name="connsiteY1222" fmla="*/ 781993 h 1418833"/>
                    <a:gd name="connsiteX1223" fmla="*/ 177341 w 2172185"/>
                    <a:gd name="connsiteY1223" fmla="*/ 781993 h 1418833"/>
                    <a:gd name="connsiteX1224" fmla="*/ 532230 w 2172185"/>
                    <a:gd name="connsiteY1224" fmla="*/ 838624 h 1418833"/>
                    <a:gd name="connsiteX1225" fmla="*/ 521305 w 2172185"/>
                    <a:gd name="connsiteY1225" fmla="*/ 854851 h 1418833"/>
                    <a:gd name="connsiteX1226" fmla="*/ 517530 w 2172185"/>
                    <a:gd name="connsiteY1226" fmla="*/ 837018 h 1418833"/>
                    <a:gd name="connsiteX1227" fmla="*/ 520180 w 2172185"/>
                    <a:gd name="connsiteY1227" fmla="*/ 836375 h 1418833"/>
                    <a:gd name="connsiteX1228" fmla="*/ 523152 w 2172185"/>
                    <a:gd name="connsiteY1228" fmla="*/ 837018 h 1418833"/>
                    <a:gd name="connsiteX1229" fmla="*/ 524679 w 2172185"/>
                    <a:gd name="connsiteY1229" fmla="*/ 837821 h 1418833"/>
                    <a:gd name="connsiteX1230" fmla="*/ 526125 w 2172185"/>
                    <a:gd name="connsiteY1230" fmla="*/ 837419 h 1418833"/>
                    <a:gd name="connsiteX1231" fmla="*/ 526446 w 2172185"/>
                    <a:gd name="connsiteY1231" fmla="*/ 837259 h 1418833"/>
                    <a:gd name="connsiteX1232" fmla="*/ 529016 w 2172185"/>
                    <a:gd name="connsiteY1232" fmla="*/ 835492 h 1418833"/>
                    <a:gd name="connsiteX1233" fmla="*/ 532390 w 2172185"/>
                    <a:gd name="connsiteY1233" fmla="*/ 838062 h 1418833"/>
                    <a:gd name="connsiteX1234" fmla="*/ 532230 w 2172185"/>
                    <a:gd name="connsiteY1234" fmla="*/ 838624 h 1418833"/>
                    <a:gd name="connsiteX1235" fmla="*/ 239273 w 2172185"/>
                    <a:gd name="connsiteY1235" fmla="*/ 777977 h 1418833"/>
                    <a:gd name="connsiteX1236" fmla="*/ 239595 w 2172185"/>
                    <a:gd name="connsiteY1236" fmla="*/ 777655 h 1418833"/>
                    <a:gd name="connsiteX1237" fmla="*/ 239996 w 2172185"/>
                    <a:gd name="connsiteY1237" fmla="*/ 777414 h 1418833"/>
                    <a:gd name="connsiteX1238" fmla="*/ 239514 w 2172185"/>
                    <a:gd name="connsiteY1238" fmla="*/ 778941 h 1418833"/>
                    <a:gd name="connsiteX1239" fmla="*/ 239273 w 2172185"/>
                    <a:gd name="connsiteY1239" fmla="*/ 777977 h 1418833"/>
                    <a:gd name="connsiteX1240" fmla="*/ 647741 w 2172185"/>
                    <a:gd name="connsiteY1240" fmla="*/ 831636 h 1418833"/>
                    <a:gd name="connsiteX1241" fmla="*/ 638021 w 2172185"/>
                    <a:gd name="connsiteY1241" fmla="*/ 826575 h 1418833"/>
                    <a:gd name="connsiteX1242" fmla="*/ 642922 w 2172185"/>
                    <a:gd name="connsiteY1242" fmla="*/ 827378 h 1418833"/>
                    <a:gd name="connsiteX1243" fmla="*/ 647982 w 2172185"/>
                    <a:gd name="connsiteY1243" fmla="*/ 831877 h 1418833"/>
                    <a:gd name="connsiteX1244" fmla="*/ 647741 w 2172185"/>
                    <a:gd name="connsiteY1244" fmla="*/ 831636 h 1418833"/>
                    <a:gd name="connsiteX1245" fmla="*/ 93317 w 2172185"/>
                    <a:gd name="connsiteY1245" fmla="*/ 657967 h 1418833"/>
                    <a:gd name="connsiteX1246" fmla="*/ 93237 w 2172185"/>
                    <a:gd name="connsiteY1246" fmla="*/ 657886 h 1418833"/>
                    <a:gd name="connsiteX1247" fmla="*/ 96691 w 2172185"/>
                    <a:gd name="connsiteY1247" fmla="*/ 643427 h 1418833"/>
                    <a:gd name="connsiteX1248" fmla="*/ 93719 w 2172185"/>
                    <a:gd name="connsiteY1248" fmla="*/ 657404 h 1418833"/>
                    <a:gd name="connsiteX1249" fmla="*/ 93317 w 2172185"/>
                    <a:gd name="connsiteY1249" fmla="*/ 657967 h 1418833"/>
                    <a:gd name="connsiteX1250" fmla="*/ 89140 w 2172185"/>
                    <a:gd name="connsiteY1250" fmla="*/ 608163 h 1418833"/>
                    <a:gd name="connsiteX1251" fmla="*/ 90345 w 2172185"/>
                    <a:gd name="connsiteY1251" fmla="*/ 604790 h 1418833"/>
                    <a:gd name="connsiteX1252" fmla="*/ 89863 w 2172185"/>
                    <a:gd name="connsiteY1252" fmla="*/ 604308 h 1418833"/>
                    <a:gd name="connsiteX1253" fmla="*/ 89301 w 2172185"/>
                    <a:gd name="connsiteY1253" fmla="*/ 604870 h 1418833"/>
                    <a:gd name="connsiteX1254" fmla="*/ 93960 w 2172185"/>
                    <a:gd name="connsiteY1254" fmla="*/ 599086 h 1418833"/>
                    <a:gd name="connsiteX1255" fmla="*/ 88980 w 2172185"/>
                    <a:gd name="connsiteY1255" fmla="*/ 608806 h 1418833"/>
                    <a:gd name="connsiteX1256" fmla="*/ 89140 w 2172185"/>
                    <a:gd name="connsiteY1256" fmla="*/ 608163 h 1418833"/>
                    <a:gd name="connsiteX1257" fmla="*/ 275582 w 2172185"/>
                    <a:gd name="connsiteY1257" fmla="*/ 770265 h 1418833"/>
                    <a:gd name="connsiteX1258" fmla="*/ 271646 w 2172185"/>
                    <a:gd name="connsiteY1258" fmla="*/ 771390 h 1418833"/>
                    <a:gd name="connsiteX1259" fmla="*/ 269396 w 2172185"/>
                    <a:gd name="connsiteY1259" fmla="*/ 769944 h 1418833"/>
                    <a:gd name="connsiteX1260" fmla="*/ 270200 w 2172185"/>
                    <a:gd name="connsiteY1260" fmla="*/ 769703 h 1418833"/>
                    <a:gd name="connsiteX1261" fmla="*/ 272850 w 2172185"/>
                    <a:gd name="connsiteY1261" fmla="*/ 768900 h 1418833"/>
                    <a:gd name="connsiteX1262" fmla="*/ 275823 w 2172185"/>
                    <a:gd name="connsiteY1262" fmla="*/ 769944 h 1418833"/>
                    <a:gd name="connsiteX1263" fmla="*/ 275582 w 2172185"/>
                    <a:gd name="connsiteY1263" fmla="*/ 770265 h 1418833"/>
                    <a:gd name="connsiteX1264" fmla="*/ 173163 w 2172185"/>
                    <a:gd name="connsiteY1264" fmla="*/ 753557 h 1418833"/>
                    <a:gd name="connsiteX1265" fmla="*/ 172521 w 2172185"/>
                    <a:gd name="connsiteY1265" fmla="*/ 748978 h 1418833"/>
                    <a:gd name="connsiteX1266" fmla="*/ 171477 w 2172185"/>
                    <a:gd name="connsiteY1266" fmla="*/ 750585 h 1418833"/>
                    <a:gd name="connsiteX1267" fmla="*/ 177421 w 2172185"/>
                    <a:gd name="connsiteY1267" fmla="*/ 725924 h 1418833"/>
                    <a:gd name="connsiteX1268" fmla="*/ 173565 w 2172185"/>
                    <a:gd name="connsiteY1268" fmla="*/ 751388 h 1418833"/>
                    <a:gd name="connsiteX1269" fmla="*/ 174931 w 2172185"/>
                    <a:gd name="connsiteY1269" fmla="*/ 750022 h 1418833"/>
                    <a:gd name="connsiteX1270" fmla="*/ 173565 w 2172185"/>
                    <a:gd name="connsiteY1270" fmla="*/ 753959 h 1418833"/>
                    <a:gd name="connsiteX1271" fmla="*/ 173163 w 2172185"/>
                    <a:gd name="connsiteY1271" fmla="*/ 753557 h 1418833"/>
                    <a:gd name="connsiteX1272" fmla="*/ 505320 w 2172185"/>
                    <a:gd name="connsiteY1272" fmla="*/ 813241 h 1418833"/>
                    <a:gd name="connsiteX1273" fmla="*/ 503713 w 2172185"/>
                    <a:gd name="connsiteY1273" fmla="*/ 817418 h 1418833"/>
                    <a:gd name="connsiteX1274" fmla="*/ 501303 w 2172185"/>
                    <a:gd name="connsiteY1274" fmla="*/ 816855 h 1418833"/>
                    <a:gd name="connsiteX1275" fmla="*/ 499616 w 2172185"/>
                    <a:gd name="connsiteY1275" fmla="*/ 813482 h 1418833"/>
                    <a:gd name="connsiteX1276" fmla="*/ 497126 w 2172185"/>
                    <a:gd name="connsiteY1276" fmla="*/ 814205 h 1418833"/>
                    <a:gd name="connsiteX1277" fmla="*/ 497046 w 2172185"/>
                    <a:gd name="connsiteY1277" fmla="*/ 814205 h 1418833"/>
                    <a:gd name="connsiteX1278" fmla="*/ 500821 w 2172185"/>
                    <a:gd name="connsiteY1278" fmla="*/ 811955 h 1418833"/>
                    <a:gd name="connsiteX1279" fmla="*/ 500098 w 2172185"/>
                    <a:gd name="connsiteY1279" fmla="*/ 810670 h 1418833"/>
                    <a:gd name="connsiteX1280" fmla="*/ 505721 w 2172185"/>
                    <a:gd name="connsiteY1280" fmla="*/ 812759 h 1418833"/>
                    <a:gd name="connsiteX1281" fmla="*/ 505320 w 2172185"/>
                    <a:gd name="connsiteY1281" fmla="*/ 813241 h 1418833"/>
                    <a:gd name="connsiteX1282" fmla="*/ 424429 w 2172185"/>
                    <a:gd name="connsiteY1282" fmla="*/ 793882 h 1418833"/>
                    <a:gd name="connsiteX1283" fmla="*/ 419047 w 2172185"/>
                    <a:gd name="connsiteY1283" fmla="*/ 802236 h 1418833"/>
                    <a:gd name="connsiteX1284" fmla="*/ 418164 w 2172185"/>
                    <a:gd name="connsiteY1284" fmla="*/ 799103 h 1418833"/>
                    <a:gd name="connsiteX1285" fmla="*/ 418324 w 2172185"/>
                    <a:gd name="connsiteY1285" fmla="*/ 798782 h 1418833"/>
                    <a:gd name="connsiteX1286" fmla="*/ 419208 w 2172185"/>
                    <a:gd name="connsiteY1286" fmla="*/ 797336 h 1418833"/>
                    <a:gd name="connsiteX1287" fmla="*/ 419208 w 2172185"/>
                    <a:gd name="connsiteY1287" fmla="*/ 797014 h 1418833"/>
                    <a:gd name="connsiteX1288" fmla="*/ 419851 w 2172185"/>
                    <a:gd name="connsiteY1288" fmla="*/ 795328 h 1418833"/>
                    <a:gd name="connsiteX1289" fmla="*/ 422421 w 2172185"/>
                    <a:gd name="connsiteY1289" fmla="*/ 793641 h 1418833"/>
                    <a:gd name="connsiteX1290" fmla="*/ 422421 w 2172185"/>
                    <a:gd name="connsiteY1290" fmla="*/ 794524 h 1418833"/>
                    <a:gd name="connsiteX1291" fmla="*/ 424510 w 2172185"/>
                    <a:gd name="connsiteY1291" fmla="*/ 793641 h 1418833"/>
                    <a:gd name="connsiteX1292" fmla="*/ 424429 w 2172185"/>
                    <a:gd name="connsiteY1292" fmla="*/ 793882 h 1418833"/>
                    <a:gd name="connsiteX1293" fmla="*/ 500821 w 2172185"/>
                    <a:gd name="connsiteY1293" fmla="*/ 803441 h 1418833"/>
                    <a:gd name="connsiteX1294" fmla="*/ 500018 w 2172185"/>
                    <a:gd name="connsiteY1294" fmla="*/ 802637 h 1418833"/>
                    <a:gd name="connsiteX1295" fmla="*/ 498170 w 2172185"/>
                    <a:gd name="connsiteY1295" fmla="*/ 800629 h 1418833"/>
                    <a:gd name="connsiteX1296" fmla="*/ 500821 w 2172185"/>
                    <a:gd name="connsiteY1296" fmla="*/ 803441 h 1418833"/>
                    <a:gd name="connsiteX1297" fmla="*/ 500821 w 2172185"/>
                    <a:gd name="connsiteY1297" fmla="*/ 803441 h 1418833"/>
                    <a:gd name="connsiteX1298" fmla="*/ 273814 w 2172185"/>
                    <a:gd name="connsiteY1298" fmla="*/ 754119 h 1418833"/>
                    <a:gd name="connsiteX1299" fmla="*/ 270280 w 2172185"/>
                    <a:gd name="connsiteY1299" fmla="*/ 754119 h 1418833"/>
                    <a:gd name="connsiteX1300" fmla="*/ 266987 w 2172185"/>
                    <a:gd name="connsiteY1300" fmla="*/ 751549 h 1418833"/>
                    <a:gd name="connsiteX1301" fmla="*/ 270682 w 2172185"/>
                    <a:gd name="connsiteY1301" fmla="*/ 750746 h 1418833"/>
                    <a:gd name="connsiteX1302" fmla="*/ 274377 w 2172185"/>
                    <a:gd name="connsiteY1302" fmla="*/ 753878 h 1418833"/>
                    <a:gd name="connsiteX1303" fmla="*/ 273814 w 2172185"/>
                    <a:gd name="connsiteY1303" fmla="*/ 754119 h 1418833"/>
                    <a:gd name="connsiteX1304" fmla="*/ 532631 w 2172185"/>
                    <a:gd name="connsiteY1304" fmla="*/ 801593 h 1418833"/>
                    <a:gd name="connsiteX1305" fmla="*/ 530703 w 2172185"/>
                    <a:gd name="connsiteY1305" fmla="*/ 803200 h 1418833"/>
                    <a:gd name="connsiteX1306" fmla="*/ 529257 w 2172185"/>
                    <a:gd name="connsiteY1306" fmla="*/ 799103 h 1418833"/>
                    <a:gd name="connsiteX1307" fmla="*/ 527571 w 2172185"/>
                    <a:gd name="connsiteY1307" fmla="*/ 794685 h 1418833"/>
                    <a:gd name="connsiteX1308" fmla="*/ 529579 w 2172185"/>
                    <a:gd name="connsiteY1308" fmla="*/ 794846 h 1418833"/>
                    <a:gd name="connsiteX1309" fmla="*/ 532631 w 2172185"/>
                    <a:gd name="connsiteY1309" fmla="*/ 801593 h 1418833"/>
                    <a:gd name="connsiteX1310" fmla="*/ 451982 w 2172185"/>
                    <a:gd name="connsiteY1310" fmla="*/ 794203 h 1418833"/>
                    <a:gd name="connsiteX1311" fmla="*/ 445234 w 2172185"/>
                    <a:gd name="connsiteY1311" fmla="*/ 794765 h 1418833"/>
                    <a:gd name="connsiteX1312" fmla="*/ 440656 w 2172185"/>
                    <a:gd name="connsiteY1312" fmla="*/ 793078 h 1418833"/>
                    <a:gd name="connsiteX1313" fmla="*/ 428285 w 2172185"/>
                    <a:gd name="connsiteY1313" fmla="*/ 792436 h 1418833"/>
                    <a:gd name="connsiteX1314" fmla="*/ 413665 w 2172185"/>
                    <a:gd name="connsiteY1314" fmla="*/ 789142 h 1418833"/>
                    <a:gd name="connsiteX1315" fmla="*/ 411175 w 2172185"/>
                    <a:gd name="connsiteY1315" fmla="*/ 787777 h 1418833"/>
                    <a:gd name="connsiteX1316" fmla="*/ 432864 w 2172185"/>
                    <a:gd name="connsiteY1316" fmla="*/ 782073 h 1418833"/>
                    <a:gd name="connsiteX1317" fmla="*/ 433828 w 2172185"/>
                    <a:gd name="connsiteY1317" fmla="*/ 782877 h 1418833"/>
                    <a:gd name="connsiteX1318" fmla="*/ 423465 w 2172185"/>
                    <a:gd name="connsiteY1318" fmla="*/ 788821 h 1418833"/>
                    <a:gd name="connsiteX1319" fmla="*/ 450616 w 2172185"/>
                    <a:gd name="connsiteY1319" fmla="*/ 789383 h 1418833"/>
                    <a:gd name="connsiteX1320" fmla="*/ 442664 w 2172185"/>
                    <a:gd name="connsiteY1320" fmla="*/ 791793 h 1418833"/>
                    <a:gd name="connsiteX1321" fmla="*/ 452223 w 2172185"/>
                    <a:gd name="connsiteY1321" fmla="*/ 793962 h 1418833"/>
                    <a:gd name="connsiteX1322" fmla="*/ 451982 w 2172185"/>
                    <a:gd name="connsiteY1322" fmla="*/ 794203 h 1418833"/>
                    <a:gd name="connsiteX1323" fmla="*/ 186578 w 2172185"/>
                    <a:gd name="connsiteY1323" fmla="*/ 729378 h 1418833"/>
                    <a:gd name="connsiteX1324" fmla="*/ 184811 w 2172185"/>
                    <a:gd name="connsiteY1324" fmla="*/ 728816 h 1418833"/>
                    <a:gd name="connsiteX1325" fmla="*/ 184972 w 2172185"/>
                    <a:gd name="connsiteY1325" fmla="*/ 727290 h 1418833"/>
                    <a:gd name="connsiteX1326" fmla="*/ 184249 w 2172185"/>
                    <a:gd name="connsiteY1326" fmla="*/ 726888 h 1418833"/>
                    <a:gd name="connsiteX1327" fmla="*/ 180875 w 2172185"/>
                    <a:gd name="connsiteY1327" fmla="*/ 717329 h 1418833"/>
                    <a:gd name="connsiteX1328" fmla="*/ 180955 w 2172185"/>
                    <a:gd name="connsiteY1328" fmla="*/ 716686 h 1418833"/>
                    <a:gd name="connsiteX1329" fmla="*/ 185534 w 2172185"/>
                    <a:gd name="connsiteY1329" fmla="*/ 711626 h 1418833"/>
                    <a:gd name="connsiteX1330" fmla="*/ 191077 w 2172185"/>
                    <a:gd name="connsiteY1330" fmla="*/ 708975 h 1418833"/>
                    <a:gd name="connsiteX1331" fmla="*/ 187221 w 2172185"/>
                    <a:gd name="connsiteY1331" fmla="*/ 710582 h 1418833"/>
                    <a:gd name="connsiteX1332" fmla="*/ 190916 w 2172185"/>
                    <a:gd name="connsiteY1332" fmla="*/ 713072 h 1418833"/>
                    <a:gd name="connsiteX1333" fmla="*/ 191639 w 2172185"/>
                    <a:gd name="connsiteY1333" fmla="*/ 712590 h 1418833"/>
                    <a:gd name="connsiteX1334" fmla="*/ 186819 w 2172185"/>
                    <a:gd name="connsiteY1334" fmla="*/ 729137 h 1418833"/>
                    <a:gd name="connsiteX1335" fmla="*/ 186578 w 2172185"/>
                    <a:gd name="connsiteY1335" fmla="*/ 729378 h 1418833"/>
                    <a:gd name="connsiteX1336" fmla="*/ 192764 w 2172185"/>
                    <a:gd name="connsiteY1336" fmla="*/ 784162 h 1418833"/>
                    <a:gd name="connsiteX1337" fmla="*/ 191398 w 2172185"/>
                    <a:gd name="connsiteY1337" fmla="*/ 781511 h 1418833"/>
                    <a:gd name="connsiteX1338" fmla="*/ 191398 w 2172185"/>
                    <a:gd name="connsiteY1338" fmla="*/ 763919 h 1418833"/>
                    <a:gd name="connsiteX1339" fmla="*/ 190836 w 2172185"/>
                    <a:gd name="connsiteY1339" fmla="*/ 753396 h 1418833"/>
                    <a:gd name="connsiteX1340" fmla="*/ 188345 w 2172185"/>
                    <a:gd name="connsiteY1340" fmla="*/ 746086 h 1418833"/>
                    <a:gd name="connsiteX1341" fmla="*/ 189470 w 2172185"/>
                    <a:gd name="connsiteY1341" fmla="*/ 740463 h 1418833"/>
                    <a:gd name="connsiteX1342" fmla="*/ 192442 w 2172185"/>
                    <a:gd name="connsiteY1342" fmla="*/ 734519 h 1418833"/>
                    <a:gd name="connsiteX1343" fmla="*/ 194209 w 2172185"/>
                    <a:gd name="connsiteY1343" fmla="*/ 724880 h 1418833"/>
                    <a:gd name="connsiteX1344" fmla="*/ 205616 w 2172185"/>
                    <a:gd name="connsiteY1344" fmla="*/ 714036 h 1418833"/>
                    <a:gd name="connsiteX1345" fmla="*/ 202082 w 2172185"/>
                    <a:gd name="connsiteY1345" fmla="*/ 720542 h 1418833"/>
                    <a:gd name="connsiteX1346" fmla="*/ 205696 w 2172185"/>
                    <a:gd name="connsiteY1346" fmla="*/ 719257 h 1418833"/>
                    <a:gd name="connsiteX1347" fmla="*/ 196539 w 2172185"/>
                    <a:gd name="connsiteY1347" fmla="*/ 765927 h 1418833"/>
                    <a:gd name="connsiteX1348" fmla="*/ 192764 w 2172185"/>
                    <a:gd name="connsiteY1348" fmla="*/ 784162 h 1418833"/>
                    <a:gd name="connsiteX1349" fmla="*/ 525321 w 2172185"/>
                    <a:gd name="connsiteY1349" fmla="*/ 794524 h 1418833"/>
                    <a:gd name="connsiteX1350" fmla="*/ 517048 w 2172185"/>
                    <a:gd name="connsiteY1350" fmla="*/ 795488 h 1418833"/>
                    <a:gd name="connsiteX1351" fmla="*/ 517770 w 2172185"/>
                    <a:gd name="connsiteY1351" fmla="*/ 792596 h 1418833"/>
                    <a:gd name="connsiteX1352" fmla="*/ 514075 w 2172185"/>
                    <a:gd name="connsiteY1352" fmla="*/ 792275 h 1418833"/>
                    <a:gd name="connsiteX1353" fmla="*/ 516325 w 2172185"/>
                    <a:gd name="connsiteY1353" fmla="*/ 788178 h 1418833"/>
                    <a:gd name="connsiteX1354" fmla="*/ 515682 w 2172185"/>
                    <a:gd name="connsiteY1354" fmla="*/ 787937 h 1418833"/>
                    <a:gd name="connsiteX1355" fmla="*/ 520903 w 2172185"/>
                    <a:gd name="connsiteY1355" fmla="*/ 789865 h 1418833"/>
                    <a:gd name="connsiteX1356" fmla="*/ 520582 w 2172185"/>
                    <a:gd name="connsiteY1356" fmla="*/ 791633 h 1418833"/>
                    <a:gd name="connsiteX1357" fmla="*/ 520984 w 2172185"/>
                    <a:gd name="connsiteY1357" fmla="*/ 792596 h 1418833"/>
                    <a:gd name="connsiteX1358" fmla="*/ 524116 w 2172185"/>
                    <a:gd name="connsiteY1358" fmla="*/ 792918 h 1418833"/>
                    <a:gd name="connsiteX1359" fmla="*/ 525723 w 2172185"/>
                    <a:gd name="connsiteY1359" fmla="*/ 794444 h 1418833"/>
                    <a:gd name="connsiteX1360" fmla="*/ 525321 w 2172185"/>
                    <a:gd name="connsiteY1360" fmla="*/ 794524 h 1418833"/>
                    <a:gd name="connsiteX1361" fmla="*/ 157660 w 2172185"/>
                    <a:gd name="connsiteY1361" fmla="*/ 681744 h 1418833"/>
                    <a:gd name="connsiteX1362" fmla="*/ 157018 w 2172185"/>
                    <a:gd name="connsiteY1362" fmla="*/ 682627 h 1418833"/>
                    <a:gd name="connsiteX1363" fmla="*/ 153885 w 2172185"/>
                    <a:gd name="connsiteY1363" fmla="*/ 686403 h 1418833"/>
                    <a:gd name="connsiteX1364" fmla="*/ 158142 w 2172185"/>
                    <a:gd name="connsiteY1364" fmla="*/ 678772 h 1418833"/>
                    <a:gd name="connsiteX1365" fmla="*/ 157660 w 2172185"/>
                    <a:gd name="connsiteY1365" fmla="*/ 681744 h 1418833"/>
                    <a:gd name="connsiteX1366" fmla="*/ 588861 w 2172185"/>
                    <a:gd name="connsiteY1366" fmla="*/ 796291 h 1418833"/>
                    <a:gd name="connsiteX1367" fmla="*/ 583880 w 2172185"/>
                    <a:gd name="connsiteY1367" fmla="*/ 790427 h 1418833"/>
                    <a:gd name="connsiteX1368" fmla="*/ 587897 w 2172185"/>
                    <a:gd name="connsiteY1368" fmla="*/ 790026 h 1418833"/>
                    <a:gd name="connsiteX1369" fmla="*/ 589021 w 2172185"/>
                    <a:gd name="connsiteY1369" fmla="*/ 796532 h 1418833"/>
                    <a:gd name="connsiteX1370" fmla="*/ 588861 w 2172185"/>
                    <a:gd name="connsiteY1370" fmla="*/ 796291 h 1418833"/>
                    <a:gd name="connsiteX1371" fmla="*/ 179911 w 2172185"/>
                    <a:gd name="connsiteY1371" fmla="*/ 691624 h 1418833"/>
                    <a:gd name="connsiteX1372" fmla="*/ 177180 w 2172185"/>
                    <a:gd name="connsiteY1372" fmla="*/ 692909 h 1418833"/>
                    <a:gd name="connsiteX1373" fmla="*/ 179911 w 2172185"/>
                    <a:gd name="connsiteY1373" fmla="*/ 691624 h 1418833"/>
                    <a:gd name="connsiteX1374" fmla="*/ 179911 w 2172185"/>
                    <a:gd name="connsiteY1374" fmla="*/ 691624 h 1418833"/>
                    <a:gd name="connsiteX1375" fmla="*/ 520020 w 2172185"/>
                    <a:gd name="connsiteY1375" fmla="*/ 786090 h 1418833"/>
                    <a:gd name="connsiteX1376" fmla="*/ 511184 w 2172185"/>
                    <a:gd name="connsiteY1376" fmla="*/ 787295 h 1418833"/>
                    <a:gd name="connsiteX1377" fmla="*/ 510139 w 2172185"/>
                    <a:gd name="connsiteY1377" fmla="*/ 785688 h 1418833"/>
                    <a:gd name="connsiteX1378" fmla="*/ 510943 w 2172185"/>
                    <a:gd name="connsiteY1378" fmla="*/ 785849 h 1418833"/>
                    <a:gd name="connsiteX1379" fmla="*/ 517931 w 2172185"/>
                    <a:gd name="connsiteY1379" fmla="*/ 781832 h 1418833"/>
                    <a:gd name="connsiteX1380" fmla="*/ 520582 w 2172185"/>
                    <a:gd name="connsiteY1380" fmla="*/ 786090 h 1418833"/>
                    <a:gd name="connsiteX1381" fmla="*/ 520020 w 2172185"/>
                    <a:gd name="connsiteY1381" fmla="*/ 786090 h 1418833"/>
                    <a:gd name="connsiteX1382" fmla="*/ 613521 w 2172185"/>
                    <a:gd name="connsiteY1382" fmla="*/ 798782 h 1418833"/>
                    <a:gd name="connsiteX1383" fmla="*/ 606453 w 2172185"/>
                    <a:gd name="connsiteY1383" fmla="*/ 800870 h 1418833"/>
                    <a:gd name="connsiteX1384" fmla="*/ 585407 w 2172185"/>
                    <a:gd name="connsiteY1384" fmla="*/ 809144 h 1418833"/>
                    <a:gd name="connsiteX1385" fmla="*/ 576651 w 2172185"/>
                    <a:gd name="connsiteY1385" fmla="*/ 807136 h 1418833"/>
                    <a:gd name="connsiteX1386" fmla="*/ 576731 w 2172185"/>
                    <a:gd name="connsiteY1386" fmla="*/ 795006 h 1418833"/>
                    <a:gd name="connsiteX1387" fmla="*/ 580908 w 2172185"/>
                    <a:gd name="connsiteY1387" fmla="*/ 798701 h 1418833"/>
                    <a:gd name="connsiteX1388" fmla="*/ 581149 w 2172185"/>
                    <a:gd name="connsiteY1388" fmla="*/ 798621 h 1418833"/>
                    <a:gd name="connsiteX1389" fmla="*/ 585166 w 2172185"/>
                    <a:gd name="connsiteY1389" fmla="*/ 798782 h 1418833"/>
                    <a:gd name="connsiteX1390" fmla="*/ 584362 w 2172185"/>
                    <a:gd name="connsiteY1390" fmla="*/ 797577 h 1418833"/>
                    <a:gd name="connsiteX1391" fmla="*/ 589584 w 2172185"/>
                    <a:gd name="connsiteY1391" fmla="*/ 797737 h 1418833"/>
                    <a:gd name="connsiteX1392" fmla="*/ 588941 w 2172185"/>
                    <a:gd name="connsiteY1392" fmla="*/ 796452 h 1418833"/>
                    <a:gd name="connsiteX1393" fmla="*/ 598661 w 2172185"/>
                    <a:gd name="connsiteY1393" fmla="*/ 796291 h 1418833"/>
                    <a:gd name="connsiteX1394" fmla="*/ 597697 w 2172185"/>
                    <a:gd name="connsiteY1394" fmla="*/ 785688 h 1418833"/>
                    <a:gd name="connsiteX1395" fmla="*/ 613923 w 2172185"/>
                    <a:gd name="connsiteY1395" fmla="*/ 797737 h 1418833"/>
                    <a:gd name="connsiteX1396" fmla="*/ 613521 w 2172185"/>
                    <a:gd name="connsiteY1396" fmla="*/ 798782 h 1418833"/>
                    <a:gd name="connsiteX1397" fmla="*/ 243932 w 2172185"/>
                    <a:gd name="connsiteY1397" fmla="*/ 721908 h 1418833"/>
                    <a:gd name="connsiteX1398" fmla="*/ 231883 w 2172185"/>
                    <a:gd name="connsiteY1398" fmla="*/ 724639 h 1418833"/>
                    <a:gd name="connsiteX1399" fmla="*/ 232365 w 2172185"/>
                    <a:gd name="connsiteY1399" fmla="*/ 723514 h 1418833"/>
                    <a:gd name="connsiteX1400" fmla="*/ 237265 w 2172185"/>
                    <a:gd name="connsiteY1400" fmla="*/ 718695 h 1418833"/>
                    <a:gd name="connsiteX1401" fmla="*/ 244254 w 2172185"/>
                    <a:gd name="connsiteY1401" fmla="*/ 721827 h 1418833"/>
                    <a:gd name="connsiteX1402" fmla="*/ 243932 w 2172185"/>
                    <a:gd name="connsiteY1402" fmla="*/ 721908 h 1418833"/>
                    <a:gd name="connsiteX1403" fmla="*/ 572956 w 2172185"/>
                    <a:gd name="connsiteY1403" fmla="*/ 791311 h 1418833"/>
                    <a:gd name="connsiteX1404" fmla="*/ 567895 w 2172185"/>
                    <a:gd name="connsiteY1404" fmla="*/ 787616 h 1418833"/>
                    <a:gd name="connsiteX1405" fmla="*/ 568056 w 2172185"/>
                    <a:gd name="connsiteY1405" fmla="*/ 795408 h 1418833"/>
                    <a:gd name="connsiteX1406" fmla="*/ 565566 w 2172185"/>
                    <a:gd name="connsiteY1406" fmla="*/ 786331 h 1418833"/>
                    <a:gd name="connsiteX1407" fmla="*/ 566771 w 2172185"/>
                    <a:gd name="connsiteY1407" fmla="*/ 786331 h 1418833"/>
                    <a:gd name="connsiteX1408" fmla="*/ 568297 w 2172185"/>
                    <a:gd name="connsiteY1408" fmla="*/ 777414 h 1418833"/>
                    <a:gd name="connsiteX1409" fmla="*/ 573197 w 2172185"/>
                    <a:gd name="connsiteY1409" fmla="*/ 791552 h 1418833"/>
                    <a:gd name="connsiteX1410" fmla="*/ 572956 w 2172185"/>
                    <a:gd name="connsiteY1410" fmla="*/ 791311 h 1418833"/>
                    <a:gd name="connsiteX1411" fmla="*/ 489897 w 2172185"/>
                    <a:gd name="connsiteY1411" fmla="*/ 768337 h 1418833"/>
                    <a:gd name="connsiteX1412" fmla="*/ 472787 w 2172185"/>
                    <a:gd name="connsiteY1412" fmla="*/ 772514 h 1418833"/>
                    <a:gd name="connsiteX1413" fmla="*/ 470698 w 2172185"/>
                    <a:gd name="connsiteY1413" fmla="*/ 772193 h 1418833"/>
                    <a:gd name="connsiteX1414" fmla="*/ 473349 w 2172185"/>
                    <a:gd name="connsiteY1414" fmla="*/ 770988 h 1418833"/>
                    <a:gd name="connsiteX1415" fmla="*/ 490861 w 2172185"/>
                    <a:gd name="connsiteY1415" fmla="*/ 767614 h 1418833"/>
                    <a:gd name="connsiteX1416" fmla="*/ 489897 w 2172185"/>
                    <a:gd name="connsiteY1416" fmla="*/ 768337 h 1418833"/>
                    <a:gd name="connsiteX1417" fmla="*/ 230759 w 2172185"/>
                    <a:gd name="connsiteY1417" fmla="*/ 705039 h 1418833"/>
                    <a:gd name="connsiteX1418" fmla="*/ 227224 w 2172185"/>
                    <a:gd name="connsiteY1418" fmla="*/ 705039 h 1418833"/>
                    <a:gd name="connsiteX1419" fmla="*/ 226180 w 2172185"/>
                    <a:gd name="connsiteY1419" fmla="*/ 704155 h 1418833"/>
                    <a:gd name="connsiteX1420" fmla="*/ 231000 w 2172185"/>
                    <a:gd name="connsiteY1420" fmla="*/ 704959 h 1418833"/>
                    <a:gd name="connsiteX1421" fmla="*/ 230759 w 2172185"/>
                    <a:gd name="connsiteY1421" fmla="*/ 705039 h 1418833"/>
                    <a:gd name="connsiteX1422" fmla="*/ 119986 w 2172185"/>
                    <a:gd name="connsiteY1422" fmla="*/ 543098 h 1418833"/>
                    <a:gd name="connsiteX1423" fmla="*/ 118139 w 2172185"/>
                    <a:gd name="connsiteY1423" fmla="*/ 545106 h 1418833"/>
                    <a:gd name="connsiteX1424" fmla="*/ 121272 w 2172185"/>
                    <a:gd name="connsiteY1424" fmla="*/ 540206 h 1418833"/>
                    <a:gd name="connsiteX1425" fmla="*/ 119986 w 2172185"/>
                    <a:gd name="connsiteY1425" fmla="*/ 543098 h 1418833"/>
                    <a:gd name="connsiteX1426" fmla="*/ 119986 w 2172185"/>
                    <a:gd name="connsiteY1426" fmla="*/ 543098 h 1418833"/>
                    <a:gd name="connsiteX1427" fmla="*/ 233972 w 2172185"/>
                    <a:gd name="connsiteY1427" fmla="*/ 700460 h 1418833"/>
                    <a:gd name="connsiteX1428" fmla="*/ 232365 w 2172185"/>
                    <a:gd name="connsiteY1428" fmla="*/ 702067 h 1418833"/>
                    <a:gd name="connsiteX1429" fmla="*/ 230437 w 2172185"/>
                    <a:gd name="connsiteY1429" fmla="*/ 702308 h 1418833"/>
                    <a:gd name="connsiteX1430" fmla="*/ 234534 w 2172185"/>
                    <a:gd name="connsiteY1430" fmla="*/ 699898 h 1418833"/>
                    <a:gd name="connsiteX1431" fmla="*/ 233972 w 2172185"/>
                    <a:gd name="connsiteY1431" fmla="*/ 700460 h 1418833"/>
                    <a:gd name="connsiteX1432" fmla="*/ 164890 w 2172185"/>
                    <a:gd name="connsiteY1432" fmla="*/ 655717 h 1418833"/>
                    <a:gd name="connsiteX1433" fmla="*/ 164167 w 2172185"/>
                    <a:gd name="connsiteY1433" fmla="*/ 655316 h 1418833"/>
                    <a:gd name="connsiteX1434" fmla="*/ 165773 w 2172185"/>
                    <a:gd name="connsiteY1434" fmla="*/ 653950 h 1418833"/>
                    <a:gd name="connsiteX1435" fmla="*/ 164890 w 2172185"/>
                    <a:gd name="connsiteY1435" fmla="*/ 655717 h 1418833"/>
                    <a:gd name="connsiteX1436" fmla="*/ 158222 w 2172185"/>
                    <a:gd name="connsiteY1436" fmla="*/ 649693 h 1418833"/>
                    <a:gd name="connsiteX1437" fmla="*/ 153804 w 2172185"/>
                    <a:gd name="connsiteY1437" fmla="*/ 657163 h 1418833"/>
                    <a:gd name="connsiteX1438" fmla="*/ 157259 w 2172185"/>
                    <a:gd name="connsiteY1438" fmla="*/ 649693 h 1418833"/>
                    <a:gd name="connsiteX1439" fmla="*/ 157981 w 2172185"/>
                    <a:gd name="connsiteY1439" fmla="*/ 648649 h 1418833"/>
                    <a:gd name="connsiteX1440" fmla="*/ 160632 w 2172185"/>
                    <a:gd name="connsiteY1440" fmla="*/ 644873 h 1418833"/>
                    <a:gd name="connsiteX1441" fmla="*/ 158222 w 2172185"/>
                    <a:gd name="connsiteY1441" fmla="*/ 649693 h 1418833"/>
                    <a:gd name="connsiteX1442" fmla="*/ 164247 w 2172185"/>
                    <a:gd name="connsiteY1442" fmla="*/ 648327 h 1418833"/>
                    <a:gd name="connsiteX1443" fmla="*/ 163203 w 2172185"/>
                    <a:gd name="connsiteY1443" fmla="*/ 650175 h 1418833"/>
                    <a:gd name="connsiteX1444" fmla="*/ 164247 w 2172185"/>
                    <a:gd name="connsiteY1444" fmla="*/ 648327 h 1418833"/>
                    <a:gd name="connsiteX1445" fmla="*/ 164247 w 2172185"/>
                    <a:gd name="connsiteY1445" fmla="*/ 648327 h 1418833"/>
                    <a:gd name="connsiteX1446" fmla="*/ 157901 w 2172185"/>
                    <a:gd name="connsiteY1446" fmla="*/ 642945 h 1418833"/>
                    <a:gd name="connsiteX1447" fmla="*/ 153162 w 2172185"/>
                    <a:gd name="connsiteY1447" fmla="*/ 647444 h 1418833"/>
                    <a:gd name="connsiteX1448" fmla="*/ 156214 w 2172185"/>
                    <a:gd name="connsiteY1448" fmla="*/ 636358 h 1418833"/>
                    <a:gd name="connsiteX1449" fmla="*/ 156295 w 2172185"/>
                    <a:gd name="connsiteY1449" fmla="*/ 636358 h 1418833"/>
                    <a:gd name="connsiteX1450" fmla="*/ 156054 w 2172185"/>
                    <a:gd name="connsiteY1450" fmla="*/ 642383 h 1418833"/>
                    <a:gd name="connsiteX1451" fmla="*/ 161034 w 2172185"/>
                    <a:gd name="connsiteY1451" fmla="*/ 636599 h 1418833"/>
                    <a:gd name="connsiteX1452" fmla="*/ 157901 w 2172185"/>
                    <a:gd name="connsiteY1452" fmla="*/ 642945 h 1418833"/>
                    <a:gd name="connsiteX1453" fmla="*/ 470056 w 2172185"/>
                    <a:gd name="connsiteY1453" fmla="*/ 749380 h 1418833"/>
                    <a:gd name="connsiteX1454" fmla="*/ 467887 w 2172185"/>
                    <a:gd name="connsiteY1454" fmla="*/ 752111 h 1418833"/>
                    <a:gd name="connsiteX1455" fmla="*/ 467244 w 2172185"/>
                    <a:gd name="connsiteY1455" fmla="*/ 751709 h 1418833"/>
                    <a:gd name="connsiteX1456" fmla="*/ 468047 w 2172185"/>
                    <a:gd name="connsiteY1456" fmla="*/ 751147 h 1418833"/>
                    <a:gd name="connsiteX1457" fmla="*/ 462023 w 2172185"/>
                    <a:gd name="connsiteY1457" fmla="*/ 744641 h 1418833"/>
                    <a:gd name="connsiteX1458" fmla="*/ 470056 w 2172185"/>
                    <a:gd name="connsiteY1458" fmla="*/ 749380 h 1418833"/>
                    <a:gd name="connsiteX1459" fmla="*/ 238068 w 2172185"/>
                    <a:gd name="connsiteY1459" fmla="*/ 686804 h 1418833"/>
                    <a:gd name="connsiteX1460" fmla="*/ 235659 w 2172185"/>
                    <a:gd name="connsiteY1460" fmla="*/ 687206 h 1418833"/>
                    <a:gd name="connsiteX1461" fmla="*/ 234855 w 2172185"/>
                    <a:gd name="connsiteY1461" fmla="*/ 689535 h 1418833"/>
                    <a:gd name="connsiteX1462" fmla="*/ 230919 w 2172185"/>
                    <a:gd name="connsiteY1462" fmla="*/ 688090 h 1418833"/>
                    <a:gd name="connsiteX1463" fmla="*/ 232044 w 2172185"/>
                    <a:gd name="connsiteY1463" fmla="*/ 686724 h 1418833"/>
                    <a:gd name="connsiteX1464" fmla="*/ 238390 w 2172185"/>
                    <a:gd name="connsiteY1464" fmla="*/ 686563 h 1418833"/>
                    <a:gd name="connsiteX1465" fmla="*/ 238068 w 2172185"/>
                    <a:gd name="connsiteY1465" fmla="*/ 686804 h 1418833"/>
                    <a:gd name="connsiteX1466" fmla="*/ 123119 w 2172185"/>
                    <a:gd name="connsiteY1466" fmla="*/ 569204 h 1418833"/>
                    <a:gd name="connsiteX1467" fmla="*/ 121432 w 2172185"/>
                    <a:gd name="connsiteY1467" fmla="*/ 567758 h 1418833"/>
                    <a:gd name="connsiteX1468" fmla="*/ 118621 w 2172185"/>
                    <a:gd name="connsiteY1468" fmla="*/ 572498 h 1418833"/>
                    <a:gd name="connsiteX1469" fmla="*/ 123199 w 2172185"/>
                    <a:gd name="connsiteY1469" fmla="*/ 559565 h 1418833"/>
                    <a:gd name="connsiteX1470" fmla="*/ 123119 w 2172185"/>
                    <a:gd name="connsiteY1470" fmla="*/ 560288 h 1418833"/>
                    <a:gd name="connsiteX1471" fmla="*/ 123199 w 2172185"/>
                    <a:gd name="connsiteY1471" fmla="*/ 560609 h 1418833"/>
                    <a:gd name="connsiteX1472" fmla="*/ 123360 w 2172185"/>
                    <a:gd name="connsiteY1472" fmla="*/ 560609 h 1418833"/>
                    <a:gd name="connsiteX1473" fmla="*/ 125770 w 2172185"/>
                    <a:gd name="connsiteY1473" fmla="*/ 556111 h 1418833"/>
                    <a:gd name="connsiteX1474" fmla="*/ 123119 w 2172185"/>
                    <a:gd name="connsiteY1474" fmla="*/ 569204 h 1418833"/>
                    <a:gd name="connsiteX1475" fmla="*/ 123119 w 2172185"/>
                    <a:gd name="connsiteY1475" fmla="*/ 569204 h 1418833"/>
                    <a:gd name="connsiteX1476" fmla="*/ 446439 w 2172185"/>
                    <a:gd name="connsiteY1476" fmla="*/ 744400 h 1418833"/>
                    <a:gd name="connsiteX1477" fmla="*/ 443949 w 2172185"/>
                    <a:gd name="connsiteY1477" fmla="*/ 744882 h 1418833"/>
                    <a:gd name="connsiteX1478" fmla="*/ 439370 w 2172185"/>
                    <a:gd name="connsiteY1478" fmla="*/ 743677 h 1418833"/>
                    <a:gd name="connsiteX1479" fmla="*/ 444029 w 2172185"/>
                    <a:gd name="connsiteY1479" fmla="*/ 736608 h 1418833"/>
                    <a:gd name="connsiteX1480" fmla="*/ 444110 w 2172185"/>
                    <a:gd name="connsiteY1480" fmla="*/ 740062 h 1418833"/>
                    <a:gd name="connsiteX1481" fmla="*/ 446439 w 2172185"/>
                    <a:gd name="connsiteY1481" fmla="*/ 744400 h 1418833"/>
                    <a:gd name="connsiteX1482" fmla="*/ 540744 w 2172185"/>
                    <a:gd name="connsiteY1482" fmla="*/ 756850 h 1418833"/>
                    <a:gd name="connsiteX1483" fmla="*/ 537692 w 2172185"/>
                    <a:gd name="connsiteY1483" fmla="*/ 746809 h 1418833"/>
                    <a:gd name="connsiteX1484" fmla="*/ 539298 w 2172185"/>
                    <a:gd name="connsiteY1484" fmla="*/ 745283 h 1418833"/>
                    <a:gd name="connsiteX1485" fmla="*/ 541066 w 2172185"/>
                    <a:gd name="connsiteY1485" fmla="*/ 757091 h 1418833"/>
                    <a:gd name="connsiteX1486" fmla="*/ 540744 w 2172185"/>
                    <a:gd name="connsiteY1486" fmla="*/ 756850 h 1418833"/>
                    <a:gd name="connsiteX1487" fmla="*/ 161355 w 2172185"/>
                    <a:gd name="connsiteY1487" fmla="*/ 635394 h 1418833"/>
                    <a:gd name="connsiteX1488" fmla="*/ 161837 w 2172185"/>
                    <a:gd name="connsiteY1488" fmla="*/ 632101 h 1418833"/>
                    <a:gd name="connsiteX1489" fmla="*/ 164970 w 2172185"/>
                    <a:gd name="connsiteY1489" fmla="*/ 627121 h 1418833"/>
                    <a:gd name="connsiteX1490" fmla="*/ 165050 w 2172185"/>
                    <a:gd name="connsiteY1490" fmla="*/ 627121 h 1418833"/>
                    <a:gd name="connsiteX1491" fmla="*/ 161516 w 2172185"/>
                    <a:gd name="connsiteY1491" fmla="*/ 635635 h 1418833"/>
                    <a:gd name="connsiteX1492" fmla="*/ 161355 w 2172185"/>
                    <a:gd name="connsiteY1492" fmla="*/ 635394 h 1418833"/>
                    <a:gd name="connsiteX1493" fmla="*/ 231482 w 2172185"/>
                    <a:gd name="connsiteY1493" fmla="*/ 658690 h 1418833"/>
                    <a:gd name="connsiteX1494" fmla="*/ 214131 w 2172185"/>
                    <a:gd name="connsiteY1494" fmla="*/ 665999 h 1418833"/>
                    <a:gd name="connsiteX1495" fmla="*/ 221280 w 2172185"/>
                    <a:gd name="connsiteY1495" fmla="*/ 660457 h 1418833"/>
                    <a:gd name="connsiteX1496" fmla="*/ 222003 w 2172185"/>
                    <a:gd name="connsiteY1496" fmla="*/ 659975 h 1418833"/>
                    <a:gd name="connsiteX1497" fmla="*/ 230196 w 2172185"/>
                    <a:gd name="connsiteY1497" fmla="*/ 651942 h 1418833"/>
                    <a:gd name="connsiteX1498" fmla="*/ 229714 w 2172185"/>
                    <a:gd name="connsiteY1498" fmla="*/ 653308 h 1418833"/>
                    <a:gd name="connsiteX1499" fmla="*/ 233008 w 2172185"/>
                    <a:gd name="connsiteY1499" fmla="*/ 652424 h 1418833"/>
                    <a:gd name="connsiteX1500" fmla="*/ 231964 w 2172185"/>
                    <a:gd name="connsiteY1500" fmla="*/ 658288 h 1418833"/>
                    <a:gd name="connsiteX1501" fmla="*/ 231482 w 2172185"/>
                    <a:gd name="connsiteY1501" fmla="*/ 658690 h 1418833"/>
                    <a:gd name="connsiteX1502" fmla="*/ 183124 w 2172185"/>
                    <a:gd name="connsiteY1502" fmla="*/ 624470 h 1418833"/>
                    <a:gd name="connsiteX1503" fmla="*/ 178144 w 2172185"/>
                    <a:gd name="connsiteY1503" fmla="*/ 624631 h 1418833"/>
                    <a:gd name="connsiteX1504" fmla="*/ 178947 w 2172185"/>
                    <a:gd name="connsiteY1504" fmla="*/ 619891 h 1418833"/>
                    <a:gd name="connsiteX1505" fmla="*/ 183365 w 2172185"/>
                    <a:gd name="connsiteY1505" fmla="*/ 618606 h 1418833"/>
                    <a:gd name="connsiteX1506" fmla="*/ 183526 w 2172185"/>
                    <a:gd name="connsiteY1506" fmla="*/ 624390 h 1418833"/>
                    <a:gd name="connsiteX1507" fmla="*/ 183124 w 2172185"/>
                    <a:gd name="connsiteY1507" fmla="*/ 624470 h 1418833"/>
                    <a:gd name="connsiteX1508" fmla="*/ 212605 w 2172185"/>
                    <a:gd name="connsiteY1508" fmla="*/ 635716 h 1418833"/>
                    <a:gd name="connsiteX1509" fmla="*/ 190514 w 2172185"/>
                    <a:gd name="connsiteY1509" fmla="*/ 652826 h 1418833"/>
                    <a:gd name="connsiteX1510" fmla="*/ 193727 w 2172185"/>
                    <a:gd name="connsiteY1510" fmla="*/ 647926 h 1418833"/>
                    <a:gd name="connsiteX1511" fmla="*/ 194852 w 2172185"/>
                    <a:gd name="connsiteY1511" fmla="*/ 651540 h 1418833"/>
                    <a:gd name="connsiteX1512" fmla="*/ 198788 w 2172185"/>
                    <a:gd name="connsiteY1512" fmla="*/ 641660 h 1418833"/>
                    <a:gd name="connsiteX1513" fmla="*/ 200796 w 2172185"/>
                    <a:gd name="connsiteY1513" fmla="*/ 637885 h 1418833"/>
                    <a:gd name="connsiteX1514" fmla="*/ 201278 w 2172185"/>
                    <a:gd name="connsiteY1514" fmla="*/ 637403 h 1418833"/>
                    <a:gd name="connsiteX1515" fmla="*/ 203045 w 2172185"/>
                    <a:gd name="connsiteY1515" fmla="*/ 636439 h 1418833"/>
                    <a:gd name="connsiteX1516" fmla="*/ 208026 w 2172185"/>
                    <a:gd name="connsiteY1516" fmla="*/ 632021 h 1418833"/>
                    <a:gd name="connsiteX1517" fmla="*/ 208668 w 2172185"/>
                    <a:gd name="connsiteY1517" fmla="*/ 631539 h 1418833"/>
                    <a:gd name="connsiteX1518" fmla="*/ 212364 w 2172185"/>
                    <a:gd name="connsiteY1518" fmla="*/ 628808 h 1418833"/>
                    <a:gd name="connsiteX1519" fmla="*/ 211400 w 2172185"/>
                    <a:gd name="connsiteY1519" fmla="*/ 631860 h 1418833"/>
                    <a:gd name="connsiteX1520" fmla="*/ 213327 w 2172185"/>
                    <a:gd name="connsiteY1520" fmla="*/ 630575 h 1418833"/>
                    <a:gd name="connsiteX1521" fmla="*/ 211159 w 2172185"/>
                    <a:gd name="connsiteY1521" fmla="*/ 634672 h 1418833"/>
                    <a:gd name="connsiteX1522" fmla="*/ 213568 w 2172185"/>
                    <a:gd name="connsiteY1522" fmla="*/ 634270 h 1418833"/>
                    <a:gd name="connsiteX1523" fmla="*/ 212605 w 2172185"/>
                    <a:gd name="connsiteY1523" fmla="*/ 635716 h 1418833"/>
                    <a:gd name="connsiteX1524" fmla="*/ 210596 w 2172185"/>
                    <a:gd name="connsiteY1524" fmla="*/ 618847 h 1418833"/>
                    <a:gd name="connsiteX1525" fmla="*/ 200395 w 2172185"/>
                    <a:gd name="connsiteY1525" fmla="*/ 631458 h 1418833"/>
                    <a:gd name="connsiteX1526" fmla="*/ 202082 w 2172185"/>
                    <a:gd name="connsiteY1526" fmla="*/ 622783 h 1418833"/>
                    <a:gd name="connsiteX1527" fmla="*/ 207223 w 2172185"/>
                    <a:gd name="connsiteY1527" fmla="*/ 616357 h 1418833"/>
                    <a:gd name="connsiteX1528" fmla="*/ 209793 w 2172185"/>
                    <a:gd name="connsiteY1528" fmla="*/ 616678 h 1418833"/>
                    <a:gd name="connsiteX1529" fmla="*/ 211319 w 2172185"/>
                    <a:gd name="connsiteY1529" fmla="*/ 617321 h 1418833"/>
                    <a:gd name="connsiteX1530" fmla="*/ 210596 w 2172185"/>
                    <a:gd name="connsiteY1530" fmla="*/ 618847 h 1418833"/>
                    <a:gd name="connsiteX1531" fmla="*/ 207544 w 2172185"/>
                    <a:gd name="connsiteY1531" fmla="*/ 614268 h 1418833"/>
                    <a:gd name="connsiteX1532" fmla="*/ 208749 w 2172185"/>
                    <a:gd name="connsiteY1532" fmla="*/ 611858 h 1418833"/>
                    <a:gd name="connsiteX1533" fmla="*/ 209231 w 2172185"/>
                    <a:gd name="connsiteY1533" fmla="*/ 612340 h 1418833"/>
                    <a:gd name="connsiteX1534" fmla="*/ 207544 w 2172185"/>
                    <a:gd name="connsiteY1534" fmla="*/ 614268 h 1418833"/>
                    <a:gd name="connsiteX1535" fmla="*/ 171155 w 2172185"/>
                    <a:gd name="connsiteY1535" fmla="*/ 579245 h 1418833"/>
                    <a:gd name="connsiteX1536" fmla="*/ 168022 w 2172185"/>
                    <a:gd name="connsiteY1536" fmla="*/ 581816 h 1418833"/>
                    <a:gd name="connsiteX1537" fmla="*/ 173404 w 2172185"/>
                    <a:gd name="connsiteY1537" fmla="*/ 573301 h 1418833"/>
                    <a:gd name="connsiteX1538" fmla="*/ 173003 w 2172185"/>
                    <a:gd name="connsiteY1538" fmla="*/ 574265 h 1418833"/>
                    <a:gd name="connsiteX1539" fmla="*/ 171155 w 2172185"/>
                    <a:gd name="connsiteY1539" fmla="*/ 579245 h 1418833"/>
                    <a:gd name="connsiteX1540" fmla="*/ 204732 w 2172185"/>
                    <a:gd name="connsiteY1540" fmla="*/ 598203 h 1418833"/>
                    <a:gd name="connsiteX1541" fmla="*/ 204009 w 2172185"/>
                    <a:gd name="connsiteY1541" fmla="*/ 594427 h 1418833"/>
                    <a:gd name="connsiteX1542" fmla="*/ 204732 w 2172185"/>
                    <a:gd name="connsiteY1542" fmla="*/ 598203 h 1418833"/>
                    <a:gd name="connsiteX1543" fmla="*/ 199913 w 2172185"/>
                    <a:gd name="connsiteY1543" fmla="*/ 586475 h 1418833"/>
                    <a:gd name="connsiteX1544" fmla="*/ 198708 w 2172185"/>
                    <a:gd name="connsiteY1544" fmla="*/ 586234 h 1418833"/>
                    <a:gd name="connsiteX1545" fmla="*/ 174288 w 2172185"/>
                    <a:gd name="connsiteY1545" fmla="*/ 584306 h 1418833"/>
                    <a:gd name="connsiteX1546" fmla="*/ 175252 w 2172185"/>
                    <a:gd name="connsiteY1546" fmla="*/ 581976 h 1418833"/>
                    <a:gd name="connsiteX1547" fmla="*/ 175091 w 2172185"/>
                    <a:gd name="connsiteY1547" fmla="*/ 581816 h 1418833"/>
                    <a:gd name="connsiteX1548" fmla="*/ 173244 w 2172185"/>
                    <a:gd name="connsiteY1548" fmla="*/ 583422 h 1418833"/>
                    <a:gd name="connsiteX1549" fmla="*/ 175252 w 2172185"/>
                    <a:gd name="connsiteY1549" fmla="*/ 577960 h 1418833"/>
                    <a:gd name="connsiteX1550" fmla="*/ 175413 w 2172185"/>
                    <a:gd name="connsiteY1550" fmla="*/ 577960 h 1418833"/>
                    <a:gd name="connsiteX1551" fmla="*/ 175573 w 2172185"/>
                    <a:gd name="connsiteY1551" fmla="*/ 578763 h 1418833"/>
                    <a:gd name="connsiteX1552" fmla="*/ 190836 w 2172185"/>
                    <a:gd name="connsiteY1552" fmla="*/ 570891 h 1418833"/>
                    <a:gd name="connsiteX1553" fmla="*/ 193406 w 2172185"/>
                    <a:gd name="connsiteY1553" fmla="*/ 574908 h 1418833"/>
                    <a:gd name="connsiteX1554" fmla="*/ 191800 w 2172185"/>
                    <a:gd name="connsiteY1554" fmla="*/ 576835 h 1418833"/>
                    <a:gd name="connsiteX1555" fmla="*/ 200073 w 2172185"/>
                    <a:gd name="connsiteY1555" fmla="*/ 586635 h 1418833"/>
                    <a:gd name="connsiteX1556" fmla="*/ 199913 w 2172185"/>
                    <a:gd name="connsiteY1556" fmla="*/ 586475 h 1418833"/>
                    <a:gd name="connsiteX1557" fmla="*/ 215095 w 2172185"/>
                    <a:gd name="connsiteY1557" fmla="*/ 574667 h 1418833"/>
                    <a:gd name="connsiteX1558" fmla="*/ 212042 w 2172185"/>
                    <a:gd name="connsiteY1558" fmla="*/ 575952 h 1418833"/>
                    <a:gd name="connsiteX1559" fmla="*/ 212364 w 2172185"/>
                    <a:gd name="connsiteY1559" fmla="*/ 577398 h 1418833"/>
                    <a:gd name="connsiteX1560" fmla="*/ 209713 w 2172185"/>
                    <a:gd name="connsiteY1560" fmla="*/ 579406 h 1418833"/>
                    <a:gd name="connsiteX1561" fmla="*/ 208990 w 2172185"/>
                    <a:gd name="connsiteY1561" fmla="*/ 578763 h 1418833"/>
                    <a:gd name="connsiteX1562" fmla="*/ 210998 w 2172185"/>
                    <a:gd name="connsiteY1562" fmla="*/ 573783 h 1418833"/>
                    <a:gd name="connsiteX1563" fmla="*/ 211078 w 2172185"/>
                    <a:gd name="connsiteY1563" fmla="*/ 575871 h 1418833"/>
                    <a:gd name="connsiteX1564" fmla="*/ 215416 w 2172185"/>
                    <a:gd name="connsiteY1564" fmla="*/ 574667 h 1418833"/>
                    <a:gd name="connsiteX1565" fmla="*/ 215095 w 2172185"/>
                    <a:gd name="connsiteY1565" fmla="*/ 574667 h 1418833"/>
                    <a:gd name="connsiteX1566" fmla="*/ 180875 w 2172185"/>
                    <a:gd name="connsiteY1566" fmla="*/ 533298 h 1418833"/>
                    <a:gd name="connsiteX1567" fmla="*/ 179429 w 2172185"/>
                    <a:gd name="connsiteY1567" fmla="*/ 534503 h 1418833"/>
                    <a:gd name="connsiteX1568" fmla="*/ 180714 w 2172185"/>
                    <a:gd name="connsiteY1568" fmla="*/ 529602 h 1418833"/>
                    <a:gd name="connsiteX1569" fmla="*/ 181036 w 2172185"/>
                    <a:gd name="connsiteY1569" fmla="*/ 533298 h 1418833"/>
                    <a:gd name="connsiteX1570" fmla="*/ 180875 w 2172185"/>
                    <a:gd name="connsiteY1570" fmla="*/ 533298 h 1418833"/>
                    <a:gd name="connsiteX1571" fmla="*/ 171075 w 2172185"/>
                    <a:gd name="connsiteY1571" fmla="*/ 456906 h 1418833"/>
                    <a:gd name="connsiteX1572" fmla="*/ 181437 w 2172185"/>
                    <a:gd name="connsiteY1572" fmla="*/ 440037 h 1418833"/>
                    <a:gd name="connsiteX1573" fmla="*/ 171075 w 2172185"/>
                    <a:gd name="connsiteY1573" fmla="*/ 456906 h 1418833"/>
                    <a:gd name="connsiteX1574" fmla="*/ 233168 w 2172185"/>
                    <a:gd name="connsiteY1574" fmla="*/ 592901 h 1418833"/>
                    <a:gd name="connsiteX1575" fmla="*/ 231964 w 2172185"/>
                    <a:gd name="connsiteY1575" fmla="*/ 594267 h 1418833"/>
                    <a:gd name="connsiteX1576" fmla="*/ 233731 w 2172185"/>
                    <a:gd name="connsiteY1576" fmla="*/ 584949 h 1418833"/>
                    <a:gd name="connsiteX1577" fmla="*/ 234052 w 2172185"/>
                    <a:gd name="connsiteY1577" fmla="*/ 584868 h 1418833"/>
                    <a:gd name="connsiteX1578" fmla="*/ 235980 w 2172185"/>
                    <a:gd name="connsiteY1578" fmla="*/ 583503 h 1418833"/>
                    <a:gd name="connsiteX1579" fmla="*/ 237908 w 2172185"/>
                    <a:gd name="connsiteY1579" fmla="*/ 581173 h 1418833"/>
                    <a:gd name="connsiteX1580" fmla="*/ 238711 w 2172185"/>
                    <a:gd name="connsiteY1580" fmla="*/ 580611 h 1418833"/>
                    <a:gd name="connsiteX1581" fmla="*/ 233409 w 2172185"/>
                    <a:gd name="connsiteY1581" fmla="*/ 593865 h 1418833"/>
                    <a:gd name="connsiteX1582" fmla="*/ 233168 w 2172185"/>
                    <a:gd name="connsiteY1582" fmla="*/ 592901 h 1418833"/>
                    <a:gd name="connsiteX1583" fmla="*/ 175814 w 2172185"/>
                    <a:gd name="connsiteY1583" fmla="*/ 498355 h 1418833"/>
                    <a:gd name="connsiteX1584" fmla="*/ 173244 w 2172185"/>
                    <a:gd name="connsiteY1584" fmla="*/ 500042 h 1418833"/>
                    <a:gd name="connsiteX1585" fmla="*/ 173404 w 2172185"/>
                    <a:gd name="connsiteY1585" fmla="*/ 498837 h 1418833"/>
                    <a:gd name="connsiteX1586" fmla="*/ 177903 w 2172185"/>
                    <a:gd name="connsiteY1586" fmla="*/ 493937 h 1418833"/>
                    <a:gd name="connsiteX1587" fmla="*/ 175814 w 2172185"/>
                    <a:gd name="connsiteY1587" fmla="*/ 498355 h 1418833"/>
                    <a:gd name="connsiteX1588" fmla="*/ 233891 w 2172185"/>
                    <a:gd name="connsiteY1588" fmla="*/ 568321 h 1418833"/>
                    <a:gd name="connsiteX1589" fmla="*/ 230116 w 2172185"/>
                    <a:gd name="connsiteY1589" fmla="*/ 573221 h 1418833"/>
                    <a:gd name="connsiteX1590" fmla="*/ 224814 w 2172185"/>
                    <a:gd name="connsiteY1590" fmla="*/ 577719 h 1418833"/>
                    <a:gd name="connsiteX1591" fmla="*/ 230518 w 2172185"/>
                    <a:gd name="connsiteY1591" fmla="*/ 565911 h 1418833"/>
                    <a:gd name="connsiteX1592" fmla="*/ 228831 w 2172185"/>
                    <a:gd name="connsiteY1592" fmla="*/ 566794 h 1418833"/>
                    <a:gd name="connsiteX1593" fmla="*/ 228670 w 2172185"/>
                    <a:gd name="connsiteY1593" fmla="*/ 565750 h 1418833"/>
                    <a:gd name="connsiteX1594" fmla="*/ 229232 w 2172185"/>
                    <a:gd name="connsiteY1594" fmla="*/ 566071 h 1418833"/>
                    <a:gd name="connsiteX1595" fmla="*/ 231883 w 2172185"/>
                    <a:gd name="connsiteY1595" fmla="*/ 563983 h 1418833"/>
                    <a:gd name="connsiteX1596" fmla="*/ 230196 w 2172185"/>
                    <a:gd name="connsiteY1596" fmla="*/ 568240 h 1418833"/>
                    <a:gd name="connsiteX1597" fmla="*/ 230759 w 2172185"/>
                    <a:gd name="connsiteY1597" fmla="*/ 568321 h 1418833"/>
                    <a:gd name="connsiteX1598" fmla="*/ 229313 w 2172185"/>
                    <a:gd name="connsiteY1598" fmla="*/ 569686 h 1418833"/>
                    <a:gd name="connsiteX1599" fmla="*/ 234534 w 2172185"/>
                    <a:gd name="connsiteY1599" fmla="*/ 567437 h 1418833"/>
                    <a:gd name="connsiteX1600" fmla="*/ 233891 w 2172185"/>
                    <a:gd name="connsiteY1600" fmla="*/ 568321 h 1418833"/>
                    <a:gd name="connsiteX1601" fmla="*/ 201519 w 2172185"/>
                    <a:gd name="connsiteY1601" fmla="*/ 406701 h 1418833"/>
                    <a:gd name="connsiteX1602" fmla="*/ 208267 w 2172185"/>
                    <a:gd name="connsiteY1602" fmla="*/ 397383 h 1418833"/>
                    <a:gd name="connsiteX1603" fmla="*/ 201359 w 2172185"/>
                    <a:gd name="connsiteY1603" fmla="*/ 407022 h 1418833"/>
                    <a:gd name="connsiteX1604" fmla="*/ 201519 w 2172185"/>
                    <a:gd name="connsiteY1604" fmla="*/ 406701 h 1418833"/>
                    <a:gd name="connsiteX1605" fmla="*/ 245941 w 2172185"/>
                    <a:gd name="connsiteY1605" fmla="*/ 555548 h 1418833"/>
                    <a:gd name="connsiteX1606" fmla="*/ 241121 w 2172185"/>
                    <a:gd name="connsiteY1606" fmla="*/ 560368 h 1418833"/>
                    <a:gd name="connsiteX1607" fmla="*/ 243129 w 2172185"/>
                    <a:gd name="connsiteY1607" fmla="*/ 557235 h 1418833"/>
                    <a:gd name="connsiteX1608" fmla="*/ 246262 w 2172185"/>
                    <a:gd name="connsiteY1608" fmla="*/ 554986 h 1418833"/>
                    <a:gd name="connsiteX1609" fmla="*/ 245941 w 2172185"/>
                    <a:gd name="connsiteY1609" fmla="*/ 555548 h 1418833"/>
                    <a:gd name="connsiteX1610" fmla="*/ 261444 w 2172185"/>
                    <a:gd name="connsiteY1610" fmla="*/ 539161 h 1418833"/>
                    <a:gd name="connsiteX1611" fmla="*/ 258311 w 2172185"/>
                    <a:gd name="connsiteY1611" fmla="*/ 541812 h 1418833"/>
                    <a:gd name="connsiteX1612" fmla="*/ 263211 w 2172185"/>
                    <a:gd name="connsiteY1612" fmla="*/ 534824 h 1418833"/>
                    <a:gd name="connsiteX1613" fmla="*/ 261444 w 2172185"/>
                    <a:gd name="connsiteY1613" fmla="*/ 539161 h 1418833"/>
                    <a:gd name="connsiteX1614" fmla="*/ 228991 w 2172185"/>
                    <a:gd name="connsiteY1614" fmla="*/ 509681 h 1418833"/>
                    <a:gd name="connsiteX1615" fmla="*/ 224493 w 2172185"/>
                    <a:gd name="connsiteY1615" fmla="*/ 507593 h 1418833"/>
                    <a:gd name="connsiteX1616" fmla="*/ 215014 w 2172185"/>
                    <a:gd name="connsiteY1616" fmla="*/ 513376 h 1418833"/>
                    <a:gd name="connsiteX1617" fmla="*/ 215496 w 2172185"/>
                    <a:gd name="connsiteY1617" fmla="*/ 513858 h 1418833"/>
                    <a:gd name="connsiteX1618" fmla="*/ 195013 w 2172185"/>
                    <a:gd name="connsiteY1618" fmla="*/ 521811 h 1418833"/>
                    <a:gd name="connsiteX1619" fmla="*/ 187863 w 2172185"/>
                    <a:gd name="connsiteY1619" fmla="*/ 507111 h 1418833"/>
                    <a:gd name="connsiteX1620" fmla="*/ 189791 w 2172185"/>
                    <a:gd name="connsiteY1620" fmla="*/ 501166 h 1418833"/>
                    <a:gd name="connsiteX1621" fmla="*/ 189068 w 2172185"/>
                    <a:gd name="connsiteY1621" fmla="*/ 505504 h 1418833"/>
                    <a:gd name="connsiteX1622" fmla="*/ 191559 w 2172185"/>
                    <a:gd name="connsiteY1622" fmla="*/ 511368 h 1418833"/>
                    <a:gd name="connsiteX1623" fmla="*/ 191960 w 2172185"/>
                    <a:gd name="connsiteY1623" fmla="*/ 510966 h 1418833"/>
                    <a:gd name="connsiteX1624" fmla="*/ 193808 w 2172185"/>
                    <a:gd name="connsiteY1624" fmla="*/ 507834 h 1418833"/>
                    <a:gd name="connsiteX1625" fmla="*/ 196941 w 2172185"/>
                    <a:gd name="connsiteY1625" fmla="*/ 503657 h 1418833"/>
                    <a:gd name="connsiteX1626" fmla="*/ 206982 w 2172185"/>
                    <a:gd name="connsiteY1626" fmla="*/ 496668 h 1418833"/>
                    <a:gd name="connsiteX1627" fmla="*/ 212042 w 2172185"/>
                    <a:gd name="connsiteY1627" fmla="*/ 482289 h 1418833"/>
                    <a:gd name="connsiteX1628" fmla="*/ 210837 w 2172185"/>
                    <a:gd name="connsiteY1628" fmla="*/ 508396 h 1418833"/>
                    <a:gd name="connsiteX1629" fmla="*/ 227787 w 2172185"/>
                    <a:gd name="connsiteY1629" fmla="*/ 503094 h 1418833"/>
                    <a:gd name="connsiteX1630" fmla="*/ 229714 w 2172185"/>
                    <a:gd name="connsiteY1630" fmla="*/ 509520 h 1418833"/>
                    <a:gd name="connsiteX1631" fmla="*/ 228991 w 2172185"/>
                    <a:gd name="connsiteY1631" fmla="*/ 509681 h 1418833"/>
                    <a:gd name="connsiteX1632" fmla="*/ 230598 w 2172185"/>
                    <a:gd name="connsiteY1632" fmla="*/ 512011 h 1418833"/>
                    <a:gd name="connsiteX1633" fmla="*/ 227787 w 2172185"/>
                    <a:gd name="connsiteY1633" fmla="*/ 503094 h 1418833"/>
                    <a:gd name="connsiteX1634" fmla="*/ 230678 w 2172185"/>
                    <a:gd name="connsiteY1634" fmla="*/ 512332 h 1418833"/>
                    <a:gd name="connsiteX1635" fmla="*/ 230598 w 2172185"/>
                    <a:gd name="connsiteY1635" fmla="*/ 512011 h 1418833"/>
                    <a:gd name="connsiteX1636" fmla="*/ 291808 w 2172185"/>
                    <a:gd name="connsiteY1636" fmla="*/ 559243 h 1418833"/>
                    <a:gd name="connsiteX1637" fmla="*/ 288032 w 2172185"/>
                    <a:gd name="connsiteY1637" fmla="*/ 556352 h 1418833"/>
                    <a:gd name="connsiteX1638" fmla="*/ 288836 w 2172185"/>
                    <a:gd name="connsiteY1638" fmla="*/ 556191 h 1418833"/>
                    <a:gd name="connsiteX1639" fmla="*/ 289077 w 2172185"/>
                    <a:gd name="connsiteY1639" fmla="*/ 552416 h 1418833"/>
                    <a:gd name="connsiteX1640" fmla="*/ 287229 w 2172185"/>
                    <a:gd name="connsiteY1640" fmla="*/ 553460 h 1418833"/>
                    <a:gd name="connsiteX1641" fmla="*/ 289318 w 2172185"/>
                    <a:gd name="connsiteY1641" fmla="*/ 548640 h 1418833"/>
                    <a:gd name="connsiteX1642" fmla="*/ 290282 w 2172185"/>
                    <a:gd name="connsiteY1642" fmla="*/ 549684 h 1418833"/>
                    <a:gd name="connsiteX1643" fmla="*/ 290683 w 2172185"/>
                    <a:gd name="connsiteY1643" fmla="*/ 549845 h 1418833"/>
                    <a:gd name="connsiteX1644" fmla="*/ 291005 w 2172185"/>
                    <a:gd name="connsiteY1644" fmla="*/ 549443 h 1418833"/>
                    <a:gd name="connsiteX1645" fmla="*/ 296708 w 2172185"/>
                    <a:gd name="connsiteY1645" fmla="*/ 548239 h 1418833"/>
                    <a:gd name="connsiteX1646" fmla="*/ 292129 w 2172185"/>
                    <a:gd name="connsiteY1646" fmla="*/ 559243 h 1418833"/>
                    <a:gd name="connsiteX1647" fmla="*/ 291808 w 2172185"/>
                    <a:gd name="connsiteY1647" fmla="*/ 559243 h 1418833"/>
                    <a:gd name="connsiteX1648" fmla="*/ 288354 w 2172185"/>
                    <a:gd name="connsiteY1648" fmla="*/ 538519 h 1418833"/>
                    <a:gd name="connsiteX1649" fmla="*/ 283213 w 2172185"/>
                    <a:gd name="connsiteY1649" fmla="*/ 545025 h 1418833"/>
                    <a:gd name="connsiteX1650" fmla="*/ 283534 w 2172185"/>
                    <a:gd name="connsiteY1650" fmla="*/ 541893 h 1418833"/>
                    <a:gd name="connsiteX1651" fmla="*/ 288514 w 2172185"/>
                    <a:gd name="connsiteY1651" fmla="*/ 538117 h 1418833"/>
                    <a:gd name="connsiteX1652" fmla="*/ 288354 w 2172185"/>
                    <a:gd name="connsiteY1652" fmla="*/ 538519 h 1418833"/>
                    <a:gd name="connsiteX1653" fmla="*/ 279357 w 2172185"/>
                    <a:gd name="connsiteY1653" fmla="*/ 532093 h 1418833"/>
                    <a:gd name="connsiteX1654" fmla="*/ 272690 w 2172185"/>
                    <a:gd name="connsiteY1654" fmla="*/ 536189 h 1418833"/>
                    <a:gd name="connsiteX1655" fmla="*/ 268352 w 2172185"/>
                    <a:gd name="connsiteY1655" fmla="*/ 541170 h 1418833"/>
                    <a:gd name="connsiteX1656" fmla="*/ 271565 w 2172185"/>
                    <a:gd name="connsiteY1656" fmla="*/ 528478 h 1418833"/>
                    <a:gd name="connsiteX1657" fmla="*/ 281044 w 2172185"/>
                    <a:gd name="connsiteY1657" fmla="*/ 524783 h 1418833"/>
                    <a:gd name="connsiteX1658" fmla="*/ 281365 w 2172185"/>
                    <a:gd name="connsiteY1658" fmla="*/ 526389 h 1418833"/>
                    <a:gd name="connsiteX1659" fmla="*/ 283775 w 2172185"/>
                    <a:gd name="connsiteY1659" fmla="*/ 525265 h 1418833"/>
                    <a:gd name="connsiteX1660" fmla="*/ 279357 w 2172185"/>
                    <a:gd name="connsiteY1660" fmla="*/ 532093 h 1418833"/>
                    <a:gd name="connsiteX1661" fmla="*/ 332052 w 2172185"/>
                    <a:gd name="connsiteY1661" fmla="*/ 534342 h 1418833"/>
                    <a:gd name="connsiteX1662" fmla="*/ 324260 w 2172185"/>
                    <a:gd name="connsiteY1662" fmla="*/ 523980 h 1418833"/>
                    <a:gd name="connsiteX1663" fmla="*/ 332052 w 2172185"/>
                    <a:gd name="connsiteY1663" fmla="*/ 534342 h 1418833"/>
                    <a:gd name="connsiteX1664" fmla="*/ 332052 w 2172185"/>
                    <a:gd name="connsiteY1664" fmla="*/ 534342 h 1418833"/>
                    <a:gd name="connsiteX1665" fmla="*/ 258472 w 2172185"/>
                    <a:gd name="connsiteY1665" fmla="*/ 492973 h 1418833"/>
                    <a:gd name="connsiteX1666" fmla="*/ 255982 w 2172185"/>
                    <a:gd name="connsiteY1666" fmla="*/ 489921 h 1418833"/>
                    <a:gd name="connsiteX1667" fmla="*/ 250600 w 2172185"/>
                    <a:gd name="connsiteY1667" fmla="*/ 481325 h 1418833"/>
                    <a:gd name="connsiteX1668" fmla="*/ 260560 w 2172185"/>
                    <a:gd name="connsiteY1668" fmla="*/ 478433 h 1418833"/>
                    <a:gd name="connsiteX1669" fmla="*/ 258472 w 2172185"/>
                    <a:gd name="connsiteY1669" fmla="*/ 481647 h 1418833"/>
                    <a:gd name="connsiteX1670" fmla="*/ 259918 w 2172185"/>
                    <a:gd name="connsiteY1670" fmla="*/ 481245 h 1418833"/>
                    <a:gd name="connsiteX1671" fmla="*/ 257508 w 2172185"/>
                    <a:gd name="connsiteY1671" fmla="*/ 485904 h 1418833"/>
                    <a:gd name="connsiteX1672" fmla="*/ 258472 w 2172185"/>
                    <a:gd name="connsiteY1672" fmla="*/ 492973 h 1418833"/>
                    <a:gd name="connsiteX1673" fmla="*/ 265782 w 2172185"/>
                    <a:gd name="connsiteY1673" fmla="*/ 473855 h 1418833"/>
                    <a:gd name="connsiteX1674" fmla="*/ 262569 w 2172185"/>
                    <a:gd name="connsiteY1674" fmla="*/ 474979 h 1418833"/>
                    <a:gd name="connsiteX1675" fmla="*/ 265942 w 2172185"/>
                    <a:gd name="connsiteY1675" fmla="*/ 473694 h 1418833"/>
                    <a:gd name="connsiteX1676" fmla="*/ 265782 w 2172185"/>
                    <a:gd name="connsiteY1676" fmla="*/ 473855 h 1418833"/>
                    <a:gd name="connsiteX1677" fmla="*/ 261364 w 2172185"/>
                    <a:gd name="connsiteY1677" fmla="*/ 474016 h 1418833"/>
                    <a:gd name="connsiteX1678" fmla="*/ 260882 w 2172185"/>
                    <a:gd name="connsiteY1678" fmla="*/ 472329 h 1418833"/>
                    <a:gd name="connsiteX1679" fmla="*/ 261926 w 2172185"/>
                    <a:gd name="connsiteY1679" fmla="*/ 470883 h 1418833"/>
                    <a:gd name="connsiteX1680" fmla="*/ 263131 w 2172185"/>
                    <a:gd name="connsiteY1680" fmla="*/ 469598 h 1418833"/>
                    <a:gd name="connsiteX1681" fmla="*/ 261283 w 2172185"/>
                    <a:gd name="connsiteY1681" fmla="*/ 474257 h 1418833"/>
                    <a:gd name="connsiteX1682" fmla="*/ 261364 w 2172185"/>
                    <a:gd name="connsiteY1682" fmla="*/ 474016 h 1418833"/>
                    <a:gd name="connsiteX1683" fmla="*/ 260962 w 2172185"/>
                    <a:gd name="connsiteY1683" fmla="*/ 471043 h 1418833"/>
                    <a:gd name="connsiteX1684" fmla="*/ 259436 w 2172185"/>
                    <a:gd name="connsiteY1684" fmla="*/ 472730 h 1418833"/>
                    <a:gd name="connsiteX1685" fmla="*/ 262328 w 2172185"/>
                    <a:gd name="connsiteY1685" fmla="*/ 468232 h 1418833"/>
                    <a:gd name="connsiteX1686" fmla="*/ 260962 w 2172185"/>
                    <a:gd name="connsiteY1686" fmla="*/ 471043 h 1418833"/>
                    <a:gd name="connsiteX1687" fmla="*/ 267308 w 2172185"/>
                    <a:gd name="connsiteY1687" fmla="*/ 473694 h 1418833"/>
                    <a:gd name="connsiteX1688" fmla="*/ 266505 w 2172185"/>
                    <a:gd name="connsiteY1688" fmla="*/ 474096 h 1418833"/>
                    <a:gd name="connsiteX1689" fmla="*/ 267067 w 2172185"/>
                    <a:gd name="connsiteY1689" fmla="*/ 473132 h 1418833"/>
                    <a:gd name="connsiteX1690" fmla="*/ 267308 w 2172185"/>
                    <a:gd name="connsiteY1690" fmla="*/ 473694 h 1418833"/>
                    <a:gd name="connsiteX1691" fmla="*/ 252126 w 2172185"/>
                    <a:gd name="connsiteY1691" fmla="*/ 459878 h 1418833"/>
                    <a:gd name="connsiteX1692" fmla="*/ 255259 w 2172185"/>
                    <a:gd name="connsiteY1692" fmla="*/ 452889 h 1418833"/>
                    <a:gd name="connsiteX1693" fmla="*/ 253331 w 2172185"/>
                    <a:gd name="connsiteY1693" fmla="*/ 458914 h 1418833"/>
                    <a:gd name="connsiteX1694" fmla="*/ 252126 w 2172185"/>
                    <a:gd name="connsiteY1694" fmla="*/ 459878 h 1418833"/>
                    <a:gd name="connsiteX1695" fmla="*/ 340165 w 2172185"/>
                    <a:gd name="connsiteY1695" fmla="*/ 511770 h 1418833"/>
                    <a:gd name="connsiteX1696" fmla="*/ 334703 w 2172185"/>
                    <a:gd name="connsiteY1696" fmla="*/ 514902 h 1418833"/>
                    <a:gd name="connsiteX1697" fmla="*/ 334060 w 2172185"/>
                    <a:gd name="connsiteY1697" fmla="*/ 514099 h 1418833"/>
                    <a:gd name="connsiteX1698" fmla="*/ 333659 w 2172185"/>
                    <a:gd name="connsiteY1698" fmla="*/ 512171 h 1418833"/>
                    <a:gd name="connsiteX1699" fmla="*/ 335185 w 2172185"/>
                    <a:gd name="connsiteY1699" fmla="*/ 510083 h 1418833"/>
                    <a:gd name="connsiteX1700" fmla="*/ 340808 w 2172185"/>
                    <a:gd name="connsiteY1700" fmla="*/ 511207 h 1418833"/>
                    <a:gd name="connsiteX1701" fmla="*/ 340165 w 2172185"/>
                    <a:gd name="connsiteY1701" fmla="*/ 511770 h 1418833"/>
                    <a:gd name="connsiteX1702" fmla="*/ 244414 w 2172185"/>
                    <a:gd name="connsiteY1702" fmla="*/ 425578 h 1418833"/>
                    <a:gd name="connsiteX1703" fmla="*/ 242647 w 2172185"/>
                    <a:gd name="connsiteY1703" fmla="*/ 427666 h 1418833"/>
                    <a:gd name="connsiteX1704" fmla="*/ 246262 w 2172185"/>
                    <a:gd name="connsiteY1704" fmla="*/ 420597 h 1418833"/>
                    <a:gd name="connsiteX1705" fmla="*/ 246342 w 2172185"/>
                    <a:gd name="connsiteY1705" fmla="*/ 420597 h 1418833"/>
                    <a:gd name="connsiteX1706" fmla="*/ 244414 w 2172185"/>
                    <a:gd name="connsiteY1706" fmla="*/ 425578 h 1418833"/>
                    <a:gd name="connsiteX1707" fmla="*/ 260480 w 2172185"/>
                    <a:gd name="connsiteY1707" fmla="*/ 447025 h 1418833"/>
                    <a:gd name="connsiteX1708" fmla="*/ 258070 w 2172185"/>
                    <a:gd name="connsiteY1708" fmla="*/ 447186 h 1418833"/>
                    <a:gd name="connsiteX1709" fmla="*/ 259436 w 2172185"/>
                    <a:gd name="connsiteY1709" fmla="*/ 432406 h 1418833"/>
                    <a:gd name="connsiteX1710" fmla="*/ 260962 w 2172185"/>
                    <a:gd name="connsiteY1710" fmla="*/ 430799 h 1418833"/>
                    <a:gd name="connsiteX1711" fmla="*/ 262649 w 2172185"/>
                    <a:gd name="connsiteY1711" fmla="*/ 428791 h 1418833"/>
                    <a:gd name="connsiteX1712" fmla="*/ 261846 w 2172185"/>
                    <a:gd name="connsiteY1712" fmla="*/ 430398 h 1418833"/>
                    <a:gd name="connsiteX1713" fmla="*/ 261203 w 2172185"/>
                    <a:gd name="connsiteY1713" fmla="*/ 439716 h 1418833"/>
                    <a:gd name="connsiteX1714" fmla="*/ 260962 w 2172185"/>
                    <a:gd name="connsiteY1714" fmla="*/ 446624 h 1418833"/>
                    <a:gd name="connsiteX1715" fmla="*/ 260480 w 2172185"/>
                    <a:gd name="connsiteY1715" fmla="*/ 447025 h 1418833"/>
                    <a:gd name="connsiteX1716" fmla="*/ 412541 w 2172185"/>
                    <a:gd name="connsiteY1716" fmla="*/ 492571 h 1418833"/>
                    <a:gd name="connsiteX1717" fmla="*/ 408042 w 2172185"/>
                    <a:gd name="connsiteY1717" fmla="*/ 495222 h 1418833"/>
                    <a:gd name="connsiteX1718" fmla="*/ 409890 w 2172185"/>
                    <a:gd name="connsiteY1718" fmla="*/ 493053 h 1418833"/>
                    <a:gd name="connsiteX1719" fmla="*/ 412621 w 2172185"/>
                    <a:gd name="connsiteY1719" fmla="*/ 492411 h 1418833"/>
                    <a:gd name="connsiteX1720" fmla="*/ 412541 w 2172185"/>
                    <a:gd name="connsiteY1720" fmla="*/ 492571 h 1418833"/>
                    <a:gd name="connsiteX1721" fmla="*/ 416557 w 2172185"/>
                    <a:gd name="connsiteY1721" fmla="*/ 495061 h 1418833"/>
                    <a:gd name="connsiteX1722" fmla="*/ 412701 w 2172185"/>
                    <a:gd name="connsiteY1722" fmla="*/ 493937 h 1418833"/>
                    <a:gd name="connsiteX1723" fmla="*/ 413264 w 2172185"/>
                    <a:gd name="connsiteY1723" fmla="*/ 492571 h 1418833"/>
                    <a:gd name="connsiteX1724" fmla="*/ 415513 w 2172185"/>
                    <a:gd name="connsiteY1724" fmla="*/ 491366 h 1418833"/>
                    <a:gd name="connsiteX1725" fmla="*/ 417521 w 2172185"/>
                    <a:gd name="connsiteY1725" fmla="*/ 492491 h 1418833"/>
                    <a:gd name="connsiteX1726" fmla="*/ 417923 w 2172185"/>
                    <a:gd name="connsiteY1726" fmla="*/ 494820 h 1418833"/>
                    <a:gd name="connsiteX1727" fmla="*/ 416557 w 2172185"/>
                    <a:gd name="connsiteY1727" fmla="*/ 495061 h 1418833"/>
                    <a:gd name="connsiteX1728" fmla="*/ 268995 w 2172185"/>
                    <a:gd name="connsiteY1728" fmla="*/ 400194 h 1418833"/>
                    <a:gd name="connsiteX1729" fmla="*/ 259837 w 2172185"/>
                    <a:gd name="connsiteY1729" fmla="*/ 409271 h 1418833"/>
                    <a:gd name="connsiteX1730" fmla="*/ 255259 w 2172185"/>
                    <a:gd name="connsiteY1730" fmla="*/ 412243 h 1418833"/>
                    <a:gd name="connsiteX1731" fmla="*/ 250760 w 2172185"/>
                    <a:gd name="connsiteY1731" fmla="*/ 411761 h 1418833"/>
                    <a:gd name="connsiteX1732" fmla="*/ 247869 w 2172185"/>
                    <a:gd name="connsiteY1732" fmla="*/ 411119 h 1418833"/>
                    <a:gd name="connsiteX1733" fmla="*/ 237667 w 2172185"/>
                    <a:gd name="connsiteY1733" fmla="*/ 416099 h 1418833"/>
                    <a:gd name="connsiteX1734" fmla="*/ 251242 w 2172185"/>
                    <a:gd name="connsiteY1734" fmla="*/ 404933 h 1418833"/>
                    <a:gd name="connsiteX1735" fmla="*/ 241282 w 2172185"/>
                    <a:gd name="connsiteY1735" fmla="*/ 406058 h 1418833"/>
                    <a:gd name="connsiteX1736" fmla="*/ 256865 w 2172185"/>
                    <a:gd name="connsiteY1736" fmla="*/ 387824 h 1418833"/>
                    <a:gd name="connsiteX1737" fmla="*/ 259355 w 2172185"/>
                    <a:gd name="connsiteY1737" fmla="*/ 390474 h 1418833"/>
                    <a:gd name="connsiteX1738" fmla="*/ 261524 w 2172185"/>
                    <a:gd name="connsiteY1738" fmla="*/ 380353 h 1418833"/>
                    <a:gd name="connsiteX1739" fmla="*/ 257909 w 2172185"/>
                    <a:gd name="connsiteY1739" fmla="*/ 383968 h 1418833"/>
                    <a:gd name="connsiteX1740" fmla="*/ 257347 w 2172185"/>
                    <a:gd name="connsiteY1740" fmla="*/ 377140 h 1418833"/>
                    <a:gd name="connsiteX1741" fmla="*/ 255580 w 2172185"/>
                    <a:gd name="connsiteY1741" fmla="*/ 378746 h 1418833"/>
                    <a:gd name="connsiteX1742" fmla="*/ 261123 w 2172185"/>
                    <a:gd name="connsiteY1742" fmla="*/ 371597 h 1418833"/>
                    <a:gd name="connsiteX1743" fmla="*/ 269798 w 2172185"/>
                    <a:gd name="connsiteY1743" fmla="*/ 375132 h 1418833"/>
                    <a:gd name="connsiteX1744" fmla="*/ 277028 w 2172185"/>
                    <a:gd name="connsiteY1744" fmla="*/ 383245 h 1418833"/>
                    <a:gd name="connsiteX1745" fmla="*/ 269718 w 2172185"/>
                    <a:gd name="connsiteY1745" fmla="*/ 398587 h 1418833"/>
                    <a:gd name="connsiteX1746" fmla="*/ 271244 w 2172185"/>
                    <a:gd name="connsiteY1746" fmla="*/ 398587 h 1418833"/>
                    <a:gd name="connsiteX1747" fmla="*/ 268995 w 2172185"/>
                    <a:gd name="connsiteY1747" fmla="*/ 400194 h 1418833"/>
                    <a:gd name="connsiteX1748" fmla="*/ 370851 w 2172185"/>
                    <a:gd name="connsiteY1748" fmla="*/ 460280 h 1418833"/>
                    <a:gd name="connsiteX1749" fmla="*/ 361372 w 2172185"/>
                    <a:gd name="connsiteY1749" fmla="*/ 473453 h 1418833"/>
                    <a:gd name="connsiteX1750" fmla="*/ 366754 w 2172185"/>
                    <a:gd name="connsiteY1750" fmla="*/ 463734 h 1418833"/>
                    <a:gd name="connsiteX1751" fmla="*/ 370610 w 2172185"/>
                    <a:gd name="connsiteY1751" fmla="*/ 460360 h 1418833"/>
                    <a:gd name="connsiteX1752" fmla="*/ 371172 w 2172185"/>
                    <a:gd name="connsiteY1752" fmla="*/ 459958 h 1418833"/>
                    <a:gd name="connsiteX1753" fmla="*/ 370851 w 2172185"/>
                    <a:gd name="connsiteY1753" fmla="*/ 460280 h 1418833"/>
                    <a:gd name="connsiteX1754" fmla="*/ 281124 w 2172185"/>
                    <a:gd name="connsiteY1754" fmla="*/ 347178 h 1418833"/>
                    <a:gd name="connsiteX1755" fmla="*/ 277269 w 2172185"/>
                    <a:gd name="connsiteY1755" fmla="*/ 349829 h 1418833"/>
                    <a:gd name="connsiteX1756" fmla="*/ 277269 w 2172185"/>
                    <a:gd name="connsiteY1756" fmla="*/ 349829 h 1418833"/>
                    <a:gd name="connsiteX1757" fmla="*/ 280241 w 2172185"/>
                    <a:gd name="connsiteY1757" fmla="*/ 347017 h 1418833"/>
                    <a:gd name="connsiteX1758" fmla="*/ 281285 w 2172185"/>
                    <a:gd name="connsiteY1758" fmla="*/ 347017 h 1418833"/>
                    <a:gd name="connsiteX1759" fmla="*/ 281124 w 2172185"/>
                    <a:gd name="connsiteY1759" fmla="*/ 347178 h 1418833"/>
                    <a:gd name="connsiteX1760" fmla="*/ 357677 w 2172185"/>
                    <a:gd name="connsiteY1760" fmla="*/ 449998 h 1418833"/>
                    <a:gd name="connsiteX1761" fmla="*/ 354865 w 2172185"/>
                    <a:gd name="connsiteY1761" fmla="*/ 452006 h 1418833"/>
                    <a:gd name="connsiteX1762" fmla="*/ 357034 w 2172185"/>
                    <a:gd name="connsiteY1762" fmla="*/ 447989 h 1418833"/>
                    <a:gd name="connsiteX1763" fmla="*/ 358480 w 2172185"/>
                    <a:gd name="connsiteY1763" fmla="*/ 446383 h 1418833"/>
                    <a:gd name="connsiteX1764" fmla="*/ 357677 w 2172185"/>
                    <a:gd name="connsiteY1764" fmla="*/ 449998 h 1418833"/>
                    <a:gd name="connsiteX1765" fmla="*/ 282088 w 2172185"/>
                    <a:gd name="connsiteY1765" fmla="*/ 344205 h 1418833"/>
                    <a:gd name="connsiteX1766" fmla="*/ 286667 w 2172185"/>
                    <a:gd name="connsiteY1766" fmla="*/ 337619 h 1418833"/>
                    <a:gd name="connsiteX1767" fmla="*/ 286828 w 2172185"/>
                    <a:gd name="connsiteY1767" fmla="*/ 337538 h 1418833"/>
                    <a:gd name="connsiteX1768" fmla="*/ 284096 w 2172185"/>
                    <a:gd name="connsiteY1768" fmla="*/ 341394 h 1418833"/>
                    <a:gd name="connsiteX1769" fmla="*/ 282088 w 2172185"/>
                    <a:gd name="connsiteY1769" fmla="*/ 344205 h 1418833"/>
                    <a:gd name="connsiteX1770" fmla="*/ 305223 w 2172185"/>
                    <a:gd name="connsiteY1770" fmla="*/ 350391 h 1418833"/>
                    <a:gd name="connsiteX1771" fmla="*/ 304259 w 2172185"/>
                    <a:gd name="connsiteY1771" fmla="*/ 351274 h 1418833"/>
                    <a:gd name="connsiteX1772" fmla="*/ 309882 w 2172185"/>
                    <a:gd name="connsiteY1772" fmla="*/ 344366 h 1418833"/>
                    <a:gd name="connsiteX1773" fmla="*/ 313657 w 2172185"/>
                    <a:gd name="connsiteY1773" fmla="*/ 341394 h 1418833"/>
                    <a:gd name="connsiteX1774" fmla="*/ 305223 w 2172185"/>
                    <a:gd name="connsiteY1774" fmla="*/ 350391 h 1418833"/>
                    <a:gd name="connsiteX1775" fmla="*/ 424992 w 2172185"/>
                    <a:gd name="connsiteY1775" fmla="*/ 413448 h 1418833"/>
                    <a:gd name="connsiteX1776" fmla="*/ 420413 w 2172185"/>
                    <a:gd name="connsiteY1776" fmla="*/ 416099 h 1418833"/>
                    <a:gd name="connsiteX1777" fmla="*/ 424108 w 2172185"/>
                    <a:gd name="connsiteY1777" fmla="*/ 412002 h 1418833"/>
                    <a:gd name="connsiteX1778" fmla="*/ 425313 w 2172185"/>
                    <a:gd name="connsiteY1778" fmla="*/ 413207 h 1418833"/>
                    <a:gd name="connsiteX1779" fmla="*/ 424992 w 2172185"/>
                    <a:gd name="connsiteY1779" fmla="*/ 413448 h 1418833"/>
                    <a:gd name="connsiteX1780" fmla="*/ 430052 w 2172185"/>
                    <a:gd name="connsiteY1780" fmla="*/ 167404 h 1418833"/>
                    <a:gd name="connsiteX1781" fmla="*/ 431016 w 2172185"/>
                    <a:gd name="connsiteY1781" fmla="*/ 166681 h 1418833"/>
                    <a:gd name="connsiteX1782" fmla="*/ 438487 w 2172185"/>
                    <a:gd name="connsiteY1782" fmla="*/ 160817 h 1418833"/>
                    <a:gd name="connsiteX1783" fmla="*/ 429972 w 2172185"/>
                    <a:gd name="connsiteY1783" fmla="*/ 167404 h 1418833"/>
                    <a:gd name="connsiteX1784" fmla="*/ 430052 w 2172185"/>
                    <a:gd name="connsiteY1784" fmla="*/ 167404 h 1418833"/>
                    <a:gd name="connsiteX1785" fmla="*/ 723571 w 2172185"/>
                    <a:gd name="connsiteY1785" fmla="*/ 829547 h 1418833"/>
                    <a:gd name="connsiteX1786" fmla="*/ 717145 w 2172185"/>
                    <a:gd name="connsiteY1786" fmla="*/ 827941 h 1418833"/>
                    <a:gd name="connsiteX1787" fmla="*/ 721723 w 2172185"/>
                    <a:gd name="connsiteY1787" fmla="*/ 812598 h 1418833"/>
                    <a:gd name="connsiteX1788" fmla="*/ 699231 w 2172185"/>
                    <a:gd name="connsiteY1788" fmla="*/ 808903 h 1418833"/>
                    <a:gd name="connsiteX1789" fmla="*/ 696822 w 2172185"/>
                    <a:gd name="connsiteY1789" fmla="*/ 802557 h 1418833"/>
                    <a:gd name="connsiteX1790" fmla="*/ 655694 w 2172185"/>
                    <a:gd name="connsiteY1790" fmla="*/ 813321 h 1418833"/>
                    <a:gd name="connsiteX1791" fmla="*/ 654890 w 2172185"/>
                    <a:gd name="connsiteY1791" fmla="*/ 813000 h 1418833"/>
                    <a:gd name="connsiteX1792" fmla="*/ 658344 w 2172185"/>
                    <a:gd name="connsiteY1792" fmla="*/ 810670 h 1418833"/>
                    <a:gd name="connsiteX1793" fmla="*/ 693207 w 2172185"/>
                    <a:gd name="connsiteY1793" fmla="*/ 789624 h 1418833"/>
                    <a:gd name="connsiteX1794" fmla="*/ 669028 w 2172185"/>
                    <a:gd name="connsiteY1794" fmla="*/ 786090 h 1418833"/>
                    <a:gd name="connsiteX1795" fmla="*/ 671518 w 2172185"/>
                    <a:gd name="connsiteY1795" fmla="*/ 780065 h 1418833"/>
                    <a:gd name="connsiteX1796" fmla="*/ 657782 w 2172185"/>
                    <a:gd name="connsiteY1796" fmla="*/ 779583 h 1418833"/>
                    <a:gd name="connsiteX1797" fmla="*/ 660995 w 2172185"/>
                    <a:gd name="connsiteY1797" fmla="*/ 772836 h 1418833"/>
                    <a:gd name="connsiteX1798" fmla="*/ 658907 w 2172185"/>
                    <a:gd name="connsiteY1798" fmla="*/ 767132 h 1418833"/>
                    <a:gd name="connsiteX1799" fmla="*/ 657381 w 2172185"/>
                    <a:gd name="connsiteY1799" fmla="*/ 768659 h 1418833"/>
                    <a:gd name="connsiteX1800" fmla="*/ 635772 w 2172185"/>
                    <a:gd name="connsiteY1800" fmla="*/ 746649 h 1418833"/>
                    <a:gd name="connsiteX1801" fmla="*/ 648303 w 2172185"/>
                    <a:gd name="connsiteY1801" fmla="*/ 746006 h 1418833"/>
                    <a:gd name="connsiteX1802" fmla="*/ 641797 w 2172185"/>
                    <a:gd name="connsiteY1802" fmla="*/ 734760 h 1418833"/>
                    <a:gd name="connsiteX1803" fmla="*/ 635531 w 2172185"/>
                    <a:gd name="connsiteY1803" fmla="*/ 733636 h 1418833"/>
                    <a:gd name="connsiteX1804" fmla="*/ 641636 w 2172185"/>
                    <a:gd name="connsiteY1804" fmla="*/ 728896 h 1418833"/>
                    <a:gd name="connsiteX1805" fmla="*/ 636736 w 2172185"/>
                    <a:gd name="connsiteY1805" fmla="*/ 723032 h 1418833"/>
                    <a:gd name="connsiteX1806" fmla="*/ 629828 w 2172185"/>
                    <a:gd name="connsiteY1806" fmla="*/ 722711 h 1418833"/>
                    <a:gd name="connsiteX1807" fmla="*/ 635371 w 2172185"/>
                    <a:gd name="connsiteY1807" fmla="*/ 717409 h 1418833"/>
                    <a:gd name="connsiteX1808" fmla="*/ 629667 w 2172185"/>
                    <a:gd name="connsiteY1808" fmla="*/ 714518 h 1418833"/>
                    <a:gd name="connsiteX1809" fmla="*/ 633282 w 2172185"/>
                    <a:gd name="connsiteY1809" fmla="*/ 708493 h 1418833"/>
                    <a:gd name="connsiteX1810" fmla="*/ 630792 w 2172185"/>
                    <a:gd name="connsiteY1810" fmla="*/ 702468 h 1418833"/>
                    <a:gd name="connsiteX1811" fmla="*/ 623321 w 2172185"/>
                    <a:gd name="connsiteY1811" fmla="*/ 701424 h 1418833"/>
                    <a:gd name="connsiteX1812" fmla="*/ 624687 w 2172185"/>
                    <a:gd name="connsiteY1812" fmla="*/ 687768 h 1418833"/>
                    <a:gd name="connsiteX1813" fmla="*/ 620671 w 2172185"/>
                    <a:gd name="connsiteY1813" fmla="*/ 686965 h 1418833"/>
                    <a:gd name="connsiteX1814" fmla="*/ 616172 w 2172185"/>
                    <a:gd name="connsiteY1814" fmla="*/ 675398 h 1418833"/>
                    <a:gd name="connsiteX1815" fmla="*/ 609585 w 2172185"/>
                    <a:gd name="connsiteY1815" fmla="*/ 686162 h 1418833"/>
                    <a:gd name="connsiteX1816" fmla="*/ 601312 w 2172185"/>
                    <a:gd name="connsiteY1816" fmla="*/ 694195 h 1418833"/>
                    <a:gd name="connsiteX1817" fmla="*/ 599303 w 2172185"/>
                    <a:gd name="connsiteY1817" fmla="*/ 701103 h 1418833"/>
                    <a:gd name="connsiteX1818" fmla="*/ 590387 w 2172185"/>
                    <a:gd name="connsiteY1818" fmla="*/ 711305 h 1418833"/>
                    <a:gd name="connsiteX1819" fmla="*/ 585085 w 2172185"/>
                    <a:gd name="connsiteY1819" fmla="*/ 707770 h 1418833"/>
                    <a:gd name="connsiteX1820" fmla="*/ 565485 w 2172185"/>
                    <a:gd name="connsiteY1820" fmla="*/ 720140 h 1418833"/>
                    <a:gd name="connsiteX1821" fmla="*/ 566449 w 2172185"/>
                    <a:gd name="connsiteY1821" fmla="*/ 713875 h 1418833"/>
                    <a:gd name="connsiteX1822" fmla="*/ 546689 w 2172185"/>
                    <a:gd name="connsiteY1822" fmla="*/ 720623 h 1418833"/>
                    <a:gd name="connsiteX1823" fmla="*/ 557774 w 2172185"/>
                    <a:gd name="connsiteY1823" fmla="*/ 709376 h 1418833"/>
                    <a:gd name="connsiteX1824" fmla="*/ 555766 w 2172185"/>
                    <a:gd name="connsiteY1824" fmla="*/ 703111 h 1418833"/>
                    <a:gd name="connsiteX1825" fmla="*/ 541387 w 2172185"/>
                    <a:gd name="connsiteY1825" fmla="*/ 701264 h 1418833"/>
                    <a:gd name="connsiteX1826" fmla="*/ 548857 w 2172185"/>
                    <a:gd name="connsiteY1826" fmla="*/ 690098 h 1418833"/>
                    <a:gd name="connsiteX1827" fmla="*/ 537692 w 2172185"/>
                    <a:gd name="connsiteY1827" fmla="*/ 675398 h 1418833"/>
                    <a:gd name="connsiteX1828" fmla="*/ 555203 w 2172185"/>
                    <a:gd name="connsiteY1828" fmla="*/ 658770 h 1418833"/>
                    <a:gd name="connsiteX1829" fmla="*/ 519698 w 2172185"/>
                    <a:gd name="connsiteY1829" fmla="*/ 621899 h 1418833"/>
                    <a:gd name="connsiteX1830" fmla="*/ 504034 w 2172185"/>
                    <a:gd name="connsiteY1830" fmla="*/ 625273 h 1418833"/>
                    <a:gd name="connsiteX1831" fmla="*/ 498974 w 2172185"/>
                    <a:gd name="connsiteY1831" fmla="*/ 620614 h 1418833"/>
                    <a:gd name="connsiteX1832" fmla="*/ 490941 w 2172185"/>
                    <a:gd name="connsiteY1832" fmla="*/ 621739 h 1418833"/>
                    <a:gd name="connsiteX1833" fmla="*/ 492949 w 2172185"/>
                    <a:gd name="connsiteY1833" fmla="*/ 620695 h 1418833"/>
                    <a:gd name="connsiteX1834" fmla="*/ 456079 w 2172185"/>
                    <a:gd name="connsiteY1834" fmla="*/ 643508 h 1418833"/>
                    <a:gd name="connsiteX1835" fmla="*/ 458890 w 2172185"/>
                    <a:gd name="connsiteY1835" fmla="*/ 648408 h 1418833"/>
                    <a:gd name="connsiteX1836" fmla="*/ 393664 w 2172185"/>
                    <a:gd name="connsiteY1836" fmla="*/ 776852 h 1418833"/>
                    <a:gd name="connsiteX1837" fmla="*/ 383060 w 2172185"/>
                    <a:gd name="connsiteY1837" fmla="*/ 829306 h 1418833"/>
                    <a:gd name="connsiteX1838" fmla="*/ 378803 w 2172185"/>
                    <a:gd name="connsiteY1838" fmla="*/ 823924 h 1418833"/>
                    <a:gd name="connsiteX1839" fmla="*/ 374867 w 2172185"/>
                    <a:gd name="connsiteY1839" fmla="*/ 830431 h 1418833"/>
                    <a:gd name="connsiteX1840" fmla="*/ 362336 w 2172185"/>
                    <a:gd name="connsiteY1840" fmla="*/ 824728 h 1418833"/>
                    <a:gd name="connsiteX1841" fmla="*/ 351411 w 2172185"/>
                    <a:gd name="connsiteY1841" fmla="*/ 804244 h 1418833"/>
                    <a:gd name="connsiteX1842" fmla="*/ 328598 w 2172185"/>
                    <a:gd name="connsiteY1842" fmla="*/ 743195 h 1418833"/>
                    <a:gd name="connsiteX1843" fmla="*/ 274296 w 2172185"/>
                    <a:gd name="connsiteY1843" fmla="*/ 684796 h 1418833"/>
                    <a:gd name="connsiteX1844" fmla="*/ 281205 w 2172185"/>
                    <a:gd name="connsiteY1844" fmla="*/ 656601 h 1418833"/>
                    <a:gd name="connsiteX1845" fmla="*/ 275983 w 2172185"/>
                    <a:gd name="connsiteY1845" fmla="*/ 652103 h 1418833"/>
                    <a:gd name="connsiteX1846" fmla="*/ 268432 w 2172185"/>
                    <a:gd name="connsiteY1846" fmla="*/ 654031 h 1418833"/>
                    <a:gd name="connsiteX1847" fmla="*/ 339442 w 2172185"/>
                    <a:gd name="connsiteY1847" fmla="*/ 535627 h 1418833"/>
                    <a:gd name="connsiteX1848" fmla="*/ 399929 w 2172185"/>
                    <a:gd name="connsiteY1848" fmla="*/ 533860 h 1418833"/>
                    <a:gd name="connsiteX1849" fmla="*/ 382900 w 2172185"/>
                    <a:gd name="connsiteY1849" fmla="*/ 505343 h 1418833"/>
                    <a:gd name="connsiteX1850" fmla="*/ 392941 w 2172185"/>
                    <a:gd name="connsiteY1850" fmla="*/ 505906 h 1418833"/>
                    <a:gd name="connsiteX1851" fmla="*/ 414951 w 2172185"/>
                    <a:gd name="connsiteY1851" fmla="*/ 522453 h 1418833"/>
                    <a:gd name="connsiteX1852" fmla="*/ 426679 w 2172185"/>
                    <a:gd name="connsiteY1852" fmla="*/ 502211 h 1418833"/>
                    <a:gd name="connsiteX1853" fmla="*/ 438728 w 2172185"/>
                    <a:gd name="connsiteY1853" fmla="*/ 509601 h 1418833"/>
                    <a:gd name="connsiteX1854" fmla="*/ 443226 w 2172185"/>
                    <a:gd name="connsiteY1854" fmla="*/ 513617 h 1418833"/>
                    <a:gd name="connsiteX1855" fmla="*/ 443226 w 2172185"/>
                    <a:gd name="connsiteY1855" fmla="*/ 513617 h 1418833"/>
                    <a:gd name="connsiteX1856" fmla="*/ 443226 w 2172185"/>
                    <a:gd name="connsiteY1856" fmla="*/ 513617 h 1418833"/>
                    <a:gd name="connsiteX1857" fmla="*/ 443226 w 2172185"/>
                    <a:gd name="connsiteY1857" fmla="*/ 513617 h 1418833"/>
                    <a:gd name="connsiteX1858" fmla="*/ 443226 w 2172185"/>
                    <a:gd name="connsiteY1858" fmla="*/ 513617 h 1418833"/>
                    <a:gd name="connsiteX1859" fmla="*/ 443226 w 2172185"/>
                    <a:gd name="connsiteY1859" fmla="*/ 513617 h 1418833"/>
                    <a:gd name="connsiteX1860" fmla="*/ 443226 w 2172185"/>
                    <a:gd name="connsiteY1860" fmla="*/ 513617 h 1418833"/>
                    <a:gd name="connsiteX1861" fmla="*/ 443226 w 2172185"/>
                    <a:gd name="connsiteY1861" fmla="*/ 513617 h 1418833"/>
                    <a:gd name="connsiteX1862" fmla="*/ 454552 w 2172185"/>
                    <a:gd name="connsiteY1862" fmla="*/ 496106 h 1418833"/>
                    <a:gd name="connsiteX1863" fmla="*/ 512228 w 2172185"/>
                    <a:gd name="connsiteY1863" fmla="*/ 440679 h 1418833"/>
                    <a:gd name="connsiteX1864" fmla="*/ 507649 w 2172185"/>
                    <a:gd name="connsiteY1864" fmla="*/ 434414 h 1418833"/>
                    <a:gd name="connsiteX1865" fmla="*/ 432543 w 2172185"/>
                    <a:gd name="connsiteY1865" fmla="*/ 483012 h 1418833"/>
                    <a:gd name="connsiteX1866" fmla="*/ 439772 w 2172185"/>
                    <a:gd name="connsiteY1866" fmla="*/ 444294 h 1418833"/>
                    <a:gd name="connsiteX1867" fmla="*/ 432944 w 2172185"/>
                    <a:gd name="connsiteY1867" fmla="*/ 444856 h 1418833"/>
                    <a:gd name="connsiteX1868" fmla="*/ 444511 w 2172185"/>
                    <a:gd name="connsiteY1868" fmla="*/ 419714 h 1418833"/>
                    <a:gd name="connsiteX1869" fmla="*/ 437844 w 2172185"/>
                    <a:gd name="connsiteY1869" fmla="*/ 408950 h 1418833"/>
                    <a:gd name="connsiteX1870" fmla="*/ 473751 w 2172185"/>
                    <a:gd name="connsiteY1870" fmla="*/ 341876 h 1418833"/>
                    <a:gd name="connsiteX1871" fmla="*/ 465638 w 2172185"/>
                    <a:gd name="connsiteY1871" fmla="*/ 345491 h 1418833"/>
                    <a:gd name="connsiteX1872" fmla="*/ 423465 w 2172185"/>
                    <a:gd name="connsiteY1872" fmla="*/ 411520 h 1418833"/>
                    <a:gd name="connsiteX1873" fmla="*/ 410934 w 2172185"/>
                    <a:gd name="connsiteY1873" fmla="*/ 431924 h 1418833"/>
                    <a:gd name="connsiteX1874" fmla="*/ 372859 w 2172185"/>
                    <a:gd name="connsiteY1874" fmla="*/ 457709 h 1418833"/>
                    <a:gd name="connsiteX1875" fmla="*/ 383542 w 2172185"/>
                    <a:gd name="connsiteY1875" fmla="*/ 424855 h 1418833"/>
                    <a:gd name="connsiteX1876" fmla="*/ 371092 w 2172185"/>
                    <a:gd name="connsiteY1876" fmla="*/ 429353 h 1418833"/>
                    <a:gd name="connsiteX1877" fmla="*/ 333900 w 2172185"/>
                    <a:gd name="connsiteY1877" fmla="*/ 400355 h 1418833"/>
                    <a:gd name="connsiteX1878" fmla="*/ 306829 w 2172185"/>
                    <a:gd name="connsiteY1878" fmla="*/ 429755 h 1418833"/>
                    <a:gd name="connsiteX1879" fmla="*/ 307070 w 2172185"/>
                    <a:gd name="connsiteY1879" fmla="*/ 427345 h 1418833"/>
                    <a:gd name="connsiteX1880" fmla="*/ 297752 w 2172185"/>
                    <a:gd name="connsiteY1880" fmla="*/ 440117 h 1418833"/>
                    <a:gd name="connsiteX1881" fmla="*/ 311970 w 2172185"/>
                    <a:gd name="connsiteY1881" fmla="*/ 413689 h 1418833"/>
                    <a:gd name="connsiteX1882" fmla="*/ 303214 w 2172185"/>
                    <a:gd name="connsiteY1882" fmla="*/ 377943 h 1418833"/>
                    <a:gd name="connsiteX1883" fmla="*/ 339041 w 2172185"/>
                    <a:gd name="connsiteY1883" fmla="*/ 294322 h 1418833"/>
                    <a:gd name="connsiteX1884" fmla="*/ 332855 w 2172185"/>
                    <a:gd name="connsiteY1884" fmla="*/ 295768 h 1418833"/>
                    <a:gd name="connsiteX1885" fmla="*/ 343780 w 2172185"/>
                    <a:gd name="connsiteY1885" fmla="*/ 279702 h 1418833"/>
                    <a:gd name="connsiteX1886" fmla="*/ 323377 w 2172185"/>
                    <a:gd name="connsiteY1886" fmla="*/ 282996 h 1418833"/>
                    <a:gd name="connsiteX1887" fmla="*/ 345547 w 2172185"/>
                    <a:gd name="connsiteY1887" fmla="*/ 269179 h 1418833"/>
                    <a:gd name="connsiteX1888" fmla="*/ 331008 w 2172185"/>
                    <a:gd name="connsiteY1888" fmla="*/ 271669 h 1418833"/>
                    <a:gd name="connsiteX1889" fmla="*/ 336069 w 2172185"/>
                    <a:gd name="connsiteY1889" fmla="*/ 267171 h 1418833"/>
                    <a:gd name="connsiteX1890" fmla="*/ 335426 w 2172185"/>
                    <a:gd name="connsiteY1890" fmla="*/ 264118 h 1418833"/>
                    <a:gd name="connsiteX1891" fmla="*/ 330446 w 2172185"/>
                    <a:gd name="connsiteY1891" fmla="*/ 268376 h 1418833"/>
                    <a:gd name="connsiteX1892" fmla="*/ 441138 w 2172185"/>
                    <a:gd name="connsiteY1892" fmla="*/ 158407 h 1418833"/>
                    <a:gd name="connsiteX1893" fmla="*/ 388442 w 2172185"/>
                    <a:gd name="connsiteY1893" fmla="*/ 201463 h 1418833"/>
                    <a:gd name="connsiteX1894" fmla="*/ 237828 w 2172185"/>
                    <a:gd name="connsiteY1894" fmla="*/ 356978 h 1418833"/>
                    <a:gd name="connsiteX1895" fmla="*/ 195093 w 2172185"/>
                    <a:gd name="connsiteY1895" fmla="*/ 412886 h 1418833"/>
                    <a:gd name="connsiteX1896" fmla="*/ 194370 w 2172185"/>
                    <a:gd name="connsiteY1896" fmla="*/ 413930 h 1418833"/>
                    <a:gd name="connsiteX1897" fmla="*/ 180634 w 2172185"/>
                    <a:gd name="connsiteY1897" fmla="*/ 433611 h 1418833"/>
                    <a:gd name="connsiteX1898" fmla="*/ 167460 w 2172185"/>
                    <a:gd name="connsiteY1898" fmla="*/ 453532 h 1418833"/>
                    <a:gd name="connsiteX1899" fmla="*/ 171557 w 2172185"/>
                    <a:gd name="connsiteY1899" fmla="*/ 447748 h 1418833"/>
                    <a:gd name="connsiteX1900" fmla="*/ 169067 w 2172185"/>
                    <a:gd name="connsiteY1900" fmla="*/ 452407 h 1418833"/>
                    <a:gd name="connsiteX1901" fmla="*/ 164649 w 2172185"/>
                    <a:gd name="connsiteY1901" fmla="*/ 459155 h 1418833"/>
                    <a:gd name="connsiteX1902" fmla="*/ 171477 w 2172185"/>
                    <a:gd name="connsiteY1902" fmla="*/ 449516 h 1418833"/>
                    <a:gd name="connsiteX1903" fmla="*/ 172842 w 2172185"/>
                    <a:gd name="connsiteY1903" fmla="*/ 447427 h 1418833"/>
                    <a:gd name="connsiteX1904" fmla="*/ 116854 w 2172185"/>
                    <a:gd name="connsiteY1904" fmla="*/ 544383 h 1418833"/>
                    <a:gd name="connsiteX1905" fmla="*/ 122396 w 2172185"/>
                    <a:gd name="connsiteY1905" fmla="*/ 536671 h 1418833"/>
                    <a:gd name="connsiteX1906" fmla="*/ 86731 w 2172185"/>
                    <a:gd name="connsiteY1906" fmla="*/ 607360 h 1418833"/>
                    <a:gd name="connsiteX1907" fmla="*/ 87213 w 2172185"/>
                    <a:gd name="connsiteY1907" fmla="*/ 608083 h 1418833"/>
                    <a:gd name="connsiteX1908" fmla="*/ 53876 w 2172185"/>
                    <a:gd name="connsiteY1908" fmla="*/ 707449 h 1418833"/>
                    <a:gd name="connsiteX1909" fmla="*/ 53234 w 2172185"/>
                    <a:gd name="connsiteY1909" fmla="*/ 707368 h 1418833"/>
                    <a:gd name="connsiteX1910" fmla="*/ 56206 w 2172185"/>
                    <a:gd name="connsiteY1910" fmla="*/ 701183 h 1418833"/>
                    <a:gd name="connsiteX1911" fmla="*/ 53796 w 2172185"/>
                    <a:gd name="connsiteY1911" fmla="*/ 704637 h 1418833"/>
                    <a:gd name="connsiteX1912" fmla="*/ 55885 w 2172185"/>
                    <a:gd name="connsiteY1912" fmla="*/ 700541 h 1418833"/>
                    <a:gd name="connsiteX1913" fmla="*/ 59580 w 2172185"/>
                    <a:gd name="connsiteY1913" fmla="*/ 680057 h 1418833"/>
                    <a:gd name="connsiteX1914" fmla="*/ 50503 w 2172185"/>
                    <a:gd name="connsiteY1914" fmla="*/ 704396 h 1418833"/>
                    <a:gd name="connsiteX1915" fmla="*/ 50985 w 2172185"/>
                    <a:gd name="connsiteY1915" fmla="*/ 703352 h 1418833"/>
                    <a:gd name="connsiteX1916" fmla="*/ 30581 w 2172185"/>
                    <a:gd name="connsiteY1916" fmla="*/ 754682 h 1418833"/>
                    <a:gd name="connsiteX1917" fmla="*/ 17889 w 2172185"/>
                    <a:gd name="connsiteY1917" fmla="*/ 791472 h 1418833"/>
                    <a:gd name="connsiteX1918" fmla="*/ 17568 w 2172185"/>
                    <a:gd name="connsiteY1918" fmla="*/ 792355 h 1418833"/>
                    <a:gd name="connsiteX1919" fmla="*/ 17568 w 2172185"/>
                    <a:gd name="connsiteY1919" fmla="*/ 792114 h 1418833"/>
                    <a:gd name="connsiteX1920" fmla="*/ 7367 w 2172185"/>
                    <a:gd name="connsiteY1920" fmla="*/ 835090 h 1418833"/>
                    <a:gd name="connsiteX1921" fmla="*/ 7688 w 2172185"/>
                    <a:gd name="connsiteY1921" fmla="*/ 833162 h 1418833"/>
                    <a:gd name="connsiteX1922" fmla="*/ 7045 w 2172185"/>
                    <a:gd name="connsiteY1922" fmla="*/ 835652 h 1418833"/>
                    <a:gd name="connsiteX1923" fmla="*/ 6081 w 2172185"/>
                    <a:gd name="connsiteY1923" fmla="*/ 1104751 h 1418833"/>
                    <a:gd name="connsiteX1924" fmla="*/ 8571 w 2172185"/>
                    <a:gd name="connsiteY1924" fmla="*/ 1103867 h 1418833"/>
                    <a:gd name="connsiteX1925" fmla="*/ 2306 w 2172185"/>
                    <a:gd name="connsiteY1925" fmla="*/ 963695 h 1418833"/>
                    <a:gd name="connsiteX1926" fmla="*/ 15399 w 2172185"/>
                    <a:gd name="connsiteY1926" fmla="*/ 1080893 h 1418833"/>
                    <a:gd name="connsiteX1927" fmla="*/ 48173 w 2172185"/>
                    <a:gd name="connsiteY1927" fmla="*/ 1200984 h 1418833"/>
                    <a:gd name="connsiteX1928" fmla="*/ 118942 w 2172185"/>
                    <a:gd name="connsiteY1928" fmla="*/ 1261712 h 1418833"/>
                    <a:gd name="connsiteX1929" fmla="*/ 117898 w 2172185"/>
                    <a:gd name="connsiteY1929" fmla="*/ 1262274 h 1418833"/>
                    <a:gd name="connsiteX1930" fmla="*/ 188988 w 2172185"/>
                    <a:gd name="connsiteY1930" fmla="*/ 1323966 h 1418833"/>
                    <a:gd name="connsiteX1931" fmla="*/ 186418 w 2172185"/>
                    <a:gd name="connsiteY1931" fmla="*/ 1322118 h 1418833"/>
                    <a:gd name="connsiteX1932" fmla="*/ 231482 w 2172185"/>
                    <a:gd name="connsiteY1932" fmla="*/ 1375296 h 1418833"/>
                    <a:gd name="connsiteX1933" fmla="*/ 306106 w 2172185"/>
                    <a:gd name="connsiteY1933" fmla="*/ 1418833 h 1418833"/>
                    <a:gd name="connsiteX1934" fmla="*/ 314300 w 2172185"/>
                    <a:gd name="connsiteY1934" fmla="*/ 1407587 h 1418833"/>
                    <a:gd name="connsiteX1935" fmla="*/ 281767 w 2172185"/>
                    <a:gd name="connsiteY1935" fmla="*/ 1394655 h 1418833"/>
                    <a:gd name="connsiteX1936" fmla="*/ 283614 w 2172185"/>
                    <a:gd name="connsiteY1936" fmla="*/ 1397145 h 1418833"/>
                    <a:gd name="connsiteX1937" fmla="*/ 252608 w 2172185"/>
                    <a:gd name="connsiteY1937" fmla="*/ 1354410 h 1418833"/>
                    <a:gd name="connsiteX1938" fmla="*/ 253893 w 2172185"/>
                    <a:gd name="connsiteY1938" fmla="*/ 1355133 h 1418833"/>
                    <a:gd name="connsiteX1939" fmla="*/ 260078 w 2172185"/>
                    <a:gd name="connsiteY1939" fmla="*/ 1321717 h 1418833"/>
                    <a:gd name="connsiteX1940" fmla="*/ 254777 w 2172185"/>
                    <a:gd name="connsiteY1940" fmla="*/ 1316817 h 1418833"/>
                    <a:gd name="connsiteX1941" fmla="*/ 255178 w 2172185"/>
                    <a:gd name="connsiteY1941" fmla="*/ 1317861 h 1418833"/>
                    <a:gd name="connsiteX1942" fmla="*/ 242005 w 2172185"/>
                    <a:gd name="connsiteY1942" fmla="*/ 1307418 h 1418833"/>
                    <a:gd name="connsiteX1943" fmla="*/ 221441 w 2172185"/>
                    <a:gd name="connsiteY1943" fmla="*/ 1300751 h 1418833"/>
                    <a:gd name="connsiteX1944" fmla="*/ 189068 w 2172185"/>
                    <a:gd name="connsiteY1944" fmla="*/ 1291835 h 1418833"/>
                    <a:gd name="connsiteX1945" fmla="*/ 192523 w 2172185"/>
                    <a:gd name="connsiteY1945" fmla="*/ 1259463 h 1418833"/>
                    <a:gd name="connsiteX1946" fmla="*/ 197503 w 2172185"/>
                    <a:gd name="connsiteY1946" fmla="*/ 1263399 h 1418833"/>
                    <a:gd name="connsiteX1947" fmla="*/ 203527 w 2172185"/>
                    <a:gd name="connsiteY1947" fmla="*/ 1227492 h 1418833"/>
                    <a:gd name="connsiteX1948" fmla="*/ 153322 w 2172185"/>
                    <a:gd name="connsiteY1948" fmla="*/ 1244602 h 1418833"/>
                    <a:gd name="connsiteX1949" fmla="*/ 154768 w 2172185"/>
                    <a:gd name="connsiteY1949" fmla="*/ 1244281 h 1418833"/>
                    <a:gd name="connsiteX1950" fmla="*/ 108178 w 2172185"/>
                    <a:gd name="connsiteY1950" fmla="*/ 1227010 h 1418833"/>
                    <a:gd name="connsiteX1951" fmla="*/ 109544 w 2172185"/>
                    <a:gd name="connsiteY1951" fmla="*/ 1228536 h 1418833"/>
                    <a:gd name="connsiteX1952" fmla="*/ 107536 w 2172185"/>
                    <a:gd name="connsiteY1952" fmla="*/ 1226287 h 1418833"/>
                    <a:gd name="connsiteX1953" fmla="*/ 95165 w 2172185"/>
                    <a:gd name="connsiteY1953" fmla="*/ 1148208 h 1418833"/>
                    <a:gd name="connsiteX1954" fmla="*/ 92514 w 2172185"/>
                    <a:gd name="connsiteY1954" fmla="*/ 1154715 h 1418833"/>
                    <a:gd name="connsiteX1955" fmla="*/ 93960 w 2172185"/>
                    <a:gd name="connsiteY1955" fmla="*/ 1145236 h 1418833"/>
                    <a:gd name="connsiteX1956" fmla="*/ 97013 w 2172185"/>
                    <a:gd name="connsiteY1956" fmla="*/ 1110374 h 1418833"/>
                    <a:gd name="connsiteX1957" fmla="*/ 103680 w 2172185"/>
                    <a:gd name="connsiteY1957" fmla="*/ 1105554 h 1418833"/>
                    <a:gd name="connsiteX1958" fmla="*/ 106009 w 2172185"/>
                    <a:gd name="connsiteY1958" fmla="*/ 1105474 h 1418833"/>
                    <a:gd name="connsiteX1959" fmla="*/ 109303 w 2172185"/>
                    <a:gd name="connsiteY1959" fmla="*/ 1099610 h 1418833"/>
                    <a:gd name="connsiteX1960" fmla="*/ 111632 w 2172185"/>
                    <a:gd name="connsiteY1960" fmla="*/ 1101377 h 1418833"/>
                    <a:gd name="connsiteX1961" fmla="*/ 112677 w 2172185"/>
                    <a:gd name="connsiteY1961" fmla="*/ 1104189 h 1418833"/>
                    <a:gd name="connsiteX1962" fmla="*/ 125047 w 2172185"/>
                    <a:gd name="connsiteY1962" fmla="*/ 1098807 h 1418833"/>
                    <a:gd name="connsiteX1963" fmla="*/ 131072 w 2172185"/>
                    <a:gd name="connsiteY1963" fmla="*/ 1098003 h 1418833"/>
                    <a:gd name="connsiteX1964" fmla="*/ 164006 w 2172185"/>
                    <a:gd name="connsiteY1964" fmla="*/ 1109731 h 1418833"/>
                    <a:gd name="connsiteX1965" fmla="*/ 164649 w 2172185"/>
                    <a:gd name="connsiteY1965" fmla="*/ 1114712 h 1418833"/>
                    <a:gd name="connsiteX1966" fmla="*/ 183124 w 2172185"/>
                    <a:gd name="connsiteY1966" fmla="*/ 1120495 h 1418833"/>
                    <a:gd name="connsiteX1967" fmla="*/ 186096 w 2172185"/>
                    <a:gd name="connsiteY1967" fmla="*/ 1126199 h 1418833"/>
                    <a:gd name="connsiteX1968" fmla="*/ 187944 w 2172185"/>
                    <a:gd name="connsiteY1968" fmla="*/ 1125395 h 1418833"/>
                    <a:gd name="connsiteX1969" fmla="*/ 188827 w 2172185"/>
                    <a:gd name="connsiteY1969" fmla="*/ 1126520 h 1418833"/>
                    <a:gd name="connsiteX1970" fmla="*/ 185052 w 2172185"/>
                    <a:gd name="connsiteY1970" fmla="*/ 1116077 h 1418833"/>
                    <a:gd name="connsiteX1971" fmla="*/ 184811 w 2172185"/>
                    <a:gd name="connsiteY1971" fmla="*/ 1115676 h 1418833"/>
                    <a:gd name="connsiteX1972" fmla="*/ 187462 w 2172185"/>
                    <a:gd name="connsiteY1972" fmla="*/ 1112222 h 1418833"/>
                    <a:gd name="connsiteX1973" fmla="*/ 181036 w 2172185"/>
                    <a:gd name="connsiteY1973" fmla="*/ 1109731 h 1418833"/>
                    <a:gd name="connsiteX1974" fmla="*/ 205054 w 2172185"/>
                    <a:gd name="connsiteY1974" fmla="*/ 1108767 h 1418833"/>
                    <a:gd name="connsiteX1975" fmla="*/ 207142 w 2172185"/>
                    <a:gd name="connsiteY1975" fmla="*/ 1114953 h 1418833"/>
                    <a:gd name="connsiteX1976" fmla="*/ 204411 w 2172185"/>
                    <a:gd name="connsiteY1976" fmla="*/ 1114953 h 1418833"/>
                    <a:gd name="connsiteX1977" fmla="*/ 210757 w 2172185"/>
                    <a:gd name="connsiteY1977" fmla="*/ 1115113 h 1418833"/>
                    <a:gd name="connsiteX1978" fmla="*/ 210596 w 2172185"/>
                    <a:gd name="connsiteY1978" fmla="*/ 1115756 h 1418833"/>
                    <a:gd name="connsiteX1979" fmla="*/ 216219 w 2172185"/>
                    <a:gd name="connsiteY1979" fmla="*/ 1114792 h 1418833"/>
                    <a:gd name="connsiteX1980" fmla="*/ 217344 w 2172185"/>
                    <a:gd name="connsiteY1980" fmla="*/ 1114069 h 1418833"/>
                    <a:gd name="connsiteX1981" fmla="*/ 270200 w 2172185"/>
                    <a:gd name="connsiteY1981" fmla="*/ 1165720 h 1418833"/>
                    <a:gd name="connsiteX1982" fmla="*/ 274537 w 2172185"/>
                    <a:gd name="connsiteY1982" fmla="*/ 1164113 h 1418833"/>
                    <a:gd name="connsiteX1983" fmla="*/ 270842 w 2172185"/>
                    <a:gd name="connsiteY1983" fmla="*/ 1169897 h 1418833"/>
                    <a:gd name="connsiteX1984" fmla="*/ 297351 w 2172185"/>
                    <a:gd name="connsiteY1984" fmla="*/ 1203073 h 1418833"/>
                    <a:gd name="connsiteX1985" fmla="*/ 306106 w 2172185"/>
                    <a:gd name="connsiteY1985" fmla="*/ 1197530 h 1418833"/>
                    <a:gd name="connsiteX1986" fmla="*/ 300564 w 2172185"/>
                    <a:gd name="connsiteY1986" fmla="*/ 1162668 h 1418833"/>
                    <a:gd name="connsiteX1987" fmla="*/ 295503 w 2172185"/>
                    <a:gd name="connsiteY1987" fmla="*/ 1119853 h 1418833"/>
                    <a:gd name="connsiteX1988" fmla="*/ 303214 w 2172185"/>
                    <a:gd name="connsiteY1988" fmla="*/ 1108928 h 1418833"/>
                    <a:gd name="connsiteX1989" fmla="*/ 304419 w 2172185"/>
                    <a:gd name="connsiteY1989" fmla="*/ 1110615 h 1418833"/>
                    <a:gd name="connsiteX1990" fmla="*/ 305383 w 2172185"/>
                    <a:gd name="connsiteY1990" fmla="*/ 1110053 h 1418833"/>
                    <a:gd name="connsiteX1991" fmla="*/ 327393 w 2172185"/>
                    <a:gd name="connsiteY1991" fmla="*/ 1102341 h 1418833"/>
                    <a:gd name="connsiteX1992" fmla="*/ 355910 w 2172185"/>
                    <a:gd name="connsiteY1992" fmla="*/ 1089248 h 1418833"/>
                    <a:gd name="connsiteX1993" fmla="*/ 355669 w 2172185"/>
                    <a:gd name="connsiteY1993" fmla="*/ 1086356 h 1418833"/>
                    <a:gd name="connsiteX1994" fmla="*/ 370208 w 2172185"/>
                    <a:gd name="connsiteY1994" fmla="*/ 1086517 h 1418833"/>
                    <a:gd name="connsiteX1995" fmla="*/ 363621 w 2172185"/>
                    <a:gd name="connsiteY1995" fmla="*/ 1083705 h 1418833"/>
                    <a:gd name="connsiteX1996" fmla="*/ 362496 w 2172185"/>
                    <a:gd name="connsiteY1996" fmla="*/ 1076154 h 1418833"/>
                    <a:gd name="connsiteX1997" fmla="*/ 376072 w 2172185"/>
                    <a:gd name="connsiteY1997" fmla="*/ 1078243 h 1418833"/>
                    <a:gd name="connsiteX1998" fmla="*/ 374706 w 2172185"/>
                    <a:gd name="connsiteY1998" fmla="*/ 1071575 h 1418833"/>
                    <a:gd name="connsiteX1999" fmla="*/ 367798 w 2172185"/>
                    <a:gd name="connsiteY1999" fmla="*/ 1070933 h 1418833"/>
                    <a:gd name="connsiteX2000" fmla="*/ 374385 w 2172185"/>
                    <a:gd name="connsiteY2000" fmla="*/ 1070049 h 1418833"/>
                    <a:gd name="connsiteX2001" fmla="*/ 374867 w 2172185"/>
                    <a:gd name="connsiteY2001" fmla="*/ 1068684 h 1418833"/>
                    <a:gd name="connsiteX2002" fmla="*/ 376634 w 2172185"/>
                    <a:gd name="connsiteY2002" fmla="*/ 1069567 h 1418833"/>
                    <a:gd name="connsiteX2003" fmla="*/ 376875 w 2172185"/>
                    <a:gd name="connsiteY2003" fmla="*/ 1067639 h 1418833"/>
                    <a:gd name="connsiteX2004" fmla="*/ 382819 w 2172185"/>
                    <a:gd name="connsiteY2004" fmla="*/ 1070772 h 1418833"/>
                    <a:gd name="connsiteX2005" fmla="*/ 375831 w 2172185"/>
                    <a:gd name="connsiteY2005" fmla="*/ 1057438 h 1418833"/>
                    <a:gd name="connsiteX2006" fmla="*/ 376956 w 2172185"/>
                    <a:gd name="connsiteY2006" fmla="*/ 1052056 h 1418833"/>
                    <a:gd name="connsiteX2007" fmla="*/ 376715 w 2172185"/>
                    <a:gd name="connsiteY2007" fmla="*/ 1048923 h 1418833"/>
                    <a:gd name="connsiteX2008" fmla="*/ 366111 w 2172185"/>
                    <a:gd name="connsiteY2008" fmla="*/ 1038561 h 1418833"/>
                    <a:gd name="connsiteX2009" fmla="*/ 371493 w 2172185"/>
                    <a:gd name="connsiteY2009" fmla="*/ 1043862 h 1418833"/>
                    <a:gd name="connsiteX2010" fmla="*/ 376554 w 2172185"/>
                    <a:gd name="connsiteY2010" fmla="*/ 1040087 h 1418833"/>
                    <a:gd name="connsiteX2011" fmla="*/ 375911 w 2172185"/>
                    <a:gd name="connsiteY2011" fmla="*/ 1026752 h 1418833"/>
                    <a:gd name="connsiteX2012" fmla="*/ 378160 w 2172185"/>
                    <a:gd name="connsiteY2012" fmla="*/ 1024744 h 1418833"/>
                    <a:gd name="connsiteX2013" fmla="*/ 379847 w 2172185"/>
                    <a:gd name="connsiteY2013" fmla="*/ 1022335 h 1418833"/>
                    <a:gd name="connsiteX2014" fmla="*/ 380570 w 2172185"/>
                    <a:gd name="connsiteY2014" fmla="*/ 1023700 h 1418833"/>
                    <a:gd name="connsiteX2015" fmla="*/ 381213 w 2172185"/>
                    <a:gd name="connsiteY2015" fmla="*/ 1022013 h 1418833"/>
                    <a:gd name="connsiteX2016" fmla="*/ 381454 w 2172185"/>
                    <a:gd name="connsiteY2016" fmla="*/ 1022977 h 1418833"/>
                    <a:gd name="connsiteX2017" fmla="*/ 385390 w 2172185"/>
                    <a:gd name="connsiteY2017" fmla="*/ 1021692 h 1418833"/>
                    <a:gd name="connsiteX2018" fmla="*/ 386836 w 2172185"/>
                    <a:gd name="connsiteY2018" fmla="*/ 1021772 h 1418833"/>
                    <a:gd name="connsiteX2019" fmla="*/ 384667 w 2172185"/>
                    <a:gd name="connsiteY2019" fmla="*/ 1022897 h 1418833"/>
                    <a:gd name="connsiteX2020" fmla="*/ 386434 w 2172185"/>
                    <a:gd name="connsiteY2020" fmla="*/ 1023700 h 1418833"/>
                    <a:gd name="connsiteX2021" fmla="*/ 380811 w 2172185"/>
                    <a:gd name="connsiteY2021" fmla="*/ 1027636 h 1418833"/>
                    <a:gd name="connsiteX2022" fmla="*/ 382257 w 2172185"/>
                    <a:gd name="connsiteY2022" fmla="*/ 1026913 h 1418833"/>
                    <a:gd name="connsiteX2023" fmla="*/ 381213 w 2172185"/>
                    <a:gd name="connsiteY2023" fmla="*/ 1028680 h 1418833"/>
                    <a:gd name="connsiteX2024" fmla="*/ 379365 w 2172185"/>
                    <a:gd name="connsiteY2024" fmla="*/ 1031733 h 1418833"/>
                    <a:gd name="connsiteX2025" fmla="*/ 383141 w 2172185"/>
                    <a:gd name="connsiteY2025" fmla="*/ 1034785 h 1418833"/>
                    <a:gd name="connsiteX2026" fmla="*/ 383060 w 2172185"/>
                    <a:gd name="connsiteY2026" fmla="*/ 1039444 h 1418833"/>
                    <a:gd name="connsiteX2027" fmla="*/ 384747 w 2172185"/>
                    <a:gd name="connsiteY2027" fmla="*/ 1038641 h 1418833"/>
                    <a:gd name="connsiteX2028" fmla="*/ 386997 w 2172185"/>
                    <a:gd name="connsiteY2028" fmla="*/ 1044907 h 1418833"/>
                    <a:gd name="connsiteX2029" fmla="*/ 382659 w 2172185"/>
                    <a:gd name="connsiteY2029" fmla="*/ 1049887 h 1418833"/>
                    <a:gd name="connsiteX2030" fmla="*/ 396395 w 2172185"/>
                    <a:gd name="connsiteY2030" fmla="*/ 1040087 h 1418833"/>
                    <a:gd name="connsiteX2031" fmla="*/ 396395 w 2172185"/>
                    <a:gd name="connsiteY2031" fmla="*/ 1018318 h 1418833"/>
                    <a:gd name="connsiteX2032" fmla="*/ 394467 w 2172185"/>
                    <a:gd name="connsiteY2032" fmla="*/ 1025949 h 1418833"/>
                    <a:gd name="connsiteX2033" fmla="*/ 399367 w 2172185"/>
                    <a:gd name="connsiteY2033" fmla="*/ 1031894 h 1418833"/>
                    <a:gd name="connsiteX2034" fmla="*/ 414147 w 2172185"/>
                    <a:gd name="connsiteY2034" fmla="*/ 1019282 h 1418833"/>
                    <a:gd name="connsiteX2035" fmla="*/ 413987 w 2172185"/>
                    <a:gd name="connsiteY2035" fmla="*/ 1021370 h 1418833"/>
                    <a:gd name="connsiteX2036" fmla="*/ 417441 w 2172185"/>
                    <a:gd name="connsiteY2036" fmla="*/ 1001771 h 1418833"/>
                    <a:gd name="connsiteX2037" fmla="*/ 423064 w 2172185"/>
                    <a:gd name="connsiteY2037" fmla="*/ 1006269 h 1418833"/>
                    <a:gd name="connsiteX2038" fmla="*/ 460175 w 2172185"/>
                    <a:gd name="connsiteY2038" fmla="*/ 997754 h 1418833"/>
                    <a:gd name="connsiteX2039" fmla="*/ 462103 w 2172185"/>
                    <a:gd name="connsiteY2039" fmla="*/ 997031 h 1418833"/>
                    <a:gd name="connsiteX2040" fmla="*/ 474715 w 2172185"/>
                    <a:gd name="connsiteY2040" fmla="*/ 999843 h 1418833"/>
                    <a:gd name="connsiteX2041" fmla="*/ 479856 w 2172185"/>
                    <a:gd name="connsiteY2041" fmla="*/ 995666 h 1418833"/>
                    <a:gd name="connsiteX2042" fmla="*/ 473510 w 2172185"/>
                    <a:gd name="connsiteY2042" fmla="*/ 997111 h 1418833"/>
                    <a:gd name="connsiteX2043" fmla="*/ 467084 w 2172185"/>
                    <a:gd name="connsiteY2043" fmla="*/ 986026 h 1418833"/>
                    <a:gd name="connsiteX2044" fmla="*/ 482266 w 2172185"/>
                    <a:gd name="connsiteY2044" fmla="*/ 966747 h 1418833"/>
                    <a:gd name="connsiteX2045" fmla="*/ 484193 w 2172185"/>
                    <a:gd name="connsiteY2045" fmla="*/ 967310 h 1418833"/>
                    <a:gd name="connsiteX2046" fmla="*/ 486764 w 2172185"/>
                    <a:gd name="connsiteY2046" fmla="*/ 967711 h 1418833"/>
                    <a:gd name="connsiteX2047" fmla="*/ 487166 w 2172185"/>
                    <a:gd name="connsiteY2047" fmla="*/ 965623 h 1418833"/>
                    <a:gd name="connsiteX2048" fmla="*/ 488129 w 2172185"/>
                    <a:gd name="connsiteY2048" fmla="*/ 966587 h 1418833"/>
                    <a:gd name="connsiteX2049" fmla="*/ 489495 w 2172185"/>
                    <a:gd name="connsiteY2049" fmla="*/ 964498 h 1418833"/>
                    <a:gd name="connsiteX2050" fmla="*/ 489656 w 2172185"/>
                    <a:gd name="connsiteY2050" fmla="*/ 966265 h 1418833"/>
                    <a:gd name="connsiteX2051" fmla="*/ 490941 w 2172185"/>
                    <a:gd name="connsiteY2051" fmla="*/ 964739 h 1418833"/>
                    <a:gd name="connsiteX2052" fmla="*/ 491262 w 2172185"/>
                    <a:gd name="connsiteY2052" fmla="*/ 966185 h 1418833"/>
                    <a:gd name="connsiteX2053" fmla="*/ 503713 w 2172185"/>
                    <a:gd name="connsiteY2053" fmla="*/ 957429 h 1418833"/>
                    <a:gd name="connsiteX2054" fmla="*/ 502990 w 2172185"/>
                    <a:gd name="connsiteY2054" fmla="*/ 960160 h 1418833"/>
                    <a:gd name="connsiteX2055" fmla="*/ 516485 w 2172185"/>
                    <a:gd name="connsiteY2055" fmla="*/ 959116 h 1418833"/>
                    <a:gd name="connsiteX2056" fmla="*/ 517289 w 2172185"/>
                    <a:gd name="connsiteY2056" fmla="*/ 959357 h 1418833"/>
                    <a:gd name="connsiteX2057" fmla="*/ 548536 w 2172185"/>
                    <a:gd name="connsiteY2057" fmla="*/ 945862 h 1418833"/>
                    <a:gd name="connsiteX2058" fmla="*/ 546930 w 2172185"/>
                    <a:gd name="connsiteY2058" fmla="*/ 947388 h 1418833"/>
                    <a:gd name="connsiteX2059" fmla="*/ 576008 w 2172185"/>
                    <a:gd name="connsiteY2059" fmla="*/ 940480 h 1418833"/>
                    <a:gd name="connsiteX2060" fmla="*/ 569823 w 2172185"/>
                    <a:gd name="connsiteY2060" fmla="*/ 944898 h 1418833"/>
                    <a:gd name="connsiteX2061" fmla="*/ 590467 w 2172185"/>
                    <a:gd name="connsiteY2061" fmla="*/ 948593 h 1418833"/>
                    <a:gd name="connsiteX2062" fmla="*/ 577695 w 2172185"/>
                    <a:gd name="connsiteY2062" fmla="*/ 953574 h 1418833"/>
                    <a:gd name="connsiteX2063" fmla="*/ 573277 w 2172185"/>
                    <a:gd name="connsiteY2063" fmla="*/ 948352 h 1418833"/>
                    <a:gd name="connsiteX2064" fmla="*/ 551830 w 2172185"/>
                    <a:gd name="connsiteY2064" fmla="*/ 957670 h 1418833"/>
                    <a:gd name="connsiteX2065" fmla="*/ 555444 w 2172185"/>
                    <a:gd name="connsiteY2065" fmla="*/ 956706 h 1418833"/>
                    <a:gd name="connsiteX2066" fmla="*/ 544198 w 2172185"/>
                    <a:gd name="connsiteY2066" fmla="*/ 970603 h 1418833"/>
                    <a:gd name="connsiteX2067" fmla="*/ 546367 w 2172185"/>
                    <a:gd name="connsiteY2067" fmla="*/ 971246 h 1418833"/>
                    <a:gd name="connsiteX2068" fmla="*/ 551589 w 2172185"/>
                    <a:gd name="connsiteY2068" fmla="*/ 975664 h 1418833"/>
                    <a:gd name="connsiteX2069" fmla="*/ 577294 w 2172185"/>
                    <a:gd name="connsiteY2069" fmla="*/ 962089 h 1418833"/>
                    <a:gd name="connsiteX2070" fmla="*/ 579221 w 2172185"/>
                    <a:gd name="connsiteY2070" fmla="*/ 959759 h 1418833"/>
                    <a:gd name="connsiteX2071" fmla="*/ 621153 w 2172185"/>
                    <a:gd name="connsiteY2071" fmla="*/ 949397 h 1418833"/>
                    <a:gd name="connsiteX2072" fmla="*/ 617859 w 2172185"/>
                    <a:gd name="connsiteY2072" fmla="*/ 943774 h 1418833"/>
                    <a:gd name="connsiteX2073" fmla="*/ 601713 w 2172185"/>
                    <a:gd name="connsiteY2073" fmla="*/ 942970 h 1418833"/>
                    <a:gd name="connsiteX2074" fmla="*/ 585487 w 2172185"/>
                    <a:gd name="connsiteY2074" fmla="*/ 939838 h 1418833"/>
                    <a:gd name="connsiteX2075" fmla="*/ 584443 w 2172185"/>
                    <a:gd name="connsiteY2075" fmla="*/ 936383 h 1418833"/>
                    <a:gd name="connsiteX2076" fmla="*/ 570787 w 2172185"/>
                    <a:gd name="connsiteY2076" fmla="*/ 928592 h 1418833"/>
                    <a:gd name="connsiteX2077" fmla="*/ 570546 w 2172185"/>
                    <a:gd name="connsiteY2077" fmla="*/ 920237 h 1418833"/>
                    <a:gd name="connsiteX2078" fmla="*/ 563718 w 2172185"/>
                    <a:gd name="connsiteY2078" fmla="*/ 919354 h 1418833"/>
                    <a:gd name="connsiteX2079" fmla="*/ 573839 w 2172185"/>
                    <a:gd name="connsiteY2079" fmla="*/ 909313 h 1418833"/>
                    <a:gd name="connsiteX2080" fmla="*/ 569502 w 2172185"/>
                    <a:gd name="connsiteY2080" fmla="*/ 907144 h 1418833"/>
                    <a:gd name="connsiteX2081" fmla="*/ 543716 w 2172185"/>
                    <a:gd name="connsiteY2081" fmla="*/ 902806 h 1418833"/>
                    <a:gd name="connsiteX2082" fmla="*/ 578980 w 2172185"/>
                    <a:gd name="connsiteY2082" fmla="*/ 891641 h 1418833"/>
                    <a:gd name="connsiteX2083" fmla="*/ 478249 w 2172185"/>
                    <a:gd name="connsiteY2083" fmla="*/ 911000 h 1418833"/>
                    <a:gd name="connsiteX2084" fmla="*/ 482587 w 2172185"/>
                    <a:gd name="connsiteY2084" fmla="*/ 896219 h 1418833"/>
                    <a:gd name="connsiteX2085" fmla="*/ 522992 w 2172185"/>
                    <a:gd name="connsiteY2085" fmla="*/ 881520 h 1418833"/>
                    <a:gd name="connsiteX2086" fmla="*/ 723571 w 2172185"/>
                    <a:gd name="connsiteY2086" fmla="*/ 829547 h 1418833"/>
                    <a:gd name="connsiteX2087" fmla="*/ 495038 w 2172185"/>
                    <a:gd name="connsiteY2087" fmla="*/ 321794 h 1418833"/>
                    <a:gd name="connsiteX2088" fmla="*/ 495038 w 2172185"/>
                    <a:gd name="connsiteY2088" fmla="*/ 321794 h 1418833"/>
                    <a:gd name="connsiteX2089" fmla="*/ 495038 w 2172185"/>
                    <a:gd name="connsiteY2089" fmla="*/ 321794 h 1418833"/>
                    <a:gd name="connsiteX2090" fmla="*/ 495038 w 2172185"/>
                    <a:gd name="connsiteY2090" fmla="*/ 321794 h 1418833"/>
                    <a:gd name="connsiteX2091" fmla="*/ 491102 w 2172185"/>
                    <a:gd name="connsiteY2091" fmla="*/ 305889 h 1418833"/>
                    <a:gd name="connsiteX2092" fmla="*/ 492708 w 2172185"/>
                    <a:gd name="connsiteY2092" fmla="*/ 303640 h 1418833"/>
                    <a:gd name="connsiteX2093" fmla="*/ 492387 w 2172185"/>
                    <a:gd name="connsiteY2093" fmla="*/ 303961 h 1418833"/>
                    <a:gd name="connsiteX2094" fmla="*/ 486764 w 2172185"/>
                    <a:gd name="connsiteY2094" fmla="*/ 309906 h 1418833"/>
                    <a:gd name="connsiteX2095" fmla="*/ 491102 w 2172185"/>
                    <a:gd name="connsiteY2095" fmla="*/ 305889 h 1418833"/>
                    <a:gd name="connsiteX2096" fmla="*/ 440013 w 2172185"/>
                    <a:gd name="connsiteY2096" fmla="*/ 250463 h 1418833"/>
                    <a:gd name="connsiteX2097" fmla="*/ 440013 w 2172185"/>
                    <a:gd name="connsiteY2097" fmla="*/ 250463 h 1418833"/>
                    <a:gd name="connsiteX2098" fmla="*/ 440013 w 2172185"/>
                    <a:gd name="connsiteY2098" fmla="*/ 250463 h 1418833"/>
                    <a:gd name="connsiteX2099" fmla="*/ 440013 w 2172185"/>
                    <a:gd name="connsiteY2099" fmla="*/ 250463 h 1418833"/>
                    <a:gd name="connsiteX2100" fmla="*/ 440013 w 2172185"/>
                    <a:gd name="connsiteY2100" fmla="*/ 250463 h 1418833"/>
                    <a:gd name="connsiteX2101" fmla="*/ 1609749 w 2172185"/>
                    <a:gd name="connsiteY2101" fmla="*/ 0 h 1418833"/>
                    <a:gd name="connsiteX2102" fmla="*/ 1609749 w 2172185"/>
                    <a:gd name="connsiteY2102" fmla="*/ 0 h 1418833"/>
                    <a:gd name="connsiteX2103" fmla="*/ 1625252 w 2172185"/>
                    <a:gd name="connsiteY2103" fmla="*/ 7229 h 1418833"/>
                    <a:gd name="connsiteX2104" fmla="*/ 1624449 w 2172185"/>
                    <a:gd name="connsiteY2104" fmla="*/ 6748 h 1418833"/>
                    <a:gd name="connsiteX2105" fmla="*/ 1609749 w 2172185"/>
                    <a:gd name="connsiteY2105" fmla="*/ 0 h 1418833"/>
                    <a:gd name="connsiteX2106" fmla="*/ 622679 w 2172185"/>
                    <a:gd name="connsiteY2106" fmla="*/ 345250 h 1418833"/>
                    <a:gd name="connsiteX2107" fmla="*/ 625892 w 2172185"/>
                    <a:gd name="connsiteY2107" fmla="*/ 343643 h 1418833"/>
                    <a:gd name="connsiteX2108" fmla="*/ 612718 w 2172185"/>
                    <a:gd name="connsiteY2108" fmla="*/ 322035 h 1418833"/>
                    <a:gd name="connsiteX2109" fmla="*/ 599785 w 2172185"/>
                    <a:gd name="connsiteY2109" fmla="*/ 326453 h 1418833"/>
                    <a:gd name="connsiteX2110" fmla="*/ 600107 w 2172185"/>
                    <a:gd name="connsiteY2110" fmla="*/ 347178 h 1418833"/>
                    <a:gd name="connsiteX2111" fmla="*/ 622679 w 2172185"/>
                    <a:gd name="connsiteY2111" fmla="*/ 345250 h 1418833"/>
                    <a:gd name="connsiteX2112" fmla="*/ 473911 w 2172185"/>
                    <a:gd name="connsiteY2112" fmla="*/ 267653 h 1418833"/>
                    <a:gd name="connsiteX2113" fmla="*/ 475277 w 2172185"/>
                    <a:gd name="connsiteY2113" fmla="*/ 266609 h 1418833"/>
                    <a:gd name="connsiteX2114" fmla="*/ 474313 w 2172185"/>
                    <a:gd name="connsiteY2114" fmla="*/ 267332 h 1418833"/>
                    <a:gd name="connsiteX2115" fmla="*/ 455356 w 2172185"/>
                    <a:gd name="connsiteY2115" fmla="*/ 282353 h 1418833"/>
                    <a:gd name="connsiteX2116" fmla="*/ 473911 w 2172185"/>
                    <a:gd name="connsiteY2116" fmla="*/ 267653 h 1418833"/>
                    <a:gd name="connsiteX2117" fmla="*/ 560505 w 2172185"/>
                    <a:gd name="connsiteY2117" fmla="*/ 565670 h 1418833"/>
                    <a:gd name="connsiteX2118" fmla="*/ 560023 w 2172185"/>
                    <a:gd name="connsiteY2118" fmla="*/ 566232 h 1418833"/>
                    <a:gd name="connsiteX2119" fmla="*/ 559782 w 2172185"/>
                    <a:gd name="connsiteY2119" fmla="*/ 565670 h 1418833"/>
                    <a:gd name="connsiteX2120" fmla="*/ 559782 w 2172185"/>
                    <a:gd name="connsiteY2120" fmla="*/ 565670 h 1418833"/>
                    <a:gd name="connsiteX2121" fmla="*/ 559782 w 2172185"/>
                    <a:gd name="connsiteY2121" fmla="*/ 565670 h 1418833"/>
                    <a:gd name="connsiteX2122" fmla="*/ 559782 w 2172185"/>
                    <a:gd name="connsiteY2122" fmla="*/ 565670 h 1418833"/>
                    <a:gd name="connsiteX2123" fmla="*/ 559782 w 2172185"/>
                    <a:gd name="connsiteY2123" fmla="*/ 565670 h 1418833"/>
                    <a:gd name="connsiteX2124" fmla="*/ 559782 w 2172185"/>
                    <a:gd name="connsiteY2124" fmla="*/ 565670 h 1418833"/>
                    <a:gd name="connsiteX2125" fmla="*/ 559782 w 2172185"/>
                    <a:gd name="connsiteY2125" fmla="*/ 565670 h 1418833"/>
                    <a:gd name="connsiteX2126" fmla="*/ 559782 w 2172185"/>
                    <a:gd name="connsiteY2126" fmla="*/ 565670 h 1418833"/>
                    <a:gd name="connsiteX2127" fmla="*/ 559782 w 2172185"/>
                    <a:gd name="connsiteY2127" fmla="*/ 565670 h 1418833"/>
                    <a:gd name="connsiteX2128" fmla="*/ 560505 w 2172185"/>
                    <a:gd name="connsiteY2128" fmla="*/ 565670 h 1418833"/>
                    <a:gd name="connsiteX2129" fmla="*/ 560505 w 2172185"/>
                    <a:gd name="connsiteY2129" fmla="*/ 565670 h 1418833"/>
                    <a:gd name="connsiteX2130" fmla="*/ 573759 w 2172185"/>
                    <a:gd name="connsiteY2130" fmla="*/ 574667 h 1418833"/>
                    <a:gd name="connsiteX2131" fmla="*/ 560826 w 2172185"/>
                    <a:gd name="connsiteY2131" fmla="*/ 567678 h 1418833"/>
                    <a:gd name="connsiteX2132" fmla="*/ 561228 w 2172185"/>
                    <a:gd name="connsiteY2132" fmla="*/ 567678 h 1418833"/>
                    <a:gd name="connsiteX2133" fmla="*/ 560987 w 2172185"/>
                    <a:gd name="connsiteY2133" fmla="*/ 566794 h 1418833"/>
                    <a:gd name="connsiteX2134" fmla="*/ 566048 w 2172185"/>
                    <a:gd name="connsiteY2134" fmla="*/ 553942 h 1418833"/>
                    <a:gd name="connsiteX2135" fmla="*/ 573839 w 2172185"/>
                    <a:gd name="connsiteY2135" fmla="*/ 573140 h 1418833"/>
                    <a:gd name="connsiteX2136" fmla="*/ 574321 w 2172185"/>
                    <a:gd name="connsiteY2136" fmla="*/ 574747 h 1418833"/>
                    <a:gd name="connsiteX2137" fmla="*/ 573759 w 2172185"/>
                    <a:gd name="connsiteY2137" fmla="*/ 574667 h 1418833"/>
                    <a:gd name="connsiteX2138" fmla="*/ 601312 w 2172185"/>
                    <a:gd name="connsiteY2138" fmla="*/ 534422 h 1418833"/>
                    <a:gd name="connsiteX2139" fmla="*/ 598259 w 2172185"/>
                    <a:gd name="connsiteY2139" fmla="*/ 536430 h 1418833"/>
                    <a:gd name="connsiteX2140" fmla="*/ 583961 w 2172185"/>
                    <a:gd name="connsiteY2140" fmla="*/ 526068 h 1418833"/>
                    <a:gd name="connsiteX2141" fmla="*/ 601874 w 2172185"/>
                    <a:gd name="connsiteY2141" fmla="*/ 533940 h 1418833"/>
                    <a:gd name="connsiteX2142" fmla="*/ 601312 w 2172185"/>
                    <a:gd name="connsiteY2142" fmla="*/ 534422 h 1418833"/>
                    <a:gd name="connsiteX2143" fmla="*/ 517289 w 2172185"/>
                    <a:gd name="connsiteY2143" fmla="*/ 389912 h 1418833"/>
                    <a:gd name="connsiteX2144" fmla="*/ 518815 w 2172185"/>
                    <a:gd name="connsiteY2144" fmla="*/ 386297 h 1418833"/>
                    <a:gd name="connsiteX2145" fmla="*/ 517369 w 2172185"/>
                    <a:gd name="connsiteY2145" fmla="*/ 390073 h 1418833"/>
                    <a:gd name="connsiteX2146" fmla="*/ 517289 w 2172185"/>
                    <a:gd name="connsiteY2146" fmla="*/ 389912 h 1418833"/>
                    <a:gd name="connsiteX2147" fmla="*/ 694090 w 2172185"/>
                    <a:gd name="connsiteY2147" fmla="*/ 527353 h 1418833"/>
                    <a:gd name="connsiteX2148" fmla="*/ 694653 w 2172185"/>
                    <a:gd name="connsiteY2148" fmla="*/ 525586 h 1418833"/>
                    <a:gd name="connsiteX2149" fmla="*/ 670795 w 2172185"/>
                    <a:gd name="connsiteY2149" fmla="*/ 525666 h 1418833"/>
                    <a:gd name="connsiteX2150" fmla="*/ 681720 w 2172185"/>
                    <a:gd name="connsiteY2150" fmla="*/ 515545 h 1418833"/>
                    <a:gd name="connsiteX2151" fmla="*/ 676579 w 2172185"/>
                    <a:gd name="connsiteY2151" fmla="*/ 511770 h 1418833"/>
                    <a:gd name="connsiteX2152" fmla="*/ 664128 w 2172185"/>
                    <a:gd name="connsiteY2152" fmla="*/ 512171 h 1418833"/>
                    <a:gd name="connsiteX2153" fmla="*/ 670474 w 2172185"/>
                    <a:gd name="connsiteY2153" fmla="*/ 512252 h 1418833"/>
                    <a:gd name="connsiteX2154" fmla="*/ 673928 w 2172185"/>
                    <a:gd name="connsiteY2154" fmla="*/ 507191 h 1418833"/>
                    <a:gd name="connsiteX2155" fmla="*/ 673848 w 2172185"/>
                    <a:gd name="connsiteY2155" fmla="*/ 504460 h 1418833"/>
                    <a:gd name="connsiteX2156" fmla="*/ 672081 w 2172185"/>
                    <a:gd name="connsiteY2156" fmla="*/ 505183 h 1418833"/>
                    <a:gd name="connsiteX2157" fmla="*/ 658505 w 2172185"/>
                    <a:gd name="connsiteY2157" fmla="*/ 503255 h 1418833"/>
                    <a:gd name="connsiteX2158" fmla="*/ 659710 w 2172185"/>
                    <a:gd name="connsiteY2158" fmla="*/ 496588 h 1418833"/>
                    <a:gd name="connsiteX2159" fmla="*/ 655051 w 2172185"/>
                    <a:gd name="connsiteY2159" fmla="*/ 495302 h 1418833"/>
                    <a:gd name="connsiteX2160" fmla="*/ 655694 w 2172185"/>
                    <a:gd name="connsiteY2160" fmla="*/ 493294 h 1418833"/>
                    <a:gd name="connsiteX2161" fmla="*/ 649589 w 2172185"/>
                    <a:gd name="connsiteY2161" fmla="*/ 497471 h 1418833"/>
                    <a:gd name="connsiteX2162" fmla="*/ 649107 w 2172185"/>
                    <a:gd name="connsiteY2162" fmla="*/ 495704 h 1418833"/>
                    <a:gd name="connsiteX2163" fmla="*/ 655131 w 2172185"/>
                    <a:gd name="connsiteY2163" fmla="*/ 487109 h 1418833"/>
                    <a:gd name="connsiteX2164" fmla="*/ 646858 w 2172185"/>
                    <a:gd name="connsiteY2164" fmla="*/ 491929 h 1418833"/>
                    <a:gd name="connsiteX2165" fmla="*/ 645572 w 2172185"/>
                    <a:gd name="connsiteY2165" fmla="*/ 490644 h 1418833"/>
                    <a:gd name="connsiteX2166" fmla="*/ 651356 w 2172185"/>
                    <a:gd name="connsiteY2166" fmla="*/ 482450 h 1418833"/>
                    <a:gd name="connsiteX2167" fmla="*/ 629667 w 2172185"/>
                    <a:gd name="connsiteY2167" fmla="*/ 472489 h 1418833"/>
                    <a:gd name="connsiteX2168" fmla="*/ 640913 w 2172185"/>
                    <a:gd name="connsiteY2168" fmla="*/ 472570 h 1418833"/>
                    <a:gd name="connsiteX2169" fmla="*/ 641877 w 2172185"/>
                    <a:gd name="connsiteY2169" fmla="*/ 462930 h 1418833"/>
                    <a:gd name="connsiteX2170" fmla="*/ 656256 w 2172185"/>
                    <a:gd name="connsiteY2170" fmla="*/ 459958 h 1418833"/>
                    <a:gd name="connsiteX2171" fmla="*/ 636094 w 2172185"/>
                    <a:gd name="connsiteY2171" fmla="*/ 452327 h 1418833"/>
                    <a:gd name="connsiteX2172" fmla="*/ 658826 w 2172185"/>
                    <a:gd name="connsiteY2172" fmla="*/ 441001 h 1418833"/>
                    <a:gd name="connsiteX2173" fmla="*/ 658987 w 2172185"/>
                    <a:gd name="connsiteY2173" fmla="*/ 439073 h 1418833"/>
                    <a:gd name="connsiteX2174" fmla="*/ 644046 w 2172185"/>
                    <a:gd name="connsiteY2174" fmla="*/ 439876 h 1418833"/>
                    <a:gd name="connsiteX2175" fmla="*/ 645251 w 2172185"/>
                    <a:gd name="connsiteY2175" fmla="*/ 437225 h 1418833"/>
                    <a:gd name="connsiteX2176" fmla="*/ 641235 w 2172185"/>
                    <a:gd name="connsiteY2176" fmla="*/ 433209 h 1418833"/>
                    <a:gd name="connsiteX2177" fmla="*/ 657220 w 2172185"/>
                    <a:gd name="connsiteY2177" fmla="*/ 425256 h 1418833"/>
                    <a:gd name="connsiteX2178" fmla="*/ 657220 w 2172185"/>
                    <a:gd name="connsiteY2178" fmla="*/ 423248 h 1418833"/>
                    <a:gd name="connsiteX2179" fmla="*/ 621876 w 2172185"/>
                    <a:gd name="connsiteY2179" fmla="*/ 433611 h 1418833"/>
                    <a:gd name="connsiteX2180" fmla="*/ 627820 w 2172185"/>
                    <a:gd name="connsiteY2180" fmla="*/ 423489 h 1418833"/>
                    <a:gd name="connsiteX2181" fmla="*/ 622438 w 2172185"/>
                    <a:gd name="connsiteY2181" fmla="*/ 424293 h 1418833"/>
                    <a:gd name="connsiteX2182" fmla="*/ 638664 w 2172185"/>
                    <a:gd name="connsiteY2182" fmla="*/ 409432 h 1418833"/>
                    <a:gd name="connsiteX2183" fmla="*/ 620108 w 2172185"/>
                    <a:gd name="connsiteY2183" fmla="*/ 412966 h 1418833"/>
                    <a:gd name="connsiteX2184" fmla="*/ 630390 w 2172185"/>
                    <a:gd name="connsiteY2184" fmla="*/ 388787 h 1418833"/>
                    <a:gd name="connsiteX2185" fmla="*/ 621795 w 2172185"/>
                    <a:gd name="connsiteY2185" fmla="*/ 399712 h 1418833"/>
                    <a:gd name="connsiteX2186" fmla="*/ 621715 w 2172185"/>
                    <a:gd name="connsiteY2186" fmla="*/ 390555 h 1418833"/>
                    <a:gd name="connsiteX2187" fmla="*/ 614485 w 2172185"/>
                    <a:gd name="connsiteY2187" fmla="*/ 395133 h 1418833"/>
                    <a:gd name="connsiteX2188" fmla="*/ 621153 w 2172185"/>
                    <a:gd name="connsiteY2188" fmla="*/ 386699 h 1418833"/>
                    <a:gd name="connsiteX2189" fmla="*/ 604284 w 2172185"/>
                    <a:gd name="connsiteY2189" fmla="*/ 399552 h 1418833"/>
                    <a:gd name="connsiteX2190" fmla="*/ 614325 w 2172185"/>
                    <a:gd name="connsiteY2190" fmla="*/ 386860 h 1418833"/>
                    <a:gd name="connsiteX2191" fmla="*/ 610951 w 2172185"/>
                    <a:gd name="connsiteY2191" fmla="*/ 386217 h 1418833"/>
                    <a:gd name="connsiteX2192" fmla="*/ 621876 w 2172185"/>
                    <a:gd name="connsiteY2192" fmla="*/ 377381 h 1418833"/>
                    <a:gd name="connsiteX2193" fmla="*/ 604284 w 2172185"/>
                    <a:gd name="connsiteY2193" fmla="*/ 384289 h 1418833"/>
                    <a:gd name="connsiteX2194" fmla="*/ 613762 w 2172185"/>
                    <a:gd name="connsiteY2194" fmla="*/ 356978 h 1418833"/>
                    <a:gd name="connsiteX2195" fmla="*/ 598741 w 2172185"/>
                    <a:gd name="connsiteY2195" fmla="*/ 369107 h 1418833"/>
                    <a:gd name="connsiteX2196" fmla="*/ 592315 w 2172185"/>
                    <a:gd name="connsiteY2196" fmla="*/ 362520 h 1418833"/>
                    <a:gd name="connsiteX2197" fmla="*/ 584523 w 2172185"/>
                    <a:gd name="connsiteY2197" fmla="*/ 376176 h 1418833"/>
                    <a:gd name="connsiteX2198" fmla="*/ 588057 w 2172185"/>
                    <a:gd name="connsiteY2198" fmla="*/ 360432 h 1418833"/>
                    <a:gd name="connsiteX2199" fmla="*/ 579382 w 2172185"/>
                    <a:gd name="connsiteY2199" fmla="*/ 365733 h 1418833"/>
                    <a:gd name="connsiteX2200" fmla="*/ 569662 w 2172185"/>
                    <a:gd name="connsiteY2200" fmla="*/ 366617 h 1418833"/>
                    <a:gd name="connsiteX2201" fmla="*/ 578177 w 2172185"/>
                    <a:gd name="connsiteY2201" fmla="*/ 353122 h 1418833"/>
                    <a:gd name="connsiteX2202" fmla="*/ 592797 w 2172185"/>
                    <a:gd name="connsiteY2202" fmla="*/ 324445 h 1418833"/>
                    <a:gd name="connsiteX2203" fmla="*/ 558256 w 2172185"/>
                    <a:gd name="connsiteY2203" fmla="*/ 332879 h 1418833"/>
                    <a:gd name="connsiteX2204" fmla="*/ 558738 w 2172185"/>
                    <a:gd name="connsiteY2204" fmla="*/ 340832 h 1418833"/>
                    <a:gd name="connsiteX2205" fmla="*/ 546930 w 2172185"/>
                    <a:gd name="connsiteY2205" fmla="*/ 352238 h 1418833"/>
                    <a:gd name="connsiteX2206" fmla="*/ 542190 w 2172185"/>
                    <a:gd name="connsiteY2206" fmla="*/ 360833 h 1418833"/>
                    <a:gd name="connsiteX2207" fmla="*/ 518734 w 2172185"/>
                    <a:gd name="connsiteY2207" fmla="*/ 385976 h 1418833"/>
                    <a:gd name="connsiteX2208" fmla="*/ 504275 w 2172185"/>
                    <a:gd name="connsiteY2208" fmla="*/ 386940 h 1418833"/>
                    <a:gd name="connsiteX2209" fmla="*/ 576249 w 2172185"/>
                    <a:gd name="connsiteY2209" fmla="*/ 309745 h 1418833"/>
                    <a:gd name="connsiteX2210" fmla="*/ 565244 w 2172185"/>
                    <a:gd name="connsiteY2210" fmla="*/ 309022 h 1418833"/>
                    <a:gd name="connsiteX2211" fmla="*/ 500500 w 2172185"/>
                    <a:gd name="connsiteY2211" fmla="*/ 385092 h 1418833"/>
                    <a:gd name="connsiteX2212" fmla="*/ 486041 w 2172185"/>
                    <a:gd name="connsiteY2212" fmla="*/ 379630 h 1418833"/>
                    <a:gd name="connsiteX2213" fmla="*/ 486523 w 2172185"/>
                    <a:gd name="connsiteY2213" fmla="*/ 403488 h 1418833"/>
                    <a:gd name="connsiteX2214" fmla="*/ 494074 w 2172185"/>
                    <a:gd name="connsiteY2214" fmla="*/ 401319 h 1418833"/>
                    <a:gd name="connsiteX2215" fmla="*/ 527651 w 2172185"/>
                    <a:gd name="connsiteY2215" fmla="*/ 431522 h 1418833"/>
                    <a:gd name="connsiteX2216" fmla="*/ 528133 w 2172185"/>
                    <a:gd name="connsiteY2216" fmla="*/ 421642 h 1418833"/>
                    <a:gd name="connsiteX2217" fmla="*/ 558256 w 2172185"/>
                    <a:gd name="connsiteY2217" fmla="*/ 411038 h 1418833"/>
                    <a:gd name="connsiteX2218" fmla="*/ 575285 w 2172185"/>
                    <a:gd name="connsiteY2218" fmla="*/ 459074 h 1418833"/>
                    <a:gd name="connsiteX2219" fmla="*/ 580828 w 2172185"/>
                    <a:gd name="connsiteY2219" fmla="*/ 478514 h 1418833"/>
                    <a:gd name="connsiteX2220" fmla="*/ 546528 w 2172185"/>
                    <a:gd name="connsiteY2220" fmla="*/ 549845 h 1418833"/>
                    <a:gd name="connsiteX2221" fmla="*/ 519216 w 2172185"/>
                    <a:gd name="connsiteY2221" fmla="*/ 562376 h 1418833"/>
                    <a:gd name="connsiteX2222" fmla="*/ 495761 w 2172185"/>
                    <a:gd name="connsiteY2222" fmla="*/ 561573 h 1418833"/>
                    <a:gd name="connsiteX2223" fmla="*/ 524598 w 2172185"/>
                    <a:gd name="connsiteY2223" fmla="*/ 564304 h 1418833"/>
                    <a:gd name="connsiteX2224" fmla="*/ 539861 w 2172185"/>
                    <a:gd name="connsiteY2224" fmla="*/ 571614 h 1418833"/>
                    <a:gd name="connsiteX2225" fmla="*/ 547653 w 2172185"/>
                    <a:gd name="connsiteY2225" fmla="*/ 588804 h 1418833"/>
                    <a:gd name="connsiteX2226" fmla="*/ 554159 w 2172185"/>
                    <a:gd name="connsiteY2226" fmla="*/ 596837 h 1418833"/>
                    <a:gd name="connsiteX2227" fmla="*/ 547171 w 2172185"/>
                    <a:gd name="connsiteY2227" fmla="*/ 601978 h 1418833"/>
                    <a:gd name="connsiteX2228" fmla="*/ 549580 w 2172185"/>
                    <a:gd name="connsiteY2228" fmla="*/ 605834 h 1418833"/>
                    <a:gd name="connsiteX2229" fmla="*/ 608059 w 2172185"/>
                    <a:gd name="connsiteY2229" fmla="*/ 639089 h 1418833"/>
                    <a:gd name="connsiteX2230" fmla="*/ 610148 w 2172185"/>
                    <a:gd name="connsiteY2230" fmla="*/ 632904 h 1418833"/>
                    <a:gd name="connsiteX2231" fmla="*/ 593359 w 2172185"/>
                    <a:gd name="connsiteY2231" fmla="*/ 598524 h 1418833"/>
                    <a:gd name="connsiteX2232" fmla="*/ 597135 w 2172185"/>
                    <a:gd name="connsiteY2232" fmla="*/ 603986 h 1418833"/>
                    <a:gd name="connsiteX2233" fmla="*/ 597215 w 2172185"/>
                    <a:gd name="connsiteY2233" fmla="*/ 596757 h 1418833"/>
                    <a:gd name="connsiteX2234" fmla="*/ 606292 w 2172185"/>
                    <a:gd name="connsiteY2234" fmla="*/ 610091 h 1418833"/>
                    <a:gd name="connsiteX2235" fmla="*/ 608139 w 2172185"/>
                    <a:gd name="connsiteY2235" fmla="*/ 609529 h 1418833"/>
                    <a:gd name="connsiteX2236" fmla="*/ 609666 w 2172185"/>
                    <a:gd name="connsiteY2236" fmla="*/ 610413 h 1418833"/>
                    <a:gd name="connsiteX2237" fmla="*/ 610790 w 2172185"/>
                    <a:gd name="connsiteY2237" fmla="*/ 613947 h 1418833"/>
                    <a:gd name="connsiteX2238" fmla="*/ 614405 w 2172185"/>
                    <a:gd name="connsiteY2238" fmla="*/ 613947 h 1418833"/>
                    <a:gd name="connsiteX2239" fmla="*/ 626374 w 2172185"/>
                    <a:gd name="connsiteY2239" fmla="*/ 616517 h 1418833"/>
                    <a:gd name="connsiteX2240" fmla="*/ 630792 w 2172185"/>
                    <a:gd name="connsiteY2240" fmla="*/ 597962 h 1418833"/>
                    <a:gd name="connsiteX2241" fmla="*/ 635451 w 2172185"/>
                    <a:gd name="connsiteY2241" fmla="*/ 608886 h 1418833"/>
                    <a:gd name="connsiteX2242" fmla="*/ 638182 w 2172185"/>
                    <a:gd name="connsiteY2242" fmla="*/ 600211 h 1418833"/>
                    <a:gd name="connsiteX2243" fmla="*/ 640271 w 2172185"/>
                    <a:gd name="connsiteY2243" fmla="*/ 599729 h 1418833"/>
                    <a:gd name="connsiteX2244" fmla="*/ 629587 w 2172185"/>
                    <a:gd name="connsiteY2244" fmla="*/ 585029 h 1418833"/>
                    <a:gd name="connsiteX2245" fmla="*/ 636174 w 2172185"/>
                    <a:gd name="connsiteY2245" fmla="*/ 583101 h 1418833"/>
                    <a:gd name="connsiteX2246" fmla="*/ 631676 w 2172185"/>
                    <a:gd name="connsiteY2246" fmla="*/ 580611 h 1418833"/>
                    <a:gd name="connsiteX2247" fmla="*/ 635049 w 2172185"/>
                    <a:gd name="connsiteY2247" fmla="*/ 578362 h 1418833"/>
                    <a:gd name="connsiteX2248" fmla="*/ 635049 w 2172185"/>
                    <a:gd name="connsiteY2248" fmla="*/ 576273 h 1418833"/>
                    <a:gd name="connsiteX2249" fmla="*/ 621956 w 2172185"/>
                    <a:gd name="connsiteY2249" fmla="*/ 568240 h 1418833"/>
                    <a:gd name="connsiteX2250" fmla="*/ 620189 w 2172185"/>
                    <a:gd name="connsiteY2250" fmla="*/ 571373 h 1418833"/>
                    <a:gd name="connsiteX2251" fmla="*/ 616413 w 2172185"/>
                    <a:gd name="connsiteY2251" fmla="*/ 559404 h 1418833"/>
                    <a:gd name="connsiteX2252" fmla="*/ 619707 w 2172185"/>
                    <a:gd name="connsiteY2252" fmla="*/ 557316 h 1418833"/>
                    <a:gd name="connsiteX2253" fmla="*/ 607256 w 2172185"/>
                    <a:gd name="connsiteY2253" fmla="*/ 537555 h 1418833"/>
                    <a:gd name="connsiteX2254" fmla="*/ 620590 w 2172185"/>
                    <a:gd name="connsiteY2254" fmla="*/ 543499 h 1418833"/>
                    <a:gd name="connsiteX2255" fmla="*/ 619948 w 2172185"/>
                    <a:gd name="connsiteY2255" fmla="*/ 531209 h 1418833"/>
                    <a:gd name="connsiteX2256" fmla="*/ 624366 w 2172185"/>
                    <a:gd name="connsiteY2256" fmla="*/ 535466 h 1418833"/>
                    <a:gd name="connsiteX2257" fmla="*/ 626133 w 2172185"/>
                    <a:gd name="connsiteY2257" fmla="*/ 534824 h 1418833"/>
                    <a:gd name="connsiteX2258" fmla="*/ 627017 w 2172185"/>
                    <a:gd name="connsiteY2258" fmla="*/ 529602 h 1418833"/>
                    <a:gd name="connsiteX2259" fmla="*/ 630390 w 2172185"/>
                    <a:gd name="connsiteY2259" fmla="*/ 530245 h 1418833"/>
                    <a:gd name="connsiteX2260" fmla="*/ 630872 w 2172185"/>
                    <a:gd name="connsiteY2260" fmla="*/ 528558 h 1418833"/>
                    <a:gd name="connsiteX2261" fmla="*/ 643082 w 2172185"/>
                    <a:gd name="connsiteY2261" fmla="*/ 539724 h 1418833"/>
                    <a:gd name="connsiteX2262" fmla="*/ 642520 w 2172185"/>
                    <a:gd name="connsiteY2262" fmla="*/ 544222 h 1418833"/>
                    <a:gd name="connsiteX2263" fmla="*/ 650874 w 2172185"/>
                    <a:gd name="connsiteY2263" fmla="*/ 542214 h 1418833"/>
                    <a:gd name="connsiteX2264" fmla="*/ 647902 w 2172185"/>
                    <a:gd name="connsiteY2264" fmla="*/ 566714 h 1418833"/>
                    <a:gd name="connsiteX2265" fmla="*/ 653525 w 2172185"/>
                    <a:gd name="connsiteY2265" fmla="*/ 559967 h 1418833"/>
                    <a:gd name="connsiteX2266" fmla="*/ 652561 w 2172185"/>
                    <a:gd name="connsiteY2266" fmla="*/ 568080 h 1418833"/>
                    <a:gd name="connsiteX2267" fmla="*/ 658264 w 2172185"/>
                    <a:gd name="connsiteY2267" fmla="*/ 571614 h 1418833"/>
                    <a:gd name="connsiteX2268" fmla="*/ 666297 w 2172185"/>
                    <a:gd name="connsiteY2268" fmla="*/ 555227 h 1418833"/>
                    <a:gd name="connsiteX2269" fmla="*/ 664289 w 2172185"/>
                    <a:gd name="connsiteY2269" fmla="*/ 554424 h 1418833"/>
                    <a:gd name="connsiteX2270" fmla="*/ 665574 w 2172185"/>
                    <a:gd name="connsiteY2270" fmla="*/ 550488 h 1418833"/>
                    <a:gd name="connsiteX2271" fmla="*/ 675454 w 2172185"/>
                    <a:gd name="connsiteY2271" fmla="*/ 553460 h 1418833"/>
                    <a:gd name="connsiteX2272" fmla="*/ 677784 w 2172185"/>
                    <a:gd name="connsiteY2272" fmla="*/ 545748 h 1418833"/>
                    <a:gd name="connsiteX2273" fmla="*/ 685576 w 2172185"/>
                    <a:gd name="connsiteY2273" fmla="*/ 545427 h 1418833"/>
                    <a:gd name="connsiteX2274" fmla="*/ 681158 w 2172185"/>
                    <a:gd name="connsiteY2274" fmla="*/ 537555 h 1418833"/>
                    <a:gd name="connsiteX2275" fmla="*/ 682523 w 2172185"/>
                    <a:gd name="connsiteY2275" fmla="*/ 536511 h 1418833"/>
                    <a:gd name="connsiteX2276" fmla="*/ 690154 w 2172185"/>
                    <a:gd name="connsiteY2276" fmla="*/ 537876 h 1418833"/>
                    <a:gd name="connsiteX2277" fmla="*/ 691600 w 2172185"/>
                    <a:gd name="connsiteY2277" fmla="*/ 536350 h 1418833"/>
                    <a:gd name="connsiteX2278" fmla="*/ 688146 w 2172185"/>
                    <a:gd name="connsiteY2278" fmla="*/ 530486 h 1418833"/>
                    <a:gd name="connsiteX2279" fmla="*/ 691038 w 2172185"/>
                    <a:gd name="connsiteY2279" fmla="*/ 529683 h 1418833"/>
                    <a:gd name="connsiteX2280" fmla="*/ 694090 w 2172185"/>
                    <a:gd name="connsiteY2280" fmla="*/ 527353 h 1418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  <a:cxn ang="0">
                      <a:pos x="connsiteX923" y="connsiteY923"/>
                    </a:cxn>
                    <a:cxn ang="0">
                      <a:pos x="connsiteX924" y="connsiteY924"/>
                    </a:cxn>
                    <a:cxn ang="0">
                      <a:pos x="connsiteX925" y="connsiteY925"/>
                    </a:cxn>
                    <a:cxn ang="0">
                      <a:pos x="connsiteX926" y="connsiteY926"/>
                    </a:cxn>
                    <a:cxn ang="0">
                      <a:pos x="connsiteX927" y="connsiteY927"/>
                    </a:cxn>
                    <a:cxn ang="0">
                      <a:pos x="connsiteX928" y="connsiteY928"/>
                    </a:cxn>
                    <a:cxn ang="0">
                      <a:pos x="connsiteX929" y="connsiteY929"/>
                    </a:cxn>
                    <a:cxn ang="0">
                      <a:pos x="connsiteX930" y="connsiteY930"/>
                    </a:cxn>
                    <a:cxn ang="0">
                      <a:pos x="connsiteX931" y="connsiteY931"/>
                    </a:cxn>
                    <a:cxn ang="0">
                      <a:pos x="connsiteX932" y="connsiteY932"/>
                    </a:cxn>
                    <a:cxn ang="0">
                      <a:pos x="connsiteX933" y="connsiteY933"/>
                    </a:cxn>
                    <a:cxn ang="0">
                      <a:pos x="connsiteX934" y="connsiteY934"/>
                    </a:cxn>
                    <a:cxn ang="0">
                      <a:pos x="connsiteX935" y="connsiteY935"/>
                    </a:cxn>
                    <a:cxn ang="0">
                      <a:pos x="connsiteX936" y="connsiteY936"/>
                    </a:cxn>
                    <a:cxn ang="0">
                      <a:pos x="connsiteX937" y="connsiteY937"/>
                    </a:cxn>
                    <a:cxn ang="0">
                      <a:pos x="connsiteX938" y="connsiteY938"/>
                    </a:cxn>
                    <a:cxn ang="0">
                      <a:pos x="connsiteX939" y="connsiteY939"/>
                    </a:cxn>
                    <a:cxn ang="0">
                      <a:pos x="connsiteX940" y="connsiteY940"/>
                    </a:cxn>
                    <a:cxn ang="0">
                      <a:pos x="connsiteX941" y="connsiteY941"/>
                    </a:cxn>
                    <a:cxn ang="0">
                      <a:pos x="connsiteX942" y="connsiteY942"/>
                    </a:cxn>
                    <a:cxn ang="0">
                      <a:pos x="connsiteX943" y="connsiteY943"/>
                    </a:cxn>
                    <a:cxn ang="0">
                      <a:pos x="connsiteX944" y="connsiteY944"/>
                    </a:cxn>
                    <a:cxn ang="0">
                      <a:pos x="connsiteX945" y="connsiteY945"/>
                    </a:cxn>
                    <a:cxn ang="0">
                      <a:pos x="connsiteX946" y="connsiteY946"/>
                    </a:cxn>
                    <a:cxn ang="0">
                      <a:pos x="connsiteX947" y="connsiteY947"/>
                    </a:cxn>
                    <a:cxn ang="0">
                      <a:pos x="connsiteX948" y="connsiteY948"/>
                    </a:cxn>
                    <a:cxn ang="0">
                      <a:pos x="connsiteX949" y="connsiteY949"/>
                    </a:cxn>
                    <a:cxn ang="0">
                      <a:pos x="connsiteX950" y="connsiteY950"/>
                    </a:cxn>
                    <a:cxn ang="0">
                      <a:pos x="connsiteX951" y="connsiteY951"/>
                    </a:cxn>
                    <a:cxn ang="0">
                      <a:pos x="connsiteX952" y="connsiteY952"/>
                    </a:cxn>
                    <a:cxn ang="0">
                      <a:pos x="connsiteX953" y="connsiteY953"/>
                    </a:cxn>
                    <a:cxn ang="0">
                      <a:pos x="connsiteX954" y="connsiteY954"/>
                    </a:cxn>
                    <a:cxn ang="0">
                      <a:pos x="connsiteX955" y="connsiteY955"/>
                    </a:cxn>
                    <a:cxn ang="0">
                      <a:pos x="connsiteX956" y="connsiteY956"/>
                    </a:cxn>
                    <a:cxn ang="0">
                      <a:pos x="connsiteX957" y="connsiteY957"/>
                    </a:cxn>
                    <a:cxn ang="0">
                      <a:pos x="connsiteX958" y="connsiteY958"/>
                    </a:cxn>
                    <a:cxn ang="0">
                      <a:pos x="connsiteX959" y="connsiteY959"/>
                    </a:cxn>
                    <a:cxn ang="0">
                      <a:pos x="connsiteX960" y="connsiteY960"/>
                    </a:cxn>
                    <a:cxn ang="0">
                      <a:pos x="connsiteX961" y="connsiteY961"/>
                    </a:cxn>
                    <a:cxn ang="0">
                      <a:pos x="connsiteX962" y="connsiteY962"/>
                    </a:cxn>
                    <a:cxn ang="0">
                      <a:pos x="connsiteX963" y="connsiteY963"/>
                    </a:cxn>
                    <a:cxn ang="0">
                      <a:pos x="connsiteX964" y="connsiteY964"/>
                    </a:cxn>
                    <a:cxn ang="0">
                      <a:pos x="connsiteX965" y="connsiteY965"/>
                    </a:cxn>
                    <a:cxn ang="0">
                      <a:pos x="connsiteX966" y="connsiteY966"/>
                    </a:cxn>
                    <a:cxn ang="0">
                      <a:pos x="connsiteX967" y="connsiteY967"/>
                    </a:cxn>
                    <a:cxn ang="0">
                      <a:pos x="connsiteX968" y="connsiteY968"/>
                    </a:cxn>
                    <a:cxn ang="0">
                      <a:pos x="connsiteX969" y="connsiteY969"/>
                    </a:cxn>
                    <a:cxn ang="0">
                      <a:pos x="connsiteX970" y="connsiteY970"/>
                    </a:cxn>
                    <a:cxn ang="0">
                      <a:pos x="connsiteX971" y="connsiteY971"/>
                    </a:cxn>
                    <a:cxn ang="0">
                      <a:pos x="connsiteX972" y="connsiteY972"/>
                    </a:cxn>
                    <a:cxn ang="0">
                      <a:pos x="connsiteX973" y="connsiteY973"/>
                    </a:cxn>
                    <a:cxn ang="0">
                      <a:pos x="connsiteX974" y="connsiteY974"/>
                    </a:cxn>
                    <a:cxn ang="0">
                      <a:pos x="connsiteX975" y="connsiteY975"/>
                    </a:cxn>
                    <a:cxn ang="0">
                      <a:pos x="connsiteX976" y="connsiteY976"/>
                    </a:cxn>
                    <a:cxn ang="0">
                      <a:pos x="connsiteX977" y="connsiteY977"/>
                    </a:cxn>
                    <a:cxn ang="0">
                      <a:pos x="connsiteX978" y="connsiteY978"/>
                    </a:cxn>
                    <a:cxn ang="0">
                      <a:pos x="connsiteX979" y="connsiteY979"/>
                    </a:cxn>
                    <a:cxn ang="0">
                      <a:pos x="connsiteX980" y="connsiteY980"/>
                    </a:cxn>
                    <a:cxn ang="0">
                      <a:pos x="connsiteX981" y="connsiteY981"/>
                    </a:cxn>
                    <a:cxn ang="0">
                      <a:pos x="connsiteX982" y="connsiteY982"/>
                    </a:cxn>
                    <a:cxn ang="0">
                      <a:pos x="connsiteX983" y="connsiteY983"/>
                    </a:cxn>
                    <a:cxn ang="0">
                      <a:pos x="connsiteX984" y="connsiteY984"/>
                    </a:cxn>
                    <a:cxn ang="0">
                      <a:pos x="connsiteX985" y="connsiteY985"/>
                    </a:cxn>
                    <a:cxn ang="0">
                      <a:pos x="connsiteX986" y="connsiteY986"/>
                    </a:cxn>
                    <a:cxn ang="0">
                      <a:pos x="connsiteX987" y="connsiteY987"/>
                    </a:cxn>
                    <a:cxn ang="0">
                      <a:pos x="connsiteX988" y="connsiteY988"/>
                    </a:cxn>
                    <a:cxn ang="0">
                      <a:pos x="connsiteX989" y="connsiteY989"/>
                    </a:cxn>
                    <a:cxn ang="0">
                      <a:pos x="connsiteX990" y="connsiteY990"/>
                    </a:cxn>
                    <a:cxn ang="0">
                      <a:pos x="connsiteX991" y="connsiteY991"/>
                    </a:cxn>
                    <a:cxn ang="0">
                      <a:pos x="connsiteX992" y="connsiteY992"/>
                    </a:cxn>
                    <a:cxn ang="0">
                      <a:pos x="connsiteX993" y="connsiteY993"/>
                    </a:cxn>
                    <a:cxn ang="0">
                      <a:pos x="connsiteX994" y="connsiteY994"/>
                    </a:cxn>
                    <a:cxn ang="0">
                      <a:pos x="connsiteX995" y="connsiteY995"/>
                    </a:cxn>
                    <a:cxn ang="0">
                      <a:pos x="connsiteX996" y="connsiteY996"/>
                    </a:cxn>
                    <a:cxn ang="0">
                      <a:pos x="connsiteX997" y="connsiteY997"/>
                    </a:cxn>
                    <a:cxn ang="0">
                      <a:pos x="connsiteX998" y="connsiteY998"/>
                    </a:cxn>
                    <a:cxn ang="0">
                      <a:pos x="connsiteX999" y="connsiteY999"/>
                    </a:cxn>
                    <a:cxn ang="0">
                      <a:pos x="connsiteX1000" y="connsiteY1000"/>
                    </a:cxn>
                    <a:cxn ang="0">
                      <a:pos x="connsiteX1001" y="connsiteY1001"/>
                    </a:cxn>
                    <a:cxn ang="0">
                      <a:pos x="connsiteX1002" y="connsiteY1002"/>
                    </a:cxn>
                    <a:cxn ang="0">
                      <a:pos x="connsiteX1003" y="connsiteY1003"/>
                    </a:cxn>
                    <a:cxn ang="0">
                      <a:pos x="connsiteX1004" y="connsiteY1004"/>
                    </a:cxn>
                    <a:cxn ang="0">
                      <a:pos x="connsiteX1005" y="connsiteY1005"/>
                    </a:cxn>
                    <a:cxn ang="0">
                      <a:pos x="connsiteX1006" y="connsiteY1006"/>
                    </a:cxn>
                    <a:cxn ang="0">
                      <a:pos x="connsiteX1007" y="connsiteY1007"/>
                    </a:cxn>
                    <a:cxn ang="0">
                      <a:pos x="connsiteX1008" y="connsiteY1008"/>
                    </a:cxn>
                    <a:cxn ang="0">
                      <a:pos x="connsiteX1009" y="connsiteY1009"/>
                    </a:cxn>
                    <a:cxn ang="0">
                      <a:pos x="connsiteX1010" y="connsiteY1010"/>
                    </a:cxn>
                    <a:cxn ang="0">
                      <a:pos x="connsiteX1011" y="connsiteY1011"/>
                    </a:cxn>
                    <a:cxn ang="0">
                      <a:pos x="connsiteX1012" y="connsiteY1012"/>
                    </a:cxn>
                    <a:cxn ang="0">
                      <a:pos x="connsiteX1013" y="connsiteY1013"/>
                    </a:cxn>
                    <a:cxn ang="0">
                      <a:pos x="connsiteX1014" y="connsiteY1014"/>
                    </a:cxn>
                    <a:cxn ang="0">
                      <a:pos x="connsiteX1015" y="connsiteY1015"/>
                    </a:cxn>
                    <a:cxn ang="0">
                      <a:pos x="connsiteX1016" y="connsiteY1016"/>
                    </a:cxn>
                    <a:cxn ang="0">
                      <a:pos x="connsiteX1017" y="connsiteY1017"/>
                    </a:cxn>
                    <a:cxn ang="0">
                      <a:pos x="connsiteX1018" y="connsiteY1018"/>
                    </a:cxn>
                    <a:cxn ang="0">
                      <a:pos x="connsiteX1019" y="connsiteY1019"/>
                    </a:cxn>
                    <a:cxn ang="0">
                      <a:pos x="connsiteX1020" y="connsiteY1020"/>
                    </a:cxn>
                    <a:cxn ang="0">
                      <a:pos x="connsiteX1021" y="connsiteY1021"/>
                    </a:cxn>
                    <a:cxn ang="0">
                      <a:pos x="connsiteX1022" y="connsiteY1022"/>
                    </a:cxn>
                    <a:cxn ang="0">
                      <a:pos x="connsiteX1023" y="connsiteY1023"/>
                    </a:cxn>
                    <a:cxn ang="0">
                      <a:pos x="connsiteX1024" y="connsiteY1024"/>
                    </a:cxn>
                    <a:cxn ang="0">
                      <a:pos x="connsiteX1025" y="connsiteY1025"/>
                    </a:cxn>
                    <a:cxn ang="0">
                      <a:pos x="connsiteX1026" y="connsiteY1026"/>
                    </a:cxn>
                    <a:cxn ang="0">
                      <a:pos x="connsiteX1027" y="connsiteY1027"/>
                    </a:cxn>
                    <a:cxn ang="0">
                      <a:pos x="connsiteX1028" y="connsiteY1028"/>
                    </a:cxn>
                    <a:cxn ang="0">
                      <a:pos x="connsiteX1029" y="connsiteY1029"/>
                    </a:cxn>
                    <a:cxn ang="0">
                      <a:pos x="connsiteX1030" y="connsiteY1030"/>
                    </a:cxn>
                    <a:cxn ang="0">
                      <a:pos x="connsiteX1031" y="connsiteY1031"/>
                    </a:cxn>
                    <a:cxn ang="0">
                      <a:pos x="connsiteX1032" y="connsiteY1032"/>
                    </a:cxn>
                    <a:cxn ang="0">
                      <a:pos x="connsiteX1033" y="connsiteY1033"/>
                    </a:cxn>
                    <a:cxn ang="0">
                      <a:pos x="connsiteX1034" y="connsiteY1034"/>
                    </a:cxn>
                    <a:cxn ang="0">
                      <a:pos x="connsiteX1035" y="connsiteY1035"/>
                    </a:cxn>
                    <a:cxn ang="0">
                      <a:pos x="connsiteX1036" y="connsiteY1036"/>
                    </a:cxn>
                    <a:cxn ang="0">
                      <a:pos x="connsiteX1037" y="connsiteY1037"/>
                    </a:cxn>
                    <a:cxn ang="0">
                      <a:pos x="connsiteX1038" y="connsiteY1038"/>
                    </a:cxn>
                    <a:cxn ang="0">
                      <a:pos x="connsiteX1039" y="connsiteY1039"/>
                    </a:cxn>
                    <a:cxn ang="0">
                      <a:pos x="connsiteX1040" y="connsiteY1040"/>
                    </a:cxn>
                    <a:cxn ang="0">
                      <a:pos x="connsiteX1041" y="connsiteY1041"/>
                    </a:cxn>
                    <a:cxn ang="0">
                      <a:pos x="connsiteX1042" y="connsiteY1042"/>
                    </a:cxn>
                    <a:cxn ang="0">
                      <a:pos x="connsiteX1043" y="connsiteY1043"/>
                    </a:cxn>
                    <a:cxn ang="0">
                      <a:pos x="connsiteX1044" y="connsiteY1044"/>
                    </a:cxn>
                    <a:cxn ang="0">
                      <a:pos x="connsiteX1045" y="connsiteY1045"/>
                    </a:cxn>
                    <a:cxn ang="0">
                      <a:pos x="connsiteX1046" y="connsiteY1046"/>
                    </a:cxn>
                    <a:cxn ang="0">
                      <a:pos x="connsiteX1047" y="connsiteY1047"/>
                    </a:cxn>
                    <a:cxn ang="0">
                      <a:pos x="connsiteX1048" y="connsiteY1048"/>
                    </a:cxn>
                    <a:cxn ang="0">
                      <a:pos x="connsiteX1049" y="connsiteY1049"/>
                    </a:cxn>
                    <a:cxn ang="0">
                      <a:pos x="connsiteX1050" y="connsiteY1050"/>
                    </a:cxn>
                    <a:cxn ang="0">
                      <a:pos x="connsiteX1051" y="connsiteY1051"/>
                    </a:cxn>
                    <a:cxn ang="0">
                      <a:pos x="connsiteX1052" y="connsiteY1052"/>
                    </a:cxn>
                    <a:cxn ang="0">
                      <a:pos x="connsiteX1053" y="connsiteY1053"/>
                    </a:cxn>
                    <a:cxn ang="0">
                      <a:pos x="connsiteX1054" y="connsiteY1054"/>
                    </a:cxn>
                    <a:cxn ang="0">
                      <a:pos x="connsiteX1055" y="connsiteY1055"/>
                    </a:cxn>
                    <a:cxn ang="0">
                      <a:pos x="connsiteX1056" y="connsiteY1056"/>
                    </a:cxn>
                    <a:cxn ang="0">
                      <a:pos x="connsiteX1057" y="connsiteY1057"/>
                    </a:cxn>
                    <a:cxn ang="0">
                      <a:pos x="connsiteX1058" y="connsiteY1058"/>
                    </a:cxn>
                    <a:cxn ang="0">
                      <a:pos x="connsiteX1059" y="connsiteY1059"/>
                    </a:cxn>
                    <a:cxn ang="0">
                      <a:pos x="connsiteX1060" y="connsiteY1060"/>
                    </a:cxn>
                    <a:cxn ang="0">
                      <a:pos x="connsiteX1061" y="connsiteY1061"/>
                    </a:cxn>
                    <a:cxn ang="0">
                      <a:pos x="connsiteX1062" y="connsiteY1062"/>
                    </a:cxn>
                    <a:cxn ang="0">
                      <a:pos x="connsiteX1063" y="connsiteY1063"/>
                    </a:cxn>
                    <a:cxn ang="0">
                      <a:pos x="connsiteX1064" y="connsiteY1064"/>
                    </a:cxn>
                    <a:cxn ang="0">
                      <a:pos x="connsiteX1065" y="connsiteY1065"/>
                    </a:cxn>
                    <a:cxn ang="0">
                      <a:pos x="connsiteX1066" y="connsiteY1066"/>
                    </a:cxn>
                    <a:cxn ang="0">
                      <a:pos x="connsiteX1067" y="connsiteY1067"/>
                    </a:cxn>
                    <a:cxn ang="0">
                      <a:pos x="connsiteX1068" y="connsiteY1068"/>
                    </a:cxn>
                    <a:cxn ang="0">
                      <a:pos x="connsiteX1069" y="connsiteY1069"/>
                    </a:cxn>
                    <a:cxn ang="0">
                      <a:pos x="connsiteX1070" y="connsiteY1070"/>
                    </a:cxn>
                    <a:cxn ang="0">
                      <a:pos x="connsiteX1071" y="connsiteY1071"/>
                    </a:cxn>
                    <a:cxn ang="0">
                      <a:pos x="connsiteX1072" y="connsiteY1072"/>
                    </a:cxn>
                    <a:cxn ang="0">
                      <a:pos x="connsiteX1073" y="connsiteY1073"/>
                    </a:cxn>
                    <a:cxn ang="0">
                      <a:pos x="connsiteX1074" y="connsiteY1074"/>
                    </a:cxn>
                    <a:cxn ang="0">
                      <a:pos x="connsiteX1075" y="connsiteY1075"/>
                    </a:cxn>
                    <a:cxn ang="0">
                      <a:pos x="connsiteX1076" y="connsiteY1076"/>
                    </a:cxn>
                    <a:cxn ang="0">
                      <a:pos x="connsiteX1077" y="connsiteY1077"/>
                    </a:cxn>
                    <a:cxn ang="0">
                      <a:pos x="connsiteX1078" y="connsiteY1078"/>
                    </a:cxn>
                    <a:cxn ang="0">
                      <a:pos x="connsiteX1079" y="connsiteY1079"/>
                    </a:cxn>
                    <a:cxn ang="0">
                      <a:pos x="connsiteX1080" y="connsiteY1080"/>
                    </a:cxn>
                    <a:cxn ang="0">
                      <a:pos x="connsiteX1081" y="connsiteY1081"/>
                    </a:cxn>
                    <a:cxn ang="0">
                      <a:pos x="connsiteX1082" y="connsiteY1082"/>
                    </a:cxn>
                    <a:cxn ang="0">
                      <a:pos x="connsiteX1083" y="connsiteY1083"/>
                    </a:cxn>
                    <a:cxn ang="0">
                      <a:pos x="connsiteX1084" y="connsiteY1084"/>
                    </a:cxn>
                    <a:cxn ang="0">
                      <a:pos x="connsiteX1085" y="connsiteY1085"/>
                    </a:cxn>
                    <a:cxn ang="0">
                      <a:pos x="connsiteX1086" y="connsiteY1086"/>
                    </a:cxn>
                    <a:cxn ang="0">
                      <a:pos x="connsiteX1087" y="connsiteY1087"/>
                    </a:cxn>
                    <a:cxn ang="0">
                      <a:pos x="connsiteX1088" y="connsiteY1088"/>
                    </a:cxn>
                    <a:cxn ang="0">
                      <a:pos x="connsiteX1089" y="connsiteY1089"/>
                    </a:cxn>
                    <a:cxn ang="0">
                      <a:pos x="connsiteX1090" y="connsiteY1090"/>
                    </a:cxn>
                    <a:cxn ang="0">
                      <a:pos x="connsiteX1091" y="connsiteY1091"/>
                    </a:cxn>
                    <a:cxn ang="0">
                      <a:pos x="connsiteX1092" y="connsiteY1092"/>
                    </a:cxn>
                    <a:cxn ang="0">
                      <a:pos x="connsiteX1093" y="connsiteY1093"/>
                    </a:cxn>
                    <a:cxn ang="0">
                      <a:pos x="connsiteX1094" y="connsiteY1094"/>
                    </a:cxn>
                    <a:cxn ang="0">
                      <a:pos x="connsiteX1095" y="connsiteY1095"/>
                    </a:cxn>
                    <a:cxn ang="0">
                      <a:pos x="connsiteX1096" y="connsiteY1096"/>
                    </a:cxn>
                    <a:cxn ang="0">
                      <a:pos x="connsiteX1097" y="connsiteY1097"/>
                    </a:cxn>
                    <a:cxn ang="0">
                      <a:pos x="connsiteX1098" y="connsiteY1098"/>
                    </a:cxn>
                    <a:cxn ang="0">
                      <a:pos x="connsiteX1099" y="connsiteY1099"/>
                    </a:cxn>
                    <a:cxn ang="0">
                      <a:pos x="connsiteX1100" y="connsiteY1100"/>
                    </a:cxn>
                    <a:cxn ang="0">
                      <a:pos x="connsiteX1101" y="connsiteY1101"/>
                    </a:cxn>
                    <a:cxn ang="0">
                      <a:pos x="connsiteX1102" y="connsiteY1102"/>
                    </a:cxn>
                    <a:cxn ang="0">
                      <a:pos x="connsiteX1103" y="connsiteY1103"/>
                    </a:cxn>
                    <a:cxn ang="0">
                      <a:pos x="connsiteX1104" y="connsiteY1104"/>
                    </a:cxn>
                    <a:cxn ang="0">
                      <a:pos x="connsiteX1105" y="connsiteY1105"/>
                    </a:cxn>
                    <a:cxn ang="0">
                      <a:pos x="connsiteX1106" y="connsiteY1106"/>
                    </a:cxn>
                    <a:cxn ang="0">
                      <a:pos x="connsiteX1107" y="connsiteY1107"/>
                    </a:cxn>
                    <a:cxn ang="0">
                      <a:pos x="connsiteX1108" y="connsiteY1108"/>
                    </a:cxn>
                    <a:cxn ang="0">
                      <a:pos x="connsiteX1109" y="connsiteY1109"/>
                    </a:cxn>
                    <a:cxn ang="0">
                      <a:pos x="connsiteX1110" y="connsiteY1110"/>
                    </a:cxn>
                    <a:cxn ang="0">
                      <a:pos x="connsiteX1111" y="connsiteY1111"/>
                    </a:cxn>
                    <a:cxn ang="0">
                      <a:pos x="connsiteX1112" y="connsiteY1112"/>
                    </a:cxn>
                    <a:cxn ang="0">
                      <a:pos x="connsiteX1113" y="connsiteY1113"/>
                    </a:cxn>
                    <a:cxn ang="0">
                      <a:pos x="connsiteX1114" y="connsiteY1114"/>
                    </a:cxn>
                    <a:cxn ang="0">
                      <a:pos x="connsiteX1115" y="connsiteY1115"/>
                    </a:cxn>
                    <a:cxn ang="0">
                      <a:pos x="connsiteX1116" y="connsiteY1116"/>
                    </a:cxn>
                    <a:cxn ang="0">
                      <a:pos x="connsiteX1117" y="connsiteY1117"/>
                    </a:cxn>
                    <a:cxn ang="0">
                      <a:pos x="connsiteX1118" y="connsiteY1118"/>
                    </a:cxn>
                    <a:cxn ang="0">
                      <a:pos x="connsiteX1119" y="connsiteY1119"/>
                    </a:cxn>
                    <a:cxn ang="0">
                      <a:pos x="connsiteX1120" y="connsiteY1120"/>
                    </a:cxn>
                    <a:cxn ang="0">
                      <a:pos x="connsiteX1121" y="connsiteY1121"/>
                    </a:cxn>
                    <a:cxn ang="0">
                      <a:pos x="connsiteX1122" y="connsiteY1122"/>
                    </a:cxn>
                    <a:cxn ang="0">
                      <a:pos x="connsiteX1123" y="connsiteY1123"/>
                    </a:cxn>
                    <a:cxn ang="0">
                      <a:pos x="connsiteX1124" y="connsiteY1124"/>
                    </a:cxn>
                    <a:cxn ang="0">
                      <a:pos x="connsiteX1125" y="connsiteY1125"/>
                    </a:cxn>
                    <a:cxn ang="0">
                      <a:pos x="connsiteX1126" y="connsiteY1126"/>
                    </a:cxn>
                    <a:cxn ang="0">
                      <a:pos x="connsiteX1127" y="connsiteY1127"/>
                    </a:cxn>
                    <a:cxn ang="0">
                      <a:pos x="connsiteX1128" y="connsiteY1128"/>
                    </a:cxn>
                    <a:cxn ang="0">
                      <a:pos x="connsiteX1129" y="connsiteY1129"/>
                    </a:cxn>
                    <a:cxn ang="0">
                      <a:pos x="connsiteX1130" y="connsiteY1130"/>
                    </a:cxn>
                    <a:cxn ang="0">
                      <a:pos x="connsiteX1131" y="connsiteY1131"/>
                    </a:cxn>
                    <a:cxn ang="0">
                      <a:pos x="connsiteX1132" y="connsiteY1132"/>
                    </a:cxn>
                    <a:cxn ang="0">
                      <a:pos x="connsiteX1133" y="connsiteY1133"/>
                    </a:cxn>
                    <a:cxn ang="0">
                      <a:pos x="connsiteX1134" y="connsiteY1134"/>
                    </a:cxn>
                    <a:cxn ang="0">
                      <a:pos x="connsiteX1135" y="connsiteY1135"/>
                    </a:cxn>
                    <a:cxn ang="0">
                      <a:pos x="connsiteX1136" y="connsiteY1136"/>
                    </a:cxn>
                    <a:cxn ang="0">
                      <a:pos x="connsiteX1137" y="connsiteY1137"/>
                    </a:cxn>
                    <a:cxn ang="0">
                      <a:pos x="connsiteX1138" y="connsiteY1138"/>
                    </a:cxn>
                    <a:cxn ang="0">
                      <a:pos x="connsiteX1139" y="connsiteY1139"/>
                    </a:cxn>
                    <a:cxn ang="0">
                      <a:pos x="connsiteX1140" y="connsiteY1140"/>
                    </a:cxn>
                    <a:cxn ang="0">
                      <a:pos x="connsiteX1141" y="connsiteY1141"/>
                    </a:cxn>
                    <a:cxn ang="0">
                      <a:pos x="connsiteX1142" y="connsiteY1142"/>
                    </a:cxn>
                    <a:cxn ang="0">
                      <a:pos x="connsiteX1143" y="connsiteY1143"/>
                    </a:cxn>
                    <a:cxn ang="0">
                      <a:pos x="connsiteX1144" y="connsiteY1144"/>
                    </a:cxn>
                    <a:cxn ang="0">
                      <a:pos x="connsiteX1145" y="connsiteY1145"/>
                    </a:cxn>
                    <a:cxn ang="0">
                      <a:pos x="connsiteX1146" y="connsiteY1146"/>
                    </a:cxn>
                    <a:cxn ang="0">
                      <a:pos x="connsiteX1147" y="connsiteY1147"/>
                    </a:cxn>
                    <a:cxn ang="0">
                      <a:pos x="connsiteX1148" y="connsiteY1148"/>
                    </a:cxn>
                    <a:cxn ang="0">
                      <a:pos x="connsiteX1149" y="connsiteY1149"/>
                    </a:cxn>
                    <a:cxn ang="0">
                      <a:pos x="connsiteX1150" y="connsiteY1150"/>
                    </a:cxn>
                    <a:cxn ang="0">
                      <a:pos x="connsiteX1151" y="connsiteY1151"/>
                    </a:cxn>
                    <a:cxn ang="0">
                      <a:pos x="connsiteX1152" y="connsiteY1152"/>
                    </a:cxn>
                    <a:cxn ang="0">
                      <a:pos x="connsiteX1153" y="connsiteY1153"/>
                    </a:cxn>
                    <a:cxn ang="0">
                      <a:pos x="connsiteX1154" y="connsiteY1154"/>
                    </a:cxn>
                    <a:cxn ang="0">
                      <a:pos x="connsiteX1155" y="connsiteY1155"/>
                    </a:cxn>
                    <a:cxn ang="0">
                      <a:pos x="connsiteX1156" y="connsiteY1156"/>
                    </a:cxn>
                    <a:cxn ang="0">
                      <a:pos x="connsiteX1157" y="connsiteY1157"/>
                    </a:cxn>
                    <a:cxn ang="0">
                      <a:pos x="connsiteX1158" y="connsiteY1158"/>
                    </a:cxn>
                    <a:cxn ang="0">
                      <a:pos x="connsiteX1159" y="connsiteY1159"/>
                    </a:cxn>
                    <a:cxn ang="0">
                      <a:pos x="connsiteX1160" y="connsiteY1160"/>
                    </a:cxn>
                    <a:cxn ang="0">
                      <a:pos x="connsiteX1161" y="connsiteY1161"/>
                    </a:cxn>
                    <a:cxn ang="0">
                      <a:pos x="connsiteX1162" y="connsiteY1162"/>
                    </a:cxn>
                    <a:cxn ang="0">
                      <a:pos x="connsiteX1163" y="connsiteY1163"/>
                    </a:cxn>
                    <a:cxn ang="0">
                      <a:pos x="connsiteX1164" y="connsiteY1164"/>
                    </a:cxn>
                    <a:cxn ang="0">
                      <a:pos x="connsiteX1165" y="connsiteY1165"/>
                    </a:cxn>
                    <a:cxn ang="0">
                      <a:pos x="connsiteX1166" y="connsiteY1166"/>
                    </a:cxn>
                    <a:cxn ang="0">
                      <a:pos x="connsiteX1167" y="connsiteY1167"/>
                    </a:cxn>
                    <a:cxn ang="0">
                      <a:pos x="connsiteX1168" y="connsiteY1168"/>
                    </a:cxn>
                    <a:cxn ang="0">
                      <a:pos x="connsiteX1169" y="connsiteY1169"/>
                    </a:cxn>
                    <a:cxn ang="0">
                      <a:pos x="connsiteX1170" y="connsiteY1170"/>
                    </a:cxn>
                    <a:cxn ang="0">
                      <a:pos x="connsiteX1171" y="connsiteY1171"/>
                    </a:cxn>
                    <a:cxn ang="0">
                      <a:pos x="connsiteX1172" y="connsiteY1172"/>
                    </a:cxn>
                    <a:cxn ang="0">
                      <a:pos x="connsiteX1173" y="connsiteY1173"/>
                    </a:cxn>
                    <a:cxn ang="0">
                      <a:pos x="connsiteX1174" y="connsiteY1174"/>
                    </a:cxn>
                    <a:cxn ang="0">
                      <a:pos x="connsiteX1175" y="connsiteY1175"/>
                    </a:cxn>
                    <a:cxn ang="0">
                      <a:pos x="connsiteX1176" y="connsiteY1176"/>
                    </a:cxn>
                    <a:cxn ang="0">
                      <a:pos x="connsiteX1177" y="connsiteY1177"/>
                    </a:cxn>
                    <a:cxn ang="0">
                      <a:pos x="connsiteX1178" y="connsiteY1178"/>
                    </a:cxn>
                    <a:cxn ang="0">
                      <a:pos x="connsiteX1179" y="connsiteY1179"/>
                    </a:cxn>
                    <a:cxn ang="0">
                      <a:pos x="connsiteX1180" y="connsiteY1180"/>
                    </a:cxn>
                    <a:cxn ang="0">
                      <a:pos x="connsiteX1181" y="connsiteY1181"/>
                    </a:cxn>
                    <a:cxn ang="0">
                      <a:pos x="connsiteX1182" y="connsiteY1182"/>
                    </a:cxn>
                    <a:cxn ang="0">
                      <a:pos x="connsiteX1183" y="connsiteY1183"/>
                    </a:cxn>
                    <a:cxn ang="0">
                      <a:pos x="connsiteX1184" y="connsiteY1184"/>
                    </a:cxn>
                    <a:cxn ang="0">
                      <a:pos x="connsiteX1185" y="connsiteY1185"/>
                    </a:cxn>
                    <a:cxn ang="0">
                      <a:pos x="connsiteX1186" y="connsiteY1186"/>
                    </a:cxn>
                    <a:cxn ang="0">
                      <a:pos x="connsiteX1187" y="connsiteY1187"/>
                    </a:cxn>
                    <a:cxn ang="0">
                      <a:pos x="connsiteX1188" y="connsiteY1188"/>
                    </a:cxn>
                    <a:cxn ang="0">
                      <a:pos x="connsiteX1189" y="connsiteY1189"/>
                    </a:cxn>
                    <a:cxn ang="0">
                      <a:pos x="connsiteX1190" y="connsiteY1190"/>
                    </a:cxn>
                    <a:cxn ang="0">
                      <a:pos x="connsiteX1191" y="connsiteY1191"/>
                    </a:cxn>
                    <a:cxn ang="0">
                      <a:pos x="connsiteX1192" y="connsiteY1192"/>
                    </a:cxn>
                    <a:cxn ang="0">
                      <a:pos x="connsiteX1193" y="connsiteY1193"/>
                    </a:cxn>
                    <a:cxn ang="0">
                      <a:pos x="connsiteX1194" y="connsiteY1194"/>
                    </a:cxn>
                    <a:cxn ang="0">
                      <a:pos x="connsiteX1195" y="connsiteY1195"/>
                    </a:cxn>
                    <a:cxn ang="0">
                      <a:pos x="connsiteX1196" y="connsiteY1196"/>
                    </a:cxn>
                    <a:cxn ang="0">
                      <a:pos x="connsiteX1197" y="connsiteY1197"/>
                    </a:cxn>
                    <a:cxn ang="0">
                      <a:pos x="connsiteX1198" y="connsiteY1198"/>
                    </a:cxn>
                    <a:cxn ang="0">
                      <a:pos x="connsiteX1199" y="connsiteY1199"/>
                    </a:cxn>
                    <a:cxn ang="0">
                      <a:pos x="connsiteX1200" y="connsiteY1200"/>
                    </a:cxn>
                    <a:cxn ang="0">
                      <a:pos x="connsiteX1201" y="connsiteY1201"/>
                    </a:cxn>
                    <a:cxn ang="0">
                      <a:pos x="connsiteX1202" y="connsiteY1202"/>
                    </a:cxn>
                    <a:cxn ang="0">
                      <a:pos x="connsiteX1203" y="connsiteY1203"/>
                    </a:cxn>
                    <a:cxn ang="0">
                      <a:pos x="connsiteX1204" y="connsiteY1204"/>
                    </a:cxn>
                    <a:cxn ang="0">
                      <a:pos x="connsiteX1205" y="connsiteY1205"/>
                    </a:cxn>
                    <a:cxn ang="0">
                      <a:pos x="connsiteX1206" y="connsiteY1206"/>
                    </a:cxn>
                    <a:cxn ang="0">
                      <a:pos x="connsiteX1207" y="connsiteY1207"/>
                    </a:cxn>
                    <a:cxn ang="0">
                      <a:pos x="connsiteX1208" y="connsiteY1208"/>
                    </a:cxn>
                    <a:cxn ang="0">
                      <a:pos x="connsiteX1209" y="connsiteY1209"/>
                    </a:cxn>
                    <a:cxn ang="0">
                      <a:pos x="connsiteX1210" y="connsiteY1210"/>
                    </a:cxn>
                    <a:cxn ang="0">
                      <a:pos x="connsiteX1211" y="connsiteY1211"/>
                    </a:cxn>
                    <a:cxn ang="0">
                      <a:pos x="connsiteX1212" y="connsiteY1212"/>
                    </a:cxn>
                    <a:cxn ang="0">
                      <a:pos x="connsiteX1213" y="connsiteY1213"/>
                    </a:cxn>
                    <a:cxn ang="0">
                      <a:pos x="connsiteX1214" y="connsiteY1214"/>
                    </a:cxn>
                    <a:cxn ang="0">
                      <a:pos x="connsiteX1215" y="connsiteY1215"/>
                    </a:cxn>
                    <a:cxn ang="0">
                      <a:pos x="connsiteX1216" y="connsiteY1216"/>
                    </a:cxn>
                    <a:cxn ang="0">
                      <a:pos x="connsiteX1217" y="connsiteY1217"/>
                    </a:cxn>
                    <a:cxn ang="0">
                      <a:pos x="connsiteX1218" y="connsiteY1218"/>
                    </a:cxn>
                    <a:cxn ang="0">
                      <a:pos x="connsiteX1219" y="connsiteY1219"/>
                    </a:cxn>
                    <a:cxn ang="0">
                      <a:pos x="connsiteX1220" y="connsiteY1220"/>
                    </a:cxn>
                    <a:cxn ang="0">
                      <a:pos x="connsiteX1221" y="connsiteY1221"/>
                    </a:cxn>
                    <a:cxn ang="0">
                      <a:pos x="connsiteX1222" y="connsiteY1222"/>
                    </a:cxn>
                    <a:cxn ang="0">
                      <a:pos x="connsiteX1223" y="connsiteY1223"/>
                    </a:cxn>
                    <a:cxn ang="0">
                      <a:pos x="connsiteX1224" y="connsiteY1224"/>
                    </a:cxn>
                    <a:cxn ang="0">
                      <a:pos x="connsiteX1225" y="connsiteY1225"/>
                    </a:cxn>
                    <a:cxn ang="0">
                      <a:pos x="connsiteX1226" y="connsiteY1226"/>
                    </a:cxn>
                    <a:cxn ang="0">
                      <a:pos x="connsiteX1227" y="connsiteY1227"/>
                    </a:cxn>
                    <a:cxn ang="0">
                      <a:pos x="connsiteX1228" y="connsiteY1228"/>
                    </a:cxn>
                    <a:cxn ang="0">
                      <a:pos x="connsiteX1229" y="connsiteY1229"/>
                    </a:cxn>
                    <a:cxn ang="0">
                      <a:pos x="connsiteX1230" y="connsiteY1230"/>
                    </a:cxn>
                    <a:cxn ang="0">
                      <a:pos x="connsiteX1231" y="connsiteY1231"/>
                    </a:cxn>
                    <a:cxn ang="0">
                      <a:pos x="connsiteX1232" y="connsiteY1232"/>
                    </a:cxn>
                    <a:cxn ang="0">
                      <a:pos x="connsiteX1233" y="connsiteY1233"/>
                    </a:cxn>
                    <a:cxn ang="0">
                      <a:pos x="connsiteX1234" y="connsiteY1234"/>
                    </a:cxn>
                    <a:cxn ang="0">
                      <a:pos x="connsiteX1235" y="connsiteY1235"/>
                    </a:cxn>
                    <a:cxn ang="0">
                      <a:pos x="connsiteX1236" y="connsiteY1236"/>
                    </a:cxn>
                    <a:cxn ang="0">
                      <a:pos x="connsiteX1237" y="connsiteY1237"/>
                    </a:cxn>
                    <a:cxn ang="0">
                      <a:pos x="connsiteX1238" y="connsiteY1238"/>
                    </a:cxn>
                    <a:cxn ang="0">
                      <a:pos x="connsiteX1239" y="connsiteY1239"/>
                    </a:cxn>
                    <a:cxn ang="0">
                      <a:pos x="connsiteX1240" y="connsiteY1240"/>
                    </a:cxn>
                    <a:cxn ang="0">
                      <a:pos x="connsiteX1241" y="connsiteY1241"/>
                    </a:cxn>
                    <a:cxn ang="0">
                      <a:pos x="connsiteX1242" y="connsiteY1242"/>
                    </a:cxn>
                    <a:cxn ang="0">
                      <a:pos x="connsiteX1243" y="connsiteY1243"/>
                    </a:cxn>
                    <a:cxn ang="0">
                      <a:pos x="connsiteX1244" y="connsiteY1244"/>
                    </a:cxn>
                    <a:cxn ang="0">
                      <a:pos x="connsiteX1245" y="connsiteY1245"/>
                    </a:cxn>
                    <a:cxn ang="0">
                      <a:pos x="connsiteX1246" y="connsiteY1246"/>
                    </a:cxn>
                    <a:cxn ang="0">
                      <a:pos x="connsiteX1247" y="connsiteY1247"/>
                    </a:cxn>
                    <a:cxn ang="0">
                      <a:pos x="connsiteX1248" y="connsiteY1248"/>
                    </a:cxn>
                    <a:cxn ang="0">
                      <a:pos x="connsiteX1249" y="connsiteY1249"/>
                    </a:cxn>
                    <a:cxn ang="0">
                      <a:pos x="connsiteX1250" y="connsiteY1250"/>
                    </a:cxn>
                    <a:cxn ang="0">
                      <a:pos x="connsiteX1251" y="connsiteY1251"/>
                    </a:cxn>
                    <a:cxn ang="0">
                      <a:pos x="connsiteX1252" y="connsiteY1252"/>
                    </a:cxn>
                    <a:cxn ang="0">
                      <a:pos x="connsiteX1253" y="connsiteY1253"/>
                    </a:cxn>
                    <a:cxn ang="0">
                      <a:pos x="connsiteX1254" y="connsiteY1254"/>
                    </a:cxn>
                    <a:cxn ang="0">
                      <a:pos x="connsiteX1255" y="connsiteY1255"/>
                    </a:cxn>
                    <a:cxn ang="0">
                      <a:pos x="connsiteX1256" y="connsiteY1256"/>
                    </a:cxn>
                    <a:cxn ang="0">
                      <a:pos x="connsiteX1257" y="connsiteY1257"/>
                    </a:cxn>
                    <a:cxn ang="0">
                      <a:pos x="connsiteX1258" y="connsiteY1258"/>
                    </a:cxn>
                    <a:cxn ang="0">
                      <a:pos x="connsiteX1259" y="connsiteY1259"/>
                    </a:cxn>
                    <a:cxn ang="0">
                      <a:pos x="connsiteX1260" y="connsiteY1260"/>
                    </a:cxn>
                    <a:cxn ang="0">
                      <a:pos x="connsiteX1261" y="connsiteY1261"/>
                    </a:cxn>
                    <a:cxn ang="0">
                      <a:pos x="connsiteX1262" y="connsiteY1262"/>
                    </a:cxn>
                    <a:cxn ang="0">
                      <a:pos x="connsiteX1263" y="connsiteY1263"/>
                    </a:cxn>
                    <a:cxn ang="0">
                      <a:pos x="connsiteX1264" y="connsiteY1264"/>
                    </a:cxn>
                    <a:cxn ang="0">
                      <a:pos x="connsiteX1265" y="connsiteY1265"/>
                    </a:cxn>
                    <a:cxn ang="0">
                      <a:pos x="connsiteX1266" y="connsiteY1266"/>
                    </a:cxn>
                    <a:cxn ang="0">
                      <a:pos x="connsiteX1267" y="connsiteY1267"/>
                    </a:cxn>
                    <a:cxn ang="0">
                      <a:pos x="connsiteX1268" y="connsiteY1268"/>
                    </a:cxn>
                    <a:cxn ang="0">
                      <a:pos x="connsiteX1269" y="connsiteY1269"/>
                    </a:cxn>
                    <a:cxn ang="0">
                      <a:pos x="connsiteX1270" y="connsiteY1270"/>
                    </a:cxn>
                    <a:cxn ang="0">
                      <a:pos x="connsiteX1271" y="connsiteY1271"/>
                    </a:cxn>
                    <a:cxn ang="0">
                      <a:pos x="connsiteX1272" y="connsiteY1272"/>
                    </a:cxn>
                    <a:cxn ang="0">
                      <a:pos x="connsiteX1273" y="connsiteY1273"/>
                    </a:cxn>
                    <a:cxn ang="0">
                      <a:pos x="connsiteX1274" y="connsiteY1274"/>
                    </a:cxn>
                    <a:cxn ang="0">
                      <a:pos x="connsiteX1275" y="connsiteY1275"/>
                    </a:cxn>
                    <a:cxn ang="0">
                      <a:pos x="connsiteX1276" y="connsiteY1276"/>
                    </a:cxn>
                    <a:cxn ang="0">
                      <a:pos x="connsiteX1277" y="connsiteY1277"/>
                    </a:cxn>
                    <a:cxn ang="0">
                      <a:pos x="connsiteX1278" y="connsiteY1278"/>
                    </a:cxn>
                    <a:cxn ang="0">
                      <a:pos x="connsiteX1279" y="connsiteY1279"/>
                    </a:cxn>
                    <a:cxn ang="0">
                      <a:pos x="connsiteX1280" y="connsiteY1280"/>
                    </a:cxn>
                    <a:cxn ang="0">
                      <a:pos x="connsiteX1281" y="connsiteY1281"/>
                    </a:cxn>
                    <a:cxn ang="0">
                      <a:pos x="connsiteX1282" y="connsiteY1282"/>
                    </a:cxn>
                    <a:cxn ang="0">
                      <a:pos x="connsiteX1283" y="connsiteY1283"/>
                    </a:cxn>
                    <a:cxn ang="0">
                      <a:pos x="connsiteX1284" y="connsiteY1284"/>
                    </a:cxn>
                    <a:cxn ang="0">
                      <a:pos x="connsiteX1285" y="connsiteY1285"/>
                    </a:cxn>
                    <a:cxn ang="0">
                      <a:pos x="connsiteX1286" y="connsiteY1286"/>
                    </a:cxn>
                    <a:cxn ang="0">
                      <a:pos x="connsiteX1287" y="connsiteY1287"/>
                    </a:cxn>
                    <a:cxn ang="0">
                      <a:pos x="connsiteX1288" y="connsiteY1288"/>
                    </a:cxn>
                    <a:cxn ang="0">
                      <a:pos x="connsiteX1289" y="connsiteY1289"/>
                    </a:cxn>
                    <a:cxn ang="0">
                      <a:pos x="connsiteX1290" y="connsiteY1290"/>
                    </a:cxn>
                    <a:cxn ang="0">
                      <a:pos x="connsiteX1291" y="connsiteY1291"/>
                    </a:cxn>
                    <a:cxn ang="0">
                      <a:pos x="connsiteX1292" y="connsiteY1292"/>
                    </a:cxn>
                    <a:cxn ang="0">
                      <a:pos x="connsiteX1293" y="connsiteY1293"/>
                    </a:cxn>
                    <a:cxn ang="0">
                      <a:pos x="connsiteX1294" y="connsiteY1294"/>
                    </a:cxn>
                    <a:cxn ang="0">
                      <a:pos x="connsiteX1295" y="connsiteY1295"/>
                    </a:cxn>
                    <a:cxn ang="0">
                      <a:pos x="connsiteX1296" y="connsiteY1296"/>
                    </a:cxn>
                    <a:cxn ang="0">
                      <a:pos x="connsiteX1297" y="connsiteY1297"/>
                    </a:cxn>
                    <a:cxn ang="0">
                      <a:pos x="connsiteX1298" y="connsiteY1298"/>
                    </a:cxn>
                    <a:cxn ang="0">
                      <a:pos x="connsiteX1299" y="connsiteY1299"/>
                    </a:cxn>
                    <a:cxn ang="0">
                      <a:pos x="connsiteX1300" y="connsiteY1300"/>
                    </a:cxn>
                    <a:cxn ang="0">
                      <a:pos x="connsiteX1301" y="connsiteY1301"/>
                    </a:cxn>
                    <a:cxn ang="0">
                      <a:pos x="connsiteX1302" y="connsiteY1302"/>
                    </a:cxn>
                    <a:cxn ang="0">
                      <a:pos x="connsiteX1303" y="connsiteY1303"/>
                    </a:cxn>
                    <a:cxn ang="0">
                      <a:pos x="connsiteX1304" y="connsiteY1304"/>
                    </a:cxn>
                    <a:cxn ang="0">
                      <a:pos x="connsiteX1305" y="connsiteY1305"/>
                    </a:cxn>
                    <a:cxn ang="0">
                      <a:pos x="connsiteX1306" y="connsiteY1306"/>
                    </a:cxn>
                    <a:cxn ang="0">
                      <a:pos x="connsiteX1307" y="connsiteY1307"/>
                    </a:cxn>
                    <a:cxn ang="0">
                      <a:pos x="connsiteX1308" y="connsiteY1308"/>
                    </a:cxn>
                    <a:cxn ang="0">
                      <a:pos x="connsiteX1309" y="connsiteY1309"/>
                    </a:cxn>
                    <a:cxn ang="0">
                      <a:pos x="connsiteX1310" y="connsiteY1310"/>
                    </a:cxn>
                    <a:cxn ang="0">
                      <a:pos x="connsiteX1311" y="connsiteY1311"/>
                    </a:cxn>
                    <a:cxn ang="0">
                      <a:pos x="connsiteX1312" y="connsiteY1312"/>
                    </a:cxn>
                    <a:cxn ang="0">
                      <a:pos x="connsiteX1313" y="connsiteY1313"/>
                    </a:cxn>
                    <a:cxn ang="0">
                      <a:pos x="connsiteX1314" y="connsiteY1314"/>
                    </a:cxn>
                    <a:cxn ang="0">
                      <a:pos x="connsiteX1315" y="connsiteY1315"/>
                    </a:cxn>
                    <a:cxn ang="0">
                      <a:pos x="connsiteX1316" y="connsiteY1316"/>
                    </a:cxn>
                    <a:cxn ang="0">
                      <a:pos x="connsiteX1317" y="connsiteY1317"/>
                    </a:cxn>
                    <a:cxn ang="0">
                      <a:pos x="connsiteX1318" y="connsiteY1318"/>
                    </a:cxn>
                    <a:cxn ang="0">
                      <a:pos x="connsiteX1319" y="connsiteY1319"/>
                    </a:cxn>
                    <a:cxn ang="0">
                      <a:pos x="connsiteX1320" y="connsiteY1320"/>
                    </a:cxn>
                    <a:cxn ang="0">
                      <a:pos x="connsiteX1321" y="connsiteY1321"/>
                    </a:cxn>
                    <a:cxn ang="0">
                      <a:pos x="connsiteX1322" y="connsiteY1322"/>
                    </a:cxn>
                    <a:cxn ang="0">
                      <a:pos x="connsiteX1323" y="connsiteY1323"/>
                    </a:cxn>
                    <a:cxn ang="0">
                      <a:pos x="connsiteX1324" y="connsiteY1324"/>
                    </a:cxn>
                    <a:cxn ang="0">
                      <a:pos x="connsiteX1325" y="connsiteY1325"/>
                    </a:cxn>
                    <a:cxn ang="0">
                      <a:pos x="connsiteX1326" y="connsiteY1326"/>
                    </a:cxn>
                    <a:cxn ang="0">
                      <a:pos x="connsiteX1327" y="connsiteY1327"/>
                    </a:cxn>
                    <a:cxn ang="0">
                      <a:pos x="connsiteX1328" y="connsiteY1328"/>
                    </a:cxn>
                    <a:cxn ang="0">
                      <a:pos x="connsiteX1329" y="connsiteY1329"/>
                    </a:cxn>
                    <a:cxn ang="0">
                      <a:pos x="connsiteX1330" y="connsiteY1330"/>
                    </a:cxn>
                    <a:cxn ang="0">
                      <a:pos x="connsiteX1331" y="connsiteY1331"/>
                    </a:cxn>
                    <a:cxn ang="0">
                      <a:pos x="connsiteX1332" y="connsiteY1332"/>
                    </a:cxn>
                    <a:cxn ang="0">
                      <a:pos x="connsiteX1333" y="connsiteY1333"/>
                    </a:cxn>
                    <a:cxn ang="0">
                      <a:pos x="connsiteX1334" y="connsiteY1334"/>
                    </a:cxn>
                    <a:cxn ang="0">
                      <a:pos x="connsiteX1335" y="connsiteY1335"/>
                    </a:cxn>
                    <a:cxn ang="0">
                      <a:pos x="connsiteX1336" y="connsiteY1336"/>
                    </a:cxn>
                    <a:cxn ang="0">
                      <a:pos x="connsiteX1337" y="connsiteY1337"/>
                    </a:cxn>
                    <a:cxn ang="0">
                      <a:pos x="connsiteX1338" y="connsiteY1338"/>
                    </a:cxn>
                    <a:cxn ang="0">
                      <a:pos x="connsiteX1339" y="connsiteY1339"/>
                    </a:cxn>
                    <a:cxn ang="0">
                      <a:pos x="connsiteX1340" y="connsiteY1340"/>
                    </a:cxn>
                    <a:cxn ang="0">
                      <a:pos x="connsiteX1341" y="connsiteY1341"/>
                    </a:cxn>
                    <a:cxn ang="0">
                      <a:pos x="connsiteX1342" y="connsiteY1342"/>
                    </a:cxn>
                    <a:cxn ang="0">
                      <a:pos x="connsiteX1343" y="connsiteY1343"/>
                    </a:cxn>
                    <a:cxn ang="0">
                      <a:pos x="connsiteX1344" y="connsiteY1344"/>
                    </a:cxn>
                    <a:cxn ang="0">
                      <a:pos x="connsiteX1345" y="connsiteY1345"/>
                    </a:cxn>
                    <a:cxn ang="0">
                      <a:pos x="connsiteX1346" y="connsiteY1346"/>
                    </a:cxn>
                    <a:cxn ang="0">
                      <a:pos x="connsiteX1347" y="connsiteY1347"/>
                    </a:cxn>
                    <a:cxn ang="0">
                      <a:pos x="connsiteX1348" y="connsiteY1348"/>
                    </a:cxn>
                    <a:cxn ang="0">
                      <a:pos x="connsiteX1349" y="connsiteY1349"/>
                    </a:cxn>
                    <a:cxn ang="0">
                      <a:pos x="connsiteX1350" y="connsiteY1350"/>
                    </a:cxn>
                    <a:cxn ang="0">
                      <a:pos x="connsiteX1351" y="connsiteY1351"/>
                    </a:cxn>
                    <a:cxn ang="0">
                      <a:pos x="connsiteX1352" y="connsiteY1352"/>
                    </a:cxn>
                    <a:cxn ang="0">
                      <a:pos x="connsiteX1353" y="connsiteY1353"/>
                    </a:cxn>
                    <a:cxn ang="0">
                      <a:pos x="connsiteX1354" y="connsiteY1354"/>
                    </a:cxn>
                    <a:cxn ang="0">
                      <a:pos x="connsiteX1355" y="connsiteY1355"/>
                    </a:cxn>
                    <a:cxn ang="0">
                      <a:pos x="connsiteX1356" y="connsiteY1356"/>
                    </a:cxn>
                    <a:cxn ang="0">
                      <a:pos x="connsiteX1357" y="connsiteY1357"/>
                    </a:cxn>
                    <a:cxn ang="0">
                      <a:pos x="connsiteX1358" y="connsiteY1358"/>
                    </a:cxn>
                    <a:cxn ang="0">
                      <a:pos x="connsiteX1359" y="connsiteY1359"/>
                    </a:cxn>
                    <a:cxn ang="0">
                      <a:pos x="connsiteX1360" y="connsiteY1360"/>
                    </a:cxn>
                    <a:cxn ang="0">
                      <a:pos x="connsiteX1361" y="connsiteY1361"/>
                    </a:cxn>
                    <a:cxn ang="0">
                      <a:pos x="connsiteX1362" y="connsiteY1362"/>
                    </a:cxn>
                    <a:cxn ang="0">
                      <a:pos x="connsiteX1363" y="connsiteY1363"/>
                    </a:cxn>
                    <a:cxn ang="0">
                      <a:pos x="connsiteX1364" y="connsiteY1364"/>
                    </a:cxn>
                    <a:cxn ang="0">
                      <a:pos x="connsiteX1365" y="connsiteY1365"/>
                    </a:cxn>
                    <a:cxn ang="0">
                      <a:pos x="connsiteX1366" y="connsiteY1366"/>
                    </a:cxn>
                    <a:cxn ang="0">
                      <a:pos x="connsiteX1367" y="connsiteY1367"/>
                    </a:cxn>
                    <a:cxn ang="0">
                      <a:pos x="connsiteX1368" y="connsiteY1368"/>
                    </a:cxn>
                    <a:cxn ang="0">
                      <a:pos x="connsiteX1369" y="connsiteY1369"/>
                    </a:cxn>
                    <a:cxn ang="0">
                      <a:pos x="connsiteX1370" y="connsiteY1370"/>
                    </a:cxn>
                    <a:cxn ang="0">
                      <a:pos x="connsiteX1371" y="connsiteY1371"/>
                    </a:cxn>
                    <a:cxn ang="0">
                      <a:pos x="connsiteX1372" y="connsiteY1372"/>
                    </a:cxn>
                    <a:cxn ang="0">
                      <a:pos x="connsiteX1373" y="connsiteY1373"/>
                    </a:cxn>
                    <a:cxn ang="0">
                      <a:pos x="connsiteX1374" y="connsiteY1374"/>
                    </a:cxn>
                    <a:cxn ang="0">
                      <a:pos x="connsiteX1375" y="connsiteY1375"/>
                    </a:cxn>
                    <a:cxn ang="0">
                      <a:pos x="connsiteX1376" y="connsiteY1376"/>
                    </a:cxn>
                    <a:cxn ang="0">
                      <a:pos x="connsiteX1377" y="connsiteY1377"/>
                    </a:cxn>
                    <a:cxn ang="0">
                      <a:pos x="connsiteX1378" y="connsiteY1378"/>
                    </a:cxn>
                    <a:cxn ang="0">
                      <a:pos x="connsiteX1379" y="connsiteY1379"/>
                    </a:cxn>
                    <a:cxn ang="0">
                      <a:pos x="connsiteX1380" y="connsiteY1380"/>
                    </a:cxn>
                    <a:cxn ang="0">
                      <a:pos x="connsiteX1381" y="connsiteY1381"/>
                    </a:cxn>
                    <a:cxn ang="0">
                      <a:pos x="connsiteX1382" y="connsiteY1382"/>
                    </a:cxn>
                    <a:cxn ang="0">
                      <a:pos x="connsiteX1383" y="connsiteY1383"/>
                    </a:cxn>
                    <a:cxn ang="0">
                      <a:pos x="connsiteX1384" y="connsiteY1384"/>
                    </a:cxn>
                    <a:cxn ang="0">
                      <a:pos x="connsiteX1385" y="connsiteY1385"/>
                    </a:cxn>
                    <a:cxn ang="0">
                      <a:pos x="connsiteX1386" y="connsiteY1386"/>
                    </a:cxn>
                    <a:cxn ang="0">
                      <a:pos x="connsiteX1387" y="connsiteY1387"/>
                    </a:cxn>
                    <a:cxn ang="0">
                      <a:pos x="connsiteX1388" y="connsiteY1388"/>
                    </a:cxn>
                    <a:cxn ang="0">
                      <a:pos x="connsiteX1389" y="connsiteY1389"/>
                    </a:cxn>
                    <a:cxn ang="0">
                      <a:pos x="connsiteX1390" y="connsiteY1390"/>
                    </a:cxn>
                    <a:cxn ang="0">
                      <a:pos x="connsiteX1391" y="connsiteY1391"/>
                    </a:cxn>
                    <a:cxn ang="0">
                      <a:pos x="connsiteX1392" y="connsiteY1392"/>
                    </a:cxn>
                    <a:cxn ang="0">
                      <a:pos x="connsiteX1393" y="connsiteY1393"/>
                    </a:cxn>
                    <a:cxn ang="0">
                      <a:pos x="connsiteX1394" y="connsiteY1394"/>
                    </a:cxn>
                    <a:cxn ang="0">
                      <a:pos x="connsiteX1395" y="connsiteY1395"/>
                    </a:cxn>
                    <a:cxn ang="0">
                      <a:pos x="connsiteX1396" y="connsiteY1396"/>
                    </a:cxn>
                    <a:cxn ang="0">
                      <a:pos x="connsiteX1397" y="connsiteY1397"/>
                    </a:cxn>
                    <a:cxn ang="0">
                      <a:pos x="connsiteX1398" y="connsiteY1398"/>
                    </a:cxn>
                    <a:cxn ang="0">
                      <a:pos x="connsiteX1399" y="connsiteY1399"/>
                    </a:cxn>
                    <a:cxn ang="0">
                      <a:pos x="connsiteX1400" y="connsiteY1400"/>
                    </a:cxn>
                    <a:cxn ang="0">
                      <a:pos x="connsiteX1401" y="connsiteY1401"/>
                    </a:cxn>
                    <a:cxn ang="0">
                      <a:pos x="connsiteX1402" y="connsiteY1402"/>
                    </a:cxn>
                    <a:cxn ang="0">
                      <a:pos x="connsiteX1403" y="connsiteY1403"/>
                    </a:cxn>
                    <a:cxn ang="0">
                      <a:pos x="connsiteX1404" y="connsiteY1404"/>
                    </a:cxn>
                    <a:cxn ang="0">
                      <a:pos x="connsiteX1405" y="connsiteY1405"/>
                    </a:cxn>
                    <a:cxn ang="0">
                      <a:pos x="connsiteX1406" y="connsiteY1406"/>
                    </a:cxn>
                    <a:cxn ang="0">
                      <a:pos x="connsiteX1407" y="connsiteY1407"/>
                    </a:cxn>
                    <a:cxn ang="0">
                      <a:pos x="connsiteX1408" y="connsiteY1408"/>
                    </a:cxn>
                    <a:cxn ang="0">
                      <a:pos x="connsiteX1409" y="connsiteY1409"/>
                    </a:cxn>
                    <a:cxn ang="0">
                      <a:pos x="connsiteX1410" y="connsiteY1410"/>
                    </a:cxn>
                    <a:cxn ang="0">
                      <a:pos x="connsiteX1411" y="connsiteY1411"/>
                    </a:cxn>
                    <a:cxn ang="0">
                      <a:pos x="connsiteX1412" y="connsiteY1412"/>
                    </a:cxn>
                    <a:cxn ang="0">
                      <a:pos x="connsiteX1413" y="connsiteY1413"/>
                    </a:cxn>
                    <a:cxn ang="0">
                      <a:pos x="connsiteX1414" y="connsiteY1414"/>
                    </a:cxn>
                    <a:cxn ang="0">
                      <a:pos x="connsiteX1415" y="connsiteY1415"/>
                    </a:cxn>
                    <a:cxn ang="0">
                      <a:pos x="connsiteX1416" y="connsiteY1416"/>
                    </a:cxn>
                    <a:cxn ang="0">
                      <a:pos x="connsiteX1417" y="connsiteY1417"/>
                    </a:cxn>
                    <a:cxn ang="0">
                      <a:pos x="connsiteX1418" y="connsiteY1418"/>
                    </a:cxn>
                    <a:cxn ang="0">
                      <a:pos x="connsiteX1419" y="connsiteY1419"/>
                    </a:cxn>
                    <a:cxn ang="0">
                      <a:pos x="connsiteX1420" y="connsiteY1420"/>
                    </a:cxn>
                    <a:cxn ang="0">
                      <a:pos x="connsiteX1421" y="connsiteY1421"/>
                    </a:cxn>
                    <a:cxn ang="0">
                      <a:pos x="connsiteX1422" y="connsiteY1422"/>
                    </a:cxn>
                    <a:cxn ang="0">
                      <a:pos x="connsiteX1423" y="connsiteY1423"/>
                    </a:cxn>
                    <a:cxn ang="0">
                      <a:pos x="connsiteX1424" y="connsiteY1424"/>
                    </a:cxn>
                    <a:cxn ang="0">
                      <a:pos x="connsiteX1425" y="connsiteY1425"/>
                    </a:cxn>
                    <a:cxn ang="0">
                      <a:pos x="connsiteX1426" y="connsiteY1426"/>
                    </a:cxn>
                    <a:cxn ang="0">
                      <a:pos x="connsiteX1427" y="connsiteY1427"/>
                    </a:cxn>
                    <a:cxn ang="0">
                      <a:pos x="connsiteX1428" y="connsiteY1428"/>
                    </a:cxn>
                    <a:cxn ang="0">
                      <a:pos x="connsiteX1429" y="connsiteY1429"/>
                    </a:cxn>
                    <a:cxn ang="0">
                      <a:pos x="connsiteX1430" y="connsiteY1430"/>
                    </a:cxn>
                    <a:cxn ang="0">
                      <a:pos x="connsiteX1431" y="connsiteY1431"/>
                    </a:cxn>
                    <a:cxn ang="0">
                      <a:pos x="connsiteX1432" y="connsiteY1432"/>
                    </a:cxn>
                    <a:cxn ang="0">
                      <a:pos x="connsiteX1433" y="connsiteY1433"/>
                    </a:cxn>
                    <a:cxn ang="0">
                      <a:pos x="connsiteX1434" y="connsiteY1434"/>
                    </a:cxn>
                    <a:cxn ang="0">
                      <a:pos x="connsiteX1435" y="connsiteY1435"/>
                    </a:cxn>
                    <a:cxn ang="0">
                      <a:pos x="connsiteX1436" y="connsiteY1436"/>
                    </a:cxn>
                    <a:cxn ang="0">
                      <a:pos x="connsiteX1437" y="connsiteY1437"/>
                    </a:cxn>
                    <a:cxn ang="0">
                      <a:pos x="connsiteX1438" y="connsiteY1438"/>
                    </a:cxn>
                    <a:cxn ang="0">
                      <a:pos x="connsiteX1439" y="connsiteY1439"/>
                    </a:cxn>
                    <a:cxn ang="0">
                      <a:pos x="connsiteX1440" y="connsiteY1440"/>
                    </a:cxn>
                    <a:cxn ang="0">
                      <a:pos x="connsiteX1441" y="connsiteY1441"/>
                    </a:cxn>
                    <a:cxn ang="0">
                      <a:pos x="connsiteX1442" y="connsiteY1442"/>
                    </a:cxn>
                    <a:cxn ang="0">
                      <a:pos x="connsiteX1443" y="connsiteY1443"/>
                    </a:cxn>
                    <a:cxn ang="0">
                      <a:pos x="connsiteX1444" y="connsiteY1444"/>
                    </a:cxn>
                    <a:cxn ang="0">
                      <a:pos x="connsiteX1445" y="connsiteY1445"/>
                    </a:cxn>
                    <a:cxn ang="0">
                      <a:pos x="connsiteX1446" y="connsiteY1446"/>
                    </a:cxn>
                    <a:cxn ang="0">
                      <a:pos x="connsiteX1447" y="connsiteY1447"/>
                    </a:cxn>
                    <a:cxn ang="0">
                      <a:pos x="connsiteX1448" y="connsiteY1448"/>
                    </a:cxn>
                    <a:cxn ang="0">
                      <a:pos x="connsiteX1449" y="connsiteY1449"/>
                    </a:cxn>
                    <a:cxn ang="0">
                      <a:pos x="connsiteX1450" y="connsiteY1450"/>
                    </a:cxn>
                    <a:cxn ang="0">
                      <a:pos x="connsiteX1451" y="connsiteY1451"/>
                    </a:cxn>
                    <a:cxn ang="0">
                      <a:pos x="connsiteX1452" y="connsiteY1452"/>
                    </a:cxn>
                    <a:cxn ang="0">
                      <a:pos x="connsiteX1453" y="connsiteY1453"/>
                    </a:cxn>
                    <a:cxn ang="0">
                      <a:pos x="connsiteX1454" y="connsiteY1454"/>
                    </a:cxn>
                    <a:cxn ang="0">
                      <a:pos x="connsiteX1455" y="connsiteY1455"/>
                    </a:cxn>
                    <a:cxn ang="0">
                      <a:pos x="connsiteX1456" y="connsiteY1456"/>
                    </a:cxn>
                    <a:cxn ang="0">
                      <a:pos x="connsiteX1457" y="connsiteY1457"/>
                    </a:cxn>
                    <a:cxn ang="0">
                      <a:pos x="connsiteX1458" y="connsiteY1458"/>
                    </a:cxn>
                    <a:cxn ang="0">
                      <a:pos x="connsiteX1459" y="connsiteY1459"/>
                    </a:cxn>
                    <a:cxn ang="0">
                      <a:pos x="connsiteX1460" y="connsiteY1460"/>
                    </a:cxn>
                    <a:cxn ang="0">
                      <a:pos x="connsiteX1461" y="connsiteY1461"/>
                    </a:cxn>
                    <a:cxn ang="0">
                      <a:pos x="connsiteX1462" y="connsiteY1462"/>
                    </a:cxn>
                    <a:cxn ang="0">
                      <a:pos x="connsiteX1463" y="connsiteY1463"/>
                    </a:cxn>
                    <a:cxn ang="0">
                      <a:pos x="connsiteX1464" y="connsiteY1464"/>
                    </a:cxn>
                    <a:cxn ang="0">
                      <a:pos x="connsiteX1465" y="connsiteY1465"/>
                    </a:cxn>
                    <a:cxn ang="0">
                      <a:pos x="connsiteX1466" y="connsiteY1466"/>
                    </a:cxn>
                    <a:cxn ang="0">
                      <a:pos x="connsiteX1467" y="connsiteY1467"/>
                    </a:cxn>
                    <a:cxn ang="0">
                      <a:pos x="connsiteX1468" y="connsiteY1468"/>
                    </a:cxn>
                    <a:cxn ang="0">
                      <a:pos x="connsiteX1469" y="connsiteY1469"/>
                    </a:cxn>
                    <a:cxn ang="0">
                      <a:pos x="connsiteX1470" y="connsiteY1470"/>
                    </a:cxn>
                    <a:cxn ang="0">
                      <a:pos x="connsiteX1471" y="connsiteY1471"/>
                    </a:cxn>
                    <a:cxn ang="0">
                      <a:pos x="connsiteX1472" y="connsiteY1472"/>
                    </a:cxn>
                    <a:cxn ang="0">
                      <a:pos x="connsiteX1473" y="connsiteY1473"/>
                    </a:cxn>
                    <a:cxn ang="0">
                      <a:pos x="connsiteX1474" y="connsiteY1474"/>
                    </a:cxn>
                    <a:cxn ang="0">
                      <a:pos x="connsiteX1475" y="connsiteY1475"/>
                    </a:cxn>
                    <a:cxn ang="0">
                      <a:pos x="connsiteX1476" y="connsiteY1476"/>
                    </a:cxn>
                    <a:cxn ang="0">
                      <a:pos x="connsiteX1477" y="connsiteY1477"/>
                    </a:cxn>
                    <a:cxn ang="0">
                      <a:pos x="connsiteX1478" y="connsiteY1478"/>
                    </a:cxn>
                    <a:cxn ang="0">
                      <a:pos x="connsiteX1479" y="connsiteY1479"/>
                    </a:cxn>
                    <a:cxn ang="0">
                      <a:pos x="connsiteX1480" y="connsiteY1480"/>
                    </a:cxn>
                    <a:cxn ang="0">
                      <a:pos x="connsiteX1481" y="connsiteY1481"/>
                    </a:cxn>
                    <a:cxn ang="0">
                      <a:pos x="connsiteX1482" y="connsiteY1482"/>
                    </a:cxn>
                    <a:cxn ang="0">
                      <a:pos x="connsiteX1483" y="connsiteY1483"/>
                    </a:cxn>
                    <a:cxn ang="0">
                      <a:pos x="connsiteX1484" y="connsiteY1484"/>
                    </a:cxn>
                    <a:cxn ang="0">
                      <a:pos x="connsiteX1485" y="connsiteY1485"/>
                    </a:cxn>
                    <a:cxn ang="0">
                      <a:pos x="connsiteX1486" y="connsiteY1486"/>
                    </a:cxn>
                    <a:cxn ang="0">
                      <a:pos x="connsiteX1487" y="connsiteY1487"/>
                    </a:cxn>
                    <a:cxn ang="0">
                      <a:pos x="connsiteX1488" y="connsiteY1488"/>
                    </a:cxn>
                    <a:cxn ang="0">
                      <a:pos x="connsiteX1489" y="connsiteY1489"/>
                    </a:cxn>
                    <a:cxn ang="0">
                      <a:pos x="connsiteX1490" y="connsiteY1490"/>
                    </a:cxn>
                    <a:cxn ang="0">
                      <a:pos x="connsiteX1491" y="connsiteY1491"/>
                    </a:cxn>
                    <a:cxn ang="0">
                      <a:pos x="connsiteX1492" y="connsiteY1492"/>
                    </a:cxn>
                    <a:cxn ang="0">
                      <a:pos x="connsiteX1493" y="connsiteY1493"/>
                    </a:cxn>
                    <a:cxn ang="0">
                      <a:pos x="connsiteX1494" y="connsiteY1494"/>
                    </a:cxn>
                    <a:cxn ang="0">
                      <a:pos x="connsiteX1495" y="connsiteY1495"/>
                    </a:cxn>
                    <a:cxn ang="0">
                      <a:pos x="connsiteX1496" y="connsiteY1496"/>
                    </a:cxn>
                    <a:cxn ang="0">
                      <a:pos x="connsiteX1497" y="connsiteY1497"/>
                    </a:cxn>
                    <a:cxn ang="0">
                      <a:pos x="connsiteX1498" y="connsiteY1498"/>
                    </a:cxn>
                    <a:cxn ang="0">
                      <a:pos x="connsiteX1499" y="connsiteY1499"/>
                    </a:cxn>
                    <a:cxn ang="0">
                      <a:pos x="connsiteX1500" y="connsiteY1500"/>
                    </a:cxn>
                    <a:cxn ang="0">
                      <a:pos x="connsiteX1501" y="connsiteY1501"/>
                    </a:cxn>
                    <a:cxn ang="0">
                      <a:pos x="connsiteX1502" y="connsiteY1502"/>
                    </a:cxn>
                    <a:cxn ang="0">
                      <a:pos x="connsiteX1503" y="connsiteY1503"/>
                    </a:cxn>
                    <a:cxn ang="0">
                      <a:pos x="connsiteX1504" y="connsiteY1504"/>
                    </a:cxn>
                    <a:cxn ang="0">
                      <a:pos x="connsiteX1505" y="connsiteY1505"/>
                    </a:cxn>
                    <a:cxn ang="0">
                      <a:pos x="connsiteX1506" y="connsiteY1506"/>
                    </a:cxn>
                    <a:cxn ang="0">
                      <a:pos x="connsiteX1507" y="connsiteY1507"/>
                    </a:cxn>
                    <a:cxn ang="0">
                      <a:pos x="connsiteX1508" y="connsiteY1508"/>
                    </a:cxn>
                    <a:cxn ang="0">
                      <a:pos x="connsiteX1509" y="connsiteY1509"/>
                    </a:cxn>
                    <a:cxn ang="0">
                      <a:pos x="connsiteX1510" y="connsiteY1510"/>
                    </a:cxn>
                    <a:cxn ang="0">
                      <a:pos x="connsiteX1511" y="connsiteY1511"/>
                    </a:cxn>
                    <a:cxn ang="0">
                      <a:pos x="connsiteX1512" y="connsiteY1512"/>
                    </a:cxn>
                    <a:cxn ang="0">
                      <a:pos x="connsiteX1513" y="connsiteY1513"/>
                    </a:cxn>
                    <a:cxn ang="0">
                      <a:pos x="connsiteX1514" y="connsiteY1514"/>
                    </a:cxn>
                    <a:cxn ang="0">
                      <a:pos x="connsiteX1515" y="connsiteY1515"/>
                    </a:cxn>
                    <a:cxn ang="0">
                      <a:pos x="connsiteX1516" y="connsiteY1516"/>
                    </a:cxn>
                    <a:cxn ang="0">
                      <a:pos x="connsiteX1517" y="connsiteY1517"/>
                    </a:cxn>
                    <a:cxn ang="0">
                      <a:pos x="connsiteX1518" y="connsiteY1518"/>
                    </a:cxn>
                    <a:cxn ang="0">
                      <a:pos x="connsiteX1519" y="connsiteY1519"/>
                    </a:cxn>
                    <a:cxn ang="0">
                      <a:pos x="connsiteX1520" y="connsiteY1520"/>
                    </a:cxn>
                    <a:cxn ang="0">
                      <a:pos x="connsiteX1521" y="connsiteY1521"/>
                    </a:cxn>
                    <a:cxn ang="0">
                      <a:pos x="connsiteX1522" y="connsiteY1522"/>
                    </a:cxn>
                    <a:cxn ang="0">
                      <a:pos x="connsiteX1523" y="connsiteY1523"/>
                    </a:cxn>
                    <a:cxn ang="0">
                      <a:pos x="connsiteX1524" y="connsiteY1524"/>
                    </a:cxn>
                    <a:cxn ang="0">
                      <a:pos x="connsiteX1525" y="connsiteY1525"/>
                    </a:cxn>
                    <a:cxn ang="0">
                      <a:pos x="connsiteX1526" y="connsiteY1526"/>
                    </a:cxn>
                    <a:cxn ang="0">
                      <a:pos x="connsiteX1527" y="connsiteY1527"/>
                    </a:cxn>
                    <a:cxn ang="0">
                      <a:pos x="connsiteX1528" y="connsiteY1528"/>
                    </a:cxn>
                    <a:cxn ang="0">
                      <a:pos x="connsiteX1529" y="connsiteY1529"/>
                    </a:cxn>
                    <a:cxn ang="0">
                      <a:pos x="connsiteX1530" y="connsiteY1530"/>
                    </a:cxn>
                    <a:cxn ang="0">
                      <a:pos x="connsiteX1531" y="connsiteY1531"/>
                    </a:cxn>
                    <a:cxn ang="0">
                      <a:pos x="connsiteX1532" y="connsiteY1532"/>
                    </a:cxn>
                    <a:cxn ang="0">
                      <a:pos x="connsiteX1533" y="connsiteY1533"/>
                    </a:cxn>
                    <a:cxn ang="0">
                      <a:pos x="connsiteX1534" y="connsiteY1534"/>
                    </a:cxn>
                    <a:cxn ang="0">
                      <a:pos x="connsiteX1535" y="connsiteY1535"/>
                    </a:cxn>
                    <a:cxn ang="0">
                      <a:pos x="connsiteX1536" y="connsiteY1536"/>
                    </a:cxn>
                    <a:cxn ang="0">
                      <a:pos x="connsiteX1537" y="connsiteY1537"/>
                    </a:cxn>
                    <a:cxn ang="0">
                      <a:pos x="connsiteX1538" y="connsiteY1538"/>
                    </a:cxn>
                    <a:cxn ang="0">
                      <a:pos x="connsiteX1539" y="connsiteY1539"/>
                    </a:cxn>
                    <a:cxn ang="0">
                      <a:pos x="connsiteX1540" y="connsiteY1540"/>
                    </a:cxn>
                    <a:cxn ang="0">
                      <a:pos x="connsiteX1541" y="connsiteY1541"/>
                    </a:cxn>
                    <a:cxn ang="0">
                      <a:pos x="connsiteX1542" y="connsiteY1542"/>
                    </a:cxn>
                    <a:cxn ang="0">
                      <a:pos x="connsiteX1543" y="connsiteY1543"/>
                    </a:cxn>
                    <a:cxn ang="0">
                      <a:pos x="connsiteX1544" y="connsiteY1544"/>
                    </a:cxn>
                    <a:cxn ang="0">
                      <a:pos x="connsiteX1545" y="connsiteY1545"/>
                    </a:cxn>
                    <a:cxn ang="0">
                      <a:pos x="connsiteX1546" y="connsiteY1546"/>
                    </a:cxn>
                    <a:cxn ang="0">
                      <a:pos x="connsiteX1547" y="connsiteY1547"/>
                    </a:cxn>
                    <a:cxn ang="0">
                      <a:pos x="connsiteX1548" y="connsiteY1548"/>
                    </a:cxn>
                    <a:cxn ang="0">
                      <a:pos x="connsiteX1549" y="connsiteY1549"/>
                    </a:cxn>
                    <a:cxn ang="0">
                      <a:pos x="connsiteX1550" y="connsiteY1550"/>
                    </a:cxn>
                    <a:cxn ang="0">
                      <a:pos x="connsiteX1551" y="connsiteY1551"/>
                    </a:cxn>
                    <a:cxn ang="0">
                      <a:pos x="connsiteX1552" y="connsiteY1552"/>
                    </a:cxn>
                    <a:cxn ang="0">
                      <a:pos x="connsiteX1553" y="connsiteY1553"/>
                    </a:cxn>
                    <a:cxn ang="0">
                      <a:pos x="connsiteX1554" y="connsiteY1554"/>
                    </a:cxn>
                    <a:cxn ang="0">
                      <a:pos x="connsiteX1555" y="connsiteY1555"/>
                    </a:cxn>
                    <a:cxn ang="0">
                      <a:pos x="connsiteX1556" y="connsiteY1556"/>
                    </a:cxn>
                    <a:cxn ang="0">
                      <a:pos x="connsiteX1557" y="connsiteY1557"/>
                    </a:cxn>
                    <a:cxn ang="0">
                      <a:pos x="connsiteX1558" y="connsiteY1558"/>
                    </a:cxn>
                    <a:cxn ang="0">
                      <a:pos x="connsiteX1559" y="connsiteY1559"/>
                    </a:cxn>
                    <a:cxn ang="0">
                      <a:pos x="connsiteX1560" y="connsiteY1560"/>
                    </a:cxn>
                    <a:cxn ang="0">
                      <a:pos x="connsiteX1561" y="connsiteY1561"/>
                    </a:cxn>
                    <a:cxn ang="0">
                      <a:pos x="connsiteX1562" y="connsiteY1562"/>
                    </a:cxn>
                    <a:cxn ang="0">
                      <a:pos x="connsiteX1563" y="connsiteY1563"/>
                    </a:cxn>
                    <a:cxn ang="0">
                      <a:pos x="connsiteX1564" y="connsiteY1564"/>
                    </a:cxn>
                    <a:cxn ang="0">
                      <a:pos x="connsiteX1565" y="connsiteY1565"/>
                    </a:cxn>
                    <a:cxn ang="0">
                      <a:pos x="connsiteX1566" y="connsiteY1566"/>
                    </a:cxn>
                    <a:cxn ang="0">
                      <a:pos x="connsiteX1567" y="connsiteY1567"/>
                    </a:cxn>
                    <a:cxn ang="0">
                      <a:pos x="connsiteX1568" y="connsiteY1568"/>
                    </a:cxn>
                    <a:cxn ang="0">
                      <a:pos x="connsiteX1569" y="connsiteY1569"/>
                    </a:cxn>
                    <a:cxn ang="0">
                      <a:pos x="connsiteX1570" y="connsiteY1570"/>
                    </a:cxn>
                    <a:cxn ang="0">
                      <a:pos x="connsiteX1571" y="connsiteY1571"/>
                    </a:cxn>
                    <a:cxn ang="0">
                      <a:pos x="connsiteX1572" y="connsiteY1572"/>
                    </a:cxn>
                    <a:cxn ang="0">
                      <a:pos x="connsiteX1573" y="connsiteY1573"/>
                    </a:cxn>
                    <a:cxn ang="0">
                      <a:pos x="connsiteX1574" y="connsiteY1574"/>
                    </a:cxn>
                    <a:cxn ang="0">
                      <a:pos x="connsiteX1575" y="connsiteY1575"/>
                    </a:cxn>
                    <a:cxn ang="0">
                      <a:pos x="connsiteX1576" y="connsiteY1576"/>
                    </a:cxn>
                    <a:cxn ang="0">
                      <a:pos x="connsiteX1577" y="connsiteY1577"/>
                    </a:cxn>
                    <a:cxn ang="0">
                      <a:pos x="connsiteX1578" y="connsiteY1578"/>
                    </a:cxn>
                    <a:cxn ang="0">
                      <a:pos x="connsiteX1579" y="connsiteY1579"/>
                    </a:cxn>
                    <a:cxn ang="0">
                      <a:pos x="connsiteX1580" y="connsiteY1580"/>
                    </a:cxn>
                    <a:cxn ang="0">
                      <a:pos x="connsiteX1581" y="connsiteY1581"/>
                    </a:cxn>
                    <a:cxn ang="0">
                      <a:pos x="connsiteX1582" y="connsiteY1582"/>
                    </a:cxn>
                    <a:cxn ang="0">
                      <a:pos x="connsiteX1583" y="connsiteY1583"/>
                    </a:cxn>
                    <a:cxn ang="0">
                      <a:pos x="connsiteX1584" y="connsiteY1584"/>
                    </a:cxn>
                    <a:cxn ang="0">
                      <a:pos x="connsiteX1585" y="connsiteY1585"/>
                    </a:cxn>
                    <a:cxn ang="0">
                      <a:pos x="connsiteX1586" y="connsiteY1586"/>
                    </a:cxn>
                    <a:cxn ang="0">
                      <a:pos x="connsiteX1587" y="connsiteY1587"/>
                    </a:cxn>
                    <a:cxn ang="0">
                      <a:pos x="connsiteX1588" y="connsiteY1588"/>
                    </a:cxn>
                    <a:cxn ang="0">
                      <a:pos x="connsiteX1589" y="connsiteY1589"/>
                    </a:cxn>
                    <a:cxn ang="0">
                      <a:pos x="connsiteX1590" y="connsiteY1590"/>
                    </a:cxn>
                    <a:cxn ang="0">
                      <a:pos x="connsiteX1591" y="connsiteY1591"/>
                    </a:cxn>
                    <a:cxn ang="0">
                      <a:pos x="connsiteX1592" y="connsiteY1592"/>
                    </a:cxn>
                    <a:cxn ang="0">
                      <a:pos x="connsiteX1593" y="connsiteY1593"/>
                    </a:cxn>
                    <a:cxn ang="0">
                      <a:pos x="connsiteX1594" y="connsiteY1594"/>
                    </a:cxn>
                    <a:cxn ang="0">
                      <a:pos x="connsiteX1595" y="connsiteY1595"/>
                    </a:cxn>
                    <a:cxn ang="0">
                      <a:pos x="connsiteX1596" y="connsiteY1596"/>
                    </a:cxn>
                    <a:cxn ang="0">
                      <a:pos x="connsiteX1597" y="connsiteY1597"/>
                    </a:cxn>
                    <a:cxn ang="0">
                      <a:pos x="connsiteX1598" y="connsiteY1598"/>
                    </a:cxn>
                    <a:cxn ang="0">
                      <a:pos x="connsiteX1599" y="connsiteY1599"/>
                    </a:cxn>
                    <a:cxn ang="0">
                      <a:pos x="connsiteX1600" y="connsiteY1600"/>
                    </a:cxn>
                    <a:cxn ang="0">
                      <a:pos x="connsiteX1601" y="connsiteY1601"/>
                    </a:cxn>
                    <a:cxn ang="0">
                      <a:pos x="connsiteX1602" y="connsiteY1602"/>
                    </a:cxn>
                    <a:cxn ang="0">
                      <a:pos x="connsiteX1603" y="connsiteY1603"/>
                    </a:cxn>
                    <a:cxn ang="0">
                      <a:pos x="connsiteX1604" y="connsiteY1604"/>
                    </a:cxn>
                    <a:cxn ang="0">
                      <a:pos x="connsiteX1605" y="connsiteY1605"/>
                    </a:cxn>
                    <a:cxn ang="0">
                      <a:pos x="connsiteX1606" y="connsiteY1606"/>
                    </a:cxn>
                    <a:cxn ang="0">
                      <a:pos x="connsiteX1607" y="connsiteY1607"/>
                    </a:cxn>
                    <a:cxn ang="0">
                      <a:pos x="connsiteX1608" y="connsiteY1608"/>
                    </a:cxn>
                    <a:cxn ang="0">
                      <a:pos x="connsiteX1609" y="connsiteY1609"/>
                    </a:cxn>
                    <a:cxn ang="0">
                      <a:pos x="connsiteX1610" y="connsiteY1610"/>
                    </a:cxn>
                    <a:cxn ang="0">
                      <a:pos x="connsiteX1611" y="connsiteY1611"/>
                    </a:cxn>
                    <a:cxn ang="0">
                      <a:pos x="connsiteX1612" y="connsiteY1612"/>
                    </a:cxn>
                    <a:cxn ang="0">
                      <a:pos x="connsiteX1613" y="connsiteY1613"/>
                    </a:cxn>
                    <a:cxn ang="0">
                      <a:pos x="connsiteX1614" y="connsiteY1614"/>
                    </a:cxn>
                    <a:cxn ang="0">
                      <a:pos x="connsiteX1615" y="connsiteY1615"/>
                    </a:cxn>
                    <a:cxn ang="0">
                      <a:pos x="connsiteX1616" y="connsiteY1616"/>
                    </a:cxn>
                    <a:cxn ang="0">
                      <a:pos x="connsiteX1617" y="connsiteY1617"/>
                    </a:cxn>
                    <a:cxn ang="0">
                      <a:pos x="connsiteX1618" y="connsiteY1618"/>
                    </a:cxn>
                    <a:cxn ang="0">
                      <a:pos x="connsiteX1619" y="connsiteY1619"/>
                    </a:cxn>
                    <a:cxn ang="0">
                      <a:pos x="connsiteX1620" y="connsiteY1620"/>
                    </a:cxn>
                    <a:cxn ang="0">
                      <a:pos x="connsiteX1621" y="connsiteY1621"/>
                    </a:cxn>
                    <a:cxn ang="0">
                      <a:pos x="connsiteX1622" y="connsiteY1622"/>
                    </a:cxn>
                    <a:cxn ang="0">
                      <a:pos x="connsiteX1623" y="connsiteY1623"/>
                    </a:cxn>
                    <a:cxn ang="0">
                      <a:pos x="connsiteX1624" y="connsiteY1624"/>
                    </a:cxn>
                    <a:cxn ang="0">
                      <a:pos x="connsiteX1625" y="connsiteY1625"/>
                    </a:cxn>
                    <a:cxn ang="0">
                      <a:pos x="connsiteX1626" y="connsiteY1626"/>
                    </a:cxn>
                    <a:cxn ang="0">
                      <a:pos x="connsiteX1627" y="connsiteY1627"/>
                    </a:cxn>
                    <a:cxn ang="0">
                      <a:pos x="connsiteX1628" y="connsiteY1628"/>
                    </a:cxn>
                    <a:cxn ang="0">
                      <a:pos x="connsiteX1629" y="connsiteY1629"/>
                    </a:cxn>
                    <a:cxn ang="0">
                      <a:pos x="connsiteX1630" y="connsiteY1630"/>
                    </a:cxn>
                    <a:cxn ang="0">
                      <a:pos x="connsiteX1631" y="connsiteY1631"/>
                    </a:cxn>
                    <a:cxn ang="0">
                      <a:pos x="connsiteX1632" y="connsiteY1632"/>
                    </a:cxn>
                    <a:cxn ang="0">
                      <a:pos x="connsiteX1633" y="connsiteY1633"/>
                    </a:cxn>
                    <a:cxn ang="0">
                      <a:pos x="connsiteX1634" y="connsiteY1634"/>
                    </a:cxn>
                    <a:cxn ang="0">
                      <a:pos x="connsiteX1635" y="connsiteY1635"/>
                    </a:cxn>
                    <a:cxn ang="0">
                      <a:pos x="connsiteX1636" y="connsiteY1636"/>
                    </a:cxn>
                    <a:cxn ang="0">
                      <a:pos x="connsiteX1637" y="connsiteY1637"/>
                    </a:cxn>
                    <a:cxn ang="0">
                      <a:pos x="connsiteX1638" y="connsiteY1638"/>
                    </a:cxn>
                    <a:cxn ang="0">
                      <a:pos x="connsiteX1639" y="connsiteY1639"/>
                    </a:cxn>
                    <a:cxn ang="0">
                      <a:pos x="connsiteX1640" y="connsiteY1640"/>
                    </a:cxn>
                    <a:cxn ang="0">
                      <a:pos x="connsiteX1641" y="connsiteY1641"/>
                    </a:cxn>
                    <a:cxn ang="0">
                      <a:pos x="connsiteX1642" y="connsiteY1642"/>
                    </a:cxn>
                    <a:cxn ang="0">
                      <a:pos x="connsiteX1643" y="connsiteY1643"/>
                    </a:cxn>
                    <a:cxn ang="0">
                      <a:pos x="connsiteX1644" y="connsiteY1644"/>
                    </a:cxn>
                    <a:cxn ang="0">
                      <a:pos x="connsiteX1645" y="connsiteY1645"/>
                    </a:cxn>
                    <a:cxn ang="0">
                      <a:pos x="connsiteX1646" y="connsiteY1646"/>
                    </a:cxn>
                    <a:cxn ang="0">
                      <a:pos x="connsiteX1647" y="connsiteY1647"/>
                    </a:cxn>
                    <a:cxn ang="0">
                      <a:pos x="connsiteX1648" y="connsiteY1648"/>
                    </a:cxn>
                    <a:cxn ang="0">
                      <a:pos x="connsiteX1649" y="connsiteY1649"/>
                    </a:cxn>
                    <a:cxn ang="0">
                      <a:pos x="connsiteX1650" y="connsiteY1650"/>
                    </a:cxn>
                    <a:cxn ang="0">
                      <a:pos x="connsiteX1651" y="connsiteY1651"/>
                    </a:cxn>
                    <a:cxn ang="0">
                      <a:pos x="connsiteX1652" y="connsiteY1652"/>
                    </a:cxn>
                    <a:cxn ang="0">
                      <a:pos x="connsiteX1653" y="connsiteY1653"/>
                    </a:cxn>
                    <a:cxn ang="0">
                      <a:pos x="connsiteX1654" y="connsiteY1654"/>
                    </a:cxn>
                    <a:cxn ang="0">
                      <a:pos x="connsiteX1655" y="connsiteY1655"/>
                    </a:cxn>
                    <a:cxn ang="0">
                      <a:pos x="connsiteX1656" y="connsiteY1656"/>
                    </a:cxn>
                    <a:cxn ang="0">
                      <a:pos x="connsiteX1657" y="connsiteY1657"/>
                    </a:cxn>
                    <a:cxn ang="0">
                      <a:pos x="connsiteX1658" y="connsiteY1658"/>
                    </a:cxn>
                    <a:cxn ang="0">
                      <a:pos x="connsiteX1659" y="connsiteY1659"/>
                    </a:cxn>
                    <a:cxn ang="0">
                      <a:pos x="connsiteX1660" y="connsiteY1660"/>
                    </a:cxn>
                    <a:cxn ang="0">
                      <a:pos x="connsiteX1661" y="connsiteY1661"/>
                    </a:cxn>
                    <a:cxn ang="0">
                      <a:pos x="connsiteX1662" y="connsiteY1662"/>
                    </a:cxn>
                    <a:cxn ang="0">
                      <a:pos x="connsiteX1663" y="connsiteY1663"/>
                    </a:cxn>
                    <a:cxn ang="0">
                      <a:pos x="connsiteX1664" y="connsiteY1664"/>
                    </a:cxn>
                    <a:cxn ang="0">
                      <a:pos x="connsiteX1665" y="connsiteY1665"/>
                    </a:cxn>
                    <a:cxn ang="0">
                      <a:pos x="connsiteX1666" y="connsiteY1666"/>
                    </a:cxn>
                    <a:cxn ang="0">
                      <a:pos x="connsiteX1667" y="connsiteY1667"/>
                    </a:cxn>
                    <a:cxn ang="0">
                      <a:pos x="connsiteX1668" y="connsiteY1668"/>
                    </a:cxn>
                    <a:cxn ang="0">
                      <a:pos x="connsiteX1669" y="connsiteY1669"/>
                    </a:cxn>
                    <a:cxn ang="0">
                      <a:pos x="connsiteX1670" y="connsiteY1670"/>
                    </a:cxn>
                    <a:cxn ang="0">
                      <a:pos x="connsiteX1671" y="connsiteY1671"/>
                    </a:cxn>
                    <a:cxn ang="0">
                      <a:pos x="connsiteX1672" y="connsiteY1672"/>
                    </a:cxn>
                    <a:cxn ang="0">
                      <a:pos x="connsiteX1673" y="connsiteY1673"/>
                    </a:cxn>
                    <a:cxn ang="0">
                      <a:pos x="connsiteX1674" y="connsiteY1674"/>
                    </a:cxn>
                    <a:cxn ang="0">
                      <a:pos x="connsiteX1675" y="connsiteY1675"/>
                    </a:cxn>
                    <a:cxn ang="0">
                      <a:pos x="connsiteX1676" y="connsiteY1676"/>
                    </a:cxn>
                    <a:cxn ang="0">
                      <a:pos x="connsiteX1677" y="connsiteY1677"/>
                    </a:cxn>
                    <a:cxn ang="0">
                      <a:pos x="connsiteX1678" y="connsiteY1678"/>
                    </a:cxn>
                    <a:cxn ang="0">
                      <a:pos x="connsiteX1679" y="connsiteY1679"/>
                    </a:cxn>
                    <a:cxn ang="0">
                      <a:pos x="connsiteX1680" y="connsiteY1680"/>
                    </a:cxn>
                    <a:cxn ang="0">
                      <a:pos x="connsiteX1681" y="connsiteY1681"/>
                    </a:cxn>
                    <a:cxn ang="0">
                      <a:pos x="connsiteX1682" y="connsiteY1682"/>
                    </a:cxn>
                    <a:cxn ang="0">
                      <a:pos x="connsiteX1683" y="connsiteY1683"/>
                    </a:cxn>
                    <a:cxn ang="0">
                      <a:pos x="connsiteX1684" y="connsiteY1684"/>
                    </a:cxn>
                    <a:cxn ang="0">
                      <a:pos x="connsiteX1685" y="connsiteY1685"/>
                    </a:cxn>
                    <a:cxn ang="0">
                      <a:pos x="connsiteX1686" y="connsiteY1686"/>
                    </a:cxn>
                    <a:cxn ang="0">
                      <a:pos x="connsiteX1687" y="connsiteY1687"/>
                    </a:cxn>
                    <a:cxn ang="0">
                      <a:pos x="connsiteX1688" y="connsiteY1688"/>
                    </a:cxn>
                    <a:cxn ang="0">
                      <a:pos x="connsiteX1689" y="connsiteY1689"/>
                    </a:cxn>
                    <a:cxn ang="0">
                      <a:pos x="connsiteX1690" y="connsiteY1690"/>
                    </a:cxn>
                    <a:cxn ang="0">
                      <a:pos x="connsiteX1691" y="connsiteY1691"/>
                    </a:cxn>
                    <a:cxn ang="0">
                      <a:pos x="connsiteX1692" y="connsiteY1692"/>
                    </a:cxn>
                    <a:cxn ang="0">
                      <a:pos x="connsiteX1693" y="connsiteY1693"/>
                    </a:cxn>
                    <a:cxn ang="0">
                      <a:pos x="connsiteX1694" y="connsiteY1694"/>
                    </a:cxn>
                    <a:cxn ang="0">
                      <a:pos x="connsiteX1695" y="connsiteY1695"/>
                    </a:cxn>
                    <a:cxn ang="0">
                      <a:pos x="connsiteX1696" y="connsiteY1696"/>
                    </a:cxn>
                    <a:cxn ang="0">
                      <a:pos x="connsiteX1697" y="connsiteY1697"/>
                    </a:cxn>
                    <a:cxn ang="0">
                      <a:pos x="connsiteX1698" y="connsiteY1698"/>
                    </a:cxn>
                    <a:cxn ang="0">
                      <a:pos x="connsiteX1699" y="connsiteY1699"/>
                    </a:cxn>
                    <a:cxn ang="0">
                      <a:pos x="connsiteX1700" y="connsiteY1700"/>
                    </a:cxn>
                    <a:cxn ang="0">
                      <a:pos x="connsiteX1701" y="connsiteY1701"/>
                    </a:cxn>
                    <a:cxn ang="0">
                      <a:pos x="connsiteX1702" y="connsiteY1702"/>
                    </a:cxn>
                    <a:cxn ang="0">
                      <a:pos x="connsiteX1703" y="connsiteY1703"/>
                    </a:cxn>
                    <a:cxn ang="0">
                      <a:pos x="connsiteX1704" y="connsiteY1704"/>
                    </a:cxn>
                    <a:cxn ang="0">
                      <a:pos x="connsiteX1705" y="connsiteY1705"/>
                    </a:cxn>
                    <a:cxn ang="0">
                      <a:pos x="connsiteX1706" y="connsiteY1706"/>
                    </a:cxn>
                    <a:cxn ang="0">
                      <a:pos x="connsiteX1707" y="connsiteY1707"/>
                    </a:cxn>
                    <a:cxn ang="0">
                      <a:pos x="connsiteX1708" y="connsiteY1708"/>
                    </a:cxn>
                    <a:cxn ang="0">
                      <a:pos x="connsiteX1709" y="connsiteY1709"/>
                    </a:cxn>
                    <a:cxn ang="0">
                      <a:pos x="connsiteX1710" y="connsiteY1710"/>
                    </a:cxn>
                    <a:cxn ang="0">
                      <a:pos x="connsiteX1711" y="connsiteY1711"/>
                    </a:cxn>
                    <a:cxn ang="0">
                      <a:pos x="connsiteX1712" y="connsiteY1712"/>
                    </a:cxn>
                    <a:cxn ang="0">
                      <a:pos x="connsiteX1713" y="connsiteY1713"/>
                    </a:cxn>
                    <a:cxn ang="0">
                      <a:pos x="connsiteX1714" y="connsiteY1714"/>
                    </a:cxn>
                    <a:cxn ang="0">
                      <a:pos x="connsiteX1715" y="connsiteY1715"/>
                    </a:cxn>
                    <a:cxn ang="0">
                      <a:pos x="connsiteX1716" y="connsiteY1716"/>
                    </a:cxn>
                    <a:cxn ang="0">
                      <a:pos x="connsiteX1717" y="connsiteY1717"/>
                    </a:cxn>
                    <a:cxn ang="0">
                      <a:pos x="connsiteX1718" y="connsiteY1718"/>
                    </a:cxn>
                    <a:cxn ang="0">
                      <a:pos x="connsiteX1719" y="connsiteY1719"/>
                    </a:cxn>
                    <a:cxn ang="0">
                      <a:pos x="connsiteX1720" y="connsiteY1720"/>
                    </a:cxn>
                    <a:cxn ang="0">
                      <a:pos x="connsiteX1721" y="connsiteY1721"/>
                    </a:cxn>
                    <a:cxn ang="0">
                      <a:pos x="connsiteX1722" y="connsiteY1722"/>
                    </a:cxn>
                    <a:cxn ang="0">
                      <a:pos x="connsiteX1723" y="connsiteY1723"/>
                    </a:cxn>
                    <a:cxn ang="0">
                      <a:pos x="connsiteX1724" y="connsiteY1724"/>
                    </a:cxn>
                    <a:cxn ang="0">
                      <a:pos x="connsiteX1725" y="connsiteY1725"/>
                    </a:cxn>
                    <a:cxn ang="0">
                      <a:pos x="connsiteX1726" y="connsiteY1726"/>
                    </a:cxn>
                    <a:cxn ang="0">
                      <a:pos x="connsiteX1727" y="connsiteY1727"/>
                    </a:cxn>
                    <a:cxn ang="0">
                      <a:pos x="connsiteX1728" y="connsiteY1728"/>
                    </a:cxn>
                    <a:cxn ang="0">
                      <a:pos x="connsiteX1729" y="connsiteY1729"/>
                    </a:cxn>
                    <a:cxn ang="0">
                      <a:pos x="connsiteX1730" y="connsiteY1730"/>
                    </a:cxn>
                    <a:cxn ang="0">
                      <a:pos x="connsiteX1731" y="connsiteY1731"/>
                    </a:cxn>
                    <a:cxn ang="0">
                      <a:pos x="connsiteX1732" y="connsiteY1732"/>
                    </a:cxn>
                    <a:cxn ang="0">
                      <a:pos x="connsiteX1733" y="connsiteY1733"/>
                    </a:cxn>
                    <a:cxn ang="0">
                      <a:pos x="connsiteX1734" y="connsiteY1734"/>
                    </a:cxn>
                    <a:cxn ang="0">
                      <a:pos x="connsiteX1735" y="connsiteY1735"/>
                    </a:cxn>
                    <a:cxn ang="0">
                      <a:pos x="connsiteX1736" y="connsiteY1736"/>
                    </a:cxn>
                    <a:cxn ang="0">
                      <a:pos x="connsiteX1737" y="connsiteY1737"/>
                    </a:cxn>
                    <a:cxn ang="0">
                      <a:pos x="connsiteX1738" y="connsiteY1738"/>
                    </a:cxn>
                    <a:cxn ang="0">
                      <a:pos x="connsiteX1739" y="connsiteY1739"/>
                    </a:cxn>
                    <a:cxn ang="0">
                      <a:pos x="connsiteX1740" y="connsiteY1740"/>
                    </a:cxn>
                    <a:cxn ang="0">
                      <a:pos x="connsiteX1741" y="connsiteY1741"/>
                    </a:cxn>
                    <a:cxn ang="0">
                      <a:pos x="connsiteX1742" y="connsiteY1742"/>
                    </a:cxn>
                    <a:cxn ang="0">
                      <a:pos x="connsiteX1743" y="connsiteY1743"/>
                    </a:cxn>
                    <a:cxn ang="0">
                      <a:pos x="connsiteX1744" y="connsiteY1744"/>
                    </a:cxn>
                    <a:cxn ang="0">
                      <a:pos x="connsiteX1745" y="connsiteY1745"/>
                    </a:cxn>
                    <a:cxn ang="0">
                      <a:pos x="connsiteX1746" y="connsiteY1746"/>
                    </a:cxn>
                    <a:cxn ang="0">
                      <a:pos x="connsiteX1747" y="connsiteY1747"/>
                    </a:cxn>
                    <a:cxn ang="0">
                      <a:pos x="connsiteX1748" y="connsiteY1748"/>
                    </a:cxn>
                    <a:cxn ang="0">
                      <a:pos x="connsiteX1749" y="connsiteY1749"/>
                    </a:cxn>
                    <a:cxn ang="0">
                      <a:pos x="connsiteX1750" y="connsiteY1750"/>
                    </a:cxn>
                    <a:cxn ang="0">
                      <a:pos x="connsiteX1751" y="connsiteY1751"/>
                    </a:cxn>
                    <a:cxn ang="0">
                      <a:pos x="connsiteX1752" y="connsiteY1752"/>
                    </a:cxn>
                    <a:cxn ang="0">
                      <a:pos x="connsiteX1753" y="connsiteY1753"/>
                    </a:cxn>
                    <a:cxn ang="0">
                      <a:pos x="connsiteX1754" y="connsiteY1754"/>
                    </a:cxn>
                    <a:cxn ang="0">
                      <a:pos x="connsiteX1755" y="connsiteY1755"/>
                    </a:cxn>
                    <a:cxn ang="0">
                      <a:pos x="connsiteX1756" y="connsiteY1756"/>
                    </a:cxn>
                    <a:cxn ang="0">
                      <a:pos x="connsiteX1757" y="connsiteY1757"/>
                    </a:cxn>
                    <a:cxn ang="0">
                      <a:pos x="connsiteX1758" y="connsiteY1758"/>
                    </a:cxn>
                    <a:cxn ang="0">
                      <a:pos x="connsiteX1759" y="connsiteY1759"/>
                    </a:cxn>
                    <a:cxn ang="0">
                      <a:pos x="connsiteX1760" y="connsiteY1760"/>
                    </a:cxn>
                    <a:cxn ang="0">
                      <a:pos x="connsiteX1761" y="connsiteY1761"/>
                    </a:cxn>
                    <a:cxn ang="0">
                      <a:pos x="connsiteX1762" y="connsiteY1762"/>
                    </a:cxn>
                    <a:cxn ang="0">
                      <a:pos x="connsiteX1763" y="connsiteY1763"/>
                    </a:cxn>
                    <a:cxn ang="0">
                      <a:pos x="connsiteX1764" y="connsiteY1764"/>
                    </a:cxn>
                    <a:cxn ang="0">
                      <a:pos x="connsiteX1765" y="connsiteY1765"/>
                    </a:cxn>
                    <a:cxn ang="0">
                      <a:pos x="connsiteX1766" y="connsiteY1766"/>
                    </a:cxn>
                    <a:cxn ang="0">
                      <a:pos x="connsiteX1767" y="connsiteY1767"/>
                    </a:cxn>
                    <a:cxn ang="0">
                      <a:pos x="connsiteX1768" y="connsiteY1768"/>
                    </a:cxn>
                    <a:cxn ang="0">
                      <a:pos x="connsiteX1769" y="connsiteY1769"/>
                    </a:cxn>
                    <a:cxn ang="0">
                      <a:pos x="connsiteX1770" y="connsiteY1770"/>
                    </a:cxn>
                    <a:cxn ang="0">
                      <a:pos x="connsiteX1771" y="connsiteY1771"/>
                    </a:cxn>
                    <a:cxn ang="0">
                      <a:pos x="connsiteX1772" y="connsiteY1772"/>
                    </a:cxn>
                    <a:cxn ang="0">
                      <a:pos x="connsiteX1773" y="connsiteY1773"/>
                    </a:cxn>
                    <a:cxn ang="0">
                      <a:pos x="connsiteX1774" y="connsiteY1774"/>
                    </a:cxn>
                    <a:cxn ang="0">
                      <a:pos x="connsiteX1775" y="connsiteY1775"/>
                    </a:cxn>
                    <a:cxn ang="0">
                      <a:pos x="connsiteX1776" y="connsiteY1776"/>
                    </a:cxn>
                    <a:cxn ang="0">
                      <a:pos x="connsiteX1777" y="connsiteY1777"/>
                    </a:cxn>
                    <a:cxn ang="0">
                      <a:pos x="connsiteX1778" y="connsiteY1778"/>
                    </a:cxn>
                    <a:cxn ang="0">
                      <a:pos x="connsiteX1779" y="connsiteY1779"/>
                    </a:cxn>
                    <a:cxn ang="0">
                      <a:pos x="connsiteX1780" y="connsiteY1780"/>
                    </a:cxn>
                    <a:cxn ang="0">
                      <a:pos x="connsiteX1781" y="connsiteY1781"/>
                    </a:cxn>
                    <a:cxn ang="0">
                      <a:pos x="connsiteX1782" y="connsiteY1782"/>
                    </a:cxn>
                    <a:cxn ang="0">
                      <a:pos x="connsiteX1783" y="connsiteY1783"/>
                    </a:cxn>
                    <a:cxn ang="0">
                      <a:pos x="connsiteX1784" y="connsiteY1784"/>
                    </a:cxn>
                    <a:cxn ang="0">
                      <a:pos x="connsiteX1785" y="connsiteY1785"/>
                    </a:cxn>
                    <a:cxn ang="0">
                      <a:pos x="connsiteX1786" y="connsiteY1786"/>
                    </a:cxn>
                    <a:cxn ang="0">
                      <a:pos x="connsiteX1787" y="connsiteY1787"/>
                    </a:cxn>
                    <a:cxn ang="0">
                      <a:pos x="connsiteX1788" y="connsiteY1788"/>
                    </a:cxn>
                    <a:cxn ang="0">
                      <a:pos x="connsiteX1789" y="connsiteY1789"/>
                    </a:cxn>
                    <a:cxn ang="0">
                      <a:pos x="connsiteX1790" y="connsiteY1790"/>
                    </a:cxn>
                    <a:cxn ang="0">
                      <a:pos x="connsiteX1791" y="connsiteY1791"/>
                    </a:cxn>
                    <a:cxn ang="0">
                      <a:pos x="connsiteX1792" y="connsiteY1792"/>
                    </a:cxn>
                    <a:cxn ang="0">
                      <a:pos x="connsiteX1793" y="connsiteY1793"/>
                    </a:cxn>
                    <a:cxn ang="0">
                      <a:pos x="connsiteX1794" y="connsiteY1794"/>
                    </a:cxn>
                    <a:cxn ang="0">
                      <a:pos x="connsiteX1795" y="connsiteY1795"/>
                    </a:cxn>
                    <a:cxn ang="0">
                      <a:pos x="connsiteX1796" y="connsiteY1796"/>
                    </a:cxn>
                    <a:cxn ang="0">
                      <a:pos x="connsiteX1797" y="connsiteY1797"/>
                    </a:cxn>
                    <a:cxn ang="0">
                      <a:pos x="connsiteX1798" y="connsiteY1798"/>
                    </a:cxn>
                    <a:cxn ang="0">
                      <a:pos x="connsiteX1799" y="connsiteY1799"/>
                    </a:cxn>
                    <a:cxn ang="0">
                      <a:pos x="connsiteX1800" y="connsiteY1800"/>
                    </a:cxn>
                    <a:cxn ang="0">
                      <a:pos x="connsiteX1801" y="connsiteY1801"/>
                    </a:cxn>
                    <a:cxn ang="0">
                      <a:pos x="connsiteX1802" y="connsiteY1802"/>
                    </a:cxn>
                    <a:cxn ang="0">
                      <a:pos x="connsiteX1803" y="connsiteY1803"/>
                    </a:cxn>
                    <a:cxn ang="0">
                      <a:pos x="connsiteX1804" y="connsiteY1804"/>
                    </a:cxn>
                    <a:cxn ang="0">
                      <a:pos x="connsiteX1805" y="connsiteY1805"/>
                    </a:cxn>
                    <a:cxn ang="0">
                      <a:pos x="connsiteX1806" y="connsiteY1806"/>
                    </a:cxn>
                    <a:cxn ang="0">
                      <a:pos x="connsiteX1807" y="connsiteY1807"/>
                    </a:cxn>
                    <a:cxn ang="0">
                      <a:pos x="connsiteX1808" y="connsiteY1808"/>
                    </a:cxn>
                    <a:cxn ang="0">
                      <a:pos x="connsiteX1809" y="connsiteY1809"/>
                    </a:cxn>
                    <a:cxn ang="0">
                      <a:pos x="connsiteX1810" y="connsiteY1810"/>
                    </a:cxn>
                    <a:cxn ang="0">
                      <a:pos x="connsiteX1811" y="connsiteY1811"/>
                    </a:cxn>
                    <a:cxn ang="0">
                      <a:pos x="connsiteX1812" y="connsiteY1812"/>
                    </a:cxn>
                    <a:cxn ang="0">
                      <a:pos x="connsiteX1813" y="connsiteY1813"/>
                    </a:cxn>
                    <a:cxn ang="0">
                      <a:pos x="connsiteX1814" y="connsiteY1814"/>
                    </a:cxn>
                    <a:cxn ang="0">
                      <a:pos x="connsiteX1815" y="connsiteY1815"/>
                    </a:cxn>
                    <a:cxn ang="0">
                      <a:pos x="connsiteX1816" y="connsiteY1816"/>
                    </a:cxn>
                    <a:cxn ang="0">
                      <a:pos x="connsiteX1817" y="connsiteY1817"/>
                    </a:cxn>
                    <a:cxn ang="0">
                      <a:pos x="connsiteX1818" y="connsiteY1818"/>
                    </a:cxn>
                    <a:cxn ang="0">
                      <a:pos x="connsiteX1819" y="connsiteY1819"/>
                    </a:cxn>
                    <a:cxn ang="0">
                      <a:pos x="connsiteX1820" y="connsiteY1820"/>
                    </a:cxn>
                    <a:cxn ang="0">
                      <a:pos x="connsiteX1821" y="connsiteY1821"/>
                    </a:cxn>
                    <a:cxn ang="0">
                      <a:pos x="connsiteX1822" y="connsiteY1822"/>
                    </a:cxn>
                    <a:cxn ang="0">
                      <a:pos x="connsiteX1823" y="connsiteY1823"/>
                    </a:cxn>
                    <a:cxn ang="0">
                      <a:pos x="connsiteX1824" y="connsiteY1824"/>
                    </a:cxn>
                    <a:cxn ang="0">
                      <a:pos x="connsiteX1825" y="connsiteY1825"/>
                    </a:cxn>
                    <a:cxn ang="0">
                      <a:pos x="connsiteX1826" y="connsiteY1826"/>
                    </a:cxn>
                    <a:cxn ang="0">
                      <a:pos x="connsiteX1827" y="connsiteY1827"/>
                    </a:cxn>
                    <a:cxn ang="0">
                      <a:pos x="connsiteX1828" y="connsiteY1828"/>
                    </a:cxn>
                    <a:cxn ang="0">
                      <a:pos x="connsiteX1829" y="connsiteY1829"/>
                    </a:cxn>
                    <a:cxn ang="0">
                      <a:pos x="connsiteX1830" y="connsiteY1830"/>
                    </a:cxn>
                    <a:cxn ang="0">
                      <a:pos x="connsiteX1831" y="connsiteY1831"/>
                    </a:cxn>
                    <a:cxn ang="0">
                      <a:pos x="connsiteX1832" y="connsiteY1832"/>
                    </a:cxn>
                    <a:cxn ang="0">
                      <a:pos x="connsiteX1833" y="connsiteY1833"/>
                    </a:cxn>
                    <a:cxn ang="0">
                      <a:pos x="connsiteX1834" y="connsiteY1834"/>
                    </a:cxn>
                    <a:cxn ang="0">
                      <a:pos x="connsiteX1835" y="connsiteY1835"/>
                    </a:cxn>
                    <a:cxn ang="0">
                      <a:pos x="connsiteX1836" y="connsiteY1836"/>
                    </a:cxn>
                    <a:cxn ang="0">
                      <a:pos x="connsiteX1837" y="connsiteY1837"/>
                    </a:cxn>
                    <a:cxn ang="0">
                      <a:pos x="connsiteX1838" y="connsiteY1838"/>
                    </a:cxn>
                    <a:cxn ang="0">
                      <a:pos x="connsiteX1839" y="connsiteY1839"/>
                    </a:cxn>
                    <a:cxn ang="0">
                      <a:pos x="connsiteX1840" y="connsiteY1840"/>
                    </a:cxn>
                    <a:cxn ang="0">
                      <a:pos x="connsiteX1841" y="connsiteY1841"/>
                    </a:cxn>
                    <a:cxn ang="0">
                      <a:pos x="connsiteX1842" y="connsiteY1842"/>
                    </a:cxn>
                    <a:cxn ang="0">
                      <a:pos x="connsiteX1843" y="connsiteY1843"/>
                    </a:cxn>
                    <a:cxn ang="0">
                      <a:pos x="connsiteX1844" y="connsiteY1844"/>
                    </a:cxn>
                    <a:cxn ang="0">
                      <a:pos x="connsiteX1845" y="connsiteY1845"/>
                    </a:cxn>
                    <a:cxn ang="0">
                      <a:pos x="connsiteX1846" y="connsiteY1846"/>
                    </a:cxn>
                    <a:cxn ang="0">
                      <a:pos x="connsiteX1847" y="connsiteY1847"/>
                    </a:cxn>
                    <a:cxn ang="0">
                      <a:pos x="connsiteX1848" y="connsiteY1848"/>
                    </a:cxn>
                    <a:cxn ang="0">
                      <a:pos x="connsiteX1849" y="connsiteY1849"/>
                    </a:cxn>
                    <a:cxn ang="0">
                      <a:pos x="connsiteX1850" y="connsiteY1850"/>
                    </a:cxn>
                    <a:cxn ang="0">
                      <a:pos x="connsiteX1851" y="connsiteY1851"/>
                    </a:cxn>
                    <a:cxn ang="0">
                      <a:pos x="connsiteX1852" y="connsiteY1852"/>
                    </a:cxn>
                    <a:cxn ang="0">
                      <a:pos x="connsiteX1853" y="connsiteY1853"/>
                    </a:cxn>
                    <a:cxn ang="0">
                      <a:pos x="connsiteX1854" y="connsiteY1854"/>
                    </a:cxn>
                    <a:cxn ang="0">
                      <a:pos x="connsiteX1855" y="connsiteY1855"/>
                    </a:cxn>
                    <a:cxn ang="0">
                      <a:pos x="connsiteX1856" y="connsiteY1856"/>
                    </a:cxn>
                    <a:cxn ang="0">
                      <a:pos x="connsiteX1857" y="connsiteY1857"/>
                    </a:cxn>
                    <a:cxn ang="0">
                      <a:pos x="connsiteX1858" y="connsiteY1858"/>
                    </a:cxn>
                    <a:cxn ang="0">
                      <a:pos x="connsiteX1859" y="connsiteY1859"/>
                    </a:cxn>
                    <a:cxn ang="0">
                      <a:pos x="connsiteX1860" y="connsiteY1860"/>
                    </a:cxn>
                    <a:cxn ang="0">
                      <a:pos x="connsiteX1861" y="connsiteY1861"/>
                    </a:cxn>
                    <a:cxn ang="0">
                      <a:pos x="connsiteX1862" y="connsiteY1862"/>
                    </a:cxn>
                    <a:cxn ang="0">
                      <a:pos x="connsiteX1863" y="connsiteY1863"/>
                    </a:cxn>
                    <a:cxn ang="0">
                      <a:pos x="connsiteX1864" y="connsiteY1864"/>
                    </a:cxn>
                    <a:cxn ang="0">
                      <a:pos x="connsiteX1865" y="connsiteY1865"/>
                    </a:cxn>
                    <a:cxn ang="0">
                      <a:pos x="connsiteX1866" y="connsiteY1866"/>
                    </a:cxn>
                    <a:cxn ang="0">
                      <a:pos x="connsiteX1867" y="connsiteY1867"/>
                    </a:cxn>
                    <a:cxn ang="0">
                      <a:pos x="connsiteX1868" y="connsiteY1868"/>
                    </a:cxn>
                    <a:cxn ang="0">
                      <a:pos x="connsiteX1869" y="connsiteY1869"/>
                    </a:cxn>
                    <a:cxn ang="0">
                      <a:pos x="connsiteX1870" y="connsiteY1870"/>
                    </a:cxn>
                    <a:cxn ang="0">
                      <a:pos x="connsiteX1871" y="connsiteY1871"/>
                    </a:cxn>
                    <a:cxn ang="0">
                      <a:pos x="connsiteX1872" y="connsiteY1872"/>
                    </a:cxn>
                    <a:cxn ang="0">
                      <a:pos x="connsiteX1873" y="connsiteY1873"/>
                    </a:cxn>
                    <a:cxn ang="0">
                      <a:pos x="connsiteX1874" y="connsiteY1874"/>
                    </a:cxn>
                    <a:cxn ang="0">
                      <a:pos x="connsiteX1875" y="connsiteY1875"/>
                    </a:cxn>
                    <a:cxn ang="0">
                      <a:pos x="connsiteX1876" y="connsiteY1876"/>
                    </a:cxn>
                    <a:cxn ang="0">
                      <a:pos x="connsiteX1877" y="connsiteY1877"/>
                    </a:cxn>
                    <a:cxn ang="0">
                      <a:pos x="connsiteX1878" y="connsiteY1878"/>
                    </a:cxn>
                    <a:cxn ang="0">
                      <a:pos x="connsiteX1879" y="connsiteY1879"/>
                    </a:cxn>
                    <a:cxn ang="0">
                      <a:pos x="connsiteX1880" y="connsiteY1880"/>
                    </a:cxn>
                    <a:cxn ang="0">
                      <a:pos x="connsiteX1881" y="connsiteY1881"/>
                    </a:cxn>
                    <a:cxn ang="0">
                      <a:pos x="connsiteX1882" y="connsiteY1882"/>
                    </a:cxn>
                    <a:cxn ang="0">
                      <a:pos x="connsiteX1883" y="connsiteY1883"/>
                    </a:cxn>
                    <a:cxn ang="0">
                      <a:pos x="connsiteX1884" y="connsiteY1884"/>
                    </a:cxn>
                    <a:cxn ang="0">
                      <a:pos x="connsiteX1885" y="connsiteY1885"/>
                    </a:cxn>
                    <a:cxn ang="0">
                      <a:pos x="connsiteX1886" y="connsiteY1886"/>
                    </a:cxn>
                    <a:cxn ang="0">
                      <a:pos x="connsiteX1887" y="connsiteY1887"/>
                    </a:cxn>
                    <a:cxn ang="0">
                      <a:pos x="connsiteX1888" y="connsiteY1888"/>
                    </a:cxn>
                    <a:cxn ang="0">
                      <a:pos x="connsiteX1889" y="connsiteY1889"/>
                    </a:cxn>
                    <a:cxn ang="0">
                      <a:pos x="connsiteX1890" y="connsiteY1890"/>
                    </a:cxn>
                    <a:cxn ang="0">
                      <a:pos x="connsiteX1891" y="connsiteY1891"/>
                    </a:cxn>
                    <a:cxn ang="0">
                      <a:pos x="connsiteX1892" y="connsiteY1892"/>
                    </a:cxn>
                    <a:cxn ang="0">
                      <a:pos x="connsiteX1893" y="connsiteY1893"/>
                    </a:cxn>
                    <a:cxn ang="0">
                      <a:pos x="connsiteX1894" y="connsiteY1894"/>
                    </a:cxn>
                    <a:cxn ang="0">
                      <a:pos x="connsiteX1895" y="connsiteY1895"/>
                    </a:cxn>
                    <a:cxn ang="0">
                      <a:pos x="connsiteX1896" y="connsiteY1896"/>
                    </a:cxn>
                    <a:cxn ang="0">
                      <a:pos x="connsiteX1897" y="connsiteY1897"/>
                    </a:cxn>
                    <a:cxn ang="0">
                      <a:pos x="connsiteX1898" y="connsiteY1898"/>
                    </a:cxn>
                    <a:cxn ang="0">
                      <a:pos x="connsiteX1899" y="connsiteY1899"/>
                    </a:cxn>
                    <a:cxn ang="0">
                      <a:pos x="connsiteX1900" y="connsiteY1900"/>
                    </a:cxn>
                    <a:cxn ang="0">
                      <a:pos x="connsiteX1901" y="connsiteY1901"/>
                    </a:cxn>
                    <a:cxn ang="0">
                      <a:pos x="connsiteX1902" y="connsiteY1902"/>
                    </a:cxn>
                    <a:cxn ang="0">
                      <a:pos x="connsiteX1903" y="connsiteY1903"/>
                    </a:cxn>
                    <a:cxn ang="0">
                      <a:pos x="connsiteX1904" y="connsiteY1904"/>
                    </a:cxn>
                    <a:cxn ang="0">
                      <a:pos x="connsiteX1905" y="connsiteY1905"/>
                    </a:cxn>
                    <a:cxn ang="0">
                      <a:pos x="connsiteX1906" y="connsiteY1906"/>
                    </a:cxn>
                    <a:cxn ang="0">
                      <a:pos x="connsiteX1907" y="connsiteY1907"/>
                    </a:cxn>
                    <a:cxn ang="0">
                      <a:pos x="connsiteX1908" y="connsiteY1908"/>
                    </a:cxn>
                    <a:cxn ang="0">
                      <a:pos x="connsiteX1909" y="connsiteY1909"/>
                    </a:cxn>
                    <a:cxn ang="0">
                      <a:pos x="connsiteX1910" y="connsiteY1910"/>
                    </a:cxn>
                    <a:cxn ang="0">
                      <a:pos x="connsiteX1911" y="connsiteY1911"/>
                    </a:cxn>
                    <a:cxn ang="0">
                      <a:pos x="connsiteX1912" y="connsiteY1912"/>
                    </a:cxn>
                    <a:cxn ang="0">
                      <a:pos x="connsiteX1913" y="connsiteY1913"/>
                    </a:cxn>
                    <a:cxn ang="0">
                      <a:pos x="connsiteX1914" y="connsiteY1914"/>
                    </a:cxn>
                    <a:cxn ang="0">
                      <a:pos x="connsiteX1915" y="connsiteY1915"/>
                    </a:cxn>
                    <a:cxn ang="0">
                      <a:pos x="connsiteX1916" y="connsiteY1916"/>
                    </a:cxn>
                    <a:cxn ang="0">
                      <a:pos x="connsiteX1917" y="connsiteY1917"/>
                    </a:cxn>
                    <a:cxn ang="0">
                      <a:pos x="connsiteX1918" y="connsiteY1918"/>
                    </a:cxn>
                    <a:cxn ang="0">
                      <a:pos x="connsiteX1919" y="connsiteY1919"/>
                    </a:cxn>
                    <a:cxn ang="0">
                      <a:pos x="connsiteX1920" y="connsiteY1920"/>
                    </a:cxn>
                    <a:cxn ang="0">
                      <a:pos x="connsiteX1921" y="connsiteY1921"/>
                    </a:cxn>
                    <a:cxn ang="0">
                      <a:pos x="connsiteX1922" y="connsiteY1922"/>
                    </a:cxn>
                    <a:cxn ang="0">
                      <a:pos x="connsiteX1923" y="connsiteY1923"/>
                    </a:cxn>
                    <a:cxn ang="0">
                      <a:pos x="connsiteX1924" y="connsiteY1924"/>
                    </a:cxn>
                    <a:cxn ang="0">
                      <a:pos x="connsiteX1925" y="connsiteY1925"/>
                    </a:cxn>
                    <a:cxn ang="0">
                      <a:pos x="connsiteX1926" y="connsiteY1926"/>
                    </a:cxn>
                    <a:cxn ang="0">
                      <a:pos x="connsiteX1927" y="connsiteY1927"/>
                    </a:cxn>
                    <a:cxn ang="0">
                      <a:pos x="connsiteX1928" y="connsiteY1928"/>
                    </a:cxn>
                    <a:cxn ang="0">
                      <a:pos x="connsiteX1929" y="connsiteY1929"/>
                    </a:cxn>
                    <a:cxn ang="0">
                      <a:pos x="connsiteX1930" y="connsiteY1930"/>
                    </a:cxn>
                    <a:cxn ang="0">
                      <a:pos x="connsiteX1931" y="connsiteY1931"/>
                    </a:cxn>
                    <a:cxn ang="0">
                      <a:pos x="connsiteX1932" y="connsiteY1932"/>
                    </a:cxn>
                    <a:cxn ang="0">
                      <a:pos x="connsiteX1933" y="connsiteY1933"/>
                    </a:cxn>
                    <a:cxn ang="0">
                      <a:pos x="connsiteX1934" y="connsiteY1934"/>
                    </a:cxn>
                    <a:cxn ang="0">
                      <a:pos x="connsiteX1935" y="connsiteY1935"/>
                    </a:cxn>
                    <a:cxn ang="0">
                      <a:pos x="connsiteX1936" y="connsiteY1936"/>
                    </a:cxn>
                    <a:cxn ang="0">
                      <a:pos x="connsiteX1937" y="connsiteY1937"/>
                    </a:cxn>
                    <a:cxn ang="0">
                      <a:pos x="connsiteX1938" y="connsiteY1938"/>
                    </a:cxn>
                    <a:cxn ang="0">
                      <a:pos x="connsiteX1939" y="connsiteY1939"/>
                    </a:cxn>
                    <a:cxn ang="0">
                      <a:pos x="connsiteX1940" y="connsiteY1940"/>
                    </a:cxn>
                    <a:cxn ang="0">
                      <a:pos x="connsiteX1941" y="connsiteY1941"/>
                    </a:cxn>
                    <a:cxn ang="0">
                      <a:pos x="connsiteX1942" y="connsiteY1942"/>
                    </a:cxn>
                    <a:cxn ang="0">
                      <a:pos x="connsiteX1943" y="connsiteY1943"/>
                    </a:cxn>
                    <a:cxn ang="0">
                      <a:pos x="connsiteX1944" y="connsiteY1944"/>
                    </a:cxn>
                    <a:cxn ang="0">
                      <a:pos x="connsiteX1945" y="connsiteY1945"/>
                    </a:cxn>
                    <a:cxn ang="0">
                      <a:pos x="connsiteX1946" y="connsiteY1946"/>
                    </a:cxn>
                    <a:cxn ang="0">
                      <a:pos x="connsiteX1947" y="connsiteY1947"/>
                    </a:cxn>
                    <a:cxn ang="0">
                      <a:pos x="connsiteX1948" y="connsiteY1948"/>
                    </a:cxn>
                    <a:cxn ang="0">
                      <a:pos x="connsiteX1949" y="connsiteY1949"/>
                    </a:cxn>
                    <a:cxn ang="0">
                      <a:pos x="connsiteX1950" y="connsiteY1950"/>
                    </a:cxn>
                    <a:cxn ang="0">
                      <a:pos x="connsiteX1951" y="connsiteY1951"/>
                    </a:cxn>
                    <a:cxn ang="0">
                      <a:pos x="connsiteX1952" y="connsiteY1952"/>
                    </a:cxn>
                    <a:cxn ang="0">
                      <a:pos x="connsiteX1953" y="connsiteY1953"/>
                    </a:cxn>
                    <a:cxn ang="0">
                      <a:pos x="connsiteX1954" y="connsiteY1954"/>
                    </a:cxn>
                    <a:cxn ang="0">
                      <a:pos x="connsiteX1955" y="connsiteY1955"/>
                    </a:cxn>
                    <a:cxn ang="0">
                      <a:pos x="connsiteX1956" y="connsiteY1956"/>
                    </a:cxn>
                    <a:cxn ang="0">
                      <a:pos x="connsiteX1957" y="connsiteY1957"/>
                    </a:cxn>
                    <a:cxn ang="0">
                      <a:pos x="connsiteX1958" y="connsiteY1958"/>
                    </a:cxn>
                    <a:cxn ang="0">
                      <a:pos x="connsiteX1959" y="connsiteY1959"/>
                    </a:cxn>
                    <a:cxn ang="0">
                      <a:pos x="connsiteX1960" y="connsiteY1960"/>
                    </a:cxn>
                    <a:cxn ang="0">
                      <a:pos x="connsiteX1961" y="connsiteY1961"/>
                    </a:cxn>
                    <a:cxn ang="0">
                      <a:pos x="connsiteX1962" y="connsiteY1962"/>
                    </a:cxn>
                    <a:cxn ang="0">
                      <a:pos x="connsiteX1963" y="connsiteY1963"/>
                    </a:cxn>
                    <a:cxn ang="0">
                      <a:pos x="connsiteX1964" y="connsiteY1964"/>
                    </a:cxn>
                    <a:cxn ang="0">
                      <a:pos x="connsiteX1965" y="connsiteY1965"/>
                    </a:cxn>
                    <a:cxn ang="0">
                      <a:pos x="connsiteX1966" y="connsiteY1966"/>
                    </a:cxn>
                    <a:cxn ang="0">
                      <a:pos x="connsiteX1967" y="connsiteY1967"/>
                    </a:cxn>
                    <a:cxn ang="0">
                      <a:pos x="connsiteX1968" y="connsiteY1968"/>
                    </a:cxn>
                    <a:cxn ang="0">
                      <a:pos x="connsiteX1969" y="connsiteY1969"/>
                    </a:cxn>
                    <a:cxn ang="0">
                      <a:pos x="connsiteX1970" y="connsiteY1970"/>
                    </a:cxn>
                    <a:cxn ang="0">
                      <a:pos x="connsiteX1971" y="connsiteY1971"/>
                    </a:cxn>
                    <a:cxn ang="0">
                      <a:pos x="connsiteX1972" y="connsiteY1972"/>
                    </a:cxn>
                    <a:cxn ang="0">
                      <a:pos x="connsiteX1973" y="connsiteY1973"/>
                    </a:cxn>
                    <a:cxn ang="0">
                      <a:pos x="connsiteX1974" y="connsiteY1974"/>
                    </a:cxn>
                    <a:cxn ang="0">
                      <a:pos x="connsiteX1975" y="connsiteY1975"/>
                    </a:cxn>
                    <a:cxn ang="0">
                      <a:pos x="connsiteX1976" y="connsiteY1976"/>
                    </a:cxn>
                    <a:cxn ang="0">
                      <a:pos x="connsiteX1977" y="connsiteY1977"/>
                    </a:cxn>
                    <a:cxn ang="0">
                      <a:pos x="connsiteX1978" y="connsiteY1978"/>
                    </a:cxn>
                    <a:cxn ang="0">
                      <a:pos x="connsiteX1979" y="connsiteY1979"/>
                    </a:cxn>
                    <a:cxn ang="0">
                      <a:pos x="connsiteX1980" y="connsiteY1980"/>
                    </a:cxn>
                    <a:cxn ang="0">
                      <a:pos x="connsiteX1981" y="connsiteY1981"/>
                    </a:cxn>
                    <a:cxn ang="0">
                      <a:pos x="connsiteX1982" y="connsiteY1982"/>
                    </a:cxn>
                    <a:cxn ang="0">
                      <a:pos x="connsiteX1983" y="connsiteY1983"/>
                    </a:cxn>
                    <a:cxn ang="0">
                      <a:pos x="connsiteX1984" y="connsiteY1984"/>
                    </a:cxn>
                    <a:cxn ang="0">
                      <a:pos x="connsiteX1985" y="connsiteY1985"/>
                    </a:cxn>
                    <a:cxn ang="0">
                      <a:pos x="connsiteX1986" y="connsiteY1986"/>
                    </a:cxn>
                    <a:cxn ang="0">
                      <a:pos x="connsiteX1987" y="connsiteY1987"/>
                    </a:cxn>
                    <a:cxn ang="0">
                      <a:pos x="connsiteX1988" y="connsiteY1988"/>
                    </a:cxn>
                    <a:cxn ang="0">
                      <a:pos x="connsiteX1989" y="connsiteY1989"/>
                    </a:cxn>
                    <a:cxn ang="0">
                      <a:pos x="connsiteX1990" y="connsiteY1990"/>
                    </a:cxn>
                    <a:cxn ang="0">
                      <a:pos x="connsiteX1991" y="connsiteY1991"/>
                    </a:cxn>
                    <a:cxn ang="0">
                      <a:pos x="connsiteX1992" y="connsiteY1992"/>
                    </a:cxn>
                    <a:cxn ang="0">
                      <a:pos x="connsiteX1993" y="connsiteY1993"/>
                    </a:cxn>
                    <a:cxn ang="0">
                      <a:pos x="connsiteX1994" y="connsiteY1994"/>
                    </a:cxn>
                    <a:cxn ang="0">
                      <a:pos x="connsiteX1995" y="connsiteY1995"/>
                    </a:cxn>
                    <a:cxn ang="0">
                      <a:pos x="connsiteX1996" y="connsiteY1996"/>
                    </a:cxn>
                    <a:cxn ang="0">
                      <a:pos x="connsiteX1997" y="connsiteY1997"/>
                    </a:cxn>
                    <a:cxn ang="0">
                      <a:pos x="connsiteX1998" y="connsiteY1998"/>
                    </a:cxn>
                    <a:cxn ang="0">
                      <a:pos x="connsiteX1999" y="connsiteY1999"/>
                    </a:cxn>
                    <a:cxn ang="0">
                      <a:pos x="connsiteX2000" y="connsiteY2000"/>
                    </a:cxn>
                    <a:cxn ang="0">
                      <a:pos x="connsiteX2001" y="connsiteY2001"/>
                    </a:cxn>
                    <a:cxn ang="0">
                      <a:pos x="connsiteX2002" y="connsiteY2002"/>
                    </a:cxn>
                    <a:cxn ang="0">
                      <a:pos x="connsiteX2003" y="connsiteY2003"/>
                    </a:cxn>
                    <a:cxn ang="0">
                      <a:pos x="connsiteX2004" y="connsiteY2004"/>
                    </a:cxn>
                    <a:cxn ang="0">
                      <a:pos x="connsiteX2005" y="connsiteY2005"/>
                    </a:cxn>
                    <a:cxn ang="0">
                      <a:pos x="connsiteX2006" y="connsiteY2006"/>
                    </a:cxn>
                    <a:cxn ang="0">
                      <a:pos x="connsiteX2007" y="connsiteY2007"/>
                    </a:cxn>
                    <a:cxn ang="0">
                      <a:pos x="connsiteX2008" y="connsiteY2008"/>
                    </a:cxn>
                    <a:cxn ang="0">
                      <a:pos x="connsiteX2009" y="connsiteY2009"/>
                    </a:cxn>
                    <a:cxn ang="0">
                      <a:pos x="connsiteX2010" y="connsiteY2010"/>
                    </a:cxn>
                    <a:cxn ang="0">
                      <a:pos x="connsiteX2011" y="connsiteY2011"/>
                    </a:cxn>
                    <a:cxn ang="0">
                      <a:pos x="connsiteX2012" y="connsiteY2012"/>
                    </a:cxn>
                    <a:cxn ang="0">
                      <a:pos x="connsiteX2013" y="connsiteY2013"/>
                    </a:cxn>
                    <a:cxn ang="0">
                      <a:pos x="connsiteX2014" y="connsiteY2014"/>
                    </a:cxn>
                    <a:cxn ang="0">
                      <a:pos x="connsiteX2015" y="connsiteY2015"/>
                    </a:cxn>
                    <a:cxn ang="0">
                      <a:pos x="connsiteX2016" y="connsiteY2016"/>
                    </a:cxn>
                    <a:cxn ang="0">
                      <a:pos x="connsiteX2017" y="connsiteY2017"/>
                    </a:cxn>
                    <a:cxn ang="0">
                      <a:pos x="connsiteX2018" y="connsiteY2018"/>
                    </a:cxn>
                    <a:cxn ang="0">
                      <a:pos x="connsiteX2019" y="connsiteY2019"/>
                    </a:cxn>
                    <a:cxn ang="0">
                      <a:pos x="connsiteX2020" y="connsiteY2020"/>
                    </a:cxn>
                    <a:cxn ang="0">
                      <a:pos x="connsiteX2021" y="connsiteY2021"/>
                    </a:cxn>
                    <a:cxn ang="0">
                      <a:pos x="connsiteX2022" y="connsiteY2022"/>
                    </a:cxn>
                    <a:cxn ang="0">
                      <a:pos x="connsiteX2023" y="connsiteY2023"/>
                    </a:cxn>
                    <a:cxn ang="0">
                      <a:pos x="connsiteX2024" y="connsiteY2024"/>
                    </a:cxn>
                    <a:cxn ang="0">
                      <a:pos x="connsiteX2025" y="connsiteY2025"/>
                    </a:cxn>
                    <a:cxn ang="0">
                      <a:pos x="connsiteX2026" y="connsiteY2026"/>
                    </a:cxn>
                    <a:cxn ang="0">
                      <a:pos x="connsiteX2027" y="connsiteY2027"/>
                    </a:cxn>
                    <a:cxn ang="0">
                      <a:pos x="connsiteX2028" y="connsiteY2028"/>
                    </a:cxn>
                    <a:cxn ang="0">
                      <a:pos x="connsiteX2029" y="connsiteY2029"/>
                    </a:cxn>
                    <a:cxn ang="0">
                      <a:pos x="connsiteX2030" y="connsiteY2030"/>
                    </a:cxn>
                    <a:cxn ang="0">
                      <a:pos x="connsiteX2031" y="connsiteY2031"/>
                    </a:cxn>
                    <a:cxn ang="0">
                      <a:pos x="connsiteX2032" y="connsiteY2032"/>
                    </a:cxn>
                    <a:cxn ang="0">
                      <a:pos x="connsiteX2033" y="connsiteY2033"/>
                    </a:cxn>
                    <a:cxn ang="0">
                      <a:pos x="connsiteX2034" y="connsiteY2034"/>
                    </a:cxn>
                    <a:cxn ang="0">
                      <a:pos x="connsiteX2035" y="connsiteY2035"/>
                    </a:cxn>
                    <a:cxn ang="0">
                      <a:pos x="connsiteX2036" y="connsiteY2036"/>
                    </a:cxn>
                    <a:cxn ang="0">
                      <a:pos x="connsiteX2037" y="connsiteY2037"/>
                    </a:cxn>
                    <a:cxn ang="0">
                      <a:pos x="connsiteX2038" y="connsiteY2038"/>
                    </a:cxn>
                    <a:cxn ang="0">
                      <a:pos x="connsiteX2039" y="connsiteY2039"/>
                    </a:cxn>
                    <a:cxn ang="0">
                      <a:pos x="connsiteX2040" y="connsiteY2040"/>
                    </a:cxn>
                    <a:cxn ang="0">
                      <a:pos x="connsiteX2041" y="connsiteY2041"/>
                    </a:cxn>
                    <a:cxn ang="0">
                      <a:pos x="connsiteX2042" y="connsiteY2042"/>
                    </a:cxn>
                    <a:cxn ang="0">
                      <a:pos x="connsiteX2043" y="connsiteY2043"/>
                    </a:cxn>
                    <a:cxn ang="0">
                      <a:pos x="connsiteX2044" y="connsiteY2044"/>
                    </a:cxn>
                    <a:cxn ang="0">
                      <a:pos x="connsiteX2045" y="connsiteY2045"/>
                    </a:cxn>
                    <a:cxn ang="0">
                      <a:pos x="connsiteX2046" y="connsiteY2046"/>
                    </a:cxn>
                    <a:cxn ang="0">
                      <a:pos x="connsiteX2047" y="connsiteY2047"/>
                    </a:cxn>
                    <a:cxn ang="0">
                      <a:pos x="connsiteX2048" y="connsiteY2048"/>
                    </a:cxn>
                    <a:cxn ang="0">
                      <a:pos x="connsiteX2049" y="connsiteY2049"/>
                    </a:cxn>
                    <a:cxn ang="0">
                      <a:pos x="connsiteX2050" y="connsiteY2050"/>
                    </a:cxn>
                    <a:cxn ang="0">
                      <a:pos x="connsiteX2051" y="connsiteY2051"/>
                    </a:cxn>
                    <a:cxn ang="0">
                      <a:pos x="connsiteX2052" y="connsiteY2052"/>
                    </a:cxn>
                    <a:cxn ang="0">
                      <a:pos x="connsiteX2053" y="connsiteY2053"/>
                    </a:cxn>
                    <a:cxn ang="0">
                      <a:pos x="connsiteX2054" y="connsiteY2054"/>
                    </a:cxn>
                    <a:cxn ang="0">
                      <a:pos x="connsiteX2055" y="connsiteY2055"/>
                    </a:cxn>
                    <a:cxn ang="0">
                      <a:pos x="connsiteX2056" y="connsiteY2056"/>
                    </a:cxn>
                    <a:cxn ang="0">
                      <a:pos x="connsiteX2057" y="connsiteY2057"/>
                    </a:cxn>
                    <a:cxn ang="0">
                      <a:pos x="connsiteX2058" y="connsiteY2058"/>
                    </a:cxn>
                    <a:cxn ang="0">
                      <a:pos x="connsiteX2059" y="connsiteY2059"/>
                    </a:cxn>
                    <a:cxn ang="0">
                      <a:pos x="connsiteX2060" y="connsiteY2060"/>
                    </a:cxn>
                    <a:cxn ang="0">
                      <a:pos x="connsiteX2061" y="connsiteY2061"/>
                    </a:cxn>
                    <a:cxn ang="0">
                      <a:pos x="connsiteX2062" y="connsiteY2062"/>
                    </a:cxn>
                    <a:cxn ang="0">
                      <a:pos x="connsiteX2063" y="connsiteY2063"/>
                    </a:cxn>
                    <a:cxn ang="0">
                      <a:pos x="connsiteX2064" y="connsiteY2064"/>
                    </a:cxn>
                    <a:cxn ang="0">
                      <a:pos x="connsiteX2065" y="connsiteY2065"/>
                    </a:cxn>
                    <a:cxn ang="0">
                      <a:pos x="connsiteX2066" y="connsiteY2066"/>
                    </a:cxn>
                    <a:cxn ang="0">
                      <a:pos x="connsiteX2067" y="connsiteY2067"/>
                    </a:cxn>
                    <a:cxn ang="0">
                      <a:pos x="connsiteX2068" y="connsiteY2068"/>
                    </a:cxn>
                    <a:cxn ang="0">
                      <a:pos x="connsiteX2069" y="connsiteY2069"/>
                    </a:cxn>
                    <a:cxn ang="0">
                      <a:pos x="connsiteX2070" y="connsiteY2070"/>
                    </a:cxn>
                    <a:cxn ang="0">
                      <a:pos x="connsiteX2071" y="connsiteY2071"/>
                    </a:cxn>
                    <a:cxn ang="0">
                      <a:pos x="connsiteX2072" y="connsiteY2072"/>
                    </a:cxn>
                    <a:cxn ang="0">
                      <a:pos x="connsiteX2073" y="connsiteY2073"/>
                    </a:cxn>
                    <a:cxn ang="0">
                      <a:pos x="connsiteX2074" y="connsiteY2074"/>
                    </a:cxn>
                    <a:cxn ang="0">
                      <a:pos x="connsiteX2075" y="connsiteY2075"/>
                    </a:cxn>
                    <a:cxn ang="0">
                      <a:pos x="connsiteX2076" y="connsiteY2076"/>
                    </a:cxn>
                    <a:cxn ang="0">
                      <a:pos x="connsiteX2077" y="connsiteY2077"/>
                    </a:cxn>
                    <a:cxn ang="0">
                      <a:pos x="connsiteX2078" y="connsiteY2078"/>
                    </a:cxn>
                    <a:cxn ang="0">
                      <a:pos x="connsiteX2079" y="connsiteY2079"/>
                    </a:cxn>
                    <a:cxn ang="0">
                      <a:pos x="connsiteX2080" y="connsiteY2080"/>
                    </a:cxn>
                    <a:cxn ang="0">
                      <a:pos x="connsiteX2081" y="connsiteY2081"/>
                    </a:cxn>
                    <a:cxn ang="0">
                      <a:pos x="connsiteX2082" y="connsiteY2082"/>
                    </a:cxn>
                    <a:cxn ang="0">
                      <a:pos x="connsiteX2083" y="connsiteY2083"/>
                    </a:cxn>
                    <a:cxn ang="0">
                      <a:pos x="connsiteX2084" y="connsiteY2084"/>
                    </a:cxn>
                    <a:cxn ang="0">
                      <a:pos x="connsiteX2085" y="connsiteY2085"/>
                    </a:cxn>
                    <a:cxn ang="0">
                      <a:pos x="connsiteX2086" y="connsiteY2086"/>
                    </a:cxn>
                    <a:cxn ang="0">
                      <a:pos x="connsiteX2087" y="connsiteY2087"/>
                    </a:cxn>
                    <a:cxn ang="0">
                      <a:pos x="connsiteX2088" y="connsiteY2088"/>
                    </a:cxn>
                    <a:cxn ang="0">
                      <a:pos x="connsiteX2089" y="connsiteY2089"/>
                    </a:cxn>
                    <a:cxn ang="0">
                      <a:pos x="connsiteX2090" y="connsiteY2090"/>
                    </a:cxn>
                    <a:cxn ang="0">
                      <a:pos x="connsiteX2091" y="connsiteY2091"/>
                    </a:cxn>
                    <a:cxn ang="0">
                      <a:pos x="connsiteX2092" y="connsiteY2092"/>
                    </a:cxn>
                    <a:cxn ang="0">
                      <a:pos x="connsiteX2093" y="connsiteY2093"/>
                    </a:cxn>
                    <a:cxn ang="0">
                      <a:pos x="connsiteX2094" y="connsiteY2094"/>
                    </a:cxn>
                    <a:cxn ang="0">
                      <a:pos x="connsiteX2095" y="connsiteY2095"/>
                    </a:cxn>
                    <a:cxn ang="0">
                      <a:pos x="connsiteX2096" y="connsiteY2096"/>
                    </a:cxn>
                    <a:cxn ang="0">
                      <a:pos x="connsiteX2097" y="connsiteY2097"/>
                    </a:cxn>
                    <a:cxn ang="0">
                      <a:pos x="connsiteX2098" y="connsiteY2098"/>
                    </a:cxn>
                    <a:cxn ang="0">
                      <a:pos x="connsiteX2099" y="connsiteY2099"/>
                    </a:cxn>
                    <a:cxn ang="0">
                      <a:pos x="connsiteX2100" y="connsiteY2100"/>
                    </a:cxn>
                    <a:cxn ang="0">
                      <a:pos x="connsiteX2101" y="connsiteY2101"/>
                    </a:cxn>
                    <a:cxn ang="0">
                      <a:pos x="connsiteX2102" y="connsiteY2102"/>
                    </a:cxn>
                    <a:cxn ang="0">
                      <a:pos x="connsiteX2103" y="connsiteY2103"/>
                    </a:cxn>
                    <a:cxn ang="0">
                      <a:pos x="connsiteX2104" y="connsiteY2104"/>
                    </a:cxn>
                    <a:cxn ang="0">
                      <a:pos x="connsiteX2105" y="connsiteY2105"/>
                    </a:cxn>
                    <a:cxn ang="0">
                      <a:pos x="connsiteX2106" y="connsiteY2106"/>
                    </a:cxn>
                    <a:cxn ang="0">
                      <a:pos x="connsiteX2107" y="connsiteY2107"/>
                    </a:cxn>
                    <a:cxn ang="0">
                      <a:pos x="connsiteX2108" y="connsiteY2108"/>
                    </a:cxn>
                    <a:cxn ang="0">
                      <a:pos x="connsiteX2109" y="connsiteY2109"/>
                    </a:cxn>
                    <a:cxn ang="0">
                      <a:pos x="connsiteX2110" y="connsiteY2110"/>
                    </a:cxn>
                    <a:cxn ang="0">
                      <a:pos x="connsiteX2111" y="connsiteY2111"/>
                    </a:cxn>
                    <a:cxn ang="0">
                      <a:pos x="connsiteX2112" y="connsiteY2112"/>
                    </a:cxn>
                    <a:cxn ang="0">
                      <a:pos x="connsiteX2113" y="connsiteY2113"/>
                    </a:cxn>
                    <a:cxn ang="0">
                      <a:pos x="connsiteX2114" y="connsiteY2114"/>
                    </a:cxn>
                    <a:cxn ang="0">
                      <a:pos x="connsiteX2115" y="connsiteY2115"/>
                    </a:cxn>
                    <a:cxn ang="0">
                      <a:pos x="connsiteX2116" y="connsiteY2116"/>
                    </a:cxn>
                    <a:cxn ang="0">
                      <a:pos x="connsiteX2117" y="connsiteY2117"/>
                    </a:cxn>
                    <a:cxn ang="0">
                      <a:pos x="connsiteX2118" y="connsiteY2118"/>
                    </a:cxn>
                    <a:cxn ang="0">
                      <a:pos x="connsiteX2119" y="connsiteY2119"/>
                    </a:cxn>
                    <a:cxn ang="0">
                      <a:pos x="connsiteX2120" y="connsiteY2120"/>
                    </a:cxn>
                    <a:cxn ang="0">
                      <a:pos x="connsiteX2121" y="connsiteY2121"/>
                    </a:cxn>
                    <a:cxn ang="0">
                      <a:pos x="connsiteX2122" y="connsiteY2122"/>
                    </a:cxn>
                    <a:cxn ang="0">
                      <a:pos x="connsiteX2123" y="connsiteY2123"/>
                    </a:cxn>
                    <a:cxn ang="0">
                      <a:pos x="connsiteX2124" y="connsiteY2124"/>
                    </a:cxn>
                    <a:cxn ang="0">
                      <a:pos x="connsiteX2125" y="connsiteY2125"/>
                    </a:cxn>
                    <a:cxn ang="0">
                      <a:pos x="connsiteX2126" y="connsiteY2126"/>
                    </a:cxn>
                    <a:cxn ang="0">
                      <a:pos x="connsiteX2127" y="connsiteY2127"/>
                    </a:cxn>
                    <a:cxn ang="0">
                      <a:pos x="connsiteX2128" y="connsiteY2128"/>
                    </a:cxn>
                    <a:cxn ang="0">
                      <a:pos x="connsiteX2129" y="connsiteY2129"/>
                    </a:cxn>
                    <a:cxn ang="0">
                      <a:pos x="connsiteX2130" y="connsiteY2130"/>
                    </a:cxn>
                    <a:cxn ang="0">
                      <a:pos x="connsiteX2131" y="connsiteY2131"/>
                    </a:cxn>
                    <a:cxn ang="0">
                      <a:pos x="connsiteX2132" y="connsiteY2132"/>
                    </a:cxn>
                    <a:cxn ang="0">
                      <a:pos x="connsiteX2133" y="connsiteY2133"/>
                    </a:cxn>
                    <a:cxn ang="0">
                      <a:pos x="connsiteX2134" y="connsiteY2134"/>
                    </a:cxn>
                    <a:cxn ang="0">
                      <a:pos x="connsiteX2135" y="connsiteY2135"/>
                    </a:cxn>
                    <a:cxn ang="0">
                      <a:pos x="connsiteX2136" y="connsiteY2136"/>
                    </a:cxn>
                    <a:cxn ang="0">
                      <a:pos x="connsiteX2137" y="connsiteY2137"/>
                    </a:cxn>
                    <a:cxn ang="0">
                      <a:pos x="connsiteX2138" y="connsiteY2138"/>
                    </a:cxn>
                    <a:cxn ang="0">
                      <a:pos x="connsiteX2139" y="connsiteY2139"/>
                    </a:cxn>
                    <a:cxn ang="0">
                      <a:pos x="connsiteX2140" y="connsiteY2140"/>
                    </a:cxn>
                    <a:cxn ang="0">
                      <a:pos x="connsiteX2141" y="connsiteY2141"/>
                    </a:cxn>
                    <a:cxn ang="0">
                      <a:pos x="connsiteX2142" y="connsiteY2142"/>
                    </a:cxn>
                    <a:cxn ang="0">
                      <a:pos x="connsiteX2143" y="connsiteY2143"/>
                    </a:cxn>
                    <a:cxn ang="0">
                      <a:pos x="connsiteX2144" y="connsiteY2144"/>
                    </a:cxn>
                    <a:cxn ang="0">
                      <a:pos x="connsiteX2145" y="connsiteY2145"/>
                    </a:cxn>
                    <a:cxn ang="0">
                      <a:pos x="connsiteX2146" y="connsiteY2146"/>
                    </a:cxn>
                    <a:cxn ang="0">
                      <a:pos x="connsiteX2147" y="connsiteY2147"/>
                    </a:cxn>
                    <a:cxn ang="0">
                      <a:pos x="connsiteX2148" y="connsiteY2148"/>
                    </a:cxn>
                    <a:cxn ang="0">
                      <a:pos x="connsiteX2149" y="connsiteY2149"/>
                    </a:cxn>
                    <a:cxn ang="0">
                      <a:pos x="connsiteX2150" y="connsiteY2150"/>
                    </a:cxn>
                    <a:cxn ang="0">
                      <a:pos x="connsiteX2151" y="connsiteY2151"/>
                    </a:cxn>
                    <a:cxn ang="0">
                      <a:pos x="connsiteX2152" y="connsiteY2152"/>
                    </a:cxn>
                    <a:cxn ang="0">
                      <a:pos x="connsiteX2153" y="connsiteY2153"/>
                    </a:cxn>
                    <a:cxn ang="0">
                      <a:pos x="connsiteX2154" y="connsiteY2154"/>
                    </a:cxn>
                    <a:cxn ang="0">
                      <a:pos x="connsiteX2155" y="connsiteY2155"/>
                    </a:cxn>
                    <a:cxn ang="0">
                      <a:pos x="connsiteX2156" y="connsiteY2156"/>
                    </a:cxn>
                    <a:cxn ang="0">
                      <a:pos x="connsiteX2157" y="connsiteY2157"/>
                    </a:cxn>
                    <a:cxn ang="0">
                      <a:pos x="connsiteX2158" y="connsiteY2158"/>
                    </a:cxn>
                    <a:cxn ang="0">
                      <a:pos x="connsiteX2159" y="connsiteY2159"/>
                    </a:cxn>
                    <a:cxn ang="0">
                      <a:pos x="connsiteX2160" y="connsiteY2160"/>
                    </a:cxn>
                    <a:cxn ang="0">
                      <a:pos x="connsiteX2161" y="connsiteY2161"/>
                    </a:cxn>
                    <a:cxn ang="0">
                      <a:pos x="connsiteX2162" y="connsiteY2162"/>
                    </a:cxn>
                    <a:cxn ang="0">
                      <a:pos x="connsiteX2163" y="connsiteY2163"/>
                    </a:cxn>
                    <a:cxn ang="0">
                      <a:pos x="connsiteX2164" y="connsiteY2164"/>
                    </a:cxn>
                    <a:cxn ang="0">
                      <a:pos x="connsiteX2165" y="connsiteY2165"/>
                    </a:cxn>
                    <a:cxn ang="0">
                      <a:pos x="connsiteX2166" y="connsiteY2166"/>
                    </a:cxn>
                    <a:cxn ang="0">
                      <a:pos x="connsiteX2167" y="connsiteY2167"/>
                    </a:cxn>
                    <a:cxn ang="0">
                      <a:pos x="connsiteX2168" y="connsiteY2168"/>
                    </a:cxn>
                    <a:cxn ang="0">
                      <a:pos x="connsiteX2169" y="connsiteY2169"/>
                    </a:cxn>
                    <a:cxn ang="0">
                      <a:pos x="connsiteX2170" y="connsiteY2170"/>
                    </a:cxn>
                    <a:cxn ang="0">
                      <a:pos x="connsiteX2171" y="connsiteY2171"/>
                    </a:cxn>
                    <a:cxn ang="0">
                      <a:pos x="connsiteX2172" y="connsiteY2172"/>
                    </a:cxn>
                    <a:cxn ang="0">
                      <a:pos x="connsiteX2173" y="connsiteY2173"/>
                    </a:cxn>
                    <a:cxn ang="0">
                      <a:pos x="connsiteX2174" y="connsiteY2174"/>
                    </a:cxn>
                    <a:cxn ang="0">
                      <a:pos x="connsiteX2175" y="connsiteY2175"/>
                    </a:cxn>
                    <a:cxn ang="0">
                      <a:pos x="connsiteX2176" y="connsiteY2176"/>
                    </a:cxn>
                    <a:cxn ang="0">
                      <a:pos x="connsiteX2177" y="connsiteY2177"/>
                    </a:cxn>
                    <a:cxn ang="0">
                      <a:pos x="connsiteX2178" y="connsiteY2178"/>
                    </a:cxn>
                    <a:cxn ang="0">
                      <a:pos x="connsiteX2179" y="connsiteY2179"/>
                    </a:cxn>
                    <a:cxn ang="0">
                      <a:pos x="connsiteX2180" y="connsiteY2180"/>
                    </a:cxn>
                    <a:cxn ang="0">
                      <a:pos x="connsiteX2181" y="connsiteY2181"/>
                    </a:cxn>
                    <a:cxn ang="0">
                      <a:pos x="connsiteX2182" y="connsiteY2182"/>
                    </a:cxn>
                    <a:cxn ang="0">
                      <a:pos x="connsiteX2183" y="connsiteY2183"/>
                    </a:cxn>
                    <a:cxn ang="0">
                      <a:pos x="connsiteX2184" y="connsiteY2184"/>
                    </a:cxn>
                    <a:cxn ang="0">
                      <a:pos x="connsiteX2185" y="connsiteY2185"/>
                    </a:cxn>
                    <a:cxn ang="0">
                      <a:pos x="connsiteX2186" y="connsiteY2186"/>
                    </a:cxn>
                    <a:cxn ang="0">
                      <a:pos x="connsiteX2187" y="connsiteY2187"/>
                    </a:cxn>
                    <a:cxn ang="0">
                      <a:pos x="connsiteX2188" y="connsiteY2188"/>
                    </a:cxn>
                    <a:cxn ang="0">
                      <a:pos x="connsiteX2189" y="connsiteY2189"/>
                    </a:cxn>
                    <a:cxn ang="0">
                      <a:pos x="connsiteX2190" y="connsiteY2190"/>
                    </a:cxn>
                    <a:cxn ang="0">
                      <a:pos x="connsiteX2191" y="connsiteY2191"/>
                    </a:cxn>
                    <a:cxn ang="0">
                      <a:pos x="connsiteX2192" y="connsiteY2192"/>
                    </a:cxn>
                    <a:cxn ang="0">
                      <a:pos x="connsiteX2193" y="connsiteY2193"/>
                    </a:cxn>
                    <a:cxn ang="0">
                      <a:pos x="connsiteX2194" y="connsiteY2194"/>
                    </a:cxn>
                    <a:cxn ang="0">
                      <a:pos x="connsiteX2195" y="connsiteY2195"/>
                    </a:cxn>
                    <a:cxn ang="0">
                      <a:pos x="connsiteX2196" y="connsiteY2196"/>
                    </a:cxn>
                    <a:cxn ang="0">
                      <a:pos x="connsiteX2197" y="connsiteY2197"/>
                    </a:cxn>
                    <a:cxn ang="0">
                      <a:pos x="connsiteX2198" y="connsiteY2198"/>
                    </a:cxn>
                    <a:cxn ang="0">
                      <a:pos x="connsiteX2199" y="connsiteY2199"/>
                    </a:cxn>
                    <a:cxn ang="0">
                      <a:pos x="connsiteX2200" y="connsiteY2200"/>
                    </a:cxn>
                    <a:cxn ang="0">
                      <a:pos x="connsiteX2201" y="connsiteY2201"/>
                    </a:cxn>
                    <a:cxn ang="0">
                      <a:pos x="connsiteX2202" y="connsiteY2202"/>
                    </a:cxn>
                    <a:cxn ang="0">
                      <a:pos x="connsiteX2203" y="connsiteY2203"/>
                    </a:cxn>
                    <a:cxn ang="0">
                      <a:pos x="connsiteX2204" y="connsiteY2204"/>
                    </a:cxn>
                    <a:cxn ang="0">
                      <a:pos x="connsiteX2205" y="connsiteY2205"/>
                    </a:cxn>
                    <a:cxn ang="0">
                      <a:pos x="connsiteX2206" y="connsiteY2206"/>
                    </a:cxn>
                    <a:cxn ang="0">
                      <a:pos x="connsiteX2207" y="connsiteY2207"/>
                    </a:cxn>
                    <a:cxn ang="0">
                      <a:pos x="connsiteX2208" y="connsiteY2208"/>
                    </a:cxn>
                    <a:cxn ang="0">
                      <a:pos x="connsiteX2209" y="connsiteY2209"/>
                    </a:cxn>
                    <a:cxn ang="0">
                      <a:pos x="connsiteX2210" y="connsiteY2210"/>
                    </a:cxn>
                    <a:cxn ang="0">
                      <a:pos x="connsiteX2211" y="connsiteY2211"/>
                    </a:cxn>
                    <a:cxn ang="0">
                      <a:pos x="connsiteX2212" y="connsiteY2212"/>
                    </a:cxn>
                    <a:cxn ang="0">
                      <a:pos x="connsiteX2213" y="connsiteY2213"/>
                    </a:cxn>
                    <a:cxn ang="0">
                      <a:pos x="connsiteX2214" y="connsiteY2214"/>
                    </a:cxn>
                    <a:cxn ang="0">
                      <a:pos x="connsiteX2215" y="connsiteY2215"/>
                    </a:cxn>
                    <a:cxn ang="0">
                      <a:pos x="connsiteX2216" y="connsiteY2216"/>
                    </a:cxn>
                    <a:cxn ang="0">
                      <a:pos x="connsiteX2217" y="connsiteY2217"/>
                    </a:cxn>
                    <a:cxn ang="0">
                      <a:pos x="connsiteX2218" y="connsiteY2218"/>
                    </a:cxn>
                    <a:cxn ang="0">
                      <a:pos x="connsiteX2219" y="connsiteY2219"/>
                    </a:cxn>
                    <a:cxn ang="0">
                      <a:pos x="connsiteX2220" y="connsiteY2220"/>
                    </a:cxn>
                    <a:cxn ang="0">
                      <a:pos x="connsiteX2221" y="connsiteY2221"/>
                    </a:cxn>
                    <a:cxn ang="0">
                      <a:pos x="connsiteX2222" y="connsiteY2222"/>
                    </a:cxn>
                    <a:cxn ang="0">
                      <a:pos x="connsiteX2223" y="connsiteY2223"/>
                    </a:cxn>
                    <a:cxn ang="0">
                      <a:pos x="connsiteX2224" y="connsiteY2224"/>
                    </a:cxn>
                    <a:cxn ang="0">
                      <a:pos x="connsiteX2225" y="connsiteY2225"/>
                    </a:cxn>
                    <a:cxn ang="0">
                      <a:pos x="connsiteX2226" y="connsiteY2226"/>
                    </a:cxn>
                    <a:cxn ang="0">
                      <a:pos x="connsiteX2227" y="connsiteY2227"/>
                    </a:cxn>
                    <a:cxn ang="0">
                      <a:pos x="connsiteX2228" y="connsiteY2228"/>
                    </a:cxn>
                    <a:cxn ang="0">
                      <a:pos x="connsiteX2229" y="connsiteY2229"/>
                    </a:cxn>
                    <a:cxn ang="0">
                      <a:pos x="connsiteX2230" y="connsiteY2230"/>
                    </a:cxn>
                    <a:cxn ang="0">
                      <a:pos x="connsiteX2231" y="connsiteY2231"/>
                    </a:cxn>
                    <a:cxn ang="0">
                      <a:pos x="connsiteX2232" y="connsiteY2232"/>
                    </a:cxn>
                    <a:cxn ang="0">
                      <a:pos x="connsiteX2233" y="connsiteY2233"/>
                    </a:cxn>
                    <a:cxn ang="0">
                      <a:pos x="connsiteX2234" y="connsiteY2234"/>
                    </a:cxn>
                    <a:cxn ang="0">
                      <a:pos x="connsiteX2235" y="connsiteY2235"/>
                    </a:cxn>
                    <a:cxn ang="0">
                      <a:pos x="connsiteX2236" y="connsiteY2236"/>
                    </a:cxn>
                    <a:cxn ang="0">
                      <a:pos x="connsiteX2237" y="connsiteY2237"/>
                    </a:cxn>
                    <a:cxn ang="0">
                      <a:pos x="connsiteX2238" y="connsiteY2238"/>
                    </a:cxn>
                    <a:cxn ang="0">
                      <a:pos x="connsiteX2239" y="connsiteY2239"/>
                    </a:cxn>
                    <a:cxn ang="0">
                      <a:pos x="connsiteX2240" y="connsiteY2240"/>
                    </a:cxn>
                    <a:cxn ang="0">
                      <a:pos x="connsiteX2241" y="connsiteY2241"/>
                    </a:cxn>
                    <a:cxn ang="0">
                      <a:pos x="connsiteX2242" y="connsiteY2242"/>
                    </a:cxn>
                    <a:cxn ang="0">
                      <a:pos x="connsiteX2243" y="connsiteY2243"/>
                    </a:cxn>
                    <a:cxn ang="0">
                      <a:pos x="connsiteX2244" y="connsiteY2244"/>
                    </a:cxn>
                    <a:cxn ang="0">
                      <a:pos x="connsiteX2245" y="connsiteY2245"/>
                    </a:cxn>
                    <a:cxn ang="0">
                      <a:pos x="connsiteX2246" y="connsiteY2246"/>
                    </a:cxn>
                    <a:cxn ang="0">
                      <a:pos x="connsiteX2247" y="connsiteY2247"/>
                    </a:cxn>
                    <a:cxn ang="0">
                      <a:pos x="connsiteX2248" y="connsiteY2248"/>
                    </a:cxn>
                    <a:cxn ang="0">
                      <a:pos x="connsiteX2249" y="connsiteY2249"/>
                    </a:cxn>
                    <a:cxn ang="0">
                      <a:pos x="connsiteX2250" y="connsiteY2250"/>
                    </a:cxn>
                    <a:cxn ang="0">
                      <a:pos x="connsiteX2251" y="connsiteY2251"/>
                    </a:cxn>
                    <a:cxn ang="0">
                      <a:pos x="connsiteX2252" y="connsiteY2252"/>
                    </a:cxn>
                    <a:cxn ang="0">
                      <a:pos x="connsiteX2253" y="connsiteY2253"/>
                    </a:cxn>
                    <a:cxn ang="0">
                      <a:pos x="connsiteX2254" y="connsiteY2254"/>
                    </a:cxn>
                    <a:cxn ang="0">
                      <a:pos x="connsiteX2255" y="connsiteY2255"/>
                    </a:cxn>
                    <a:cxn ang="0">
                      <a:pos x="connsiteX2256" y="connsiteY2256"/>
                    </a:cxn>
                    <a:cxn ang="0">
                      <a:pos x="connsiteX2257" y="connsiteY2257"/>
                    </a:cxn>
                    <a:cxn ang="0">
                      <a:pos x="connsiteX2258" y="connsiteY2258"/>
                    </a:cxn>
                    <a:cxn ang="0">
                      <a:pos x="connsiteX2259" y="connsiteY2259"/>
                    </a:cxn>
                    <a:cxn ang="0">
                      <a:pos x="connsiteX2260" y="connsiteY2260"/>
                    </a:cxn>
                    <a:cxn ang="0">
                      <a:pos x="connsiteX2261" y="connsiteY2261"/>
                    </a:cxn>
                    <a:cxn ang="0">
                      <a:pos x="connsiteX2262" y="connsiteY2262"/>
                    </a:cxn>
                    <a:cxn ang="0">
                      <a:pos x="connsiteX2263" y="connsiteY2263"/>
                    </a:cxn>
                    <a:cxn ang="0">
                      <a:pos x="connsiteX2264" y="connsiteY2264"/>
                    </a:cxn>
                    <a:cxn ang="0">
                      <a:pos x="connsiteX2265" y="connsiteY2265"/>
                    </a:cxn>
                    <a:cxn ang="0">
                      <a:pos x="connsiteX2266" y="connsiteY2266"/>
                    </a:cxn>
                    <a:cxn ang="0">
                      <a:pos x="connsiteX2267" y="connsiteY2267"/>
                    </a:cxn>
                    <a:cxn ang="0">
                      <a:pos x="connsiteX2268" y="connsiteY2268"/>
                    </a:cxn>
                    <a:cxn ang="0">
                      <a:pos x="connsiteX2269" y="connsiteY2269"/>
                    </a:cxn>
                    <a:cxn ang="0">
                      <a:pos x="connsiteX2270" y="connsiteY2270"/>
                    </a:cxn>
                    <a:cxn ang="0">
                      <a:pos x="connsiteX2271" y="connsiteY2271"/>
                    </a:cxn>
                    <a:cxn ang="0">
                      <a:pos x="connsiteX2272" y="connsiteY2272"/>
                    </a:cxn>
                    <a:cxn ang="0">
                      <a:pos x="connsiteX2273" y="connsiteY2273"/>
                    </a:cxn>
                    <a:cxn ang="0">
                      <a:pos x="connsiteX2274" y="connsiteY2274"/>
                    </a:cxn>
                    <a:cxn ang="0">
                      <a:pos x="connsiteX2275" y="connsiteY2275"/>
                    </a:cxn>
                    <a:cxn ang="0">
                      <a:pos x="connsiteX2276" y="connsiteY2276"/>
                    </a:cxn>
                    <a:cxn ang="0">
                      <a:pos x="connsiteX2277" y="connsiteY2277"/>
                    </a:cxn>
                    <a:cxn ang="0">
                      <a:pos x="connsiteX2278" y="connsiteY2278"/>
                    </a:cxn>
                    <a:cxn ang="0">
                      <a:pos x="connsiteX2279" y="connsiteY2279"/>
                    </a:cxn>
                    <a:cxn ang="0">
                      <a:pos x="connsiteX2280" y="connsiteY2280"/>
                    </a:cxn>
                  </a:cxnLst>
                  <a:rect l="l" t="t" r="r" b="b"/>
                  <a:pathLst>
                    <a:path w="2172185" h="1418833">
                      <a:moveTo>
                        <a:pt x="97334" y="1142023"/>
                      </a:moveTo>
                      <a:cubicBezTo>
                        <a:pt x="97575" y="1140176"/>
                        <a:pt x="97173" y="1139131"/>
                        <a:pt x="96290" y="1138649"/>
                      </a:cubicBezTo>
                      <a:cubicBezTo>
                        <a:pt x="96209" y="1138569"/>
                        <a:pt x="96049" y="1138569"/>
                        <a:pt x="95968" y="1138489"/>
                      </a:cubicBezTo>
                      <a:cubicBezTo>
                        <a:pt x="95808" y="1141862"/>
                        <a:pt x="95647" y="1145236"/>
                        <a:pt x="95486" y="1148610"/>
                      </a:cubicBezTo>
                      <a:cubicBezTo>
                        <a:pt x="96209" y="1146682"/>
                        <a:pt x="97093" y="1144112"/>
                        <a:pt x="97334" y="1142023"/>
                      </a:cubicBezTo>
                      <a:moveTo>
                        <a:pt x="301688" y="1161864"/>
                      </a:moveTo>
                      <a:cubicBezTo>
                        <a:pt x="301688" y="1161864"/>
                        <a:pt x="301688" y="1161864"/>
                        <a:pt x="301688" y="1161864"/>
                      </a:cubicBezTo>
                      <a:cubicBezTo>
                        <a:pt x="301528" y="1162185"/>
                        <a:pt x="301206" y="1162587"/>
                        <a:pt x="300965" y="1162989"/>
                      </a:cubicBezTo>
                      <a:cubicBezTo>
                        <a:pt x="301046" y="1163230"/>
                        <a:pt x="301206" y="1163471"/>
                        <a:pt x="301287" y="1163712"/>
                      </a:cubicBezTo>
                      <a:cubicBezTo>
                        <a:pt x="301287" y="1163310"/>
                        <a:pt x="301447" y="1162587"/>
                        <a:pt x="301688" y="1161864"/>
                      </a:cubicBezTo>
                      <a:moveTo>
                        <a:pt x="300323" y="1161623"/>
                      </a:moveTo>
                      <a:cubicBezTo>
                        <a:pt x="300323" y="1161623"/>
                        <a:pt x="300323" y="1161703"/>
                        <a:pt x="300403" y="1161703"/>
                      </a:cubicBezTo>
                      <a:cubicBezTo>
                        <a:pt x="300162" y="1160338"/>
                        <a:pt x="299680" y="1159213"/>
                        <a:pt x="298636" y="1158089"/>
                      </a:cubicBezTo>
                      <a:cubicBezTo>
                        <a:pt x="298636" y="1158089"/>
                        <a:pt x="298716" y="1158169"/>
                        <a:pt x="298716" y="1158169"/>
                      </a:cubicBezTo>
                      <a:cubicBezTo>
                        <a:pt x="299198" y="1159374"/>
                        <a:pt x="299760" y="1160499"/>
                        <a:pt x="300323" y="1161623"/>
                      </a:cubicBezTo>
                      <a:moveTo>
                        <a:pt x="236783" y="1129572"/>
                      </a:moveTo>
                      <a:lnTo>
                        <a:pt x="237667" y="1131179"/>
                      </a:lnTo>
                      <a:cubicBezTo>
                        <a:pt x="237667" y="1130697"/>
                        <a:pt x="237586" y="1130215"/>
                        <a:pt x="237346" y="1129653"/>
                      </a:cubicBezTo>
                      <a:cubicBezTo>
                        <a:pt x="237346" y="1129653"/>
                        <a:pt x="237346" y="1129653"/>
                        <a:pt x="237346" y="1129653"/>
                      </a:cubicBezTo>
                      <a:cubicBezTo>
                        <a:pt x="237185" y="1129572"/>
                        <a:pt x="237024" y="1129572"/>
                        <a:pt x="236783" y="1129572"/>
                      </a:cubicBezTo>
                      <a:moveTo>
                        <a:pt x="2172125" y="746809"/>
                      </a:moveTo>
                      <a:cubicBezTo>
                        <a:pt x="2172205" y="746809"/>
                        <a:pt x="2172205" y="746729"/>
                        <a:pt x="2172125" y="746809"/>
                      </a:cubicBezTo>
                      <a:cubicBezTo>
                        <a:pt x="2171402" y="746809"/>
                        <a:pt x="2170679" y="746890"/>
                        <a:pt x="2169956" y="747050"/>
                      </a:cubicBezTo>
                      <a:cubicBezTo>
                        <a:pt x="2169956" y="747050"/>
                        <a:pt x="2170037" y="747050"/>
                        <a:pt x="2170037" y="747050"/>
                      </a:cubicBezTo>
                      <a:cubicBezTo>
                        <a:pt x="2170519" y="747291"/>
                        <a:pt x="2171242" y="747532"/>
                        <a:pt x="2172125" y="746809"/>
                      </a:cubicBezTo>
                      <a:moveTo>
                        <a:pt x="2169956" y="747050"/>
                      </a:moveTo>
                      <a:cubicBezTo>
                        <a:pt x="2169956" y="747050"/>
                        <a:pt x="2169956" y="747050"/>
                        <a:pt x="2169956" y="747050"/>
                      </a:cubicBezTo>
                      <a:cubicBezTo>
                        <a:pt x="2169796" y="746970"/>
                        <a:pt x="2169555" y="746809"/>
                        <a:pt x="2169394" y="746729"/>
                      </a:cubicBezTo>
                      <a:cubicBezTo>
                        <a:pt x="2169394" y="746729"/>
                        <a:pt x="2169394" y="746729"/>
                        <a:pt x="2169394" y="746729"/>
                      </a:cubicBezTo>
                      <a:cubicBezTo>
                        <a:pt x="2169474" y="746890"/>
                        <a:pt x="2169474" y="746970"/>
                        <a:pt x="2169555" y="747131"/>
                      </a:cubicBezTo>
                      <a:cubicBezTo>
                        <a:pt x="2169715" y="747131"/>
                        <a:pt x="2169796" y="747050"/>
                        <a:pt x="2169956" y="747050"/>
                      </a:cubicBezTo>
                      <a:moveTo>
                        <a:pt x="6242" y="844488"/>
                      </a:moveTo>
                      <a:cubicBezTo>
                        <a:pt x="6242" y="844488"/>
                        <a:pt x="6242" y="844488"/>
                        <a:pt x="6242" y="844488"/>
                      </a:cubicBezTo>
                      <a:cubicBezTo>
                        <a:pt x="6403" y="843926"/>
                        <a:pt x="6483" y="843364"/>
                        <a:pt x="6644" y="842801"/>
                      </a:cubicBezTo>
                      <a:cubicBezTo>
                        <a:pt x="6644" y="842801"/>
                        <a:pt x="6644" y="842801"/>
                        <a:pt x="6644" y="842882"/>
                      </a:cubicBezTo>
                      <a:cubicBezTo>
                        <a:pt x="6483" y="843364"/>
                        <a:pt x="6403" y="843926"/>
                        <a:pt x="6242" y="844488"/>
                      </a:cubicBezTo>
                      <a:moveTo>
                        <a:pt x="1958854" y="775406"/>
                      </a:moveTo>
                      <a:cubicBezTo>
                        <a:pt x="1958854" y="775406"/>
                        <a:pt x="1958854" y="775326"/>
                        <a:pt x="1958854" y="775326"/>
                      </a:cubicBezTo>
                      <a:cubicBezTo>
                        <a:pt x="1958854" y="775326"/>
                        <a:pt x="1958854" y="775326"/>
                        <a:pt x="1958854" y="775406"/>
                      </a:cubicBezTo>
                      <a:cubicBezTo>
                        <a:pt x="1958854" y="776611"/>
                        <a:pt x="1958935" y="777575"/>
                        <a:pt x="1959095" y="778539"/>
                      </a:cubicBezTo>
                      <a:cubicBezTo>
                        <a:pt x="1959095" y="777495"/>
                        <a:pt x="1959015" y="776450"/>
                        <a:pt x="1958854" y="775406"/>
                      </a:cubicBezTo>
                      <a:moveTo>
                        <a:pt x="1954838" y="777254"/>
                      </a:moveTo>
                      <a:cubicBezTo>
                        <a:pt x="1955079" y="776531"/>
                        <a:pt x="1955561" y="775567"/>
                        <a:pt x="1955802" y="774844"/>
                      </a:cubicBezTo>
                      <a:cubicBezTo>
                        <a:pt x="1955400" y="775165"/>
                        <a:pt x="1954918" y="775567"/>
                        <a:pt x="1954517" y="775888"/>
                      </a:cubicBezTo>
                      <a:cubicBezTo>
                        <a:pt x="1942146" y="785367"/>
                        <a:pt x="1932748" y="791311"/>
                        <a:pt x="1932667" y="791311"/>
                      </a:cubicBezTo>
                      <a:cubicBezTo>
                        <a:pt x="1932025" y="791633"/>
                        <a:pt x="1930981" y="791633"/>
                        <a:pt x="1930258" y="791713"/>
                      </a:cubicBezTo>
                      <a:cubicBezTo>
                        <a:pt x="1923751" y="792837"/>
                        <a:pt x="1920779" y="794123"/>
                        <a:pt x="1917887" y="795408"/>
                      </a:cubicBezTo>
                      <a:cubicBezTo>
                        <a:pt x="1925438" y="806091"/>
                        <a:pt x="1944476" y="803119"/>
                        <a:pt x="1959095" y="798782"/>
                      </a:cubicBezTo>
                      <a:cubicBezTo>
                        <a:pt x="1959497" y="795006"/>
                        <a:pt x="1959015" y="793480"/>
                        <a:pt x="1956525" y="791713"/>
                      </a:cubicBezTo>
                      <a:cubicBezTo>
                        <a:pt x="1956686" y="791472"/>
                        <a:pt x="1956927" y="791070"/>
                        <a:pt x="1957087" y="790829"/>
                      </a:cubicBezTo>
                      <a:cubicBezTo>
                        <a:pt x="1955400" y="789223"/>
                        <a:pt x="1951866" y="785768"/>
                        <a:pt x="1954838" y="777254"/>
                      </a:cubicBezTo>
                      <a:moveTo>
                        <a:pt x="1978856" y="735965"/>
                      </a:moveTo>
                      <a:cubicBezTo>
                        <a:pt x="1978776" y="735724"/>
                        <a:pt x="1978454" y="735804"/>
                        <a:pt x="1977972" y="736045"/>
                      </a:cubicBezTo>
                      <a:cubicBezTo>
                        <a:pt x="1977892" y="736126"/>
                        <a:pt x="1977812" y="736126"/>
                        <a:pt x="1977731" y="736206"/>
                      </a:cubicBezTo>
                      <a:cubicBezTo>
                        <a:pt x="1978053" y="736206"/>
                        <a:pt x="1978454" y="736206"/>
                        <a:pt x="1978776" y="736286"/>
                      </a:cubicBezTo>
                      <a:cubicBezTo>
                        <a:pt x="1978856" y="736206"/>
                        <a:pt x="1978856" y="736126"/>
                        <a:pt x="1978856" y="735965"/>
                      </a:cubicBezTo>
                      <a:moveTo>
                        <a:pt x="17809" y="792195"/>
                      </a:moveTo>
                      <a:lnTo>
                        <a:pt x="17809" y="792195"/>
                      </a:lnTo>
                      <a:cubicBezTo>
                        <a:pt x="17889" y="792034"/>
                        <a:pt x="17889" y="791873"/>
                        <a:pt x="17970" y="791713"/>
                      </a:cubicBezTo>
                      <a:cubicBezTo>
                        <a:pt x="17889" y="791954"/>
                        <a:pt x="17809" y="792114"/>
                        <a:pt x="17809" y="792195"/>
                      </a:cubicBezTo>
                      <a:moveTo>
                        <a:pt x="1862541" y="787536"/>
                      </a:moveTo>
                      <a:cubicBezTo>
                        <a:pt x="1860613" y="782716"/>
                        <a:pt x="1857239" y="779422"/>
                        <a:pt x="1855954" y="778218"/>
                      </a:cubicBezTo>
                      <a:cubicBezTo>
                        <a:pt x="1853384" y="778378"/>
                        <a:pt x="1850653" y="778619"/>
                        <a:pt x="1846556" y="780547"/>
                      </a:cubicBezTo>
                      <a:cubicBezTo>
                        <a:pt x="1843423" y="782154"/>
                        <a:pt x="1840531" y="784082"/>
                        <a:pt x="1836033" y="788580"/>
                      </a:cubicBezTo>
                      <a:cubicBezTo>
                        <a:pt x="1836113" y="789223"/>
                        <a:pt x="1836274" y="790106"/>
                        <a:pt x="1836435" y="790749"/>
                      </a:cubicBezTo>
                      <a:cubicBezTo>
                        <a:pt x="1844146" y="796452"/>
                        <a:pt x="1846476" y="801031"/>
                        <a:pt x="1847118" y="802718"/>
                      </a:cubicBezTo>
                      <a:cubicBezTo>
                        <a:pt x="1848403" y="806091"/>
                        <a:pt x="1850572" y="811715"/>
                        <a:pt x="1853544" y="811875"/>
                      </a:cubicBezTo>
                      <a:cubicBezTo>
                        <a:pt x="1854669" y="811955"/>
                        <a:pt x="1855713" y="810992"/>
                        <a:pt x="1856195" y="810429"/>
                      </a:cubicBezTo>
                      <a:cubicBezTo>
                        <a:pt x="1856517" y="810027"/>
                        <a:pt x="1856999" y="809385"/>
                        <a:pt x="1857320" y="808983"/>
                      </a:cubicBezTo>
                      <a:cubicBezTo>
                        <a:pt x="1858043" y="807939"/>
                        <a:pt x="1858364" y="806734"/>
                        <a:pt x="1859007" y="805690"/>
                      </a:cubicBezTo>
                      <a:cubicBezTo>
                        <a:pt x="1859890" y="804324"/>
                        <a:pt x="1861256" y="803200"/>
                        <a:pt x="1862059" y="801754"/>
                      </a:cubicBezTo>
                      <a:cubicBezTo>
                        <a:pt x="1862782" y="800308"/>
                        <a:pt x="1864469" y="797014"/>
                        <a:pt x="1863826" y="792034"/>
                      </a:cubicBezTo>
                      <a:cubicBezTo>
                        <a:pt x="1863585" y="790668"/>
                        <a:pt x="1863184" y="789062"/>
                        <a:pt x="1862541" y="787536"/>
                      </a:cubicBezTo>
                      <a:moveTo>
                        <a:pt x="478088" y="993657"/>
                      </a:moveTo>
                      <a:cubicBezTo>
                        <a:pt x="478088" y="993657"/>
                        <a:pt x="478088" y="993657"/>
                        <a:pt x="478088" y="993657"/>
                      </a:cubicBezTo>
                      <a:cubicBezTo>
                        <a:pt x="477928" y="993738"/>
                        <a:pt x="477767" y="993898"/>
                        <a:pt x="477607" y="993979"/>
                      </a:cubicBezTo>
                      <a:cubicBezTo>
                        <a:pt x="477767" y="993898"/>
                        <a:pt x="477847" y="993818"/>
                        <a:pt x="478008" y="993738"/>
                      </a:cubicBezTo>
                      <a:cubicBezTo>
                        <a:pt x="478088" y="993738"/>
                        <a:pt x="478088" y="993738"/>
                        <a:pt x="478088" y="993657"/>
                      </a:cubicBezTo>
                      <a:moveTo>
                        <a:pt x="1845030" y="756529"/>
                      </a:moveTo>
                      <a:cubicBezTo>
                        <a:pt x="1843985" y="754039"/>
                        <a:pt x="1842700" y="754682"/>
                        <a:pt x="1842138" y="755003"/>
                      </a:cubicBezTo>
                      <a:cubicBezTo>
                        <a:pt x="1841174" y="755645"/>
                        <a:pt x="1840692" y="756850"/>
                        <a:pt x="1839567" y="757332"/>
                      </a:cubicBezTo>
                      <a:cubicBezTo>
                        <a:pt x="1838041" y="757975"/>
                        <a:pt x="1836756" y="758778"/>
                        <a:pt x="1836354" y="759180"/>
                      </a:cubicBezTo>
                      <a:cubicBezTo>
                        <a:pt x="1835712" y="759662"/>
                        <a:pt x="1834989" y="760385"/>
                        <a:pt x="1834667" y="760706"/>
                      </a:cubicBezTo>
                      <a:cubicBezTo>
                        <a:pt x="1832418" y="763196"/>
                        <a:pt x="1831936" y="765446"/>
                        <a:pt x="1831695" y="766490"/>
                      </a:cubicBezTo>
                      <a:cubicBezTo>
                        <a:pt x="1832338" y="766570"/>
                        <a:pt x="1833141" y="766731"/>
                        <a:pt x="1833784" y="766811"/>
                      </a:cubicBezTo>
                      <a:lnTo>
                        <a:pt x="1832659" y="768418"/>
                      </a:lnTo>
                      <a:cubicBezTo>
                        <a:pt x="1834667" y="770586"/>
                        <a:pt x="1835390" y="771069"/>
                        <a:pt x="1837158" y="771470"/>
                      </a:cubicBezTo>
                      <a:cubicBezTo>
                        <a:pt x="1838684" y="774924"/>
                        <a:pt x="1841415" y="776129"/>
                        <a:pt x="1847199" y="775968"/>
                      </a:cubicBezTo>
                      <a:cubicBezTo>
                        <a:pt x="1845994" y="758778"/>
                        <a:pt x="1845994" y="758778"/>
                        <a:pt x="1845030" y="756529"/>
                      </a:cubicBezTo>
                      <a:moveTo>
                        <a:pt x="383944" y="948995"/>
                      </a:moveTo>
                      <a:cubicBezTo>
                        <a:pt x="383944" y="948995"/>
                        <a:pt x="384024" y="948995"/>
                        <a:pt x="383944" y="948995"/>
                      </a:cubicBezTo>
                      <a:cubicBezTo>
                        <a:pt x="383783" y="948995"/>
                        <a:pt x="383623" y="948995"/>
                        <a:pt x="383382" y="949075"/>
                      </a:cubicBezTo>
                      <a:cubicBezTo>
                        <a:pt x="383382" y="949075"/>
                        <a:pt x="383382" y="949075"/>
                        <a:pt x="383382" y="949075"/>
                      </a:cubicBezTo>
                      <a:cubicBezTo>
                        <a:pt x="383382" y="949075"/>
                        <a:pt x="383462" y="949075"/>
                        <a:pt x="383462" y="949075"/>
                      </a:cubicBezTo>
                      <a:cubicBezTo>
                        <a:pt x="383703" y="949075"/>
                        <a:pt x="383783" y="948995"/>
                        <a:pt x="383944" y="948995"/>
                      </a:cubicBezTo>
                      <a:moveTo>
                        <a:pt x="548697" y="959438"/>
                      </a:moveTo>
                      <a:cubicBezTo>
                        <a:pt x="548697" y="959438"/>
                        <a:pt x="548777" y="959438"/>
                        <a:pt x="548777" y="959357"/>
                      </a:cubicBezTo>
                      <a:lnTo>
                        <a:pt x="548777" y="959357"/>
                      </a:lnTo>
                      <a:lnTo>
                        <a:pt x="548697" y="959438"/>
                      </a:lnTo>
                      <a:cubicBezTo>
                        <a:pt x="547251" y="959357"/>
                        <a:pt x="546207" y="960000"/>
                        <a:pt x="545243" y="961285"/>
                      </a:cubicBezTo>
                      <a:cubicBezTo>
                        <a:pt x="545644" y="961044"/>
                        <a:pt x="546930" y="960241"/>
                        <a:pt x="548697" y="959438"/>
                      </a:cubicBezTo>
                      <a:moveTo>
                        <a:pt x="330124" y="928190"/>
                      </a:moveTo>
                      <a:cubicBezTo>
                        <a:pt x="330124" y="928190"/>
                        <a:pt x="330205" y="928110"/>
                        <a:pt x="330205" y="928110"/>
                      </a:cubicBezTo>
                      <a:cubicBezTo>
                        <a:pt x="330205" y="928110"/>
                        <a:pt x="330205" y="928110"/>
                        <a:pt x="330124" y="928190"/>
                      </a:cubicBezTo>
                      <a:cubicBezTo>
                        <a:pt x="329562" y="928833"/>
                        <a:pt x="328919" y="929315"/>
                        <a:pt x="328036" y="929716"/>
                      </a:cubicBezTo>
                      <a:cubicBezTo>
                        <a:pt x="328357" y="929636"/>
                        <a:pt x="328759" y="929636"/>
                        <a:pt x="329080" y="929556"/>
                      </a:cubicBezTo>
                      <a:cubicBezTo>
                        <a:pt x="329482" y="929154"/>
                        <a:pt x="329803" y="928672"/>
                        <a:pt x="330124" y="928190"/>
                      </a:cubicBezTo>
                      <a:moveTo>
                        <a:pt x="330847" y="926985"/>
                      </a:moveTo>
                      <a:cubicBezTo>
                        <a:pt x="330847" y="926985"/>
                        <a:pt x="330847" y="926985"/>
                        <a:pt x="330847" y="926985"/>
                      </a:cubicBezTo>
                      <a:cubicBezTo>
                        <a:pt x="330847" y="926985"/>
                        <a:pt x="330847" y="926985"/>
                        <a:pt x="330847" y="926985"/>
                      </a:cubicBezTo>
                      <a:cubicBezTo>
                        <a:pt x="330606" y="927306"/>
                        <a:pt x="330446" y="927708"/>
                        <a:pt x="330205" y="928029"/>
                      </a:cubicBezTo>
                      <a:cubicBezTo>
                        <a:pt x="330285" y="927949"/>
                        <a:pt x="330606" y="927547"/>
                        <a:pt x="330847" y="926985"/>
                      </a:cubicBezTo>
                      <a:moveTo>
                        <a:pt x="2079909" y="539081"/>
                      </a:moveTo>
                      <a:cubicBezTo>
                        <a:pt x="2079909" y="539081"/>
                        <a:pt x="2079909" y="539001"/>
                        <a:pt x="2079828" y="539001"/>
                      </a:cubicBezTo>
                      <a:cubicBezTo>
                        <a:pt x="2079828" y="539001"/>
                        <a:pt x="2079828" y="539081"/>
                        <a:pt x="2079909" y="539081"/>
                      </a:cubicBezTo>
                      <a:cubicBezTo>
                        <a:pt x="2079828" y="541652"/>
                        <a:pt x="2079828" y="541652"/>
                        <a:pt x="2080310" y="542535"/>
                      </a:cubicBezTo>
                      <a:cubicBezTo>
                        <a:pt x="2080391" y="541973"/>
                        <a:pt x="2080712" y="540447"/>
                        <a:pt x="2079909" y="539081"/>
                      </a:cubicBezTo>
                      <a:moveTo>
                        <a:pt x="2052918" y="559002"/>
                      </a:moveTo>
                      <a:cubicBezTo>
                        <a:pt x="2052918" y="559002"/>
                        <a:pt x="2052918" y="559002"/>
                        <a:pt x="2052918" y="559002"/>
                      </a:cubicBezTo>
                      <a:cubicBezTo>
                        <a:pt x="2052436" y="559163"/>
                        <a:pt x="2051874" y="559404"/>
                        <a:pt x="2051312" y="559565"/>
                      </a:cubicBezTo>
                      <a:cubicBezTo>
                        <a:pt x="2051312" y="559565"/>
                        <a:pt x="2051312" y="559565"/>
                        <a:pt x="2051392" y="559565"/>
                      </a:cubicBezTo>
                      <a:cubicBezTo>
                        <a:pt x="2051954" y="559404"/>
                        <a:pt x="2052436" y="559243"/>
                        <a:pt x="2052918" y="559002"/>
                      </a:cubicBezTo>
                      <a:moveTo>
                        <a:pt x="584121" y="891561"/>
                      </a:moveTo>
                      <a:cubicBezTo>
                        <a:pt x="584202" y="891561"/>
                        <a:pt x="584202" y="891561"/>
                        <a:pt x="584282" y="891561"/>
                      </a:cubicBezTo>
                      <a:cubicBezTo>
                        <a:pt x="583077" y="890998"/>
                        <a:pt x="582033" y="890757"/>
                        <a:pt x="580748" y="890757"/>
                      </a:cubicBezTo>
                      <a:cubicBezTo>
                        <a:pt x="580426" y="890757"/>
                        <a:pt x="580025" y="890757"/>
                        <a:pt x="579703" y="890757"/>
                      </a:cubicBezTo>
                      <a:cubicBezTo>
                        <a:pt x="579623" y="891078"/>
                        <a:pt x="579543" y="891320"/>
                        <a:pt x="579543" y="891641"/>
                      </a:cubicBezTo>
                      <a:cubicBezTo>
                        <a:pt x="580989" y="891561"/>
                        <a:pt x="582595" y="891561"/>
                        <a:pt x="584121" y="891561"/>
                      </a:cubicBezTo>
                      <a:moveTo>
                        <a:pt x="706622" y="901602"/>
                      </a:moveTo>
                      <a:cubicBezTo>
                        <a:pt x="705577" y="902485"/>
                        <a:pt x="704292" y="903128"/>
                        <a:pt x="702766" y="903529"/>
                      </a:cubicBezTo>
                      <a:cubicBezTo>
                        <a:pt x="704372" y="900878"/>
                        <a:pt x="705577" y="900236"/>
                        <a:pt x="706702" y="901521"/>
                      </a:cubicBezTo>
                      <a:cubicBezTo>
                        <a:pt x="706702" y="901521"/>
                        <a:pt x="706622" y="901602"/>
                        <a:pt x="706622" y="901602"/>
                      </a:cubicBezTo>
                      <a:moveTo>
                        <a:pt x="699794" y="886018"/>
                      </a:moveTo>
                      <a:cubicBezTo>
                        <a:pt x="699794" y="886098"/>
                        <a:pt x="692644" y="892846"/>
                        <a:pt x="682122" y="895657"/>
                      </a:cubicBezTo>
                      <a:cubicBezTo>
                        <a:pt x="689110" y="891721"/>
                        <a:pt x="694492" y="888267"/>
                        <a:pt x="700035" y="884090"/>
                      </a:cubicBezTo>
                      <a:cubicBezTo>
                        <a:pt x="700035" y="884733"/>
                        <a:pt x="700035" y="885536"/>
                        <a:pt x="699794" y="886018"/>
                      </a:cubicBezTo>
                      <a:moveTo>
                        <a:pt x="766305" y="916060"/>
                      </a:moveTo>
                      <a:cubicBezTo>
                        <a:pt x="767189" y="915418"/>
                        <a:pt x="768394" y="914374"/>
                        <a:pt x="769277" y="913731"/>
                      </a:cubicBezTo>
                      <a:cubicBezTo>
                        <a:pt x="769277" y="910277"/>
                        <a:pt x="768554" y="907064"/>
                        <a:pt x="763333" y="912446"/>
                      </a:cubicBezTo>
                      <a:cubicBezTo>
                        <a:pt x="762771" y="913008"/>
                        <a:pt x="762128" y="913731"/>
                        <a:pt x="761646" y="914293"/>
                      </a:cubicBezTo>
                      <a:cubicBezTo>
                        <a:pt x="762128" y="908108"/>
                        <a:pt x="761646" y="903529"/>
                        <a:pt x="751846" y="904895"/>
                      </a:cubicBezTo>
                      <a:cubicBezTo>
                        <a:pt x="754176" y="904252"/>
                        <a:pt x="754738" y="903529"/>
                        <a:pt x="754015" y="902003"/>
                      </a:cubicBezTo>
                      <a:cubicBezTo>
                        <a:pt x="759477" y="898790"/>
                        <a:pt x="761084" y="897665"/>
                        <a:pt x="762048" y="896219"/>
                      </a:cubicBezTo>
                      <a:cubicBezTo>
                        <a:pt x="761887" y="896059"/>
                        <a:pt x="761727" y="895738"/>
                        <a:pt x="761566" y="895577"/>
                      </a:cubicBezTo>
                      <a:cubicBezTo>
                        <a:pt x="759397" y="895416"/>
                        <a:pt x="756505" y="895978"/>
                        <a:pt x="745661" y="899192"/>
                      </a:cubicBezTo>
                      <a:cubicBezTo>
                        <a:pt x="749517" y="897987"/>
                        <a:pt x="751204" y="896782"/>
                        <a:pt x="752810" y="894131"/>
                      </a:cubicBezTo>
                      <a:cubicBezTo>
                        <a:pt x="749276" y="892444"/>
                        <a:pt x="749276" y="892444"/>
                        <a:pt x="745661" y="892524"/>
                      </a:cubicBezTo>
                      <a:cubicBezTo>
                        <a:pt x="752489" y="887303"/>
                        <a:pt x="753694" y="886339"/>
                        <a:pt x="753292" y="884170"/>
                      </a:cubicBezTo>
                      <a:cubicBezTo>
                        <a:pt x="751927" y="883287"/>
                        <a:pt x="750561" y="882323"/>
                        <a:pt x="741002" y="883447"/>
                      </a:cubicBezTo>
                      <a:cubicBezTo>
                        <a:pt x="740600" y="882323"/>
                        <a:pt x="740440" y="881921"/>
                        <a:pt x="740761" y="880073"/>
                      </a:cubicBezTo>
                      <a:cubicBezTo>
                        <a:pt x="735861" y="882805"/>
                        <a:pt x="729917" y="883688"/>
                        <a:pt x="725900" y="888026"/>
                      </a:cubicBezTo>
                      <a:cubicBezTo>
                        <a:pt x="728149" y="885054"/>
                        <a:pt x="728712" y="883046"/>
                        <a:pt x="727828" y="880475"/>
                      </a:cubicBezTo>
                      <a:cubicBezTo>
                        <a:pt x="727427" y="882001"/>
                        <a:pt x="727427" y="882001"/>
                        <a:pt x="726945" y="882724"/>
                      </a:cubicBezTo>
                      <a:cubicBezTo>
                        <a:pt x="726382" y="882323"/>
                        <a:pt x="726382" y="882323"/>
                        <a:pt x="726061" y="881118"/>
                      </a:cubicBezTo>
                      <a:cubicBezTo>
                        <a:pt x="720599" y="881359"/>
                        <a:pt x="718992" y="881439"/>
                        <a:pt x="714413" y="881921"/>
                      </a:cubicBezTo>
                      <a:cubicBezTo>
                        <a:pt x="717064" y="880877"/>
                        <a:pt x="717868" y="879993"/>
                        <a:pt x="718189" y="878065"/>
                      </a:cubicBezTo>
                      <a:cubicBezTo>
                        <a:pt x="716984" y="877985"/>
                        <a:pt x="716743" y="877985"/>
                        <a:pt x="715618" y="878226"/>
                      </a:cubicBezTo>
                      <a:cubicBezTo>
                        <a:pt x="721804" y="874772"/>
                        <a:pt x="721964" y="874692"/>
                        <a:pt x="722848" y="873487"/>
                      </a:cubicBezTo>
                      <a:cubicBezTo>
                        <a:pt x="721804" y="872603"/>
                        <a:pt x="721402" y="872282"/>
                        <a:pt x="713931" y="873487"/>
                      </a:cubicBezTo>
                      <a:cubicBezTo>
                        <a:pt x="712405" y="869631"/>
                        <a:pt x="709031" y="873005"/>
                        <a:pt x="702846" y="879270"/>
                      </a:cubicBezTo>
                      <a:cubicBezTo>
                        <a:pt x="709754" y="868346"/>
                        <a:pt x="716823" y="857421"/>
                        <a:pt x="723571" y="846336"/>
                      </a:cubicBezTo>
                      <a:lnTo>
                        <a:pt x="723571" y="846336"/>
                      </a:lnTo>
                      <a:cubicBezTo>
                        <a:pt x="717626" y="847219"/>
                        <a:pt x="708630" y="848585"/>
                        <a:pt x="703489" y="853565"/>
                      </a:cubicBezTo>
                      <a:cubicBezTo>
                        <a:pt x="702043" y="854931"/>
                        <a:pt x="700517" y="857180"/>
                        <a:pt x="699472" y="858867"/>
                      </a:cubicBezTo>
                      <a:cubicBezTo>
                        <a:pt x="698990" y="859670"/>
                        <a:pt x="698990" y="861116"/>
                        <a:pt x="698508" y="861919"/>
                      </a:cubicBezTo>
                      <a:cubicBezTo>
                        <a:pt x="698026" y="862803"/>
                        <a:pt x="696500" y="863205"/>
                        <a:pt x="695697" y="863687"/>
                      </a:cubicBezTo>
                      <a:cubicBezTo>
                        <a:pt x="695295" y="863928"/>
                        <a:pt x="686138" y="869952"/>
                        <a:pt x="687022" y="881439"/>
                      </a:cubicBezTo>
                      <a:cubicBezTo>
                        <a:pt x="681720" y="881439"/>
                        <a:pt x="679872" y="882162"/>
                        <a:pt x="681158" y="883849"/>
                      </a:cubicBezTo>
                      <a:cubicBezTo>
                        <a:pt x="681720" y="884572"/>
                        <a:pt x="682845" y="885215"/>
                        <a:pt x="683648" y="885777"/>
                      </a:cubicBezTo>
                      <a:cubicBezTo>
                        <a:pt x="681800" y="886982"/>
                        <a:pt x="680515" y="888187"/>
                        <a:pt x="683005" y="889954"/>
                      </a:cubicBezTo>
                      <a:cubicBezTo>
                        <a:pt x="678426" y="891078"/>
                        <a:pt x="674490" y="893890"/>
                        <a:pt x="669831" y="894774"/>
                      </a:cubicBezTo>
                      <a:cubicBezTo>
                        <a:pt x="668225" y="893408"/>
                        <a:pt x="664208" y="896701"/>
                        <a:pt x="663325" y="897826"/>
                      </a:cubicBezTo>
                      <a:cubicBezTo>
                        <a:pt x="668225" y="897665"/>
                        <a:pt x="672161" y="897665"/>
                        <a:pt x="676820" y="897826"/>
                      </a:cubicBezTo>
                      <a:cubicBezTo>
                        <a:pt x="665413" y="903931"/>
                        <a:pt x="662521" y="905939"/>
                        <a:pt x="660594" y="909152"/>
                      </a:cubicBezTo>
                      <a:cubicBezTo>
                        <a:pt x="660754" y="909554"/>
                        <a:pt x="660915" y="910036"/>
                        <a:pt x="661076" y="910437"/>
                      </a:cubicBezTo>
                      <a:cubicBezTo>
                        <a:pt x="663405" y="911321"/>
                        <a:pt x="665413" y="912124"/>
                        <a:pt x="675776" y="911000"/>
                      </a:cubicBezTo>
                      <a:cubicBezTo>
                        <a:pt x="675776" y="911321"/>
                        <a:pt x="675695" y="911562"/>
                        <a:pt x="675695" y="911884"/>
                      </a:cubicBezTo>
                      <a:cubicBezTo>
                        <a:pt x="695697" y="915097"/>
                        <a:pt x="708469" y="911803"/>
                        <a:pt x="716341" y="909072"/>
                      </a:cubicBezTo>
                      <a:cubicBezTo>
                        <a:pt x="717386" y="912205"/>
                        <a:pt x="716261" y="913490"/>
                        <a:pt x="711602" y="914454"/>
                      </a:cubicBezTo>
                      <a:cubicBezTo>
                        <a:pt x="721804" y="913892"/>
                        <a:pt x="724454" y="913570"/>
                        <a:pt x="734094" y="911321"/>
                      </a:cubicBezTo>
                      <a:cubicBezTo>
                        <a:pt x="722928" y="919193"/>
                        <a:pt x="719394" y="921844"/>
                        <a:pt x="718510" y="923210"/>
                      </a:cubicBezTo>
                      <a:cubicBezTo>
                        <a:pt x="719876" y="923129"/>
                        <a:pt x="721000" y="923129"/>
                        <a:pt x="739154" y="913008"/>
                      </a:cubicBezTo>
                      <a:cubicBezTo>
                        <a:pt x="738672" y="913892"/>
                        <a:pt x="738030" y="915097"/>
                        <a:pt x="737548" y="915980"/>
                      </a:cubicBezTo>
                      <a:cubicBezTo>
                        <a:pt x="744054" y="925459"/>
                        <a:pt x="753694" y="925379"/>
                        <a:pt x="766305" y="916060"/>
                      </a:cubicBezTo>
                      <a:moveTo>
                        <a:pt x="173083" y="747934"/>
                      </a:moveTo>
                      <a:cubicBezTo>
                        <a:pt x="173645" y="746729"/>
                        <a:pt x="173806" y="745765"/>
                        <a:pt x="173886" y="745444"/>
                      </a:cubicBezTo>
                      <a:cubicBezTo>
                        <a:pt x="173886" y="745444"/>
                        <a:pt x="173886" y="745524"/>
                        <a:pt x="173806" y="745524"/>
                      </a:cubicBezTo>
                      <a:cubicBezTo>
                        <a:pt x="173163" y="746809"/>
                        <a:pt x="172762" y="747934"/>
                        <a:pt x="172521" y="748978"/>
                      </a:cubicBezTo>
                      <a:cubicBezTo>
                        <a:pt x="172762" y="748657"/>
                        <a:pt x="172922" y="748336"/>
                        <a:pt x="173083" y="747934"/>
                      </a:cubicBezTo>
                      <a:moveTo>
                        <a:pt x="2055168" y="355050"/>
                      </a:moveTo>
                      <a:cubicBezTo>
                        <a:pt x="2055168" y="355050"/>
                        <a:pt x="2055168" y="355050"/>
                        <a:pt x="2055168" y="355050"/>
                      </a:cubicBezTo>
                      <a:cubicBezTo>
                        <a:pt x="2055168" y="354969"/>
                        <a:pt x="2055168" y="354969"/>
                        <a:pt x="2055168" y="355050"/>
                      </a:cubicBezTo>
                      <a:cubicBezTo>
                        <a:pt x="2055087" y="355050"/>
                        <a:pt x="2055087" y="354969"/>
                        <a:pt x="2055087" y="355050"/>
                      </a:cubicBezTo>
                      <a:cubicBezTo>
                        <a:pt x="2055087" y="355050"/>
                        <a:pt x="2055087" y="355050"/>
                        <a:pt x="2055087" y="355050"/>
                      </a:cubicBezTo>
                      <a:cubicBezTo>
                        <a:pt x="2055087" y="355050"/>
                        <a:pt x="2055168" y="355050"/>
                        <a:pt x="2055168" y="355050"/>
                      </a:cubicBezTo>
                      <a:moveTo>
                        <a:pt x="1466605" y="686001"/>
                      </a:moveTo>
                      <a:lnTo>
                        <a:pt x="1466203" y="685519"/>
                      </a:lnTo>
                      <a:lnTo>
                        <a:pt x="1464596" y="686563"/>
                      </a:lnTo>
                      <a:cubicBezTo>
                        <a:pt x="1465319" y="686403"/>
                        <a:pt x="1465962" y="686242"/>
                        <a:pt x="1466605" y="686001"/>
                      </a:cubicBezTo>
                      <a:moveTo>
                        <a:pt x="1850331" y="522534"/>
                      </a:moveTo>
                      <a:cubicBezTo>
                        <a:pt x="1850331" y="522534"/>
                        <a:pt x="1847680" y="522534"/>
                        <a:pt x="1845271" y="523016"/>
                      </a:cubicBezTo>
                      <a:cubicBezTo>
                        <a:pt x="1845351" y="523016"/>
                        <a:pt x="1845512" y="523016"/>
                        <a:pt x="1845592" y="523016"/>
                      </a:cubicBezTo>
                      <a:cubicBezTo>
                        <a:pt x="1847520" y="523016"/>
                        <a:pt x="1850010" y="522775"/>
                        <a:pt x="1850331" y="522534"/>
                      </a:cubicBezTo>
                      <a:moveTo>
                        <a:pt x="1519219" y="662626"/>
                      </a:moveTo>
                      <a:cubicBezTo>
                        <a:pt x="1519219" y="662786"/>
                        <a:pt x="1519139" y="662786"/>
                        <a:pt x="1519059" y="662786"/>
                      </a:cubicBezTo>
                      <a:cubicBezTo>
                        <a:pt x="1518577" y="662867"/>
                        <a:pt x="1517613" y="662786"/>
                        <a:pt x="1515605" y="662304"/>
                      </a:cubicBezTo>
                      <a:cubicBezTo>
                        <a:pt x="1515605" y="661742"/>
                        <a:pt x="1515685" y="660939"/>
                        <a:pt x="1515685" y="660377"/>
                      </a:cubicBezTo>
                      <a:cubicBezTo>
                        <a:pt x="1517934" y="661501"/>
                        <a:pt x="1519139" y="662224"/>
                        <a:pt x="1519219" y="662626"/>
                      </a:cubicBezTo>
                      <a:moveTo>
                        <a:pt x="1532956" y="660377"/>
                      </a:moveTo>
                      <a:cubicBezTo>
                        <a:pt x="1531991" y="657886"/>
                        <a:pt x="1530465" y="655958"/>
                        <a:pt x="1525565" y="658850"/>
                      </a:cubicBezTo>
                      <a:cubicBezTo>
                        <a:pt x="1515444" y="653388"/>
                        <a:pt x="1508054" y="653227"/>
                        <a:pt x="1504600" y="653549"/>
                      </a:cubicBezTo>
                      <a:lnTo>
                        <a:pt x="1504600" y="653549"/>
                      </a:lnTo>
                      <a:cubicBezTo>
                        <a:pt x="1504600" y="653549"/>
                        <a:pt x="1504600" y="653549"/>
                        <a:pt x="1504600" y="653549"/>
                      </a:cubicBezTo>
                      <a:lnTo>
                        <a:pt x="1504600" y="653549"/>
                      </a:lnTo>
                      <a:lnTo>
                        <a:pt x="1504600" y="653549"/>
                      </a:lnTo>
                      <a:cubicBezTo>
                        <a:pt x="1504600" y="653549"/>
                        <a:pt x="1504600" y="653549"/>
                        <a:pt x="1504600" y="653549"/>
                      </a:cubicBezTo>
                      <a:lnTo>
                        <a:pt x="1504600" y="653549"/>
                      </a:lnTo>
                      <a:cubicBezTo>
                        <a:pt x="1504600" y="653549"/>
                        <a:pt x="1504600" y="653549"/>
                        <a:pt x="1504600" y="653549"/>
                      </a:cubicBezTo>
                      <a:lnTo>
                        <a:pt x="1504600" y="653549"/>
                      </a:lnTo>
                      <a:cubicBezTo>
                        <a:pt x="1502029" y="652986"/>
                        <a:pt x="1500182" y="652906"/>
                        <a:pt x="1497611" y="653227"/>
                      </a:cubicBezTo>
                      <a:cubicBezTo>
                        <a:pt x="1498013" y="653468"/>
                        <a:pt x="1498575" y="653790"/>
                        <a:pt x="1498977" y="654031"/>
                      </a:cubicBezTo>
                      <a:cubicBezTo>
                        <a:pt x="1496968" y="656681"/>
                        <a:pt x="1496326" y="658208"/>
                        <a:pt x="1496085" y="661421"/>
                      </a:cubicBezTo>
                      <a:cubicBezTo>
                        <a:pt x="1496005" y="660939"/>
                        <a:pt x="1495924" y="660296"/>
                        <a:pt x="1495844" y="659814"/>
                      </a:cubicBezTo>
                      <a:cubicBezTo>
                        <a:pt x="1496567" y="657324"/>
                        <a:pt x="1495603" y="656601"/>
                        <a:pt x="1492390" y="657083"/>
                      </a:cubicBezTo>
                      <a:cubicBezTo>
                        <a:pt x="1492631" y="657404"/>
                        <a:pt x="1492952" y="657806"/>
                        <a:pt x="1493193" y="658127"/>
                      </a:cubicBezTo>
                      <a:cubicBezTo>
                        <a:pt x="1485803" y="661903"/>
                        <a:pt x="1483232" y="664714"/>
                        <a:pt x="1481465" y="671542"/>
                      </a:cubicBezTo>
                      <a:cubicBezTo>
                        <a:pt x="1485401" y="672024"/>
                        <a:pt x="1488293" y="671381"/>
                        <a:pt x="1491426" y="669373"/>
                      </a:cubicBezTo>
                      <a:cubicBezTo>
                        <a:pt x="1485321" y="678129"/>
                        <a:pt x="1479698" y="681824"/>
                        <a:pt x="1466685" y="686001"/>
                      </a:cubicBezTo>
                      <a:cubicBezTo>
                        <a:pt x="1467006" y="686403"/>
                        <a:pt x="1467408" y="686885"/>
                        <a:pt x="1467729" y="687286"/>
                      </a:cubicBezTo>
                      <a:lnTo>
                        <a:pt x="1468854" y="686563"/>
                      </a:lnTo>
                      <a:cubicBezTo>
                        <a:pt x="1469496" y="688170"/>
                        <a:pt x="1469577" y="689214"/>
                        <a:pt x="1469496" y="690821"/>
                      </a:cubicBezTo>
                      <a:cubicBezTo>
                        <a:pt x="1471103" y="689776"/>
                        <a:pt x="1472469" y="689294"/>
                        <a:pt x="1474637" y="689054"/>
                      </a:cubicBezTo>
                      <a:cubicBezTo>
                        <a:pt x="1474798" y="689455"/>
                        <a:pt x="1474959" y="689937"/>
                        <a:pt x="1475119" y="690339"/>
                      </a:cubicBezTo>
                      <a:cubicBezTo>
                        <a:pt x="1471746" y="692026"/>
                        <a:pt x="1470942" y="692668"/>
                        <a:pt x="1470942" y="693632"/>
                      </a:cubicBezTo>
                      <a:cubicBezTo>
                        <a:pt x="1471746" y="694275"/>
                        <a:pt x="1472228" y="694275"/>
                        <a:pt x="1474316" y="694436"/>
                      </a:cubicBezTo>
                      <a:cubicBezTo>
                        <a:pt x="1470460" y="696444"/>
                        <a:pt x="1469898" y="696845"/>
                        <a:pt x="1469255" y="697890"/>
                      </a:cubicBezTo>
                      <a:cubicBezTo>
                        <a:pt x="1469818" y="698613"/>
                        <a:pt x="1470380" y="698693"/>
                        <a:pt x="1474477" y="698452"/>
                      </a:cubicBezTo>
                      <a:cubicBezTo>
                        <a:pt x="1474236" y="698773"/>
                        <a:pt x="1473834" y="699255"/>
                        <a:pt x="1473513" y="699657"/>
                      </a:cubicBezTo>
                      <a:cubicBezTo>
                        <a:pt x="1479377" y="699416"/>
                        <a:pt x="1482349" y="699014"/>
                        <a:pt x="1489177" y="697729"/>
                      </a:cubicBezTo>
                      <a:cubicBezTo>
                        <a:pt x="1485723" y="700139"/>
                        <a:pt x="1484437" y="701424"/>
                        <a:pt x="1482670" y="704477"/>
                      </a:cubicBezTo>
                      <a:cubicBezTo>
                        <a:pt x="1483955" y="707047"/>
                        <a:pt x="1482670" y="709457"/>
                        <a:pt x="1478011" y="712911"/>
                      </a:cubicBezTo>
                      <a:cubicBezTo>
                        <a:pt x="1484196" y="710582"/>
                        <a:pt x="1487088" y="708975"/>
                        <a:pt x="1491346" y="705601"/>
                      </a:cubicBezTo>
                      <a:cubicBezTo>
                        <a:pt x="1492551" y="706163"/>
                        <a:pt x="1493434" y="706244"/>
                        <a:pt x="1495041" y="705922"/>
                      </a:cubicBezTo>
                      <a:cubicBezTo>
                        <a:pt x="1487651" y="708734"/>
                        <a:pt x="1483795" y="711144"/>
                        <a:pt x="1479216" y="715722"/>
                      </a:cubicBezTo>
                      <a:cubicBezTo>
                        <a:pt x="1480180" y="716285"/>
                        <a:pt x="1481385" y="717088"/>
                        <a:pt x="1482349" y="717650"/>
                      </a:cubicBezTo>
                      <a:cubicBezTo>
                        <a:pt x="1475280" y="718132"/>
                        <a:pt x="1473995" y="720864"/>
                        <a:pt x="1473352" y="722390"/>
                      </a:cubicBezTo>
                      <a:cubicBezTo>
                        <a:pt x="1476003" y="721988"/>
                        <a:pt x="1478332" y="720542"/>
                        <a:pt x="1481064" y="720381"/>
                      </a:cubicBezTo>
                      <a:cubicBezTo>
                        <a:pt x="1477690" y="723113"/>
                        <a:pt x="1476485" y="725041"/>
                        <a:pt x="1476164" y="727772"/>
                      </a:cubicBezTo>
                      <a:cubicBezTo>
                        <a:pt x="1481546" y="727129"/>
                        <a:pt x="1484437" y="725282"/>
                        <a:pt x="1487410" y="723113"/>
                      </a:cubicBezTo>
                      <a:cubicBezTo>
                        <a:pt x="1484357" y="725603"/>
                        <a:pt x="1482831" y="727290"/>
                        <a:pt x="1480903" y="730021"/>
                      </a:cubicBezTo>
                      <a:cubicBezTo>
                        <a:pt x="1484116" y="728254"/>
                        <a:pt x="1486365" y="727209"/>
                        <a:pt x="1489900" y="726004"/>
                      </a:cubicBezTo>
                      <a:cubicBezTo>
                        <a:pt x="1487731" y="727611"/>
                        <a:pt x="1486927" y="728655"/>
                        <a:pt x="1486205" y="730664"/>
                      </a:cubicBezTo>
                      <a:cubicBezTo>
                        <a:pt x="1494157" y="728655"/>
                        <a:pt x="1504037" y="724719"/>
                        <a:pt x="1506206" y="717409"/>
                      </a:cubicBezTo>
                      <a:cubicBezTo>
                        <a:pt x="1514721" y="714357"/>
                        <a:pt x="1520505" y="710662"/>
                        <a:pt x="1526208" y="704637"/>
                      </a:cubicBezTo>
                      <a:cubicBezTo>
                        <a:pt x="1526770" y="704959"/>
                        <a:pt x="1527493" y="705440"/>
                        <a:pt x="1528136" y="705762"/>
                      </a:cubicBezTo>
                      <a:cubicBezTo>
                        <a:pt x="1530787" y="704236"/>
                        <a:pt x="1532715" y="703272"/>
                        <a:pt x="1536249" y="701585"/>
                      </a:cubicBezTo>
                      <a:cubicBezTo>
                        <a:pt x="1535446" y="701264"/>
                        <a:pt x="1534321" y="700862"/>
                        <a:pt x="1533518" y="700621"/>
                      </a:cubicBezTo>
                      <a:cubicBezTo>
                        <a:pt x="1534000" y="682226"/>
                        <a:pt x="1527011" y="671622"/>
                        <a:pt x="1524521" y="670096"/>
                      </a:cubicBezTo>
                      <a:cubicBezTo>
                        <a:pt x="1528939" y="668249"/>
                        <a:pt x="1531028" y="666160"/>
                        <a:pt x="1532474" y="662063"/>
                      </a:cubicBezTo>
                      <a:cubicBezTo>
                        <a:pt x="1530706" y="662224"/>
                        <a:pt x="1529742" y="661903"/>
                        <a:pt x="1529341" y="659573"/>
                      </a:cubicBezTo>
                      <a:cubicBezTo>
                        <a:pt x="1530465" y="659734"/>
                        <a:pt x="1531911" y="660135"/>
                        <a:pt x="1532956" y="660377"/>
                      </a:cubicBezTo>
                      <a:moveTo>
                        <a:pt x="1653287" y="662706"/>
                      </a:moveTo>
                      <a:cubicBezTo>
                        <a:pt x="1655857" y="651059"/>
                        <a:pt x="1639390" y="655235"/>
                        <a:pt x="1627341" y="658288"/>
                      </a:cubicBezTo>
                      <a:cubicBezTo>
                        <a:pt x="1629349" y="649211"/>
                        <a:pt x="1624851" y="646640"/>
                        <a:pt x="1610070" y="648488"/>
                      </a:cubicBezTo>
                      <a:cubicBezTo>
                        <a:pt x="1615533" y="646480"/>
                        <a:pt x="1618906" y="646319"/>
                        <a:pt x="1622360" y="646399"/>
                      </a:cubicBezTo>
                      <a:cubicBezTo>
                        <a:pt x="1616898" y="644472"/>
                        <a:pt x="1615051" y="642544"/>
                        <a:pt x="1615131" y="638929"/>
                      </a:cubicBezTo>
                      <a:cubicBezTo>
                        <a:pt x="1591756" y="624952"/>
                        <a:pt x="1572638" y="620855"/>
                        <a:pt x="1544523" y="623667"/>
                      </a:cubicBezTo>
                      <a:cubicBezTo>
                        <a:pt x="1554483" y="619730"/>
                        <a:pt x="1556492" y="618767"/>
                        <a:pt x="1557857" y="617080"/>
                      </a:cubicBezTo>
                      <a:cubicBezTo>
                        <a:pt x="1556572" y="616196"/>
                        <a:pt x="1555287" y="616276"/>
                        <a:pt x="1549182" y="616678"/>
                      </a:cubicBezTo>
                      <a:cubicBezTo>
                        <a:pt x="1556090" y="606396"/>
                        <a:pt x="1568862" y="587358"/>
                        <a:pt x="1548137" y="591294"/>
                      </a:cubicBezTo>
                      <a:cubicBezTo>
                        <a:pt x="1541069" y="592660"/>
                        <a:pt x="1530144" y="597399"/>
                        <a:pt x="1526529" y="599006"/>
                      </a:cubicBezTo>
                      <a:cubicBezTo>
                        <a:pt x="1526610" y="596998"/>
                        <a:pt x="1526690" y="595953"/>
                        <a:pt x="1528296" y="593383"/>
                      </a:cubicBezTo>
                      <a:cubicBezTo>
                        <a:pt x="1527413" y="593463"/>
                        <a:pt x="1526288" y="593544"/>
                        <a:pt x="1525485" y="593624"/>
                      </a:cubicBezTo>
                      <a:cubicBezTo>
                        <a:pt x="1529501" y="587519"/>
                        <a:pt x="1537052" y="576193"/>
                        <a:pt x="1529019" y="576996"/>
                      </a:cubicBezTo>
                      <a:cubicBezTo>
                        <a:pt x="1527654" y="577157"/>
                        <a:pt x="1525967" y="577719"/>
                        <a:pt x="1524682" y="578201"/>
                      </a:cubicBezTo>
                      <a:cubicBezTo>
                        <a:pt x="1504519" y="586153"/>
                        <a:pt x="1504519" y="586153"/>
                        <a:pt x="1507893" y="590572"/>
                      </a:cubicBezTo>
                      <a:cubicBezTo>
                        <a:pt x="1501949" y="593624"/>
                        <a:pt x="1502270" y="595552"/>
                        <a:pt x="1509098" y="598283"/>
                      </a:cubicBezTo>
                      <a:cubicBezTo>
                        <a:pt x="1498575" y="601496"/>
                        <a:pt x="1503555" y="604790"/>
                        <a:pt x="1506046" y="606316"/>
                      </a:cubicBezTo>
                      <a:cubicBezTo>
                        <a:pt x="1504278" y="607521"/>
                        <a:pt x="1504278" y="607521"/>
                        <a:pt x="1503636" y="608966"/>
                      </a:cubicBezTo>
                      <a:cubicBezTo>
                        <a:pt x="1504680" y="610091"/>
                        <a:pt x="1504680" y="610091"/>
                        <a:pt x="1506849" y="610493"/>
                      </a:cubicBezTo>
                      <a:cubicBezTo>
                        <a:pt x="1507974" y="613626"/>
                        <a:pt x="1507974" y="613626"/>
                        <a:pt x="1508134" y="624470"/>
                      </a:cubicBezTo>
                      <a:cubicBezTo>
                        <a:pt x="1509178" y="624872"/>
                        <a:pt x="1510223" y="625353"/>
                        <a:pt x="1518496" y="618767"/>
                      </a:cubicBezTo>
                      <a:cubicBezTo>
                        <a:pt x="1517452" y="623586"/>
                        <a:pt x="1517452" y="623586"/>
                        <a:pt x="1521710" y="645275"/>
                      </a:cubicBezTo>
                      <a:cubicBezTo>
                        <a:pt x="1522513" y="643990"/>
                        <a:pt x="1522834" y="643508"/>
                        <a:pt x="1524521" y="633627"/>
                      </a:cubicBezTo>
                      <a:cubicBezTo>
                        <a:pt x="1524682" y="633868"/>
                        <a:pt x="1524842" y="634109"/>
                        <a:pt x="1525003" y="634350"/>
                      </a:cubicBezTo>
                      <a:cubicBezTo>
                        <a:pt x="1527413" y="632101"/>
                        <a:pt x="1528698" y="628727"/>
                        <a:pt x="1529100" y="627603"/>
                      </a:cubicBezTo>
                      <a:cubicBezTo>
                        <a:pt x="1529019" y="629852"/>
                        <a:pt x="1530465" y="630655"/>
                        <a:pt x="1534160" y="630414"/>
                      </a:cubicBezTo>
                      <a:cubicBezTo>
                        <a:pt x="1533759" y="634993"/>
                        <a:pt x="1534000" y="640295"/>
                        <a:pt x="1534883" y="649211"/>
                      </a:cubicBezTo>
                      <a:cubicBezTo>
                        <a:pt x="1534401" y="649612"/>
                        <a:pt x="1534080" y="650496"/>
                        <a:pt x="1534080" y="651139"/>
                      </a:cubicBezTo>
                      <a:cubicBezTo>
                        <a:pt x="1535767" y="652585"/>
                        <a:pt x="1535928" y="652745"/>
                        <a:pt x="1539382" y="653629"/>
                      </a:cubicBezTo>
                      <a:cubicBezTo>
                        <a:pt x="1546290" y="649291"/>
                        <a:pt x="1553439" y="645516"/>
                        <a:pt x="1564926" y="639973"/>
                      </a:cubicBezTo>
                      <a:cubicBezTo>
                        <a:pt x="1564605" y="650255"/>
                        <a:pt x="1567014" y="654432"/>
                        <a:pt x="1576574" y="660135"/>
                      </a:cubicBezTo>
                      <a:cubicBezTo>
                        <a:pt x="1575128" y="664554"/>
                        <a:pt x="1576654" y="666160"/>
                        <a:pt x="1582437" y="666321"/>
                      </a:cubicBezTo>
                      <a:cubicBezTo>
                        <a:pt x="1579626" y="668168"/>
                        <a:pt x="1578260" y="667044"/>
                        <a:pt x="1576895" y="665919"/>
                      </a:cubicBezTo>
                      <a:cubicBezTo>
                        <a:pt x="1576413" y="666240"/>
                        <a:pt x="1575931" y="666722"/>
                        <a:pt x="1575529" y="667204"/>
                      </a:cubicBezTo>
                      <a:cubicBezTo>
                        <a:pt x="1575931" y="667927"/>
                        <a:pt x="1576895" y="668650"/>
                        <a:pt x="1577698" y="668972"/>
                      </a:cubicBezTo>
                      <a:cubicBezTo>
                        <a:pt x="1561633" y="671221"/>
                        <a:pt x="1558500" y="680780"/>
                        <a:pt x="1557295" y="684314"/>
                      </a:cubicBezTo>
                      <a:cubicBezTo>
                        <a:pt x="1559865" y="682226"/>
                        <a:pt x="1561793" y="681101"/>
                        <a:pt x="1565247" y="679655"/>
                      </a:cubicBezTo>
                      <a:cubicBezTo>
                        <a:pt x="1566211" y="682306"/>
                        <a:pt x="1567496" y="683913"/>
                        <a:pt x="1569826" y="685278"/>
                      </a:cubicBezTo>
                      <a:cubicBezTo>
                        <a:pt x="1567014" y="692347"/>
                        <a:pt x="1563319" y="696685"/>
                        <a:pt x="1555126" y="702468"/>
                      </a:cubicBezTo>
                      <a:cubicBezTo>
                        <a:pt x="1560669" y="703834"/>
                        <a:pt x="1565167" y="703834"/>
                        <a:pt x="1574646" y="700219"/>
                      </a:cubicBezTo>
                      <a:cubicBezTo>
                        <a:pt x="1574164" y="700862"/>
                        <a:pt x="1573601" y="701826"/>
                        <a:pt x="1573119" y="702468"/>
                      </a:cubicBezTo>
                      <a:cubicBezTo>
                        <a:pt x="1580831" y="702227"/>
                        <a:pt x="1586052" y="700942"/>
                        <a:pt x="1591274" y="697809"/>
                      </a:cubicBezTo>
                      <a:cubicBezTo>
                        <a:pt x="1577859" y="710903"/>
                        <a:pt x="1571834" y="718293"/>
                        <a:pt x="1561954" y="733957"/>
                      </a:cubicBezTo>
                      <a:cubicBezTo>
                        <a:pt x="1582839" y="720623"/>
                        <a:pt x="1592237" y="715642"/>
                        <a:pt x="1614729" y="706003"/>
                      </a:cubicBezTo>
                      <a:cubicBezTo>
                        <a:pt x="1614167" y="705681"/>
                        <a:pt x="1613444" y="705200"/>
                        <a:pt x="1612962" y="704878"/>
                      </a:cubicBezTo>
                      <a:cubicBezTo>
                        <a:pt x="1617300" y="703834"/>
                        <a:pt x="1620031" y="702388"/>
                        <a:pt x="1622762" y="699576"/>
                      </a:cubicBezTo>
                      <a:cubicBezTo>
                        <a:pt x="1622200" y="699335"/>
                        <a:pt x="1621557" y="699095"/>
                        <a:pt x="1620995" y="698854"/>
                      </a:cubicBezTo>
                      <a:cubicBezTo>
                        <a:pt x="1649351" y="690500"/>
                        <a:pt x="1653769" y="687608"/>
                        <a:pt x="1656902" y="684475"/>
                      </a:cubicBezTo>
                      <a:cubicBezTo>
                        <a:pt x="1656902" y="683993"/>
                        <a:pt x="1656902" y="683431"/>
                        <a:pt x="1656902" y="682949"/>
                      </a:cubicBezTo>
                      <a:cubicBezTo>
                        <a:pt x="1653929" y="681021"/>
                        <a:pt x="1652002" y="680780"/>
                        <a:pt x="1644129" y="679896"/>
                      </a:cubicBezTo>
                      <a:cubicBezTo>
                        <a:pt x="1648066" y="677808"/>
                        <a:pt x="1649029" y="677165"/>
                        <a:pt x="1649672" y="675719"/>
                      </a:cubicBezTo>
                      <a:cubicBezTo>
                        <a:pt x="1649029" y="674996"/>
                        <a:pt x="1647905" y="674193"/>
                        <a:pt x="1646941" y="673952"/>
                      </a:cubicBezTo>
                      <a:cubicBezTo>
                        <a:pt x="1649351" y="670498"/>
                        <a:pt x="1652483" y="666321"/>
                        <a:pt x="1653287" y="662706"/>
                      </a:cubicBezTo>
                      <a:moveTo>
                        <a:pt x="1629188" y="387342"/>
                      </a:moveTo>
                      <a:cubicBezTo>
                        <a:pt x="1628867" y="386699"/>
                        <a:pt x="1626618" y="386297"/>
                        <a:pt x="1625493" y="386137"/>
                      </a:cubicBezTo>
                      <a:cubicBezTo>
                        <a:pt x="1625413" y="386217"/>
                        <a:pt x="1625333" y="386297"/>
                        <a:pt x="1625333" y="386297"/>
                      </a:cubicBezTo>
                      <a:cubicBezTo>
                        <a:pt x="1624369" y="387342"/>
                        <a:pt x="1624047" y="388305"/>
                        <a:pt x="1624288" y="389591"/>
                      </a:cubicBezTo>
                      <a:cubicBezTo>
                        <a:pt x="1625654" y="389350"/>
                        <a:pt x="1629670" y="388305"/>
                        <a:pt x="1629188" y="387342"/>
                      </a:cubicBezTo>
                      <a:moveTo>
                        <a:pt x="1748475" y="317215"/>
                      </a:moveTo>
                      <a:lnTo>
                        <a:pt x="1748636" y="315609"/>
                      </a:lnTo>
                      <a:cubicBezTo>
                        <a:pt x="1747511" y="316251"/>
                        <a:pt x="1746869" y="316653"/>
                        <a:pt x="1746307" y="316974"/>
                      </a:cubicBezTo>
                      <a:cubicBezTo>
                        <a:pt x="1746066" y="317135"/>
                        <a:pt x="1745503" y="317537"/>
                        <a:pt x="1745905" y="317617"/>
                      </a:cubicBezTo>
                      <a:cubicBezTo>
                        <a:pt x="1746387" y="317697"/>
                        <a:pt x="1747833" y="317376"/>
                        <a:pt x="1748475" y="317215"/>
                      </a:cubicBezTo>
                      <a:moveTo>
                        <a:pt x="1814103" y="260745"/>
                      </a:moveTo>
                      <a:cubicBezTo>
                        <a:pt x="1812898" y="259701"/>
                        <a:pt x="1811372" y="258897"/>
                        <a:pt x="1810971" y="259460"/>
                      </a:cubicBezTo>
                      <a:cubicBezTo>
                        <a:pt x="1810890" y="259781"/>
                        <a:pt x="1810890" y="260022"/>
                        <a:pt x="1811131" y="260664"/>
                      </a:cubicBezTo>
                      <a:cubicBezTo>
                        <a:pt x="1811051" y="260664"/>
                        <a:pt x="1810890" y="260584"/>
                        <a:pt x="1810810" y="260584"/>
                      </a:cubicBezTo>
                      <a:cubicBezTo>
                        <a:pt x="1811935" y="261709"/>
                        <a:pt x="1813621" y="262432"/>
                        <a:pt x="1815790" y="262833"/>
                      </a:cubicBezTo>
                      <a:cubicBezTo>
                        <a:pt x="1815630" y="262432"/>
                        <a:pt x="1815228" y="261709"/>
                        <a:pt x="1814103" y="260745"/>
                      </a:cubicBezTo>
                      <a:moveTo>
                        <a:pt x="1623887" y="369027"/>
                      </a:moveTo>
                      <a:cubicBezTo>
                        <a:pt x="1623164" y="368866"/>
                        <a:pt x="1622360" y="368786"/>
                        <a:pt x="1621638" y="368705"/>
                      </a:cubicBezTo>
                      <a:cubicBezTo>
                        <a:pt x="1621638" y="368705"/>
                        <a:pt x="1621718" y="368705"/>
                        <a:pt x="1621798" y="368705"/>
                      </a:cubicBezTo>
                      <a:cubicBezTo>
                        <a:pt x="1622441" y="368866"/>
                        <a:pt x="1623164" y="369027"/>
                        <a:pt x="1623887" y="369027"/>
                      </a:cubicBezTo>
                      <a:moveTo>
                        <a:pt x="451259" y="578763"/>
                      </a:moveTo>
                      <a:cubicBezTo>
                        <a:pt x="452705" y="578763"/>
                        <a:pt x="454713" y="578683"/>
                        <a:pt x="456159" y="578683"/>
                      </a:cubicBezTo>
                      <a:cubicBezTo>
                        <a:pt x="456480" y="577799"/>
                        <a:pt x="456641" y="577478"/>
                        <a:pt x="456079" y="576434"/>
                      </a:cubicBezTo>
                      <a:cubicBezTo>
                        <a:pt x="455597" y="575470"/>
                        <a:pt x="454311" y="575630"/>
                        <a:pt x="453749" y="574747"/>
                      </a:cubicBezTo>
                      <a:cubicBezTo>
                        <a:pt x="452062" y="572016"/>
                        <a:pt x="450938" y="568963"/>
                        <a:pt x="449492" y="566071"/>
                      </a:cubicBezTo>
                      <a:cubicBezTo>
                        <a:pt x="439290" y="545668"/>
                        <a:pt x="433185" y="531852"/>
                        <a:pt x="430052" y="517312"/>
                      </a:cubicBezTo>
                      <a:cubicBezTo>
                        <a:pt x="428446" y="518999"/>
                        <a:pt x="426277" y="521248"/>
                        <a:pt x="424590" y="522935"/>
                      </a:cubicBezTo>
                      <a:cubicBezTo>
                        <a:pt x="403705" y="544945"/>
                        <a:pt x="395592" y="554424"/>
                        <a:pt x="386274" y="566312"/>
                      </a:cubicBezTo>
                      <a:cubicBezTo>
                        <a:pt x="408042" y="570249"/>
                        <a:pt x="428847" y="578843"/>
                        <a:pt x="451259" y="578763"/>
                      </a:cubicBezTo>
                      <a:moveTo>
                        <a:pt x="1621798" y="355692"/>
                      </a:moveTo>
                      <a:cubicBezTo>
                        <a:pt x="1621075" y="354809"/>
                        <a:pt x="1620031" y="354889"/>
                        <a:pt x="1619549" y="354889"/>
                      </a:cubicBezTo>
                      <a:cubicBezTo>
                        <a:pt x="1619549" y="354969"/>
                        <a:pt x="1619549" y="355050"/>
                        <a:pt x="1619549" y="355130"/>
                      </a:cubicBezTo>
                      <a:cubicBezTo>
                        <a:pt x="1619629" y="356576"/>
                        <a:pt x="1619951" y="357781"/>
                        <a:pt x="1620593" y="359227"/>
                      </a:cubicBezTo>
                      <a:cubicBezTo>
                        <a:pt x="1623485" y="357861"/>
                        <a:pt x="1622039" y="355933"/>
                        <a:pt x="1621798" y="355692"/>
                      </a:cubicBezTo>
                      <a:moveTo>
                        <a:pt x="1323299" y="483414"/>
                      </a:moveTo>
                      <a:cubicBezTo>
                        <a:pt x="1321934" y="479478"/>
                        <a:pt x="1316150" y="475381"/>
                        <a:pt x="1310849" y="480763"/>
                      </a:cubicBezTo>
                      <a:cubicBezTo>
                        <a:pt x="1303057" y="475783"/>
                        <a:pt x="1300968" y="471766"/>
                        <a:pt x="1301611" y="463091"/>
                      </a:cubicBezTo>
                      <a:cubicBezTo>
                        <a:pt x="1280324" y="465742"/>
                        <a:pt x="1275263" y="470401"/>
                        <a:pt x="1267231" y="482048"/>
                      </a:cubicBezTo>
                      <a:cubicBezTo>
                        <a:pt x="1244899" y="479799"/>
                        <a:pt x="1233814" y="493535"/>
                        <a:pt x="1225139" y="508717"/>
                      </a:cubicBezTo>
                      <a:cubicBezTo>
                        <a:pt x="1221203" y="506227"/>
                        <a:pt x="1220239" y="505102"/>
                        <a:pt x="1219435" y="502050"/>
                      </a:cubicBezTo>
                      <a:cubicBezTo>
                        <a:pt x="1217909" y="501729"/>
                        <a:pt x="1216624" y="501086"/>
                        <a:pt x="1214857" y="499801"/>
                      </a:cubicBezTo>
                      <a:cubicBezTo>
                        <a:pt x="1222649" y="497150"/>
                        <a:pt x="1218873" y="495302"/>
                        <a:pt x="1204735" y="488555"/>
                      </a:cubicBezTo>
                      <a:cubicBezTo>
                        <a:pt x="1198470" y="485583"/>
                        <a:pt x="1197426" y="485904"/>
                        <a:pt x="1196863" y="486065"/>
                      </a:cubicBezTo>
                      <a:cubicBezTo>
                        <a:pt x="1196863" y="486065"/>
                        <a:pt x="1195176" y="489197"/>
                        <a:pt x="1200237" y="489519"/>
                      </a:cubicBezTo>
                      <a:cubicBezTo>
                        <a:pt x="1196944" y="491768"/>
                        <a:pt x="1196542" y="493053"/>
                        <a:pt x="1198470" y="495945"/>
                      </a:cubicBezTo>
                      <a:cubicBezTo>
                        <a:pt x="1195739" y="499721"/>
                        <a:pt x="1191963" y="494981"/>
                        <a:pt x="1188670" y="494499"/>
                      </a:cubicBezTo>
                      <a:cubicBezTo>
                        <a:pt x="1188188" y="495624"/>
                        <a:pt x="1188188" y="495624"/>
                        <a:pt x="1189393" y="497793"/>
                      </a:cubicBezTo>
                      <a:cubicBezTo>
                        <a:pt x="1186903" y="497712"/>
                        <a:pt x="1186903" y="497712"/>
                        <a:pt x="1185135" y="498114"/>
                      </a:cubicBezTo>
                      <a:cubicBezTo>
                        <a:pt x="1185135" y="498435"/>
                        <a:pt x="1185216" y="498837"/>
                        <a:pt x="1185216" y="499158"/>
                      </a:cubicBezTo>
                      <a:cubicBezTo>
                        <a:pt x="1186260" y="499962"/>
                        <a:pt x="1186581" y="500122"/>
                        <a:pt x="1188911" y="501247"/>
                      </a:cubicBezTo>
                      <a:cubicBezTo>
                        <a:pt x="1186421" y="502371"/>
                        <a:pt x="1186421" y="502371"/>
                        <a:pt x="1185778" y="503255"/>
                      </a:cubicBezTo>
                      <a:cubicBezTo>
                        <a:pt x="1186903" y="503737"/>
                        <a:pt x="1186903" y="503737"/>
                        <a:pt x="1188830" y="503737"/>
                      </a:cubicBezTo>
                      <a:cubicBezTo>
                        <a:pt x="1185216" y="504058"/>
                        <a:pt x="1184332" y="504540"/>
                        <a:pt x="1183368" y="505343"/>
                      </a:cubicBezTo>
                      <a:cubicBezTo>
                        <a:pt x="1183288" y="506548"/>
                        <a:pt x="1183689" y="509360"/>
                        <a:pt x="1189393" y="510565"/>
                      </a:cubicBezTo>
                      <a:cubicBezTo>
                        <a:pt x="1198470" y="512412"/>
                        <a:pt x="1207788" y="510726"/>
                        <a:pt x="1216945" y="512171"/>
                      </a:cubicBezTo>
                      <a:cubicBezTo>
                        <a:pt x="1209796" y="518116"/>
                        <a:pt x="1198871" y="518116"/>
                        <a:pt x="1193570" y="527032"/>
                      </a:cubicBezTo>
                      <a:cubicBezTo>
                        <a:pt x="1197265" y="528879"/>
                        <a:pt x="1200719" y="528317"/>
                        <a:pt x="1223211" y="524221"/>
                      </a:cubicBezTo>
                      <a:cubicBezTo>
                        <a:pt x="1218632" y="527032"/>
                        <a:pt x="1217909" y="528639"/>
                        <a:pt x="1220480" y="530326"/>
                      </a:cubicBezTo>
                      <a:cubicBezTo>
                        <a:pt x="1219998" y="530968"/>
                        <a:pt x="1219355" y="531852"/>
                        <a:pt x="1218873" y="532494"/>
                      </a:cubicBezTo>
                      <a:cubicBezTo>
                        <a:pt x="1221122" y="530567"/>
                        <a:pt x="1223291" y="529683"/>
                        <a:pt x="1226103" y="529361"/>
                      </a:cubicBezTo>
                      <a:cubicBezTo>
                        <a:pt x="1226022" y="529763"/>
                        <a:pt x="1223452" y="539001"/>
                        <a:pt x="1211483" y="539483"/>
                      </a:cubicBezTo>
                      <a:cubicBezTo>
                        <a:pt x="1211242" y="541732"/>
                        <a:pt x="1211804" y="543098"/>
                        <a:pt x="1213652" y="544945"/>
                      </a:cubicBezTo>
                      <a:cubicBezTo>
                        <a:pt x="1225540" y="542857"/>
                        <a:pt x="1232208" y="539322"/>
                        <a:pt x="1234698" y="538037"/>
                      </a:cubicBezTo>
                      <a:cubicBezTo>
                        <a:pt x="1237509" y="540929"/>
                        <a:pt x="1240883" y="541170"/>
                        <a:pt x="1244980" y="538840"/>
                      </a:cubicBezTo>
                      <a:cubicBezTo>
                        <a:pt x="1255342" y="548239"/>
                        <a:pt x="1277593" y="539081"/>
                        <a:pt x="1277754" y="539001"/>
                      </a:cubicBezTo>
                      <a:cubicBezTo>
                        <a:pt x="1278798" y="538519"/>
                        <a:pt x="1279762" y="537153"/>
                        <a:pt x="1280565" y="536350"/>
                      </a:cubicBezTo>
                      <a:cubicBezTo>
                        <a:pt x="1283939" y="533217"/>
                        <a:pt x="1297595" y="522373"/>
                        <a:pt x="1309885" y="514019"/>
                      </a:cubicBezTo>
                      <a:cubicBezTo>
                        <a:pt x="1317596" y="508797"/>
                        <a:pt x="1320809" y="506629"/>
                        <a:pt x="1320488" y="501809"/>
                      </a:cubicBezTo>
                      <a:cubicBezTo>
                        <a:pt x="1320408" y="500845"/>
                        <a:pt x="1319926" y="499640"/>
                        <a:pt x="1319604" y="498756"/>
                      </a:cubicBezTo>
                      <a:cubicBezTo>
                        <a:pt x="1326995" y="494339"/>
                        <a:pt x="1326995" y="494339"/>
                        <a:pt x="1323299" y="483414"/>
                      </a:cubicBezTo>
                      <a:moveTo>
                        <a:pt x="1805107" y="201864"/>
                      </a:moveTo>
                      <a:cubicBezTo>
                        <a:pt x="1805107" y="201864"/>
                        <a:pt x="1805187" y="201864"/>
                        <a:pt x="1805267" y="201864"/>
                      </a:cubicBezTo>
                      <a:cubicBezTo>
                        <a:pt x="1804303" y="201623"/>
                        <a:pt x="1803420" y="201382"/>
                        <a:pt x="1802456" y="201141"/>
                      </a:cubicBezTo>
                      <a:lnTo>
                        <a:pt x="1802456" y="201141"/>
                      </a:lnTo>
                      <a:cubicBezTo>
                        <a:pt x="1803339" y="201463"/>
                        <a:pt x="1804223" y="201623"/>
                        <a:pt x="1805107" y="201864"/>
                      </a:cubicBezTo>
                      <a:moveTo>
                        <a:pt x="800204" y="504781"/>
                      </a:moveTo>
                      <a:cubicBezTo>
                        <a:pt x="800284" y="504781"/>
                        <a:pt x="800364" y="504701"/>
                        <a:pt x="800364" y="504701"/>
                      </a:cubicBezTo>
                      <a:cubicBezTo>
                        <a:pt x="800364" y="504701"/>
                        <a:pt x="800284" y="504701"/>
                        <a:pt x="800204" y="504781"/>
                      </a:cubicBezTo>
                      <a:cubicBezTo>
                        <a:pt x="798276" y="505584"/>
                        <a:pt x="796589" y="506468"/>
                        <a:pt x="794741" y="507512"/>
                      </a:cubicBezTo>
                      <a:cubicBezTo>
                        <a:pt x="796589" y="506629"/>
                        <a:pt x="798356" y="505665"/>
                        <a:pt x="800204" y="504781"/>
                      </a:cubicBezTo>
                      <a:moveTo>
                        <a:pt x="1591354" y="316733"/>
                      </a:moveTo>
                      <a:cubicBezTo>
                        <a:pt x="1590711" y="316010"/>
                        <a:pt x="1589908" y="315528"/>
                        <a:pt x="1589506" y="315287"/>
                      </a:cubicBezTo>
                      <a:cubicBezTo>
                        <a:pt x="1589506" y="315368"/>
                        <a:pt x="1589506" y="315448"/>
                        <a:pt x="1589506" y="315528"/>
                      </a:cubicBezTo>
                      <a:cubicBezTo>
                        <a:pt x="1589506" y="315850"/>
                        <a:pt x="1589506" y="316814"/>
                        <a:pt x="1589988" y="317778"/>
                      </a:cubicBezTo>
                      <a:cubicBezTo>
                        <a:pt x="1590551" y="319063"/>
                        <a:pt x="1591515" y="320188"/>
                        <a:pt x="1592237" y="321392"/>
                      </a:cubicBezTo>
                      <a:cubicBezTo>
                        <a:pt x="1592398" y="320750"/>
                        <a:pt x="1593121" y="318741"/>
                        <a:pt x="1591354" y="316733"/>
                      </a:cubicBezTo>
                      <a:moveTo>
                        <a:pt x="1595611" y="308459"/>
                      </a:moveTo>
                      <a:cubicBezTo>
                        <a:pt x="1595129" y="307897"/>
                        <a:pt x="1594165" y="307817"/>
                        <a:pt x="1593683" y="307737"/>
                      </a:cubicBezTo>
                      <a:cubicBezTo>
                        <a:pt x="1592961" y="307656"/>
                        <a:pt x="1592961" y="307656"/>
                        <a:pt x="1592237" y="308138"/>
                      </a:cubicBezTo>
                      <a:cubicBezTo>
                        <a:pt x="1589265" y="310548"/>
                        <a:pt x="1589346" y="312878"/>
                        <a:pt x="1592398" y="316091"/>
                      </a:cubicBezTo>
                      <a:cubicBezTo>
                        <a:pt x="1593603" y="315287"/>
                        <a:pt x="1593603" y="314645"/>
                        <a:pt x="1592559" y="313440"/>
                      </a:cubicBezTo>
                      <a:cubicBezTo>
                        <a:pt x="1592961" y="313520"/>
                        <a:pt x="1593442" y="313681"/>
                        <a:pt x="1593764" y="313842"/>
                      </a:cubicBezTo>
                      <a:cubicBezTo>
                        <a:pt x="1594888" y="312155"/>
                        <a:pt x="1596575" y="309665"/>
                        <a:pt x="1595611" y="308459"/>
                      </a:cubicBezTo>
                      <a:moveTo>
                        <a:pt x="553838" y="477309"/>
                      </a:moveTo>
                      <a:cubicBezTo>
                        <a:pt x="554079" y="476907"/>
                        <a:pt x="554480" y="476425"/>
                        <a:pt x="554721" y="476024"/>
                      </a:cubicBezTo>
                      <a:cubicBezTo>
                        <a:pt x="554400" y="476425"/>
                        <a:pt x="553998" y="477068"/>
                        <a:pt x="553677" y="477470"/>
                      </a:cubicBezTo>
                      <a:cubicBezTo>
                        <a:pt x="546849" y="487270"/>
                        <a:pt x="539941" y="497311"/>
                        <a:pt x="539057" y="498596"/>
                      </a:cubicBezTo>
                      <a:cubicBezTo>
                        <a:pt x="544038" y="491607"/>
                        <a:pt x="548857" y="484378"/>
                        <a:pt x="553838" y="477309"/>
                      </a:cubicBezTo>
                      <a:moveTo>
                        <a:pt x="342013" y="398909"/>
                      </a:moveTo>
                      <a:cubicBezTo>
                        <a:pt x="342254" y="398748"/>
                        <a:pt x="342093" y="398668"/>
                        <a:pt x="342013" y="398587"/>
                      </a:cubicBezTo>
                      <a:cubicBezTo>
                        <a:pt x="341611" y="398427"/>
                        <a:pt x="338077" y="397865"/>
                        <a:pt x="336631" y="398186"/>
                      </a:cubicBezTo>
                      <a:cubicBezTo>
                        <a:pt x="334623" y="398668"/>
                        <a:pt x="334301" y="399712"/>
                        <a:pt x="334141" y="400435"/>
                      </a:cubicBezTo>
                      <a:cubicBezTo>
                        <a:pt x="335828" y="400194"/>
                        <a:pt x="341210" y="399471"/>
                        <a:pt x="342013" y="398909"/>
                      </a:cubicBezTo>
                      <a:moveTo>
                        <a:pt x="1605652" y="286610"/>
                      </a:moveTo>
                      <a:cubicBezTo>
                        <a:pt x="1605572" y="286610"/>
                        <a:pt x="1605572" y="286610"/>
                        <a:pt x="1605492" y="286691"/>
                      </a:cubicBezTo>
                      <a:cubicBezTo>
                        <a:pt x="1605090" y="287574"/>
                        <a:pt x="1604688" y="289020"/>
                        <a:pt x="1603403" y="293358"/>
                      </a:cubicBezTo>
                      <a:cubicBezTo>
                        <a:pt x="1596495" y="284441"/>
                        <a:pt x="1591916" y="279301"/>
                        <a:pt x="1590310" y="281228"/>
                      </a:cubicBezTo>
                      <a:cubicBezTo>
                        <a:pt x="1589988" y="283076"/>
                        <a:pt x="1590229" y="284923"/>
                        <a:pt x="1592639" y="292474"/>
                      </a:cubicBezTo>
                      <a:cubicBezTo>
                        <a:pt x="1591916" y="291751"/>
                        <a:pt x="1590551" y="290546"/>
                        <a:pt x="1589828" y="289904"/>
                      </a:cubicBezTo>
                      <a:cubicBezTo>
                        <a:pt x="1589265" y="289984"/>
                        <a:pt x="1588542" y="290065"/>
                        <a:pt x="1587980" y="290145"/>
                      </a:cubicBezTo>
                      <a:cubicBezTo>
                        <a:pt x="1588623" y="291109"/>
                        <a:pt x="1589346" y="291992"/>
                        <a:pt x="1589988" y="292956"/>
                      </a:cubicBezTo>
                      <a:cubicBezTo>
                        <a:pt x="1589747" y="293037"/>
                        <a:pt x="1589346" y="293037"/>
                        <a:pt x="1589105" y="293117"/>
                      </a:cubicBezTo>
                      <a:cubicBezTo>
                        <a:pt x="1591434" y="294161"/>
                        <a:pt x="1592478" y="294563"/>
                        <a:pt x="1593442" y="294723"/>
                      </a:cubicBezTo>
                      <a:cubicBezTo>
                        <a:pt x="1594888" y="298981"/>
                        <a:pt x="1596415" y="303238"/>
                        <a:pt x="1597861" y="307576"/>
                      </a:cubicBezTo>
                      <a:cubicBezTo>
                        <a:pt x="1600511" y="305648"/>
                        <a:pt x="1601877" y="304363"/>
                        <a:pt x="1603002" y="301391"/>
                      </a:cubicBezTo>
                      <a:cubicBezTo>
                        <a:pt x="1603242" y="300668"/>
                        <a:pt x="1605893" y="287253"/>
                        <a:pt x="1605652" y="286610"/>
                      </a:cubicBezTo>
                      <a:moveTo>
                        <a:pt x="1760605" y="131577"/>
                      </a:moveTo>
                      <a:cubicBezTo>
                        <a:pt x="1756508" y="129087"/>
                        <a:pt x="1750725" y="126838"/>
                        <a:pt x="1746789" y="130372"/>
                      </a:cubicBezTo>
                      <a:cubicBezTo>
                        <a:pt x="1747351" y="130854"/>
                        <a:pt x="1748154" y="131417"/>
                        <a:pt x="1748716" y="131899"/>
                      </a:cubicBezTo>
                      <a:cubicBezTo>
                        <a:pt x="1754821" y="136718"/>
                        <a:pt x="1765023" y="144751"/>
                        <a:pt x="1764380" y="140333"/>
                      </a:cubicBezTo>
                      <a:cubicBezTo>
                        <a:pt x="1764059" y="137923"/>
                        <a:pt x="1760605" y="133023"/>
                        <a:pt x="1759400" y="131417"/>
                      </a:cubicBezTo>
                      <a:cubicBezTo>
                        <a:pt x="1760364" y="131658"/>
                        <a:pt x="1760926" y="131899"/>
                        <a:pt x="1761890" y="132381"/>
                      </a:cubicBezTo>
                      <a:cubicBezTo>
                        <a:pt x="1761489" y="132140"/>
                        <a:pt x="1761007" y="131818"/>
                        <a:pt x="1760605" y="131577"/>
                      </a:cubicBezTo>
                      <a:moveTo>
                        <a:pt x="1603323" y="266528"/>
                      </a:moveTo>
                      <a:cubicBezTo>
                        <a:pt x="1601716" y="264922"/>
                        <a:pt x="1599226" y="263476"/>
                        <a:pt x="1596656" y="265404"/>
                      </a:cubicBezTo>
                      <a:cubicBezTo>
                        <a:pt x="1596013" y="265243"/>
                        <a:pt x="1595129" y="265002"/>
                        <a:pt x="1594487" y="264761"/>
                      </a:cubicBezTo>
                      <a:lnTo>
                        <a:pt x="1594487" y="265564"/>
                      </a:lnTo>
                      <a:cubicBezTo>
                        <a:pt x="1594728" y="267573"/>
                        <a:pt x="1595451" y="268376"/>
                        <a:pt x="1598342" y="269742"/>
                      </a:cubicBezTo>
                      <a:cubicBezTo>
                        <a:pt x="1596334" y="271910"/>
                        <a:pt x="1597057" y="274320"/>
                        <a:pt x="1600913" y="278417"/>
                      </a:cubicBezTo>
                      <a:cubicBezTo>
                        <a:pt x="1602519" y="277051"/>
                        <a:pt x="1603805" y="278015"/>
                        <a:pt x="1604367" y="278417"/>
                      </a:cubicBezTo>
                      <a:cubicBezTo>
                        <a:pt x="1604206" y="276328"/>
                        <a:pt x="1603965" y="274882"/>
                        <a:pt x="1603483" y="272874"/>
                      </a:cubicBezTo>
                      <a:cubicBezTo>
                        <a:pt x="1607339" y="272392"/>
                        <a:pt x="1607339" y="270384"/>
                        <a:pt x="1603323" y="266528"/>
                      </a:cubicBezTo>
                      <a:moveTo>
                        <a:pt x="400331" y="420999"/>
                      </a:moveTo>
                      <a:cubicBezTo>
                        <a:pt x="400652" y="420999"/>
                        <a:pt x="401134" y="420999"/>
                        <a:pt x="401456" y="420919"/>
                      </a:cubicBezTo>
                      <a:cubicBezTo>
                        <a:pt x="402018" y="417063"/>
                        <a:pt x="403223" y="413529"/>
                        <a:pt x="405070" y="410316"/>
                      </a:cubicBezTo>
                      <a:cubicBezTo>
                        <a:pt x="407159" y="406781"/>
                        <a:pt x="410693" y="392081"/>
                        <a:pt x="407480" y="391438"/>
                      </a:cubicBezTo>
                      <a:cubicBezTo>
                        <a:pt x="405633" y="391840"/>
                        <a:pt x="403705" y="393527"/>
                        <a:pt x="399447" y="398587"/>
                      </a:cubicBezTo>
                      <a:cubicBezTo>
                        <a:pt x="399769" y="395615"/>
                        <a:pt x="399688" y="394973"/>
                        <a:pt x="399367" y="394571"/>
                      </a:cubicBezTo>
                      <a:cubicBezTo>
                        <a:pt x="399206" y="394571"/>
                        <a:pt x="399046" y="394651"/>
                        <a:pt x="398965" y="394732"/>
                      </a:cubicBezTo>
                      <a:cubicBezTo>
                        <a:pt x="398403" y="395374"/>
                        <a:pt x="398242" y="396178"/>
                        <a:pt x="397680" y="396820"/>
                      </a:cubicBezTo>
                      <a:cubicBezTo>
                        <a:pt x="396957" y="397624"/>
                        <a:pt x="395752" y="398427"/>
                        <a:pt x="394949" y="399150"/>
                      </a:cubicBezTo>
                      <a:cubicBezTo>
                        <a:pt x="393342" y="400515"/>
                        <a:pt x="387800" y="405496"/>
                        <a:pt x="385149" y="410235"/>
                      </a:cubicBezTo>
                      <a:cubicBezTo>
                        <a:pt x="383783" y="412725"/>
                        <a:pt x="382739" y="416260"/>
                        <a:pt x="386033" y="418509"/>
                      </a:cubicBezTo>
                      <a:cubicBezTo>
                        <a:pt x="387720" y="419794"/>
                        <a:pt x="391656" y="421240"/>
                        <a:pt x="400331" y="420999"/>
                      </a:cubicBezTo>
                      <a:moveTo>
                        <a:pt x="817876" y="449435"/>
                      </a:moveTo>
                      <a:cubicBezTo>
                        <a:pt x="820607" y="444134"/>
                        <a:pt x="801168" y="444294"/>
                        <a:pt x="800927" y="444375"/>
                      </a:cubicBezTo>
                      <a:cubicBezTo>
                        <a:pt x="800364" y="444615"/>
                        <a:pt x="799882" y="445258"/>
                        <a:pt x="799159" y="445178"/>
                      </a:cubicBezTo>
                      <a:cubicBezTo>
                        <a:pt x="798276" y="445017"/>
                        <a:pt x="797633" y="444294"/>
                        <a:pt x="797151" y="443812"/>
                      </a:cubicBezTo>
                      <a:cubicBezTo>
                        <a:pt x="796830" y="444294"/>
                        <a:pt x="796428" y="444937"/>
                        <a:pt x="796107" y="445419"/>
                      </a:cubicBezTo>
                      <a:cubicBezTo>
                        <a:pt x="794902" y="447507"/>
                        <a:pt x="793215" y="450720"/>
                        <a:pt x="795304" y="453371"/>
                      </a:cubicBezTo>
                      <a:cubicBezTo>
                        <a:pt x="797954" y="456584"/>
                        <a:pt x="805505" y="457147"/>
                        <a:pt x="805586" y="457147"/>
                      </a:cubicBezTo>
                      <a:cubicBezTo>
                        <a:pt x="805666" y="457147"/>
                        <a:pt x="816028" y="452889"/>
                        <a:pt x="817876" y="449435"/>
                      </a:cubicBezTo>
                      <a:moveTo>
                        <a:pt x="346511" y="271027"/>
                      </a:moveTo>
                      <a:cubicBezTo>
                        <a:pt x="346511" y="270946"/>
                        <a:pt x="346511" y="270946"/>
                        <a:pt x="346511" y="271027"/>
                      </a:cubicBezTo>
                      <a:cubicBezTo>
                        <a:pt x="346592" y="270946"/>
                        <a:pt x="346511" y="270946"/>
                        <a:pt x="346511" y="270866"/>
                      </a:cubicBezTo>
                      <a:cubicBezTo>
                        <a:pt x="346190" y="270946"/>
                        <a:pt x="345869" y="271107"/>
                        <a:pt x="345547" y="271187"/>
                      </a:cubicBezTo>
                      <a:cubicBezTo>
                        <a:pt x="346029" y="271187"/>
                        <a:pt x="346431" y="271107"/>
                        <a:pt x="346511" y="271027"/>
                      </a:cubicBezTo>
                      <a:moveTo>
                        <a:pt x="1602841" y="238735"/>
                      </a:moveTo>
                      <a:cubicBezTo>
                        <a:pt x="1602761" y="238655"/>
                        <a:pt x="1602680" y="238574"/>
                        <a:pt x="1602600" y="238494"/>
                      </a:cubicBezTo>
                      <a:cubicBezTo>
                        <a:pt x="1602680" y="238574"/>
                        <a:pt x="1602761" y="238655"/>
                        <a:pt x="1602841" y="238735"/>
                      </a:cubicBezTo>
                      <a:cubicBezTo>
                        <a:pt x="1603805" y="239699"/>
                        <a:pt x="1604769" y="240743"/>
                        <a:pt x="1605813" y="241787"/>
                      </a:cubicBezTo>
                      <a:cubicBezTo>
                        <a:pt x="1604849" y="240743"/>
                        <a:pt x="1603885" y="239699"/>
                        <a:pt x="1602841" y="238735"/>
                      </a:cubicBezTo>
                      <a:moveTo>
                        <a:pt x="1599708" y="248615"/>
                      </a:moveTo>
                      <a:cubicBezTo>
                        <a:pt x="1596977" y="246205"/>
                        <a:pt x="1593523" y="244920"/>
                        <a:pt x="1591836" y="244277"/>
                      </a:cubicBezTo>
                      <a:cubicBezTo>
                        <a:pt x="1591916" y="244438"/>
                        <a:pt x="1591916" y="244679"/>
                        <a:pt x="1591996" y="244920"/>
                      </a:cubicBezTo>
                      <a:cubicBezTo>
                        <a:pt x="1592639" y="246366"/>
                        <a:pt x="1593442" y="247491"/>
                        <a:pt x="1595852" y="249258"/>
                      </a:cubicBezTo>
                      <a:cubicBezTo>
                        <a:pt x="1595290" y="251587"/>
                        <a:pt x="1596174" y="253435"/>
                        <a:pt x="1599146" y="256005"/>
                      </a:cubicBezTo>
                      <a:cubicBezTo>
                        <a:pt x="1598824" y="255925"/>
                        <a:pt x="1598342" y="255764"/>
                        <a:pt x="1598021" y="255604"/>
                      </a:cubicBezTo>
                      <a:cubicBezTo>
                        <a:pt x="1596254" y="260182"/>
                        <a:pt x="1599387" y="261869"/>
                        <a:pt x="1601957" y="262673"/>
                      </a:cubicBezTo>
                      <a:cubicBezTo>
                        <a:pt x="1602841" y="260504"/>
                        <a:pt x="1605893" y="254077"/>
                        <a:pt x="1599708" y="248615"/>
                      </a:cubicBezTo>
                      <a:moveTo>
                        <a:pt x="346511" y="277292"/>
                      </a:moveTo>
                      <a:cubicBezTo>
                        <a:pt x="346511" y="277292"/>
                        <a:pt x="346511" y="277292"/>
                        <a:pt x="346511" y="277292"/>
                      </a:cubicBezTo>
                      <a:cubicBezTo>
                        <a:pt x="346592" y="277051"/>
                        <a:pt x="346672" y="276891"/>
                        <a:pt x="346752" y="276650"/>
                      </a:cubicBezTo>
                      <a:cubicBezTo>
                        <a:pt x="346752" y="276650"/>
                        <a:pt x="346672" y="276730"/>
                        <a:pt x="346672" y="276730"/>
                      </a:cubicBezTo>
                      <a:cubicBezTo>
                        <a:pt x="346431" y="276971"/>
                        <a:pt x="346270" y="277212"/>
                        <a:pt x="346029" y="277453"/>
                      </a:cubicBezTo>
                      <a:cubicBezTo>
                        <a:pt x="346190" y="277453"/>
                        <a:pt x="346351" y="277373"/>
                        <a:pt x="346511" y="277292"/>
                      </a:cubicBezTo>
                      <a:moveTo>
                        <a:pt x="1601074" y="243555"/>
                      </a:moveTo>
                      <a:cubicBezTo>
                        <a:pt x="1600833" y="243233"/>
                        <a:pt x="1597619" y="242751"/>
                        <a:pt x="1594246" y="242269"/>
                      </a:cubicBezTo>
                      <a:cubicBezTo>
                        <a:pt x="1594326" y="242350"/>
                        <a:pt x="1594487" y="242510"/>
                        <a:pt x="1594567" y="242591"/>
                      </a:cubicBezTo>
                      <a:cubicBezTo>
                        <a:pt x="1595531" y="243314"/>
                        <a:pt x="1596495" y="243715"/>
                        <a:pt x="1597539" y="243876"/>
                      </a:cubicBezTo>
                      <a:cubicBezTo>
                        <a:pt x="1597539" y="243876"/>
                        <a:pt x="1600752" y="243876"/>
                        <a:pt x="1601074" y="243555"/>
                      </a:cubicBezTo>
                      <a:cubicBezTo>
                        <a:pt x="1601074" y="243635"/>
                        <a:pt x="1601074" y="243555"/>
                        <a:pt x="1601074" y="243555"/>
                      </a:cubicBezTo>
                      <a:moveTo>
                        <a:pt x="1745664" y="84103"/>
                      </a:moveTo>
                      <a:cubicBezTo>
                        <a:pt x="1745985" y="84264"/>
                        <a:pt x="1746467" y="84425"/>
                        <a:pt x="1746789" y="84505"/>
                      </a:cubicBezTo>
                      <a:cubicBezTo>
                        <a:pt x="1739157" y="81694"/>
                        <a:pt x="1732892" y="79445"/>
                        <a:pt x="1729839" y="78400"/>
                      </a:cubicBezTo>
                      <a:cubicBezTo>
                        <a:pt x="1737229" y="80971"/>
                        <a:pt x="1743415" y="83300"/>
                        <a:pt x="1745664" y="84103"/>
                      </a:cubicBezTo>
                      <a:moveTo>
                        <a:pt x="1729839" y="78400"/>
                      </a:moveTo>
                      <a:lnTo>
                        <a:pt x="1729839" y="78400"/>
                      </a:lnTo>
                      <a:cubicBezTo>
                        <a:pt x="1729839" y="78400"/>
                        <a:pt x="1729839" y="78400"/>
                        <a:pt x="1729839" y="78400"/>
                      </a:cubicBezTo>
                      <a:cubicBezTo>
                        <a:pt x="1729839" y="78400"/>
                        <a:pt x="1729839" y="78400"/>
                        <a:pt x="1729839" y="78400"/>
                      </a:cubicBezTo>
                      <a:moveTo>
                        <a:pt x="346833" y="276569"/>
                      </a:moveTo>
                      <a:cubicBezTo>
                        <a:pt x="346833" y="276569"/>
                        <a:pt x="346833" y="276650"/>
                        <a:pt x="346833" y="276650"/>
                      </a:cubicBezTo>
                      <a:cubicBezTo>
                        <a:pt x="347636" y="275766"/>
                        <a:pt x="348519" y="274802"/>
                        <a:pt x="349323" y="273919"/>
                      </a:cubicBezTo>
                      <a:cubicBezTo>
                        <a:pt x="349323" y="273919"/>
                        <a:pt x="349242" y="273999"/>
                        <a:pt x="349242" y="273999"/>
                      </a:cubicBezTo>
                      <a:cubicBezTo>
                        <a:pt x="347957" y="274802"/>
                        <a:pt x="347234" y="275686"/>
                        <a:pt x="346833" y="276569"/>
                      </a:cubicBezTo>
                      <a:moveTo>
                        <a:pt x="1617139" y="221625"/>
                      </a:moveTo>
                      <a:cubicBezTo>
                        <a:pt x="1616416" y="220500"/>
                        <a:pt x="1613203" y="219055"/>
                        <a:pt x="1612239" y="218653"/>
                      </a:cubicBezTo>
                      <a:cubicBezTo>
                        <a:pt x="1612239" y="218733"/>
                        <a:pt x="1612159" y="218814"/>
                        <a:pt x="1612159" y="218894"/>
                      </a:cubicBezTo>
                      <a:cubicBezTo>
                        <a:pt x="1611115" y="221786"/>
                        <a:pt x="1612319" y="224195"/>
                        <a:pt x="1615613" y="226043"/>
                      </a:cubicBezTo>
                      <a:cubicBezTo>
                        <a:pt x="1615613" y="225802"/>
                        <a:pt x="1615533" y="225481"/>
                        <a:pt x="1615533" y="225240"/>
                      </a:cubicBezTo>
                      <a:cubicBezTo>
                        <a:pt x="1616898" y="225882"/>
                        <a:pt x="1619629" y="227168"/>
                        <a:pt x="1618746" y="224597"/>
                      </a:cubicBezTo>
                      <a:cubicBezTo>
                        <a:pt x="1618424" y="223874"/>
                        <a:pt x="1617943" y="222910"/>
                        <a:pt x="1617139" y="221625"/>
                      </a:cubicBezTo>
                      <a:moveTo>
                        <a:pt x="808959" y="424935"/>
                      </a:moveTo>
                      <a:cubicBezTo>
                        <a:pt x="809040" y="424935"/>
                        <a:pt x="809040" y="424935"/>
                        <a:pt x="809120" y="424935"/>
                      </a:cubicBezTo>
                      <a:cubicBezTo>
                        <a:pt x="807192" y="424453"/>
                        <a:pt x="805264" y="423971"/>
                        <a:pt x="803417" y="423489"/>
                      </a:cubicBezTo>
                      <a:cubicBezTo>
                        <a:pt x="803497" y="423489"/>
                        <a:pt x="803577" y="423489"/>
                        <a:pt x="803577" y="423570"/>
                      </a:cubicBezTo>
                      <a:cubicBezTo>
                        <a:pt x="804782" y="423971"/>
                        <a:pt x="806630" y="424453"/>
                        <a:pt x="808959" y="424935"/>
                      </a:cubicBezTo>
                      <a:moveTo>
                        <a:pt x="1613765" y="216966"/>
                      </a:moveTo>
                      <a:cubicBezTo>
                        <a:pt x="1613043" y="216484"/>
                        <a:pt x="1612480" y="215841"/>
                        <a:pt x="1611677" y="215440"/>
                      </a:cubicBezTo>
                      <a:cubicBezTo>
                        <a:pt x="1611275" y="215199"/>
                        <a:pt x="1610633" y="215199"/>
                        <a:pt x="1610231" y="215118"/>
                      </a:cubicBezTo>
                      <a:lnTo>
                        <a:pt x="1610552" y="215359"/>
                      </a:lnTo>
                      <a:cubicBezTo>
                        <a:pt x="1614006" y="217609"/>
                        <a:pt x="1615372" y="218412"/>
                        <a:pt x="1615533" y="218412"/>
                      </a:cubicBezTo>
                      <a:cubicBezTo>
                        <a:pt x="1615452" y="218331"/>
                        <a:pt x="1615372" y="218171"/>
                        <a:pt x="1613765" y="216966"/>
                      </a:cubicBezTo>
                      <a:moveTo>
                        <a:pt x="1606938" y="216163"/>
                      </a:moveTo>
                      <a:cubicBezTo>
                        <a:pt x="1606456" y="215761"/>
                        <a:pt x="1605813" y="215199"/>
                        <a:pt x="1605251" y="214877"/>
                      </a:cubicBezTo>
                      <a:cubicBezTo>
                        <a:pt x="1605251" y="214958"/>
                        <a:pt x="1605251" y="215118"/>
                        <a:pt x="1605331" y="215279"/>
                      </a:cubicBezTo>
                      <a:cubicBezTo>
                        <a:pt x="1605652" y="219135"/>
                        <a:pt x="1604367" y="221946"/>
                        <a:pt x="1600993" y="224436"/>
                      </a:cubicBezTo>
                      <a:cubicBezTo>
                        <a:pt x="1602519" y="224838"/>
                        <a:pt x="1606536" y="226043"/>
                        <a:pt x="1608303" y="224677"/>
                      </a:cubicBezTo>
                      <a:cubicBezTo>
                        <a:pt x="1609990" y="223392"/>
                        <a:pt x="1610151" y="221063"/>
                        <a:pt x="1608785" y="218573"/>
                      </a:cubicBezTo>
                      <a:cubicBezTo>
                        <a:pt x="1608464" y="218010"/>
                        <a:pt x="1607821" y="217046"/>
                        <a:pt x="1606938" y="216163"/>
                      </a:cubicBezTo>
                      <a:moveTo>
                        <a:pt x="1131878" y="385815"/>
                      </a:moveTo>
                      <a:cubicBezTo>
                        <a:pt x="1132039" y="385494"/>
                        <a:pt x="1132280" y="385012"/>
                        <a:pt x="1132440" y="384691"/>
                      </a:cubicBezTo>
                      <a:cubicBezTo>
                        <a:pt x="1129066" y="382763"/>
                        <a:pt x="1125291" y="381076"/>
                        <a:pt x="1119266" y="382442"/>
                      </a:cubicBezTo>
                      <a:cubicBezTo>
                        <a:pt x="1113563" y="384129"/>
                        <a:pt x="1109225" y="387824"/>
                        <a:pt x="1105209" y="394250"/>
                      </a:cubicBezTo>
                      <a:cubicBezTo>
                        <a:pt x="1117499" y="398828"/>
                        <a:pt x="1127701" y="393045"/>
                        <a:pt x="1131878" y="385815"/>
                      </a:cubicBezTo>
                      <a:moveTo>
                        <a:pt x="1616497" y="199856"/>
                      </a:moveTo>
                      <a:cubicBezTo>
                        <a:pt x="1616577" y="199776"/>
                        <a:pt x="1616657" y="199696"/>
                        <a:pt x="1616657" y="199535"/>
                      </a:cubicBezTo>
                      <a:cubicBezTo>
                        <a:pt x="1615613" y="199535"/>
                        <a:pt x="1614247" y="199535"/>
                        <a:pt x="1613203" y="199535"/>
                      </a:cubicBezTo>
                      <a:lnTo>
                        <a:pt x="1613123" y="200097"/>
                      </a:lnTo>
                      <a:cubicBezTo>
                        <a:pt x="1613043" y="201463"/>
                        <a:pt x="1612882" y="204033"/>
                        <a:pt x="1614408" y="202668"/>
                      </a:cubicBezTo>
                      <a:cubicBezTo>
                        <a:pt x="1614890" y="202266"/>
                        <a:pt x="1615613" y="201302"/>
                        <a:pt x="1616497" y="199856"/>
                      </a:cubicBezTo>
                      <a:moveTo>
                        <a:pt x="219754" y="1343165"/>
                      </a:moveTo>
                      <a:cubicBezTo>
                        <a:pt x="219593" y="1343727"/>
                        <a:pt x="218308" y="1344209"/>
                        <a:pt x="217665" y="1344369"/>
                      </a:cubicBezTo>
                      <a:cubicBezTo>
                        <a:pt x="217264" y="1343727"/>
                        <a:pt x="216460" y="1342763"/>
                        <a:pt x="214050" y="1340755"/>
                      </a:cubicBezTo>
                      <a:cubicBezTo>
                        <a:pt x="216621" y="1341237"/>
                        <a:pt x="220075" y="1342120"/>
                        <a:pt x="219754" y="1343165"/>
                      </a:cubicBezTo>
                      <a:moveTo>
                        <a:pt x="184088" y="1292799"/>
                      </a:moveTo>
                      <a:cubicBezTo>
                        <a:pt x="182080" y="1295530"/>
                        <a:pt x="180554" y="1295128"/>
                        <a:pt x="179911" y="1294968"/>
                      </a:cubicBezTo>
                      <a:cubicBezTo>
                        <a:pt x="179108" y="1294646"/>
                        <a:pt x="178626" y="1294325"/>
                        <a:pt x="177903" y="1293441"/>
                      </a:cubicBezTo>
                      <a:cubicBezTo>
                        <a:pt x="180313" y="1293441"/>
                        <a:pt x="182321" y="1293120"/>
                        <a:pt x="184329" y="1292397"/>
                      </a:cubicBezTo>
                      <a:cubicBezTo>
                        <a:pt x="184249" y="1292558"/>
                        <a:pt x="184168" y="1292718"/>
                        <a:pt x="184088" y="1292799"/>
                      </a:cubicBezTo>
                      <a:moveTo>
                        <a:pt x="122155" y="1264604"/>
                      </a:moveTo>
                      <a:cubicBezTo>
                        <a:pt x="121673" y="1264041"/>
                        <a:pt x="121352" y="1263479"/>
                        <a:pt x="121111" y="1263078"/>
                      </a:cubicBezTo>
                      <a:cubicBezTo>
                        <a:pt x="121432" y="1263559"/>
                        <a:pt x="121834" y="1264122"/>
                        <a:pt x="122155" y="1264604"/>
                      </a:cubicBezTo>
                      <a:cubicBezTo>
                        <a:pt x="122155" y="1264604"/>
                        <a:pt x="122155" y="1264604"/>
                        <a:pt x="122155" y="1264604"/>
                      </a:cubicBezTo>
                      <a:moveTo>
                        <a:pt x="48575" y="1176725"/>
                      </a:moveTo>
                      <a:cubicBezTo>
                        <a:pt x="48173" y="1176564"/>
                        <a:pt x="47852" y="1176404"/>
                        <a:pt x="47450" y="1176082"/>
                      </a:cubicBezTo>
                      <a:cubicBezTo>
                        <a:pt x="46085" y="1175118"/>
                        <a:pt x="44960" y="1173913"/>
                        <a:pt x="43835" y="1172226"/>
                      </a:cubicBezTo>
                      <a:cubicBezTo>
                        <a:pt x="45924" y="1172387"/>
                        <a:pt x="47370" y="1173753"/>
                        <a:pt x="48735" y="1176564"/>
                      </a:cubicBezTo>
                      <a:cubicBezTo>
                        <a:pt x="48575" y="1176645"/>
                        <a:pt x="48575" y="1176725"/>
                        <a:pt x="48575" y="1176725"/>
                      </a:cubicBezTo>
                      <a:moveTo>
                        <a:pt x="83999" y="1114471"/>
                      </a:moveTo>
                      <a:cubicBezTo>
                        <a:pt x="83999" y="1114471"/>
                        <a:pt x="83758" y="1115033"/>
                        <a:pt x="83357" y="1114872"/>
                      </a:cubicBezTo>
                      <a:cubicBezTo>
                        <a:pt x="82875" y="1114551"/>
                        <a:pt x="81991" y="1111900"/>
                        <a:pt x="82232" y="1111338"/>
                      </a:cubicBezTo>
                      <a:cubicBezTo>
                        <a:pt x="82393" y="1110936"/>
                        <a:pt x="82634" y="1109892"/>
                        <a:pt x="81991" y="1107884"/>
                      </a:cubicBezTo>
                      <a:cubicBezTo>
                        <a:pt x="84642" y="1111820"/>
                        <a:pt x="83999" y="1114471"/>
                        <a:pt x="83999" y="1114471"/>
                      </a:cubicBezTo>
                      <a:moveTo>
                        <a:pt x="288916" y="1149172"/>
                      </a:moveTo>
                      <a:cubicBezTo>
                        <a:pt x="288836" y="1149815"/>
                        <a:pt x="288434" y="1150056"/>
                        <a:pt x="288193" y="1150217"/>
                      </a:cubicBezTo>
                      <a:cubicBezTo>
                        <a:pt x="287149" y="1148610"/>
                        <a:pt x="286908" y="1147244"/>
                        <a:pt x="287390" y="1145879"/>
                      </a:cubicBezTo>
                      <a:cubicBezTo>
                        <a:pt x="288113" y="1146763"/>
                        <a:pt x="289077" y="1148128"/>
                        <a:pt x="288916" y="1149172"/>
                      </a:cubicBezTo>
                      <a:moveTo>
                        <a:pt x="74280" y="1069808"/>
                      </a:moveTo>
                      <a:cubicBezTo>
                        <a:pt x="73798" y="1069728"/>
                        <a:pt x="73476" y="1069648"/>
                        <a:pt x="72994" y="1069326"/>
                      </a:cubicBezTo>
                      <a:cubicBezTo>
                        <a:pt x="72031" y="1068684"/>
                        <a:pt x="71468" y="1067800"/>
                        <a:pt x="71468" y="1067800"/>
                      </a:cubicBezTo>
                      <a:cubicBezTo>
                        <a:pt x="71468" y="1067800"/>
                        <a:pt x="71468" y="1066595"/>
                        <a:pt x="71870" y="1066595"/>
                      </a:cubicBezTo>
                      <a:cubicBezTo>
                        <a:pt x="72272" y="1066595"/>
                        <a:pt x="72994" y="1067559"/>
                        <a:pt x="73717" y="1068764"/>
                      </a:cubicBezTo>
                      <a:lnTo>
                        <a:pt x="73798" y="1069005"/>
                      </a:lnTo>
                      <a:lnTo>
                        <a:pt x="74199" y="1068202"/>
                      </a:lnTo>
                      <a:lnTo>
                        <a:pt x="74280" y="1069808"/>
                      </a:lnTo>
                      <a:cubicBezTo>
                        <a:pt x="74280" y="1069728"/>
                        <a:pt x="74280" y="1069728"/>
                        <a:pt x="74280" y="1069808"/>
                      </a:cubicBezTo>
                      <a:moveTo>
                        <a:pt x="175814" y="1106438"/>
                      </a:moveTo>
                      <a:cubicBezTo>
                        <a:pt x="175654" y="1105956"/>
                        <a:pt x="175413" y="1105474"/>
                        <a:pt x="175252" y="1104992"/>
                      </a:cubicBezTo>
                      <a:cubicBezTo>
                        <a:pt x="175493" y="1105474"/>
                        <a:pt x="175654" y="1105956"/>
                        <a:pt x="175814" y="1106438"/>
                      </a:cubicBezTo>
                      <a:cubicBezTo>
                        <a:pt x="175814" y="1106518"/>
                        <a:pt x="175814" y="1106438"/>
                        <a:pt x="175814" y="1106438"/>
                      </a:cubicBezTo>
                      <a:moveTo>
                        <a:pt x="285462" y="1088525"/>
                      </a:moveTo>
                      <a:cubicBezTo>
                        <a:pt x="283534" y="1088123"/>
                        <a:pt x="281928" y="1087962"/>
                        <a:pt x="280723" y="1087802"/>
                      </a:cubicBezTo>
                      <a:cubicBezTo>
                        <a:pt x="282169" y="1087721"/>
                        <a:pt x="283614" y="1087721"/>
                        <a:pt x="285060" y="1087561"/>
                      </a:cubicBezTo>
                      <a:cubicBezTo>
                        <a:pt x="284257" y="1085633"/>
                        <a:pt x="282811" y="1084589"/>
                        <a:pt x="281124" y="1084749"/>
                      </a:cubicBezTo>
                      <a:cubicBezTo>
                        <a:pt x="281205" y="1084107"/>
                        <a:pt x="281205" y="1083223"/>
                        <a:pt x="281285" y="1082581"/>
                      </a:cubicBezTo>
                      <a:cubicBezTo>
                        <a:pt x="283855" y="1084026"/>
                        <a:pt x="285462" y="1086195"/>
                        <a:pt x="285864" y="1088605"/>
                      </a:cubicBezTo>
                      <a:cubicBezTo>
                        <a:pt x="285623" y="1088605"/>
                        <a:pt x="285542" y="1088605"/>
                        <a:pt x="285462" y="1088525"/>
                      </a:cubicBezTo>
                      <a:moveTo>
                        <a:pt x="11704" y="938151"/>
                      </a:moveTo>
                      <a:cubicBezTo>
                        <a:pt x="11544" y="936223"/>
                        <a:pt x="11544" y="934215"/>
                        <a:pt x="11785" y="932769"/>
                      </a:cubicBezTo>
                      <a:cubicBezTo>
                        <a:pt x="12106" y="935018"/>
                        <a:pt x="12026" y="936785"/>
                        <a:pt x="11704" y="938151"/>
                      </a:cubicBezTo>
                      <a:moveTo>
                        <a:pt x="225377" y="1060892"/>
                      </a:moveTo>
                      <a:cubicBezTo>
                        <a:pt x="223770" y="1058562"/>
                        <a:pt x="221360" y="1055912"/>
                        <a:pt x="216782" y="1055430"/>
                      </a:cubicBezTo>
                      <a:cubicBezTo>
                        <a:pt x="220637" y="1054787"/>
                        <a:pt x="223690" y="1056554"/>
                        <a:pt x="226180" y="1060892"/>
                      </a:cubicBezTo>
                      <a:cubicBezTo>
                        <a:pt x="225939" y="1060892"/>
                        <a:pt x="225618" y="1060892"/>
                        <a:pt x="225377" y="1060892"/>
                      </a:cubicBezTo>
                      <a:moveTo>
                        <a:pt x="17729" y="915257"/>
                      </a:moveTo>
                      <a:cubicBezTo>
                        <a:pt x="17006" y="911803"/>
                        <a:pt x="16122" y="910357"/>
                        <a:pt x="15399" y="909393"/>
                      </a:cubicBezTo>
                      <a:cubicBezTo>
                        <a:pt x="16524" y="910678"/>
                        <a:pt x="17408" y="909875"/>
                        <a:pt x="18291" y="906823"/>
                      </a:cubicBezTo>
                      <a:cubicBezTo>
                        <a:pt x="17568" y="911241"/>
                        <a:pt x="17488" y="912526"/>
                        <a:pt x="17809" y="915659"/>
                      </a:cubicBezTo>
                      <a:cubicBezTo>
                        <a:pt x="17809" y="915498"/>
                        <a:pt x="17809" y="915338"/>
                        <a:pt x="17729" y="915257"/>
                      </a:cubicBezTo>
                      <a:moveTo>
                        <a:pt x="216782" y="1037757"/>
                      </a:moveTo>
                      <a:cubicBezTo>
                        <a:pt x="216460" y="1038480"/>
                        <a:pt x="215818" y="1038239"/>
                        <a:pt x="215416" y="1037998"/>
                      </a:cubicBezTo>
                      <a:cubicBezTo>
                        <a:pt x="216782" y="1036231"/>
                        <a:pt x="216942" y="1034785"/>
                        <a:pt x="215978" y="1032777"/>
                      </a:cubicBezTo>
                      <a:lnTo>
                        <a:pt x="215496" y="1033500"/>
                      </a:lnTo>
                      <a:cubicBezTo>
                        <a:pt x="216380" y="1029805"/>
                        <a:pt x="216300" y="1026511"/>
                        <a:pt x="215095" y="1022094"/>
                      </a:cubicBezTo>
                      <a:cubicBezTo>
                        <a:pt x="218388" y="1030769"/>
                        <a:pt x="216862" y="1037677"/>
                        <a:pt x="216782" y="1037757"/>
                      </a:cubicBezTo>
                      <a:moveTo>
                        <a:pt x="7126" y="869470"/>
                      </a:moveTo>
                      <a:lnTo>
                        <a:pt x="6885" y="869310"/>
                      </a:lnTo>
                      <a:lnTo>
                        <a:pt x="7206" y="869069"/>
                      </a:lnTo>
                      <a:cubicBezTo>
                        <a:pt x="7206" y="869229"/>
                        <a:pt x="7206" y="869390"/>
                        <a:pt x="7126" y="869470"/>
                      </a:cubicBezTo>
                      <a:moveTo>
                        <a:pt x="37811" y="911402"/>
                      </a:moveTo>
                      <a:cubicBezTo>
                        <a:pt x="34598" y="914775"/>
                        <a:pt x="34919" y="916864"/>
                        <a:pt x="34999" y="917828"/>
                      </a:cubicBezTo>
                      <a:cubicBezTo>
                        <a:pt x="33473" y="917185"/>
                        <a:pt x="32027" y="917024"/>
                        <a:pt x="30501" y="917426"/>
                      </a:cubicBezTo>
                      <a:cubicBezTo>
                        <a:pt x="30501" y="916864"/>
                        <a:pt x="30581" y="916060"/>
                        <a:pt x="30581" y="915418"/>
                      </a:cubicBezTo>
                      <a:cubicBezTo>
                        <a:pt x="31224" y="916141"/>
                        <a:pt x="31545" y="916060"/>
                        <a:pt x="32188" y="915418"/>
                      </a:cubicBezTo>
                      <a:cubicBezTo>
                        <a:pt x="32349" y="915498"/>
                        <a:pt x="32509" y="915579"/>
                        <a:pt x="32670" y="915659"/>
                      </a:cubicBezTo>
                      <a:cubicBezTo>
                        <a:pt x="34276" y="914695"/>
                        <a:pt x="38212" y="911000"/>
                        <a:pt x="38212" y="911000"/>
                      </a:cubicBezTo>
                      <a:cubicBezTo>
                        <a:pt x="38132" y="911160"/>
                        <a:pt x="37971" y="911321"/>
                        <a:pt x="37811" y="911402"/>
                      </a:cubicBezTo>
                      <a:moveTo>
                        <a:pt x="14194" y="840793"/>
                      </a:moveTo>
                      <a:lnTo>
                        <a:pt x="14194" y="840793"/>
                      </a:lnTo>
                      <a:cubicBezTo>
                        <a:pt x="14194" y="840311"/>
                        <a:pt x="14355" y="839829"/>
                        <a:pt x="14435" y="839347"/>
                      </a:cubicBezTo>
                      <a:cubicBezTo>
                        <a:pt x="14355" y="839829"/>
                        <a:pt x="14435" y="840311"/>
                        <a:pt x="14194" y="840793"/>
                      </a:cubicBezTo>
                      <a:moveTo>
                        <a:pt x="14516" y="838785"/>
                      </a:moveTo>
                      <a:cubicBezTo>
                        <a:pt x="14596" y="838383"/>
                        <a:pt x="14596" y="837982"/>
                        <a:pt x="14676" y="837580"/>
                      </a:cubicBezTo>
                      <a:cubicBezTo>
                        <a:pt x="14596" y="837982"/>
                        <a:pt x="14596" y="838383"/>
                        <a:pt x="14516" y="838785"/>
                      </a:cubicBezTo>
                      <a:cubicBezTo>
                        <a:pt x="14516" y="838785"/>
                        <a:pt x="14516" y="838785"/>
                        <a:pt x="14516" y="838785"/>
                      </a:cubicBezTo>
                      <a:moveTo>
                        <a:pt x="42068" y="870996"/>
                      </a:moveTo>
                      <a:cubicBezTo>
                        <a:pt x="41506" y="870916"/>
                        <a:pt x="41104" y="871318"/>
                        <a:pt x="40703" y="871880"/>
                      </a:cubicBezTo>
                      <a:cubicBezTo>
                        <a:pt x="41104" y="870434"/>
                        <a:pt x="41586" y="868988"/>
                        <a:pt x="42068" y="867542"/>
                      </a:cubicBezTo>
                      <a:cubicBezTo>
                        <a:pt x="42390" y="868426"/>
                        <a:pt x="42390" y="869551"/>
                        <a:pt x="42068" y="870996"/>
                      </a:cubicBezTo>
                      <a:cubicBezTo>
                        <a:pt x="42068" y="870996"/>
                        <a:pt x="42068" y="870996"/>
                        <a:pt x="42068" y="870996"/>
                      </a:cubicBezTo>
                      <a:moveTo>
                        <a:pt x="19094" y="804244"/>
                      </a:moveTo>
                      <a:cubicBezTo>
                        <a:pt x="18452" y="803923"/>
                        <a:pt x="18773" y="802637"/>
                        <a:pt x="19175" y="801593"/>
                      </a:cubicBezTo>
                      <a:lnTo>
                        <a:pt x="19014" y="802477"/>
                      </a:lnTo>
                      <a:cubicBezTo>
                        <a:pt x="19175" y="802316"/>
                        <a:pt x="19335" y="802155"/>
                        <a:pt x="19496" y="801995"/>
                      </a:cubicBezTo>
                      <a:cubicBezTo>
                        <a:pt x="19335" y="802396"/>
                        <a:pt x="19094" y="803280"/>
                        <a:pt x="19094" y="804244"/>
                      </a:cubicBezTo>
                      <a:cubicBezTo>
                        <a:pt x="19094" y="804244"/>
                        <a:pt x="19094" y="804244"/>
                        <a:pt x="19094" y="804244"/>
                      </a:cubicBezTo>
                      <a:moveTo>
                        <a:pt x="43755" y="859590"/>
                      </a:moveTo>
                      <a:cubicBezTo>
                        <a:pt x="42309" y="860955"/>
                        <a:pt x="41667" y="860795"/>
                        <a:pt x="41747" y="859028"/>
                      </a:cubicBezTo>
                      <a:cubicBezTo>
                        <a:pt x="41747" y="858144"/>
                        <a:pt x="41988" y="857260"/>
                        <a:pt x="42149" y="856296"/>
                      </a:cubicBezTo>
                      <a:lnTo>
                        <a:pt x="41426" y="857501"/>
                      </a:lnTo>
                      <a:cubicBezTo>
                        <a:pt x="42791" y="850272"/>
                        <a:pt x="43594" y="846978"/>
                        <a:pt x="44157" y="846898"/>
                      </a:cubicBezTo>
                      <a:cubicBezTo>
                        <a:pt x="44398" y="847139"/>
                        <a:pt x="44558" y="848103"/>
                        <a:pt x="44398" y="852441"/>
                      </a:cubicBezTo>
                      <a:cubicBezTo>
                        <a:pt x="44157" y="859188"/>
                        <a:pt x="44157" y="859188"/>
                        <a:pt x="43755" y="859590"/>
                      </a:cubicBezTo>
                      <a:moveTo>
                        <a:pt x="26003" y="797818"/>
                      </a:move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26003" y="797818"/>
                      </a:moveTo>
                      <a:lnTo>
                        <a:pt x="26003" y="797818"/>
                      </a:lnTo>
                      <a:lnTo>
                        <a:pt x="26003" y="797818"/>
                      </a:lnTo>
                      <a:lnTo>
                        <a:pt x="26003" y="797818"/>
                      </a:lnTo>
                      <a:moveTo>
                        <a:pt x="51949" y="846255"/>
                      </a:moveTo>
                      <a:cubicBezTo>
                        <a:pt x="51627" y="847300"/>
                        <a:pt x="51145" y="848264"/>
                        <a:pt x="50744" y="849308"/>
                      </a:cubicBezTo>
                      <a:cubicBezTo>
                        <a:pt x="50824" y="848665"/>
                        <a:pt x="50824" y="847862"/>
                        <a:pt x="51065" y="847300"/>
                      </a:cubicBezTo>
                      <a:cubicBezTo>
                        <a:pt x="51065" y="847300"/>
                        <a:pt x="51868" y="845854"/>
                        <a:pt x="52109" y="845854"/>
                      </a:cubicBezTo>
                      <a:cubicBezTo>
                        <a:pt x="52109" y="845854"/>
                        <a:pt x="52109" y="845854"/>
                        <a:pt x="51949" y="846255"/>
                      </a:cubicBezTo>
                      <a:moveTo>
                        <a:pt x="26244" y="785126"/>
                      </a:moveTo>
                      <a:cubicBezTo>
                        <a:pt x="26645" y="781752"/>
                        <a:pt x="27288" y="780386"/>
                        <a:pt x="27770" y="779663"/>
                      </a:cubicBezTo>
                      <a:cubicBezTo>
                        <a:pt x="27208" y="781511"/>
                        <a:pt x="26726" y="783439"/>
                        <a:pt x="26163" y="785287"/>
                      </a:cubicBezTo>
                      <a:cubicBezTo>
                        <a:pt x="26244" y="785287"/>
                        <a:pt x="26244" y="785206"/>
                        <a:pt x="26244" y="785126"/>
                      </a:cubicBezTo>
                      <a:moveTo>
                        <a:pt x="376393" y="974218"/>
                      </a:moveTo>
                      <a:lnTo>
                        <a:pt x="375028" y="975503"/>
                      </a:lnTo>
                      <a:cubicBezTo>
                        <a:pt x="375510" y="974138"/>
                        <a:pt x="376233" y="973254"/>
                        <a:pt x="377277" y="972370"/>
                      </a:cubicBezTo>
                      <a:lnTo>
                        <a:pt x="377518" y="972531"/>
                      </a:lnTo>
                      <a:lnTo>
                        <a:pt x="376393" y="974218"/>
                      </a:lnTo>
                      <a:moveTo>
                        <a:pt x="379687" y="975262"/>
                      </a:moveTo>
                      <a:cubicBezTo>
                        <a:pt x="379606" y="975664"/>
                        <a:pt x="379526" y="975985"/>
                        <a:pt x="379446" y="976387"/>
                      </a:cubicBezTo>
                      <a:cubicBezTo>
                        <a:pt x="379124" y="973656"/>
                        <a:pt x="379124" y="971406"/>
                        <a:pt x="379365" y="969157"/>
                      </a:cubicBezTo>
                      <a:cubicBezTo>
                        <a:pt x="379606" y="969880"/>
                        <a:pt x="380249" y="972130"/>
                        <a:pt x="379687" y="975262"/>
                      </a:cubicBezTo>
                      <a:moveTo>
                        <a:pt x="373421" y="971165"/>
                      </a:moveTo>
                      <a:lnTo>
                        <a:pt x="375108" y="968274"/>
                      </a:lnTo>
                      <a:lnTo>
                        <a:pt x="375028" y="969479"/>
                      </a:lnTo>
                      <a:lnTo>
                        <a:pt x="373421" y="971165"/>
                      </a:lnTo>
                      <a:moveTo>
                        <a:pt x="386033" y="971889"/>
                      </a:moveTo>
                      <a:lnTo>
                        <a:pt x="385551" y="969318"/>
                      </a:lnTo>
                      <a:lnTo>
                        <a:pt x="386193" y="971889"/>
                      </a:lnTo>
                      <a:cubicBezTo>
                        <a:pt x="386113" y="971889"/>
                        <a:pt x="386113" y="971889"/>
                        <a:pt x="386033" y="971889"/>
                      </a:cubicBezTo>
                      <a:moveTo>
                        <a:pt x="384346" y="975744"/>
                      </a:moveTo>
                      <a:cubicBezTo>
                        <a:pt x="382097" y="973495"/>
                        <a:pt x="381534" y="971085"/>
                        <a:pt x="382819" y="968595"/>
                      </a:cubicBezTo>
                      <a:cubicBezTo>
                        <a:pt x="382659" y="971326"/>
                        <a:pt x="383221" y="973736"/>
                        <a:pt x="384587" y="975985"/>
                      </a:cubicBezTo>
                      <a:cubicBezTo>
                        <a:pt x="384506" y="975905"/>
                        <a:pt x="384426" y="975825"/>
                        <a:pt x="384346" y="975744"/>
                      </a:cubicBezTo>
                      <a:moveTo>
                        <a:pt x="387880" y="970844"/>
                      </a:moveTo>
                      <a:lnTo>
                        <a:pt x="387318" y="968997"/>
                      </a:lnTo>
                      <a:lnTo>
                        <a:pt x="389005" y="972049"/>
                      </a:lnTo>
                      <a:lnTo>
                        <a:pt x="387880" y="970844"/>
                      </a:lnTo>
                      <a:moveTo>
                        <a:pt x="352697" y="965141"/>
                      </a:moveTo>
                      <a:cubicBezTo>
                        <a:pt x="352215" y="966828"/>
                        <a:pt x="324662" y="981206"/>
                        <a:pt x="292611" y="975102"/>
                      </a:cubicBezTo>
                      <a:cubicBezTo>
                        <a:pt x="294137" y="974780"/>
                        <a:pt x="295182" y="974780"/>
                        <a:pt x="297029" y="975021"/>
                      </a:cubicBezTo>
                      <a:cubicBezTo>
                        <a:pt x="295905" y="964820"/>
                        <a:pt x="295824" y="961124"/>
                        <a:pt x="296788" y="960642"/>
                      </a:cubicBezTo>
                      <a:cubicBezTo>
                        <a:pt x="297672" y="961205"/>
                        <a:pt x="298555" y="963213"/>
                        <a:pt x="300805" y="969479"/>
                      </a:cubicBezTo>
                      <a:cubicBezTo>
                        <a:pt x="303214" y="966667"/>
                        <a:pt x="305865" y="965623"/>
                        <a:pt x="310364" y="965462"/>
                      </a:cubicBezTo>
                      <a:cubicBezTo>
                        <a:pt x="310283" y="965703"/>
                        <a:pt x="310123" y="966105"/>
                        <a:pt x="310042" y="966346"/>
                      </a:cubicBezTo>
                      <a:cubicBezTo>
                        <a:pt x="315505" y="962811"/>
                        <a:pt x="322734" y="960080"/>
                        <a:pt x="335426" y="966667"/>
                      </a:cubicBezTo>
                      <a:cubicBezTo>
                        <a:pt x="336631" y="964900"/>
                        <a:pt x="351251" y="957831"/>
                        <a:pt x="352777" y="962892"/>
                      </a:cubicBezTo>
                      <a:cubicBezTo>
                        <a:pt x="352937" y="963374"/>
                        <a:pt x="352937" y="964177"/>
                        <a:pt x="352697" y="965141"/>
                      </a:cubicBezTo>
                      <a:moveTo>
                        <a:pt x="396797" y="966908"/>
                      </a:moveTo>
                      <a:cubicBezTo>
                        <a:pt x="394387" y="966025"/>
                        <a:pt x="393342" y="965543"/>
                        <a:pt x="393101" y="965382"/>
                      </a:cubicBezTo>
                      <a:cubicBezTo>
                        <a:pt x="393101" y="965382"/>
                        <a:pt x="393101" y="965382"/>
                        <a:pt x="393101" y="965382"/>
                      </a:cubicBezTo>
                      <a:cubicBezTo>
                        <a:pt x="393423" y="965382"/>
                        <a:pt x="394708" y="965784"/>
                        <a:pt x="397680" y="966747"/>
                      </a:cubicBezTo>
                      <a:lnTo>
                        <a:pt x="396797" y="966908"/>
                      </a:lnTo>
                      <a:moveTo>
                        <a:pt x="34598" y="788018"/>
                      </a:moveTo>
                      <a:cubicBezTo>
                        <a:pt x="34598" y="787536"/>
                        <a:pt x="34598" y="786973"/>
                        <a:pt x="34678" y="786491"/>
                      </a:cubicBezTo>
                      <a:cubicBezTo>
                        <a:pt x="34678" y="787054"/>
                        <a:pt x="34598" y="787616"/>
                        <a:pt x="34598" y="788178"/>
                      </a:cubicBezTo>
                      <a:cubicBezTo>
                        <a:pt x="34598" y="788098"/>
                        <a:pt x="34598" y="788098"/>
                        <a:pt x="34598" y="788018"/>
                      </a:cubicBezTo>
                      <a:moveTo>
                        <a:pt x="464834" y="968916"/>
                      </a:moveTo>
                      <a:cubicBezTo>
                        <a:pt x="464834" y="968997"/>
                        <a:pt x="464754" y="968916"/>
                        <a:pt x="464754" y="968916"/>
                      </a:cubicBezTo>
                      <a:cubicBezTo>
                        <a:pt x="464433" y="968836"/>
                        <a:pt x="463629" y="968354"/>
                        <a:pt x="462184" y="967229"/>
                      </a:cubicBezTo>
                      <a:cubicBezTo>
                        <a:pt x="462425" y="966908"/>
                        <a:pt x="462665" y="966587"/>
                        <a:pt x="462906" y="966265"/>
                      </a:cubicBezTo>
                      <a:cubicBezTo>
                        <a:pt x="463790" y="967390"/>
                        <a:pt x="464915" y="968675"/>
                        <a:pt x="464834" y="968916"/>
                      </a:cubicBezTo>
                      <a:moveTo>
                        <a:pt x="133401" y="893408"/>
                      </a:moveTo>
                      <a:cubicBezTo>
                        <a:pt x="129786" y="887624"/>
                        <a:pt x="129304" y="881921"/>
                        <a:pt x="131955" y="876378"/>
                      </a:cubicBezTo>
                      <a:cubicBezTo>
                        <a:pt x="130027" y="882323"/>
                        <a:pt x="130831" y="888187"/>
                        <a:pt x="134124" y="893810"/>
                      </a:cubicBezTo>
                      <a:cubicBezTo>
                        <a:pt x="133963" y="893649"/>
                        <a:pt x="133642" y="893569"/>
                        <a:pt x="133401" y="893408"/>
                      </a:cubicBezTo>
                      <a:moveTo>
                        <a:pt x="562995" y="966265"/>
                      </a:moveTo>
                      <a:cubicBezTo>
                        <a:pt x="562112" y="966346"/>
                        <a:pt x="561549" y="966426"/>
                        <a:pt x="560987" y="966346"/>
                      </a:cubicBezTo>
                      <a:cubicBezTo>
                        <a:pt x="560585" y="966346"/>
                        <a:pt x="559461" y="966265"/>
                        <a:pt x="560425" y="965382"/>
                      </a:cubicBezTo>
                      <a:cubicBezTo>
                        <a:pt x="560746" y="965141"/>
                        <a:pt x="561067" y="964900"/>
                        <a:pt x="561389" y="964739"/>
                      </a:cubicBezTo>
                      <a:lnTo>
                        <a:pt x="563477" y="965221"/>
                      </a:lnTo>
                      <a:cubicBezTo>
                        <a:pt x="563397" y="965543"/>
                        <a:pt x="563156" y="965944"/>
                        <a:pt x="562995" y="966265"/>
                      </a:cubicBezTo>
                      <a:moveTo>
                        <a:pt x="398724" y="946665"/>
                      </a:moveTo>
                      <a:cubicBezTo>
                        <a:pt x="398082" y="947790"/>
                        <a:pt x="393905" y="950119"/>
                        <a:pt x="391495" y="951485"/>
                      </a:cubicBezTo>
                      <a:cubicBezTo>
                        <a:pt x="391656" y="951807"/>
                        <a:pt x="391816" y="952288"/>
                        <a:pt x="391977" y="952610"/>
                      </a:cubicBezTo>
                      <a:cubicBezTo>
                        <a:pt x="393342" y="952208"/>
                        <a:pt x="393583" y="952288"/>
                        <a:pt x="393905" y="952449"/>
                      </a:cubicBezTo>
                      <a:cubicBezTo>
                        <a:pt x="393905" y="952931"/>
                        <a:pt x="393905" y="952931"/>
                        <a:pt x="393503" y="953493"/>
                      </a:cubicBezTo>
                      <a:cubicBezTo>
                        <a:pt x="394065" y="953574"/>
                        <a:pt x="394708" y="953734"/>
                        <a:pt x="395270" y="953815"/>
                      </a:cubicBezTo>
                      <a:cubicBezTo>
                        <a:pt x="393824" y="955100"/>
                        <a:pt x="393342" y="955421"/>
                        <a:pt x="392700" y="955100"/>
                      </a:cubicBezTo>
                      <a:cubicBezTo>
                        <a:pt x="366111" y="964980"/>
                        <a:pt x="353098" y="963213"/>
                        <a:pt x="352937" y="949557"/>
                      </a:cubicBezTo>
                      <a:cubicBezTo>
                        <a:pt x="361292" y="949477"/>
                        <a:pt x="367316" y="949718"/>
                        <a:pt x="374546" y="950360"/>
                      </a:cubicBezTo>
                      <a:cubicBezTo>
                        <a:pt x="374465" y="950360"/>
                        <a:pt x="374305" y="950360"/>
                        <a:pt x="374144" y="950360"/>
                      </a:cubicBezTo>
                      <a:cubicBezTo>
                        <a:pt x="374947" y="951164"/>
                        <a:pt x="375911" y="951887"/>
                        <a:pt x="378241" y="951726"/>
                      </a:cubicBezTo>
                      <a:cubicBezTo>
                        <a:pt x="378080" y="951807"/>
                        <a:pt x="377839" y="951887"/>
                        <a:pt x="377679" y="951967"/>
                      </a:cubicBezTo>
                      <a:cubicBezTo>
                        <a:pt x="377759" y="952048"/>
                        <a:pt x="377839" y="952128"/>
                        <a:pt x="377839" y="952208"/>
                      </a:cubicBezTo>
                      <a:cubicBezTo>
                        <a:pt x="378241" y="952208"/>
                        <a:pt x="378723" y="952208"/>
                        <a:pt x="379124" y="952208"/>
                      </a:cubicBezTo>
                      <a:cubicBezTo>
                        <a:pt x="379124" y="953895"/>
                        <a:pt x="380410" y="953975"/>
                        <a:pt x="383703" y="952610"/>
                      </a:cubicBezTo>
                      <a:lnTo>
                        <a:pt x="381213" y="952610"/>
                      </a:lnTo>
                      <a:cubicBezTo>
                        <a:pt x="382097" y="951967"/>
                        <a:pt x="383301" y="951164"/>
                        <a:pt x="384185" y="950521"/>
                      </a:cubicBezTo>
                      <a:cubicBezTo>
                        <a:pt x="383703" y="950441"/>
                        <a:pt x="383301" y="950360"/>
                        <a:pt x="382819" y="950280"/>
                      </a:cubicBezTo>
                      <a:cubicBezTo>
                        <a:pt x="382498" y="950200"/>
                        <a:pt x="382177" y="950200"/>
                        <a:pt x="381775" y="950119"/>
                      </a:cubicBezTo>
                      <a:cubicBezTo>
                        <a:pt x="381534" y="950039"/>
                        <a:pt x="381213" y="950039"/>
                        <a:pt x="380972" y="949959"/>
                      </a:cubicBezTo>
                      <a:cubicBezTo>
                        <a:pt x="380731" y="949959"/>
                        <a:pt x="380570" y="949879"/>
                        <a:pt x="380329" y="949879"/>
                      </a:cubicBezTo>
                      <a:cubicBezTo>
                        <a:pt x="380169" y="949879"/>
                        <a:pt x="379928" y="949798"/>
                        <a:pt x="379767" y="949798"/>
                      </a:cubicBezTo>
                      <a:cubicBezTo>
                        <a:pt x="379526" y="949798"/>
                        <a:pt x="379365" y="949718"/>
                        <a:pt x="379124" y="949718"/>
                      </a:cubicBezTo>
                      <a:cubicBezTo>
                        <a:pt x="378883" y="949718"/>
                        <a:pt x="378642" y="949638"/>
                        <a:pt x="378401" y="949638"/>
                      </a:cubicBezTo>
                      <a:cubicBezTo>
                        <a:pt x="378080" y="949557"/>
                        <a:pt x="377759" y="949557"/>
                        <a:pt x="377518" y="949477"/>
                      </a:cubicBezTo>
                      <a:lnTo>
                        <a:pt x="377919" y="948915"/>
                      </a:lnTo>
                      <a:cubicBezTo>
                        <a:pt x="376715" y="948995"/>
                        <a:pt x="375188" y="949156"/>
                        <a:pt x="373983" y="949236"/>
                      </a:cubicBezTo>
                      <a:cubicBezTo>
                        <a:pt x="375510" y="948754"/>
                        <a:pt x="378000" y="947951"/>
                        <a:pt x="382177" y="948674"/>
                      </a:cubicBezTo>
                      <a:lnTo>
                        <a:pt x="381936" y="949236"/>
                      </a:lnTo>
                      <a:lnTo>
                        <a:pt x="383301" y="949075"/>
                      </a:lnTo>
                      <a:cubicBezTo>
                        <a:pt x="384747" y="948433"/>
                        <a:pt x="397600" y="944577"/>
                        <a:pt x="398724" y="946264"/>
                      </a:cubicBezTo>
                      <a:cubicBezTo>
                        <a:pt x="398805" y="946344"/>
                        <a:pt x="398805" y="946505"/>
                        <a:pt x="398724" y="946665"/>
                      </a:cubicBezTo>
                      <a:moveTo>
                        <a:pt x="67050" y="817659"/>
                      </a:moveTo>
                      <a:cubicBezTo>
                        <a:pt x="67050" y="817337"/>
                        <a:pt x="67291" y="817016"/>
                        <a:pt x="67131" y="816695"/>
                      </a:cubicBezTo>
                      <a:cubicBezTo>
                        <a:pt x="67050" y="816454"/>
                        <a:pt x="66809" y="816534"/>
                        <a:pt x="66568" y="816614"/>
                      </a:cubicBezTo>
                      <a:cubicBezTo>
                        <a:pt x="67211" y="815972"/>
                        <a:pt x="68094" y="815169"/>
                        <a:pt x="68094" y="816454"/>
                      </a:cubicBezTo>
                      <a:cubicBezTo>
                        <a:pt x="68094" y="817337"/>
                        <a:pt x="67613" y="818864"/>
                        <a:pt x="67452" y="819506"/>
                      </a:cubicBezTo>
                      <a:cubicBezTo>
                        <a:pt x="67291" y="818944"/>
                        <a:pt x="67050" y="818221"/>
                        <a:pt x="67050" y="817659"/>
                      </a:cubicBezTo>
                      <a:moveTo>
                        <a:pt x="353018" y="938954"/>
                      </a:moveTo>
                      <a:cubicBezTo>
                        <a:pt x="352536" y="940641"/>
                        <a:pt x="350929" y="941766"/>
                        <a:pt x="348118" y="942408"/>
                      </a:cubicBezTo>
                      <a:cubicBezTo>
                        <a:pt x="347796" y="939677"/>
                        <a:pt x="348600" y="937829"/>
                        <a:pt x="351331" y="935339"/>
                      </a:cubicBezTo>
                      <a:cubicBezTo>
                        <a:pt x="351893" y="936223"/>
                        <a:pt x="352697" y="937428"/>
                        <a:pt x="353098" y="938311"/>
                      </a:cubicBezTo>
                      <a:cubicBezTo>
                        <a:pt x="353178" y="938552"/>
                        <a:pt x="353098" y="938713"/>
                        <a:pt x="353018" y="938954"/>
                      </a:cubicBezTo>
                      <a:moveTo>
                        <a:pt x="439692" y="946023"/>
                      </a:moveTo>
                      <a:cubicBezTo>
                        <a:pt x="439210" y="948031"/>
                        <a:pt x="437924" y="950762"/>
                        <a:pt x="437282" y="952208"/>
                      </a:cubicBezTo>
                      <a:cubicBezTo>
                        <a:pt x="437282" y="952208"/>
                        <a:pt x="437202" y="952128"/>
                        <a:pt x="437202" y="952128"/>
                      </a:cubicBezTo>
                      <a:cubicBezTo>
                        <a:pt x="434631" y="955743"/>
                        <a:pt x="433667" y="958715"/>
                        <a:pt x="433747" y="962651"/>
                      </a:cubicBezTo>
                      <a:cubicBezTo>
                        <a:pt x="433185" y="959919"/>
                        <a:pt x="432462" y="956224"/>
                        <a:pt x="437683" y="942729"/>
                      </a:cubicBezTo>
                      <a:cubicBezTo>
                        <a:pt x="439611" y="942408"/>
                        <a:pt x="440254" y="943533"/>
                        <a:pt x="439692" y="946023"/>
                      </a:cubicBezTo>
                      <a:moveTo>
                        <a:pt x="433024" y="931403"/>
                      </a:moveTo>
                      <a:cubicBezTo>
                        <a:pt x="431177" y="932447"/>
                        <a:pt x="429329" y="933492"/>
                        <a:pt x="427482" y="934536"/>
                      </a:cubicBezTo>
                      <a:cubicBezTo>
                        <a:pt x="426598" y="933893"/>
                        <a:pt x="425956" y="933492"/>
                        <a:pt x="424670" y="933010"/>
                      </a:cubicBezTo>
                      <a:cubicBezTo>
                        <a:pt x="427562" y="932447"/>
                        <a:pt x="430695" y="931805"/>
                        <a:pt x="433426" y="931242"/>
                      </a:cubicBezTo>
                      <a:cubicBezTo>
                        <a:pt x="433346" y="931242"/>
                        <a:pt x="433185" y="931323"/>
                        <a:pt x="433024" y="931403"/>
                      </a:cubicBezTo>
                      <a:moveTo>
                        <a:pt x="527089" y="941525"/>
                      </a:moveTo>
                      <a:cubicBezTo>
                        <a:pt x="526687" y="941525"/>
                        <a:pt x="526285" y="941525"/>
                        <a:pt x="525964" y="941525"/>
                      </a:cubicBezTo>
                      <a:cubicBezTo>
                        <a:pt x="523795" y="941364"/>
                        <a:pt x="522349" y="940560"/>
                        <a:pt x="521225" y="938954"/>
                      </a:cubicBezTo>
                      <a:cubicBezTo>
                        <a:pt x="521546" y="938874"/>
                        <a:pt x="522028" y="938713"/>
                        <a:pt x="522349" y="938633"/>
                      </a:cubicBezTo>
                      <a:cubicBezTo>
                        <a:pt x="523875" y="941203"/>
                        <a:pt x="525723" y="940801"/>
                        <a:pt x="527008" y="940239"/>
                      </a:cubicBezTo>
                      <a:cubicBezTo>
                        <a:pt x="527089" y="940641"/>
                        <a:pt x="527169" y="941123"/>
                        <a:pt x="527249" y="941444"/>
                      </a:cubicBezTo>
                      <a:cubicBezTo>
                        <a:pt x="527169" y="941525"/>
                        <a:pt x="527089" y="941525"/>
                        <a:pt x="527089" y="941525"/>
                      </a:cubicBezTo>
                      <a:moveTo>
                        <a:pt x="192362" y="867060"/>
                      </a:moveTo>
                      <a:cubicBezTo>
                        <a:pt x="192201" y="866096"/>
                        <a:pt x="192041" y="865133"/>
                        <a:pt x="191880" y="864249"/>
                      </a:cubicBezTo>
                      <a:cubicBezTo>
                        <a:pt x="192041" y="865213"/>
                        <a:pt x="192201" y="866257"/>
                        <a:pt x="192362" y="867221"/>
                      </a:cubicBezTo>
                      <a:cubicBezTo>
                        <a:pt x="192362" y="867141"/>
                        <a:pt x="192362" y="867060"/>
                        <a:pt x="192362" y="867060"/>
                      </a:cubicBezTo>
                      <a:moveTo>
                        <a:pt x="354303" y="909715"/>
                      </a:moveTo>
                      <a:cubicBezTo>
                        <a:pt x="353660" y="910196"/>
                        <a:pt x="349805" y="910437"/>
                        <a:pt x="347957" y="910598"/>
                      </a:cubicBezTo>
                      <a:cubicBezTo>
                        <a:pt x="347074" y="909072"/>
                        <a:pt x="345628" y="908269"/>
                        <a:pt x="342495" y="907626"/>
                      </a:cubicBezTo>
                      <a:cubicBezTo>
                        <a:pt x="343459" y="907626"/>
                        <a:pt x="354303" y="908670"/>
                        <a:pt x="354383" y="909634"/>
                      </a:cubicBezTo>
                      <a:cubicBezTo>
                        <a:pt x="354383" y="909634"/>
                        <a:pt x="354303" y="909634"/>
                        <a:pt x="354303" y="909715"/>
                      </a:cubicBezTo>
                      <a:moveTo>
                        <a:pt x="129867" y="856698"/>
                      </a:moveTo>
                      <a:cubicBezTo>
                        <a:pt x="128180" y="858867"/>
                        <a:pt x="126734" y="859028"/>
                        <a:pt x="126172" y="859108"/>
                      </a:cubicBezTo>
                      <a:cubicBezTo>
                        <a:pt x="126413" y="861277"/>
                        <a:pt x="126814" y="864490"/>
                        <a:pt x="125770" y="863847"/>
                      </a:cubicBezTo>
                      <a:cubicBezTo>
                        <a:pt x="124806" y="863285"/>
                        <a:pt x="123119" y="859831"/>
                        <a:pt x="121914" y="857260"/>
                      </a:cubicBezTo>
                      <a:cubicBezTo>
                        <a:pt x="123280" y="857341"/>
                        <a:pt x="124404" y="857180"/>
                        <a:pt x="125690" y="856698"/>
                      </a:cubicBezTo>
                      <a:lnTo>
                        <a:pt x="126895" y="858787"/>
                      </a:lnTo>
                      <a:cubicBezTo>
                        <a:pt x="131313" y="855493"/>
                        <a:pt x="130590" y="852601"/>
                        <a:pt x="129304" y="850272"/>
                      </a:cubicBezTo>
                      <a:cubicBezTo>
                        <a:pt x="130108" y="850352"/>
                        <a:pt x="130590" y="850513"/>
                        <a:pt x="131393" y="850834"/>
                      </a:cubicBezTo>
                      <a:cubicBezTo>
                        <a:pt x="131393" y="848906"/>
                        <a:pt x="131152" y="847380"/>
                        <a:pt x="130670" y="845452"/>
                      </a:cubicBezTo>
                      <a:cubicBezTo>
                        <a:pt x="132598" y="843042"/>
                        <a:pt x="134445" y="836777"/>
                        <a:pt x="135088" y="829868"/>
                      </a:cubicBezTo>
                      <a:cubicBezTo>
                        <a:pt x="133803" y="844890"/>
                        <a:pt x="130509" y="855814"/>
                        <a:pt x="129867" y="856698"/>
                      </a:cubicBezTo>
                      <a:moveTo>
                        <a:pt x="408765" y="909795"/>
                      </a:moveTo>
                      <a:cubicBezTo>
                        <a:pt x="407882" y="911000"/>
                        <a:pt x="406838" y="910919"/>
                        <a:pt x="406356" y="910839"/>
                      </a:cubicBezTo>
                      <a:cubicBezTo>
                        <a:pt x="405633" y="910759"/>
                        <a:pt x="404990" y="910437"/>
                        <a:pt x="404026" y="909875"/>
                      </a:cubicBezTo>
                      <a:cubicBezTo>
                        <a:pt x="405633" y="908429"/>
                        <a:pt x="406677" y="907706"/>
                        <a:pt x="408926" y="906582"/>
                      </a:cubicBezTo>
                      <a:cubicBezTo>
                        <a:pt x="409006" y="907546"/>
                        <a:pt x="409328" y="908992"/>
                        <a:pt x="408765" y="909795"/>
                      </a:cubicBezTo>
                      <a:moveTo>
                        <a:pt x="190595" y="848665"/>
                      </a:moveTo>
                      <a:cubicBezTo>
                        <a:pt x="188827" y="848826"/>
                        <a:pt x="188265" y="848906"/>
                        <a:pt x="187301" y="848906"/>
                      </a:cubicBezTo>
                      <a:cubicBezTo>
                        <a:pt x="187462" y="848183"/>
                        <a:pt x="187623" y="847219"/>
                        <a:pt x="187703" y="846496"/>
                      </a:cubicBezTo>
                      <a:cubicBezTo>
                        <a:pt x="188908" y="846898"/>
                        <a:pt x="189872" y="846898"/>
                        <a:pt x="190996" y="846496"/>
                      </a:cubicBezTo>
                      <a:lnTo>
                        <a:pt x="190273" y="848103"/>
                      </a:lnTo>
                      <a:lnTo>
                        <a:pt x="190916" y="848183"/>
                      </a:lnTo>
                      <a:cubicBezTo>
                        <a:pt x="190836" y="848264"/>
                        <a:pt x="190675" y="848505"/>
                        <a:pt x="190595" y="848665"/>
                      </a:cubicBezTo>
                      <a:moveTo>
                        <a:pt x="52832" y="708573"/>
                      </a:moveTo>
                      <a:cubicBezTo>
                        <a:pt x="52511" y="708654"/>
                        <a:pt x="52270" y="708413"/>
                        <a:pt x="52190" y="708332"/>
                      </a:cubicBezTo>
                      <a:cubicBezTo>
                        <a:pt x="52993" y="706886"/>
                        <a:pt x="53234" y="706565"/>
                        <a:pt x="53314" y="706565"/>
                      </a:cubicBezTo>
                      <a:cubicBezTo>
                        <a:pt x="53475" y="706565"/>
                        <a:pt x="53394" y="706967"/>
                        <a:pt x="52832" y="708573"/>
                      </a:cubicBezTo>
                      <a:cubicBezTo>
                        <a:pt x="52912" y="708573"/>
                        <a:pt x="52832" y="708573"/>
                        <a:pt x="52832" y="708573"/>
                      </a:cubicBezTo>
                      <a:moveTo>
                        <a:pt x="393262" y="896701"/>
                      </a:moveTo>
                      <a:cubicBezTo>
                        <a:pt x="391093" y="895175"/>
                        <a:pt x="390692" y="896380"/>
                        <a:pt x="390451" y="896942"/>
                      </a:cubicBezTo>
                      <a:lnTo>
                        <a:pt x="389165" y="897746"/>
                      </a:lnTo>
                      <a:cubicBezTo>
                        <a:pt x="388844" y="895336"/>
                        <a:pt x="389487" y="893810"/>
                        <a:pt x="389728" y="893328"/>
                      </a:cubicBezTo>
                      <a:cubicBezTo>
                        <a:pt x="390852" y="894051"/>
                        <a:pt x="392780" y="895497"/>
                        <a:pt x="393503" y="896862"/>
                      </a:cubicBezTo>
                      <a:cubicBezTo>
                        <a:pt x="393423" y="896862"/>
                        <a:pt x="393342" y="896782"/>
                        <a:pt x="393262" y="896701"/>
                      </a:cubicBezTo>
                      <a:moveTo>
                        <a:pt x="372377" y="889793"/>
                      </a:moveTo>
                      <a:cubicBezTo>
                        <a:pt x="371493" y="889873"/>
                        <a:pt x="370529" y="889954"/>
                        <a:pt x="369646" y="889954"/>
                      </a:cubicBezTo>
                      <a:cubicBezTo>
                        <a:pt x="370610" y="889873"/>
                        <a:pt x="371574" y="889793"/>
                        <a:pt x="372537" y="889793"/>
                      </a:cubicBezTo>
                      <a:cubicBezTo>
                        <a:pt x="372457" y="889793"/>
                        <a:pt x="372377" y="889793"/>
                        <a:pt x="372377" y="889793"/>
                      </a:cubicBezTo>
                      <a:moveTo>
                        <a:pt x="400090" y="902967"/>
                      </a:moveTo>
                      <a:cubicBezTo>
                        <a:pt x="399688" y="903851"/>
                        <a:pt x="397921" y="902003"/>
                        <a:pt x="397038" y="901119"/>
                      </a:cubicBezTo>
                      <a:lnTo>
                        <a:pt x="397198" y="901762"/>
                      </a:lnTo>
                      <a:cubicBezTo>
                        <a:pt x="394628" y="897987"/>
                        <a:pt x="395672" y="895497"/>
                        <a:pt x="400572" y="893729"/>
                      </a:cubicBezTo>
                      <a:lnTo>
                        <a:pt x="397279" y="896059"/>
                      </a:lnTo>
                      <a:lnTo>
                        <a:pt x="399046" y="895497"/>
                      </a:lnTo>
                      <a:cubicBezTo>
                        <a:pt x="398805" y="895818"/>
                        <a:pt x="398564" y="896219"/>
                        <a:pt x="398323" y="896541"/>
                      </a:cubicBezTo>
                      <a:cubicBezTo>
                        <a:pt x="398885" y="898147"/>
                        <a:pt x="400492" y="902003"/>
                        <a:pt x="400090" y="902967"/>
                      </a:cubicBezTo>
                      <a:moveTo>
                        <a:pt x="104965" y="790347"/>
                      </a:moveTo>
                      <a:cubicBezTo>
                        <a:pt x="105527" y="788660"/>
                        <a:pt x="106973" y="784724"/>
                        <a:pt x="105447" y="785287"/>
                      </a:cubicBezTo>
                      <a:cubicBezTo>
                        <a:pt x="105126" y="785367"/>
                        <a:pt x="104885" y="785608"/>
                        <a:pt x="104563" y="785929"/>
                      </a:cubicBezTo>
                      <a:cubicBezTo>
                        <a:pt x="103439" y="784483"/>
                        <a:pt x="102636" y="785688"/>
                        <a:pt x="102234" y="786250"/>
                      </a:cubicBezTo>
                      <a:cubicBezTo>
                        <a:pt x="99985" y="781190"/>
                        <a:pt x="96611" y="783841"/>
                        <a:pt x="95326" y="784885"/>
                      </a:cubicBezTo>
                      <a:cubicBezTo>
                        <a:pt x="95888" y="783680"/>
                        <a:pt x="96049" y="783037"/>
                        <a:pt x="95968" y="782073"/>
                      </a:cubicBezTo>
                      <a:cubicBezTo>
                        <a:pt x="96049" y="782154"/>
                        <a:pt x="96129" y="782234"/>
                        <a:pt x="96209" y="782314"/>
                      </a:cubicBezTo>
                      <a:cubicBezTo>
                        <a:pt x="96852" y="782796"/>
                        <a:pt x="97334" y="782555"/>
                        <a:pt x="98057" y="781270"/>
                      </a:cubicBezTo>
                      <a:cubicBezTo>
                        <a:pt x="99503" y="782395"/>
                        <a:pt x="100868" y="783439"/>
                        <a:pt x="102314" y="784483"/>
                      </a:cubicBezTo>
                      <a:cubicBezTo>
                        <a:pt x="103840" y="783359"/>
                        <a:pt x="106973" y="780949"/>
                        <a:pt x="106572" y="785206"/>
                      </a:cubicBezTo>
                      <a:cubicBezTo>
                        <a:pt x="106411" y="786652"/>
                        <a:pt x="105929" y="788339"/>
                        <a:pt x="105367" y="790106"/>
                      </a:cubicBezTo>
                      <a:cubicBezTo>
                        <a:pt x="105367" y="790186"/>
                        <a:pt x="105126" y="790267"/>
                        <a:pt x="104965" y="790347"/>
                      </a:cubicBezTo>
                      <a:moveTo>
                        <a:pt x="135088" y="813401"/>
                      </a:moveTo>
                      <a:cubicBezTo>
                        <a:pt x="135088" y="813401"/>
                        <a:pt x="134445" y="813080"/>
                        <a:pt x="133321" y="812357"/>
                      </a:cubicBezTo>
                      <a:cubicBezTo>
                        <a:pt x="131232" y="810911"/>
                        <a:pt x="130188" y="810027"/>
                        <a:pt x="128421" y="808019"/>
                      </a:cubicBezTo>
                      <a:cubicBezTo>
                        <a:pt x="129706" y="804003"/>
                        <a:pt x="129706" y="801674"/>
                        <a:pt x="128340" y="798621"/>
                      </a:cubicBezTo>
                      <a:cubicBezTo>
                        <a:pt x="130590" y="800951"/>
                        <a:pt x="131554" y="801834"/>
                        <a:pt x="131955" y="802155"/>
                      </a:cubicBezTo>
                      <a:cubicBezTo>
                        <a:pt x="131152" y="806011"/>
                        <a:pt x="129867" y="811715"/>
                        <a:pt x="137498" y="813080"/>
                      </a:cubicBezTo>
                      <a:cubicBezTo>
                        <a:pt x="136695" y="813160"/>
                        <a:pt x="135731" y="813562"/>
                        <a:pt x="135088" y="813401"/>
                      </a:cubicBezTo>
                      <a:moveTo>
                        <a:pt x="73396" y="746970"/>
                      </a:moveTo>
                      <a:cubicBezTo>
                        <a:pt x="72754" y="748416"/>
                        <a:pt x="72191" y="748416"/>
                        <a:pt x="72031" y="748416"/>
                      </a:cubicBezTo>
                      <a:cubicBezTo>
                        <a:pt x="72513" y="746327"/>
                        <a:pt x="72754" y="745604"/>
                        <a:pt x="73878" y="743436"/>
                      </a:cubicBezTo>
                      <a:cubicBezTo>
                        <a:pt x="74039" y="743195"/>
                        <a:pt x="74280" y="742954"/>
                        <a:pt x="74440" y="742713"/>
                      </a:cubicBezTo>
                      <a:cubicBezTo>
                        <a:pt x="74360" y="743436"/>
                        <a:pt x="74039" y="745444"/>
                        <a:pt x="73396" y="746970"/>
                      </a:cubicBezTo>
                      <a:moveTo>
                        <a:pt x="124083" y="794364"/>
                      </a:moveTo>
                      <a:cubicBezTo>
                        <a:pt x="124083" y="794364"/>
                        <a:pt x="124003" y="794364"/>
                        <a:pt x="124003" y="794283"/>
                      </a:cubicBezTo>
                      <a:cubicBezTo>
                        <a:pt x="123922" y="794203"/>
                        <a:pt x="123842" y="794123"/>
                        <a:pt x="123762" y="794042"/>
                      </a:cubicBezTo>
                      <a:cubicBezTo>
                        <a:pt x="123922" y="794123"/>
                        <a:pt x="124003" y="794283"/>
                        <a:pt x="124083" y="794364"/>
                      </a:cubicBezTo>
                      <a:cubicBezTo>
                        <a:pt x="124163" y="794364"/>
                        <a:pt x="124083" y="794364"/>
                        <a:pt x="124083" y="794364"/>
                      </a:cubicBezTo>
                      <a:moveTo>
                        <a:pt x="59821" y="712831"/>
                      </a:moveTo>
                      <a:cubicBezTo>
                        <a:pt x="59821" y="712831"/>
                        <a:pt x="60303" y="709778"/>
                        <a:pt x="61588" y="704798"/>
                      </a:cubicBezTo>
                      <a:cubicBezTo>
                        <a:pt x="60865" y="708091"/>
                        <a:pt x="60222" y="711385"/>
                        <a:pt x="59580" y="714759"/>
                      </a:cubicBezTo>
                      <a:cubicBezTo>
                        <a:pt x="59660" y="714116"/>
                        <a:pt x="59740" y="713393"/>
                        <a:pt x="59821" y="712831"/>
                      </a:cubicBezTo>
                      <a:moveTo>
                        <a:pt x="68657" y="730503"/>
                      </a:moveTo>
                      <a:cubicBezTo>
                        <a:pt x="67853" y="731226"/>
                        <a:pt x="67452" y="731547"/>
                        <a:pt x="66970" y="731708"/>
                      </a:cubicBezTo>
                      <a:cubicBezTo>
                        <a:pt x="67693" y="730905"/>
                        <a:pt x="69621" y="728896"/>
                        <a:pt x="68737" y="727370"/>
                      </a:cubicBezTo>
                      <a:cubicBezTo>
                        <a:pt x="69540" y="726968"/>
                        <a:pt x="69701" y="728013"/>
                        <a:pt x="69058" y="730664"/>
                      </a:cubicBezTo>
                      <a:cubicBezTo>
                        <a:pt x="68898" y="730583"/>
                        <a:pt x="68737" y="730583"/>
                        <a:pt x="68657" y="730503"/>
                      </a:cubicBezTo>
                      <a:moveTo>
                        <a:pt x="313336" y="863526"/>
                      </a:moveTo>
                      <a:cubicBezTo>
                        <a:pt x="312051" y="864651"/>
                        <a:pt x="309801" y="865855"/>
                        <a:pt x="306508" y="865133"/>
                      </a:cubicBezTo>
                      <a:cubicBezTo>
                        <a:pt x="306508" y="865133"/>
                        <a:pt x="311408" y="863847"/>
                        <a:pt x="313496" y="863365"/>
                      </a:cubicBezTo>
                      <a:cubicBezTo>
                        <a:pt x="313416" y="863365"/>
                        <a:pt x="313416" y="863446"/>
                        <a:pt x="313336" y="863526"/>
                      </a:cubicBezTo>
                      <a:moveTo>
                        <a:pt x="345146" y="933652"/>
                      </a:moveTo>
                      <a:cubicBezTo>
                        <a:pt x="340326" y="933974"/>
                        <a:pt x="339603" y="933893"/>
                        <a:pt x="330526" y="932688"/>
                      </a:cubicBezTo>
                      <a:cubicBezTo>
                        <a:pt x="331410" y="930680"/>
                        <a:pt x="331410" y="929797"/>
                        <a:pt x="329321" y="929556"/>
                      </a:cubicBezTo>
                      <a:cubicBezTo>
                        <a:pt x="326751" y="932367"/>
                        <a:pt x="322493" y="937026"/>
                        <a:pt x="315424" y="938552"/>
                      </a:cubicBezTo>
                      <a:cubicBezTo>
                        <a:pt x="312854" y="939115"/>
                        <a:pt x="309400" y="939195"/>
                        <a:pt x="306749" y="939195"/>
                      </a:cubicBezTo>
                      <a:cubicBezTo>
                        <a:pt x="302893" y="939115"/>
                        <a:pt x="299600" y="936865"/>
                        <a:pt x="295824" y="936624"/>
                      </a:cubicBezTo>
                      <a:cubicBezTo>
                        <a:pt x="293736" y="936464"/>
                        <a:pt x="292049" y="938151"/>
                        <a:pt x="289960" y="938070"/>
                      </a:cubicBezTo>
                      <a:cubicBezTo>
                        <a:pt x="289880" y="937829"/>
                        <a:pt x="289719" y="937508"/>
                        <a:pt x="289639" y="937267"/>
                      </a:cubicBezTo>
                      <a:cubicBezTo>
                        <a:pt x="290121" y="936544"/>
                        <a:pt x="290764" y="935420"/>
                        <a:pt x="294619" y="932206"/>
                      </a:cubicBezTo>
                      <a:cubicBezTo>
                        <a:pt x="297993" y="929395"/>
                        <a:pt x="301126" y="919836"/>
                        <a:pt x="301126" y="919836"/>
                      </a:cubicBezTo>
                      <a:cubicBezTo>
                        <a:pt x="301126" y="919756"/>
                        <a:pt x="298957" y="909474"/>
                        <a:pt x="282972" y="902887"/>
                      </a:cubicBezTo>
                      <a:cubicBezTo>
                        <a:pt x="280642" y="904895"/>
                        <a:pt x="280401" y="906341"/>
                        <a:pt x="282249" y="908670"/>
                      </a:cubicBezTo>
                      <a:cubicBezTo>
                        <a:pt x="277670" y="908992"/>
                        <a:pt x="277670" y="908992"/>
                        <a:pt x="272529" y="914534"/>
                      </a:cubicBezTo>
                      <a:lnTo>
                        <a:pt x="272690" y="914695"/>
                      </a:lnTo>
                      <a:cubicBezTo>
                        <a:pt x="272288" y="915097"/>
                        <a:pt x="271806" y="915659"/>
                        <a:pt x="271485" y="916060"/>
                      </a:cubicBezTo>
                      <a:cubicBezTo>
                        <a:pt x="271646" y="915900"/>
                        <a:pt x="271806" y="915739"/>
                        <a:pt x="271967" y="915579"/>
                      </a:cubicBezTo>
                      <a:cubicBezTo>
                        <a:pt x="261605" y="930198"/>
                        <a:pt x="249395" y="943452"/>
                        <a:pt x="238952" y="958072"/>
                      </a:cubicBezTo>
                      <a:cubicBezTo>
                        <a:pt x="238550" y="930600"/>
                        <a:pt x="238550" y="930600"/>
                        <a:pt x="259918" y="894211"/>
                      </a:cubicBezTo>
                      <a:cubicBezTo>
                        <a:pt x="258873" y="898067"/>
                        <a:pt x="260641" y="897826"/>
                        <a:pt x="264657" y="896059"/>
                      </a:cubicBezTo>
                      <a:cubicBezTo>
                        <a:pt x="263131" y="897906"/>
                        <a:pt x="262970" y="898308"/>
                        <a:pt x="262970" y="899995"/>
                      </a:cubicBezTo>
                      <a:cubicBezTo>
                        <a:pt x="281205" y="902887"/>
                        <a:pt x="298475" y="904654"/>
                        <a:pt x="291567" y="892605"/>
                      </a:cubicBezTo>
                      <a:cubicBezTo>
                        <a:pt x="290523" y="890757"/>
                        <a:pt x="288514" y="888669"/>
                        <a:pt x="287229" y="886982"/>
                      </a:cubicBezTo>
                      <a:cubicBezTo>
                        <a:pt x="255018" y="886901"/>
                        <a:pt x="246985" y="874290"/>
                        <a:pt x="246985" y="874129"/>
                      </a:cubicBezTo>
                      <a:cubicBezTo>
                        <a:pt x="243772" y="865615"/>
                        <a:pt x="227706" y="868346"/>
                        <a:pt x="222485" y="869229"/>
                      </a:cubicBezTo>
                      <a:cubicBezTo>
                        <a:pt x="222806" y="865534"/>
                        <a:pt x="219432" y="863767"/>
                        <a:pt x="209391" y="862562"/>
                      </a:cubicBezTo>
                      <a:cubicBezTo>
                        <a:pt x="226180" y="857180"/>
                        <a:pt x="237024" y="852842"/>
                        <a:pt x="252528" y="845452"/>
                      </a:cubicBezTo>
                      <a:cubicBezTo>
                        <a:pt x="251162" y="847380"/>
                        <a:pt x="250760" y="847782"/>
                        <a:pt x="249555" y="848906"/>
                      </a:cubicBezTo>
                      <a:cubicBezTo>
                        <a:pt x="259516" y="850272"/>
                        <a:pt x="263532" y="852200"/>
                        <a:pt x="267870" y="855574"/>
                      </a:cubicBezTo>
                      <a:cubicBezTo>
                        <a:pt x="270280" y="857501"/>
                        <a:pt x="272850" y="861598"/>
                        <a:pt x="277028" y="868506"/>
                      </a:cubicBezTo>
                      <a:cubicBezTo>
                        <a:pt x="284819" y="881279"/>
                        <a:pt x="293414" y="889311"/>
                        <a:pt x="293495" y="889392"/>
                      </a:cubicBezTo>
                      <a:cubicBezTo>
                        <a:pt x="302492" y="897665"/>
                        <a:pt x="315183" y="899754"/>
                        <a:pt x="324501" y="907706"/>
                      </a:cubicBezTo>
                      <a:cubicBezTo>
                        <a:pt x="325224" y="907546"/>
                        <a:pt x="326028" y="907385"/>
                        <a:pt x="326751" y="907305"/>
                      </a:cubicBezTo>
                      <a:cubicBezTo>
                        <a:pt x="326590" y="907626"/>
                        <a:pt x="326349" y="908108"/>
                        <a:pt x="326028" y="908349"/>
                      </a:cubicBezTo>
                      <a:cubicBezTo>
                        <a:pt x="326028" y="908670"/>
                        <a:pt x="326028" y="909072"/>
                        <a:pt x="326028" y="909393"/>
                      </a:cubicBezTo>
                      <a:cubicBezTo>
                        <a:pt x="333980" y="910518"/>
                        <a:pt x="337113" y="913731"/>
                        <a:pt x="338639" y="915338"/>
                      </a:cubicBezTo>
                      <a:cubicBezTo>
                        <a:pt x="343137" y="919996"/>
                        <a:pt x="343780" y="926824"/>
                        <a:pt x="347636" y="931805"/>
                      </a:cubicBezTo>
                      <a:cubicBezTo>
                        <a:pt x="347636" y="932287"/>
                        <a:pt x="347556" y="933010"/>
                        <a:pt x="347556" y="933572"/>
                      </a:cubicBezTo>
                      <a:cubicBezTo>
                        <a:pt x="346752" y="933492"/>
                        <a:pt x="345788" y="933572"/>
                        <a:pt x="345146" y="933652"/>
                      </a:cubicBezTo>
                      <a:moveTo>
                        <a:pt x="435836" y="887142"/>
                      </a:moveTo>
                      <a:cubicBezTo>
                        <a:pt x="433024" y="884652"/>
                        <a:pt x="430856" y="884411"/>
                        <a:pt x="428285" y="886259"/>
                      </a:cubicBezTo>
                      <a:cubicBezTo>
                        <a:pt x="426759" y="881921"/>
                        <a:pt x="425072" y="882001"/>
                        <a:pt x="421698" y="886500"/>
                      </a:cubicBezTo>
                      <a:cubicBezTo>
                        <a:pt x="422502" y="884572"/>
                        <a:pt x="423144" y="883447"/>
                        <a:pt x="424590" y="881439"/>
                      </a:cubicBezTo>
                      <a:cubicBezTo>
                        <a:pt x="422502" y="882001"/>
                        <a:pt x="421779" y="882724"/>
                        <a:pt x="421698" y="884411"/>
                      </a:cubicBezTo>
                      <a:cubicBezTo>
                        <a:pt x="420734" y="884170"/>
                        <a:pt x="419449" y="883849"/>
                        <a:pt x="418405" y="883528"/>
                      </a:cubicBezTo>
                      <a:cubicBezTo>
                        <a:pt x="426839" y="877503"/>
                        <a:pt x="432302" y="878547"/>
                        <a:pt x="436639" y="887062"/>
                      </a:cubicBezTo>
                      <a:cubicBezTo>
                        <a:pt x="436398" y="887062"/>
                        <a:pt x="436077" y="887142"/>
                        <a:pt x="435836" y="887142"/>
                      </a:cubicBezTo>
                      <a:moveTo>
                        <a:pt x="467566" y="888508"/>
                      </a:moveTo>
                      <a:cubicBezTo>
                        <a:pt x="467485" y="888428"/>
                        <a:pt x="466441" y="886018"/>
                        <a:pt x="465477" y="883769"/>
                      </a:cubicBezTo>
                      <a:cubicBezTo>
                        <a:pt x="466039" y="884974"/>
                        <a:pt x="466521" y="886098"/>
                        <a:pt x="467084" y="887303"/>
                      </a:cubicBezTo>
                      <a:cubicBezTo>
                        <a:pt x="467244" y="887705"/>
                        <a:pt x="467485" y="888106"/>
                        <a:pt x="467566" y="888508"/>
                      </a:cubicBezTo>
                      <a:cubicBezTo>
                        <a:pt x="467566" y="888508"/>
                        <a:pt x="467566" y="888508"/>
                        <a:pt x="467566" y="888508"/>
                      </a:cubicBezTo>
                      <a:moveTo>
                        <a:pt x="367075" y="873406"/>
                      </a:moveTo>
                      <a:cubicBezTo>
                        <a:pt x="366834" y="874129"/>
                        <a:pt x="366272" y="874531"/>
                        <a:pt x="365790" y="875013"/>
                      </a:cubicBezTo>
                      <a:cubicBezTo>
                        <a:pt x="364264" y="872041"/>
                        <a:pt x="361452" y="869631"/>
                        <a:pt x="355990" y="866900"/>
                      </a:cubicBezTo>
                      <a:cubicBezTo>
                        <a:pt x="356472" y="866578"/>
                        <a:pt x="356713" y="866337"/>
                        <a:pt x="359846" y="866980"/>
                      </a:cubicBezTo>
                      <a:cubicBezTo>
                        <a:pt x="361452" y="867301"/>
                        <a:pt x="363862" y="868506"/>
                        <a:pt x="363862" y="868506"/>
                      </a:cubicBezTo>
                      <a:cubicBezTo>
                        <a:pt x="364746" y="868988"/>
                        <a:pt x="367638" y="870755"/>
                        <a:pt x="367236" y="872924"/>
                      </a:cubicBezTo>
                      <a:cubicBezTo>
                        <a:pt x="367156" y="873085"/>
                        <a:pt x="367156" y="873246"/>
                        <a:pt x="367075" y="873406"/>
                      </a:cubicBezTo>
                      <a:moveTo>
                        <a:pt x="213167" y="833564"/>
                      </a:moveTo>
                      <a:cubicBezTo>
                        <a:pt x="213167" y="833564"/>
                        <a:pt x="213247" y="833564"/>
                        <a:pt x="213327" y="833483"/>
                      </a:cubicBezTo>
                      <a:cubicBezTo>
                        <a:pt x="213247" y="833644"/>
                        <a:pt x="210516" y="834769"/>
                        <a:pt x="210275" y="834447"/>
                      </a:cubicBezTo>
                      <a:cubicBezTo>
                        <a:pt x="210355" y="834126"/>
                        <a:pt x="210998" y="833644"/>
                        <a:pt x="212444" y="832680"/>
                      </a:cubicBezTo>
                      <a:lnTo>
                        <a:pt x="210436" y="830591"/>
                      </a:lnTo>
                      <a:cubicBezTo>
                        <a:pt x="209713" y="830350"/>
                        <a:pt x="208909" y="830190"/>
                        <a:pt x="208186" y="829868"/>
                      </a:cubicBezTo>
                      <a:cubicBezTo>
                        <a:pt x="206419" y="828985"/>
                        <a:pt x="206901" y="827780"/>
                        <a:pt x="207062" y="827459"/>
                      </a:cubicBezTo>
                      <a:cubicBezTo>
                        <a:pt x="207624" y="826334"/>
                        <a:pt x="206982" y="824888"/>
                        <a:pt x="205616" y="824085"/>
                      </a:cubicBezTo>
                      <a:lnTo>
                        <a:pt x="205857" y="824085"/>
                      </a:lnTo>
                      <a:lnTo>
                        <a:pt x="207303" y="824567"/>
                      </a:lnTo>
                      <a:lnTo>
                        <a:pt x="207383" y="823523"/>
                      </a:lnTo>
                      <a:cubicBezTo>
                        <a:pt x="207865" y="823523"/>
                        <a:pt x="208427" y="823523"/>
                        <a:pt x="208909" y="823603"/>
                      </a:cubicBezTo>
                      <a:cubicBezTo>
                        <a:pt x="208267" y="826575"/>
                        <a:pt x="207785" y="828503"/>
                        <a:pt x="209632" y="827700"/>
                      </a:cubicBezTo>
                      <a:cubicBezTo>
                        <a:pt x="209472" y="827941"/>
                        <a:pt x="209231" y="828262"/>
                        <a:pt x="209070" y="828423"/>
                      </a:cubicBezTo>
                      <a:cubicBezTo>
                        <a:pt x="210275" y="828664"/>
                        <a:pt x="211641" y="829226"/>
                        <a:pt x="212524" y="829788"/>
                      </a:cubicBezTo>
                      <a:cubicBezTo>
                        <a:pt x="211721" y="830752"/>
                        <a:pt x="211962" y="831074"/>
                        <a:pt x="213649" y="833323"/>
                      </a:cubicBezTo>
                      <a:cubicBezTo>
                        <a:pt x="213408" y="833403"/>
                        <a:pt x="213327" y="833483"/>
                        <a:pt x="213167" y="833564"/>
                      </a:cubicBezTo>
                      <a:moveTo>
                        <a:pt x="72994" y="703272"/>
                      </a:moveTo>
                      <a:cubicBezTo>
                        <a:pt x="73476" y="700139"/>
                        <a:pt x="74521" y="697488"/>
                        <a:pt x="75967" y="695399"/>
                      </a:cubicBezTo>
                      <a:cubicBezTo>
                        <a:pt x="74521" y="697970"/>
                        <a:pt x="73637" y="700541"/>
                        <a:pt x="73155" y="703513"/>
                      </a:cubicBezTo>
                      <a:lnTo>
                        <a:pt x="72994" y="703272"/>
                      </a:lnTo>
                      <a:moveTo>
                        <a:pt x="202162" y="816936"/>
                      </a:moveTo>
                      <a:cubicBezTo>
                        <a:pt x="196057" y="815891"/>
                        <a:pt x="194531" y="813964"/>
                        <a:pt x="194129" y="813160"/>
                      </a:cubicBezTo>
                      <a:cubicBezTo>
                        <a:pt x="193647" y="812196"/>
                        <a:pt x="193567" y="811474"/>
                        <a:pt x="193968" y="810108"/>
                      </a:cubicBezTo>
                      <a:cubicBezTo>
                        <a:pt x="194049" y="809786"/>
                        <a:pt x="194290" y="809385"/>
                        <a:pt x="194450" y="809144"/>
                      </a:cubicBezTo>
                      <a:cubicBezTo>
                        <a:pt x="194691" y="808662"/>
                        <a:pt x="195173" y="808341"/>
                        <a:pt x="195414" y="807939"/>
                      </a:cubicBezTo>
                      <a:cubicBezTo>
                        <a:pt x="195896" y="807216"/>
                        <a:pt x="195736" y="806091"/>
                        <a:pt x="196700" y="805610"/>
                      </a:cubicBezTo>
                      <a:cubicBezTo>
                        <a:pt x="197342" y="805288"/>
                        <a:pt x="197744" y="806493"/>
                        <a:pt x="197904" y="807055"/>
                      </a:cubicBezTo>
                      <a:cubicBezTo>
                        <a:pt x="201037" y="804164"/>
                        <a:pt x="204250" y="801914"/>
                        <a:pt x="204170" y="807537"/>
                      </a:cubicBezTo>
                      <a:cubicBezTo>
                        <a:pt x="204170" y="809545"/>
                        <a:pt x="203688" y="812036"/>
                        <a:pt x="203206" y="814285"/>
                      </a:cubicBezTo>
                      <a:cubicBezTo>
                        <a:pt x="203126" y="812919"/>
                        <a:pt x="202564" y="812357"/>
                        <a:pt x="202564" y="812357"/>
                      </a:cubicBezTo>
                      <a:cubicBezTo>
                        <a:pt x="202564" y="812357"/>
                        <a:pt x="199431" y="810750"/>
                        <a:pt x="198949" y="811313"/>
                      </a:cubicBezTo>
                      <a:cubicBezTo>
                        <a:pt x="198306" y="812116"/>
                        <a:pt x="201600" y="815650"/>
                        <a:pt x="202965" y="817257"/>
                      </a:cubicBezTo>
                      <a:cubicBezTo>
                        <a:pt x="202885" y="817016"/>
                        <a:pt x="202483" y="816936"/>
                        <a:pt x="202162" y="816936"/>
                      </a:cubicBezTo>
                      <a:moveTo>
                        <a:pt x="501143" y="877342"/>
                      </a:moveTo>
                      <a:cubicBezTo>
                        <a:pt x="500982" y="874772"/>
                        <a:pt x="500339" y="873406"/>
                        <a:pt x="497688" y="875174"/>
                      </a:cubicBezTo>
                      <a:cubicBezTo>
                        <a:pt x="496002" y="871238"/>
                        <a:pt x="494154" y="871238"/>
                        <a:pt x="491262" y="875093"/>
                      </a:cubicBezTo>
                      <a:cubicBezTo>
                        <a:pt x="490780" y="873808"/>
                        <a:pt x="489977" y="873647"/>
                        <a:pt x="488772" y="874531"/>
                      </a:cubicBezTo>
                      <a:cubicBezTo>
                        <a:pt x="487808" y="872121"/>
                        <a:pt x="486684" y="872121"/>
                        <a:pt x="484836" y="874531"/>
                      </a:cubicBezTo>
                      <a:cubicBezTo>
                        <a:pt x="485639" y="873085"/>
                        <a:pt x="486282" y="872201"/>
                        <a:pt x="487487" y="870996"/>
                      </a:cubicBezTo>
                      <a:cubicBezTo>
                        <a:pt x="488611" y="871479"/>
                        <a:pt x="489334" y="871639"/>
                        <a:pt x="490298" y="871720"/>
                      </a:cubicBezTo>
                      <a:cubicBezTo>
                        <a:pt x="493270" y="871720"/>
                        <a:pt x="494475" y="870595"/>
                        <a:pt x="494877" y="867141"/>
                      </a:cubicBezTo>
                      <a:cubicBezTo>
                        <a:pt x="495680" y="869791"/>
                        <a:pt x="496966" y="870273"/>
                        <a:pt x="497207" y="870354"/>
                      </a:cubicBezTo>
                      <a:cubicBezTo>
                        <a:pt x="497207" y="870354"/>
                        <a:pt x="500420" y="871880"/>
                        <a:pt x="501785" y="877262"/>
                      </a:cubicBezTo>
                      <a:cubicBezTo>
                        <a:pt x="501625" y="877342"/>
                        <a:pt x="501384" y="877342"/>
                        <a:pt x="501143" y="877342"/>
                      </a:cubicBezTo>
                      <a:moveTo>
                        <a:pt x="265139" y="828503"/>
                      </a:moveTo>
                      <a:cubicBezTo>
                        <a:pt x="264496" y="829868"/>
                        <a:pt x="263532" y="830350"/>
                        <a:pt x="263131" y="830431"/>
                      </a:cubicBezTo>
                      <a:cubicBezTo>
                        <a:pt x="261765" y="830832"/>
                        <a:pt x="260480" y="830350"/>
                        <a:pt x="259918" y="830190"/>
                      </a:cubicBezTo>
                      <a:cubicBezTo>
                        <a:pt x="259436" y="830029"/>
                        <a:pt x="259034" y="830350"/>
                        <a:pt x="258552" y="830350"/>
                      </a:cubicBezTo>
                      <a:cubicBezTo>
                        <a:pt x="258231" y="830350"/>
                        <a:pt x="258150" y="830190"/>
                        <a:pt x="257749" y="829949"/>
                      </a:cubicBezTo>
                      <a:cubicBezTo>
                        <a:pt x="256865" y="829226"/>
                        <a:pt x="256464" y="828985"/>
                        <a:pt x="255178" y="828262"/>
                      </a:cubicBezTo>
                      <a:cubicBezTo>
                        <a:pt x="256464" y="828824"/>
                        <a:pt x="256705" y="827298"/>
                        <a:pt x="256785" y="825531"/>
                      </a:cubicBezTo>
                      <a:cubicBezTo>
                        <a:pt x="254937" y="825932"/>
                        <a:pt x="255178" y="825049"/>
                        <a:pt x="255741" y="823924"/>
                      </a:cubicBezTo>
                      <a:cubicBezTo>
                        <a:pt x="256062" y="824326"/>
                        <a:pt x="256223" y="824487"/>
                        <a:pt x="256464" y="824567"/>
                      </a:cubicBezTo>
                      <a:cubicBezTo>
                        <a:pt x="256865" y="824647"/>
                        <a:pt x="257106" y="824326"/>
                        <a:pt x="257347" y="823362"/>
                      </a:cubicBezTo>
                      <a:cubicBezTo>
                        <a:pt x="264577" y="818703"/>
                        <a:pt x="264577" y="818703"/>
                        <a:pt x="265139" y="818141"/>
                      </a:cubicBezTo>
                      <a:cubicBezTo>
                        <a:pt x="266505" y="819185"/>
                        <a:pt x="266987" y="820229"/>
                        <a:pt x="266826" y="821916"/>
                      </a:cubicBezTo>
                      <a:cubicBezTo>
                        <a:pt x="266344" y="822639"/>
                        <a:pt x="265460" y="823683"/>
                        <a:pt x="265541" y="824567"/>
                      </a:cubicBezTo>
                      <a:cubicBezTo>
                        <a:pt x="265621" y="824647"/>
                        <a:pt x="265862" y="826816"/>
                        <a:pt x="265139" y="828503"/>
                      </a:cubicBezTo>
                      <a:moveTo>
                        <a:pt x="447564" y="854529"/>
                      </a:moveTo>
                      <a:cubicBezTo>
                        <a:pt x="447082" y="856296"/>
                        <a:pt x="445475" y="858465"/>
                        <a:pt x="440977" y="858385"/>
                      </a:cubicBezTo>
                      <a:cubicBezTo>
                        <a:pt x="444511" y="857421"/>
                        <a:pt x="446600" y="855895"/>
                        <a:pt x="447724" y="853405"/>
                      </a:cubicBezTo>
                      <a:cubicBezTo>
                        <a:pt x="447724" y="853726"/>
                        <a:pt x="447644" y="854128"/>
                        <a:pt x="447564" y="854529"/>
                      </a:cubicBezTo>
                      <a:moveTo>
                        <a:pt x="247788" y="796773"/>
                      </a:moveTo>
                      <a:cubicBezTo>
                        <a:pt x="247547" y="796854"/>
                        <a:pt x="245137" y="797095"/>
                        <a:pt x="238952" y="797416"/>
                      </a:cubicBezTo>
                      <a:cubicBezTo>
                        <a:pt x="239113" y="797255"/>
                        <a:pt x="239273" y="797014"/>
                        <a:pt x="239354" y="796773"/>
                      </a:cubicBezTo>
                      <a:cubicBezTo>
                        <a:pt x="245378" y="796693"/>
                        <a:pt x="247387" y="796693"/>
                        <a:pt x="247788" y="796773"/>
                      </a:cubicBezTo>
                      <a:cubicBezTo>
                        <a:pt x="247788" y="796773"/>
                        <a:pt x="247788" y="796773"/>
                        <a:pt x="247788" y="796773"/>
                      </a:cubicBezTo>
                      <a:moveTo>
                        <a:pt x="386916" y="832921"/>
                      </a:moveTo>
                      <a:cubicBezTo>
                        <a:pt x="386756" y="832921"/>
                        <a:pt x="386675" y="832921"/>
                        <a:pt x="386515" y="832841"/>
                      </a:cubicBezTo>
                      <a:cubicBezTo>
                        <a:pt x="384346" y="832439"/>
                        <a:pt x="383542" y="831636"/>
                        <a:pt x="383944" y="830270"/>
                      </a:cubicBezTo>
                      <a:lnTo>
                        <a:pt x="384265" y="830431"/>
                      </a:lnTo>
                      <a:cubicBezTo>
                        <a:pt x="385069" y="831234"/>
                        <a:pt x="386193" y="832198"/>
                        <a:pt x="386916" y="832921"/>
                      </a:cubicBezTo>
                      <a:cubicBezTo>
                        <a:pt x="386997" y="832921"/>
                        <a:pt x="386916" y="832921"/>
                        <a:pt x="386916" y="832921"/>
                      </a:cubicBezTo>
                      <a:moveTo>
                        <a:pt x="239514" y="794926"/>
                      </a:moveTo>
                      <a:cubicBezTo>
                        <a:pt x="239434" y="794926"/>
                        <a:pt x="239354" y="794846"/>
                        <a:pt x="239273" y="794846"/>
                      </a:cubicBezTo>
                      <a:cubicBezTo>
                        <a:pt x="238309" y="794444"/>
                        <a:pt x="237828" y="793801"/>
                        <a:pt x="237586" y="792596"/>
                      </a:cubicBezTo>
                      <a:cubicBezTo>
                        <a:pt x="238550" y="792516"/>
                        <a:pt x="240157" y="792677"/>
                        <a:pt x="239514" y="794926"/>
                      </a:cubicBezTo>
                      <a:cubicBezTo>
                        <a:pt x="239514" y="794926"/>
                        <a:pt x="239514" y="794926"/>
                        <a:pt x="239514" y="794926"/>
                      </a:cubicBezTo>
                      <a:moveTo>
                        <a:pt x="466039" y="840793"/>
                      </a:moveTo>
                      <a:cubicBezTo>
                        <a:pt x="461461" y="842882"/>
                        <a:pt x="457203" y="845292"/>
                        <a:pt x="454311" y="846898"/>
                      </a:cubicBezTo>
                      <a:cubicBezTo>
                        <a:pt x="455677" y="845211"/>
                        <a:pt x="457203" y="843524"/>
                        <a:pt x="458488" y="841677"/>
                      </a:cubicBezTo>
                      <a:cubicBezTo>
                        <a:pt x="454552" y="845131"/>
                        <a:pt x="451580" y="849469"/>
                        <a:pt x="448206" y="853405"/>
                      </a:cubicBezTo>
                      <a:cubicBezTo>
                        <a:pt x="448126" y="853324"/>
                        <a:pt x="447965" y="853164"/>
                        <a:pt x="447885" y="853083"/>
                      </a:cubicBezTo>
                      <a:cubicBezTo>
                        <a:pt x="448367" y="851718"/>
                        <a:pt x="448528" y="850754"/>
                        <a:pt x="448528" y="849067"/>
                      </a:cubicBezTo>
                      <a:cubicBezTo>
                        <a:pt x="447403" y="850031"/>
                        <a:pt x="447002" y="850673"/>
                        <a:pt x="446439" y="852039"/>
                      </a:cubicBezTo>
                      <a:lnTo>
                        <a:pt x="443547" y="852601"/>
                      </a:lnTo>
                      <a:cubicBezTo>
                        <a:pt x="449813" y="843846"/>
                        <a:pt x="449813" y="843846"/>
                        <a:pt x="450616" y="843203"/>
                      </a:cubicBezTo>
                      <a:cubicBezTo>
                        <a:pt x="452464" y="841757"/>
                        <a:pt x="457123" y="838946"/>
                        <a:pt x="463308" y="837259"/>
                      </a:cubicBezTo>
                      <a:cubicBezTo>
                        <a:pt x="462906" y="837660"/>
                        <a:pt x="462344" y="838142"/>
                        <a:pt x="461862" y="838464"/>
                      </a:cubicBezTo>
                      <a:cubicBezTo>
                        <a:pt x="462103" y="840070"/>
                        <a:pt x="462103" y="840391"/>
                        <a:pt x="466923" y="840472"/>
                      </a:cubicBezTo>
                      <a:cubicBezTo>
                        <a:pt x="466602" y="840552"/>
                        <a:pt x="466280" y="840632"/>
                        <a:pt x="466039" y="840793"/>
                      </a:cubicBezTo>
                      <a:moveTo>
                        <a:pt x="414549" y="831556"/>
                      </a:moveTo>
                      <a:cubicBezTo>
                        <a:pt x="412862" y="832439"/>
                        <a:pt x="411577" y="832278"/>
                        <a:pt x="411015" y="832198"/>
                      </a:cubicBezTo>
                      <a:cubicBezTo>
                        <a:pt x="409970" y="832037"/>
                        <a:pt x="409328" y="831716"/>
                        <a:pt x="408283" y="831074"/>
                      </a:cubicBezTo>
                      <a:cubicBezTo>
                        <a:pt x="410613" y="830029"/>
                        <a:pt x="412380" y="830109"/>
                        <a:pt x="414710" y="831475"/>
                      </a:cubicBezTo>
                      <a:cubicBezTo>
                        <a:pt x="414710" y="831475"/>
                        <a:pt x="414549" y="831475"/>
                        <a:pt x="414549" y="831556"/>
                      </a:cubicBezTo>
                      <a:moveTo>
                        <a:pt x="177341" y="781993"/>
                      </a:moveTo>
                      <a:cubicBezTo>
                        <a:pt x="169790" y="781832"/>
                        <a:pt x="173565" y="769301"/>
                        <a:pt x="175011" y="764642"/>
                      </a:cubicBezTo>
                      <a:cubicBezTo>
                        <a:pt x="175011" y="765446"/>
                        <a:pt x="175091" y="766409"/>
                        <a:pt x="175091" y="767213"/>
                      </a:cubicBezTo>
                      <a:cubicBezTo>
                        <a:pt x="177582" y="758457"/>
                        <a:pt x="175011" y="756368"/>
                        <a:pt x="173726" y="755806"/>
                      </a:cubicBezTo>
                      <a:cubicBezTo>
                        <a:pt x="175091" y="754039"/>
                        <a:pt x="176537" y="752432"/>
                        <a:pt x="177903" y="753316"/>
                      </a:cubicBezTo>
                      <a:cubicBezTo>
                        <a:pt x="177903" y="754682"/>
                        <a:pt x="177903" y="756288"/>
                        <a:pt x="177180" y="760787"/>
                      </a:cubicBezTo>
                      <a:cubicBezTo>
                        <a:pt x="177983" y="759019"/>
                        <a:pt x="178224" y="758939"/>
                        <a:pt x="178545" y="758939"/>
                      </a:cubicBezTo>
                      <a:cubicBezTo>
                        <a:pt x="179188" y="759822"/>
                        <a:pt x="179027" y="762313"/>
                        <a:pt x="178304" y="771791"/>
                      </a:cubicBezTo>
                      <a:cubicBezTo>
                        <a:pt x="177822" y="778459"/>
                        <a:pt x="177742" y="779904"/>
                        <a:pt x="177662" y="781993"/>
                      </a:cubicBezTo>
                      <a:cubicBezTo>
                        <a:pt x="177582" y="781993"/>
                        <a:pt x="177421" y="781993"/>
                        <a:pt x="177341" y="781993"/>
                      </a:cubicBezTo>
                      <a:moveTo>
                        <a:pt x="532230" y="838624"/>
                      </a:moveTo>
                      <a:cubicBezTo>
                        <a:pt x="530302" y="846175"/>
                        <a:pt x="525884" y="850834"/>
                        <a:pt x="521305" y="854851"/>
                      </a:cubicBezTo>
                      <a:cubicBezTo>
                        <a:pt x="519457" y="848505"/>
                        <a:pt x="518493" y="843685"/>
                        <a:pt x="517530" y="837018"/>
                      </a:cubicBezTo>
                      <a:cubicBezTo>
                        <a:pt x="518815" y="837901"/>
                        <a:pt x="519618" y="837741"/>
                        <a:pt x="520180" y="836375"/>
                      </a:cubicBezTo>
                      <a:cubicBezTo>
                        <a:pt x="520020" y="838624"/>
                        <a:pt x="520903" y="838785"/>
                        <a:pt x="523152" y="837018"/>
                      </a:cubicBezTo>
                      <a:cubicBezTo>
                        <a:pt x="523715" y="837500"/>
                        <a:pt x="524116" y="837741"/>
                        <a:pt x="524679" y="837821"/>
                      </a:cubicBezTo>
                      <a:cubicBezTo>
                        <a:pt x="525241" y="837821"/>
                        <a:pt x="525482" y="837741"/>
                        <a:pt x="526125" y="837419"/>
                      </a:cubicBezTo>
                      <a:cubicBezTo>
                        <a:pt x="526205" y="837339"/>
                        <a:pt x="526366" y="837259"/>
                        <a:pt x="526446" y="837259"/>
                      </a:cubicBezTo>
                      <a:cubicBezTo>
                        <a:pt x="527330" y="836696"/>
                        <a:pt x="528374" y="836375"/>
                        <a:pt x="529016" y="835492"/>
                      </a:cubicBezTo>
                      <a:cubicBezTo>
                        <a:pt x="528213" y="837660"/>
                        <a:pt x="528133" y="839428"/>
                        <a:pt x="532390" y="838062"/>
                      </a:cubicBezTo>
                      <a:cubicBezTo>
                        <a:pt x="532310" y="838142"/>
                        <a:pt x="532230" y="838383"/>
                        <a:pt x="532230" y="838624"/>
                      </a:cubicBezTo>
                      <a:moveTo>
                        <a:pt x="239273" y="777977"/>
                      </a:moveTo>
                      <a:lnTo>
                        <a:pt x="239595" y="777655"/>
                      </a:lnTo>
                      <a:lnTo>
                        <a:pt x="239996" y="777414"/>
                      </a:lnTo>
                      <a:lnTo>
                        <a:pt x="239514" y="778941"/>
                      </a:lnTo>
                      <a:lnTo>
                        <a:pt x="239273" y="777977"/>
                      </a:lnTo>
                      <a:moveTo>
                        <a:pt x="647741" y="831636"/>
                      </a:moveTo>
                      <a:cubicBezTo>
                        <a:pt x="646617" y="830752"/>
                        <a:pt x="643484" y="828503"/>
                        <a:pt x="638021" y="826575"/>
                      </a:cubicBezTo>
                      <a:cubicBezTo>
                        <a:pt x="640913" y="826254"/>
                        <a:pt x="640913" y="826254"/>
                        <a:pt x="642922" y="827378"/>
                      </a:cubicBezTo>
                      <a:cubicBezTo>
                        <a:pt x="645331" y="828664"/>
                        <a:pt x="646697" y="829868"/>
                        <a:pt x="647982" y="831877"/>
                      </a:cubicBezTo>
                      <a:cubicBezTo>
                        <a:pt x="647902" y="831716"/>
                        <a:pt x="647741" y="831636"/>
                        <a:pt x="647741" y="831636"/>
                      </a:cubicBezTo>
                      <a:moveTo>
                        <a:pt x="93317" y="657967"/>
                      </a:moveTo>
                      <a:cubicBezTo>
                        <a:pt x="93317" y="657967"/>
                        <a:pt x="93317" y="657886"/>
                        <a:pt x="93237" y="657886"/>
                      </a:cubicBezTo>
                      <a:cubicBezTo>
                        <a:pt x="92514" y="655396"/>
                        <a:pt x="94683" y="648649"/>
                        <a:pt x="96691" y="643427"/>
                      </a:cubicBezTo>
                      <a:cubicBezTo>
                        <a:pt x="94924" y="648890"/>
                        <a:pt x="93880" y="654111"/>
                        <a:pt x="93719" y="657404"/>
                      </a:cubicBezTo>
                      <a:cubicBezTo>
                        <a:pt x="93639" y="657485"/>
                        <a:pt x="93478" y="657726"/>
                        <a:pt x="93317" y="657967"/>
                      </a:cubicBezTo>
                      <a:moveTo>
                        <a:pt x="89140" y="608163"/>
                      </a:moveTo>
                      <a:cubicBezTo>
                        <a:pt x="89542" y="607039"/>
                        <a:pt x="90104" y="605994"/>
                        <a:pt x="90345" y="604790"/>
                      </a:cubicBezTo>
                      <a:cubicBezTo>
                        <a:pt x="90345" y="604790"/>
                        <a:pt x="90345" y="604067"/>
                        <a:pt x="89863" y="604308"/>
                      </a:cubicBezTo>
                      <a:cubicBezTo>
                        <a:pt x="89622" y="604388"/>
                        <a:pt x="89462" y="604629"/>
                        <a:pt x="89301" y="604870"/>
                      </a:cubicBezTo>
                      <a:cubicBezTo>
                        <a:pt x="91068" y="602460"/>
                        <a:pt x="92514" y="600613"/>
                        <a:pt x="93960" y="599086"/>
                      </a:cubicBezTo>
                      <a:cubicBezTo>
                        <a:pt x="92193" y="601657"/>
                        <a:pt x="90747" y="604388"/>
                        <a:pt x="88980" y="608806"/>
                      </a:cubicBezTo>
                      <a:cubicBezTo>
                        <a:pt x="88980" y="608485"/>
                        <a:pt x="89060" y="608244"/>
                        <a:pt x="89140" y="608163"/>
                      </a:cubicBezTo>
                      <a:moveTo>
                        <a:pt x="275582" y="770265"/>
                      </a:moveTo>
                      <a:cubicBezTo>
                        <a:pt x="273814" y="771952"/>
                        <a:pt x="272208" y="771551"/>
                        <a:pt x="271646" y="771390"/>
                      </a:cubicBezTo>
                      <a:cubicBezTo>
                        <a:pt x="270762" y="771069"/>
                        <a:pt x="270280" y="770747"/>
                        <a:pt x="269396" y="769944"/>
                      </a:cubicBezTo>
                      <a:cubicBezTo>
                        <a:pt x="269637" y="769944"/>
                        <a:pt x="269959" y="769863"/>
                        <a:pt x="270200" y="769703"/>
                      </a:cubicBezTo>
                      <a:cubicBezTo>
                        <a:pt x="271003" y="769221"/>
                        <a:pt x="271887" y="768900"/>
                        <a:pt x="272850" y="768900"/>
                      </a:cubicBezTo>
                      <a:cubicBezTo>
                        <a:pt x="274136" y="768900"/>
                        <a:pt x="275421" y="769703"/>
                        <a:pt x="275823" y="769944"/>
                      </a:cubicBezTo>
                      <a:cubicBezTo>
                        <a:pt x="275742" y="770024"/>
                        <a:pt x="275662" y="770185"/>
                        <a:pt x="275582" y="770265"/>
                      </a:cubicBezTo>
                      <a:moveTo>
                        <a:pt x="173163" y="753557"/>
                      </a:moveTo>
                      <a:cubicBezTo>
                        <a:pt x="171878" y="752191"/>
                        <a:pt x="172360" y="750022"/>
                        <a:pt x="172521" y="748978"/>
                      </a:cubicBezTo>
                      <a:cubicBezTo>
                        <a:pt x="172119" y="749701"/>
                        <a:pt x="171878" y="750103"/>
                        <a:pt x="171477" y="750585"/>
                      </a:cubicBezTo>
                      <a:cubicBezTo>
                        <a:pt x="174208" y="737652"/>
                        <a:pt x="176778" y="727049"/>
                        <a:pt x="177421" y="725924"/>
                      </a:cubicBezTo>
                      <a:cubicBezTo>
                        <a:pt x="177582" y="726406"/>
                        <a:pt x="177582" y="726406"/>
                        <a:pt x="173565" y="751388"/>
                      </a:cubicBezTo>
                      <a:cubicBezTo>
                        <a:pt x="173967" y="750987"/>
                        <a:pt x="174529" y="750424"/>
                        <a:pt x="174931" y="750022"/>
                      </a:cubicBezTo>
                      <a:cubicBezTo>
                        <a:pt x="174529" y="751388"/>
                        <a:pt x="174047" y="752673"/>
                        <a:pt x="173565" y="753959"/>
                      </a:cubicBezTo>
                      <a:cubicBezTo>
                        <a:pt x="173485" y="753878"/>
                        <a:pt x="173324" y="753718"/>
                        <a:pt x="173163" y="753557"/>
                      </a:cubicBezTo>
                      <a:moveTo>
                        <a:pt x="505320" y="813241"/>
                      </a:moveTo>
                      <a:cubicBezTo>
                        <a:pt x="503954" y="814928"/>
                        <a:pt x="503793" y="816614"/>
                        <a:pt x="503713" y="817418"/>
                      </a:cubicBezTo>
                      <a:cubicBezTo>
                        <a:pt x="503392" y="815891"/>
                        <a:pt x="502749" y="815731"/>
                        <a:pt x="501303" y="816855"/>
                      </a:cubicBezTo>
                      <a:cubicBezTo>
                        <a:pt x="499857" y="815731"/>
                        <a:pt x="499456" y="814928"/>
                        <a:pt x="499616" y="813482"/>
                      </a:cubicBezTo>
                      <a:cubicBezTo>
                        <a:pt x="498010" y="814044"/>
                        <a:pt x="497448" y="814205"/>
                        <a:pt x="497126" y="814205"/>
                      </a:cubicBezTo>
                      <a:cubicBezTo>
                        <a:pt x="497126" y="814205"/>
                        <a:pt x="497046" y="814205"/>
                        <a:pt x="497046" y="814205"/>
                      </a:cubicBezTo>
                      <a:cubicBezTo>
                        <a:pt x="497046" y="814124"/>
                        <a:pt x="497046" y="814124"/>
                        <a:pt x="500821" y="811955"/>
                      </a:cubicBezTo>
                      <a:cubicBezTo>
                        <a:pt x="500580" y="811554"/>
                        <a:pt x="500339" y="811072"/>
                        <a:pt x="500098" y="810670"/>
                      </a:cubicBezTo>
                      <a:cubicBezTo>
                        <a:pt x="502107" y="811955"/>
                        <a:pt x="503311" y="812437"/>
                        <a:pt x="505721" y="812759"/>
                      </a:cubicBezTo>
                      <a:cubicBezTo>
                        <a:pt x="505641" y="812839"/>
                        <a:pt x="505400" y="813080"/>
                        <a:pt x="505320" y="813241"/>
                      </a:cubicBezTo>
                      <a:moveTo>
                        <a:pt x="424429" y="793882"/>
                      </a:moveTo>
                      <a:cubicBezTo>
                        <a:pt x="422903" y="796693"/>
                        <a:pt x="421618" y="798782"/>
                        <a:pt x="419047" y="802236"/>
                      </a:cubicBezTo>
                      <a:cubicBezTo>
                        <a:pt x="417682" y="801272"/>
                        <a:pt x="417762" y="799986"/>
                        <a:pt x="418164" y="799103"/>
                      </a:cubicBezTo>
                      <a:cubicBezTo>
                        <a:pt x="418244" y="799023"/>
                        <a:pt x="418244" y="798862"/>
                        <a:pt x="418324" y="798782"/>
                      </a:cubicBezTo>
                      <a:cubicBezTo>
                        <a:pt x="418565" y="798300"/>
                        <a:pt x="418967" y="797898"/>
                        <a:pt x="419208" y="797336"/>
                      </a:cubicBezTo>
                      <a:cubicBezTo>
                        <a:pt x="419288" y="797255"/>
                        <a:pt x="419208" y="797095"/>
                        <a:pt x="419208" y="797014"/>
                      </a:cubicBezTo>
                      <a:cubicBezTo>
                        <a:pt x="419288" y="796532"/>
                        <a:pt x="419529" y="795809"/>
                        <a:pt x="419851" y="795328"/>
                      </a:cubicBezTo>
                      <a:cubicBezTo>
                        <a:pt x="420493" y="794444"/>
                        <a:pt x="421377" y="794042"/>
                        <a:pt x="422421" y="793641"/>
                      </a:cubicBezTo>
                      <a:lnTo>
                        <a:pt x="422421" y="794524"/>
                      </a:lnTo>
                      <a:cubicBezTo>
                        <a:pt x="423064" y="794283"/>
                        <a:pt x="423867" y="793882"/>
                        <a:pt x="424510" y="793641"/>
                      </a:cubicBezTo>
                      <a:cubicBezTo>
                        <a:pt x="424510" y="793641"/>
                        <a:pt x="424429" y="793801"/>
                        <a:pt x="424429" y="793882"/>
                      </a:cubicBezTo>
                      <a:moveTo>
                        <a:pt x="500821" y="803441"/>
                      </a:moveTo>
                      <a:cubicBezTo>
                        <a:pt x="500500" y="803200"/>
                        <a:pt x="500259" y="802878"/>
                        <a:pt x="500018" y="802637"/>
                      </a:cubicBezTo>
                      <a:cubicBezTo>
                        <a:pt x="499375" y="801995"/>
                        <a:pt x="498813" y="801272"/>
                        <a:pt x="498170" y="800629"/>
                      </a:cubicBezTo>
                      <a:cubicBezTo>
                        <a:pt x="499054" y="801513"/>
                        <a:pt x="500018" y="802396"/>
                        <a:pt x="500821" y="803441"/>
                      </a:cubicBezTo>
                      <a:lnTo>
                        <a:pt x="500821" y="803441"/>
                      </a:lnTo>
                      <a:moveTo>
                        <a:pt x="273814" y="754119"/>
                      </a:moveTo>
                      <a:cubicBezTo>
                        <a:pt x="272047" y="754601"/>
                        <a:pt x="270923" y="754280"/>
                        <a:pt x="270280" y="754119"/>
                      </a:cubicBezTo>
                      <a:cubicBezTo>
                        <a:pt x="268995" y="753637"/>
                        <a:pt x="268031" y="752914"/>
                        <a:pt x="266987" y="751549"/>
                      </a:cubicBezTo>
                      <a:cubicBezTo>
                        <a:pt x="267870" y="750504"/>
                        <a:pt x="269477" y="750344"/>
                        <a:pt x="270682" y="750746"/>
                      </a:cubicBezTo>
                      <a:cubicBezTo>
                        <a:pt x="272529" y="751308"/>
                        <a:pt x="273895" y="753236"/>
                        <a:pt x="274377" y="753878"/>
                      </a:cubicBezTo>
                      <a:cubicBezTo>
                        <a:pt x="274216" y="753959"/>
                        <a:pt x="274055" y="754039"/>
                        <a:pt x="273814" y="754119"/>
                      </a:cubicBezTo>
                      <a:moveTo>
                        <a:pt x="532631" y="801593"/>
                      </a:moveTo>
                      <a:cubicBezTo>
                        <a:pt x="532230" y="802798"/>
                        <a:pt x="531266" y="803039"/>
                        <a:pt x="530703" y="803200"/>
                      </a:cubicBezTo>
                      <a:cubicBezTo>
                        <a:pt x="530623" y="802477"/>
                        <a:pt x="530141" y="801352"/>
                        <a:pt x="529257" y="799103"/>
                      </a:cubicBezTo>
                      <a:cubicBezTo>
                        <a:pt x="528374" y="797014"/>
                        <a:pt x="527972" y="795890"/>
                        <a:pt x="527571" y="794685"/>
                      </a:cubicBezTo>
                      <a:cubicBezTo>
                        <a:pt x="528213" y="794765"/>
                        <a:pt x="528936" y="794765"/>
                        <a:pt x="529579" y="794846"/>
                      </a:cubicBezTo>
                      <a:cubicBezTo>
                        <a:pt x="532230" y="798139"/>
                        <a:pt x="533354" y="799585"/>
                        <a:pt x="532631" y="801593"/>
                      </a:cubicBezTo>
                      <a:moveTo>
                        <a:pt x="451982" y="794203"/>
                      </a:moveTo>
                      <a:cubicBezTo>
                        <a:pt x="451259" y="794605"/>
                        <a:pt x="447323" y="794685"/>
                        <a:pt x="445234" y="794765"/>
                      </a:cubicBezTo>
                      <a:cubicBezTo>
                        <a:pt x="444913" y="794444"/>
                        <a:pt x="444190" y="793560"/>
                        <a:pt x="440656" y="793078"/>
                      </a:cubicBezTo>
                      <a:cubicBezTo>
                        <a:pt x="436559" y="792516"/>
                        <a:pt x="432382" y="792998"/>
                        <a:pt x="428285" y="792436"/>
                      </a:cubicBezTo>
                      <a:cubicBezTo>
                        <a:pt x="422742" y="791552"/>
                        <a:pt x="418967" y="790668"/>
                        <a:pt x="413665" y="789142"/>
                      </a:cubicBezTo>
                      <a:lnTo>
                        <a:pt x="411175" y="787777"/>
                      </a:lnTo>
                      <a:cubicBezTo>
                        <a:pt x="411256" y="787696"/>
                        <a:pt x="419449" y="783359"/>
                        <a:pt x="432864" y="782073"/>
                      </a:cubicBezTo>
                      <a:cubicBezTo>
                        <a:pt x="433185" y="782314"/>
                        <a:pt x="433506" y="782636"/>
                        <a:pt x="433828" y="782877"/>
                      </a:cubicBezTo>
                      <a:cubicBezTo>
                        <a:pt x="429972" y="785367"/>
                        <a:pt x="427321" y="786893"/>
                        <a:pt x="423465" y="788821"/>
                      </a:cubicBezTo>
                      <a:cubicBezTo>
                        <a:pt x="433747" y="788821"/>
                        <a:pt x="439852" y="788982"/>
                        <a:pt x="450616" y="789383"/>
                      </a:cubicBezTo>
                      <a:cubicBezTo>
                        <a:pt x="448528" y="790990"/>
                        <a:pt x="446118" y="791713"/>
                        <a:pt x="442664" y="791793"/>
                      </a:cubicBezTo>
                      <a:cubicBezTo>
                        <a:pt x="450134" y="792998"/>
                        <a:pt x="451902" y="793400"/>
                        <a:pt x="452223" y="793962"/>
                      </a:cubicBezTo>
                      <a:cubicBezTo>
                        <a:pt x="452143" y="794042"/>
                        <a:pt x="452062" y="794123"/>
                        <a:pt x="451982" y="794203"/>
                      </a:cubicBezTo>
                      <a:moveTo>
                        <a:pt x="186578" y="729378"/>
                      </a:moveTo>
                      <a:cubicBezTo>
                        <a:pt x="185132" y="730824"/>
                        <a:pt x="184811" y="729860"/>
                        <a:pt x="184811" y="728816"/>
                      </a:cubicBezTo>
                      <a:cubicBezTo>
                        <a:pt x="184811" y="728334"/>
                        <a:pt x="184891" y="727852"/>
                        <a:pt x="184972" y="727290"/>
                      </a:cubicBezTo>
                      <a:cubicBezTo>
                        <a:pt x="184731" y="727129"/>
                        <a:pt x="184490" y="727049"/>
                        <a:pt x="184249" y="726888"/>
                      </a:cubicBezTo>
                      <a:cubicBezTo>
                        <a:pt x="176618" y="722229"/>
                        <a:pt x="179831" y="718534"/>
                        <a:pt x="180875" y="717329"/>
                      </a:cubicBezTo>
                      <a:cubicBezTo>
                        <a:pt x="180875" y="717168"/>
                        <a:pt x="180955" y="716847"/>
                        <a:pt x="180955" y="716686"/>
                      </a:cubicBezTo>
                      <a:cubicBezTo>
                        <a:pt x="182241" y="716927"/>
                        <a:pt x="184490" y="717409"/>
                        <a:pt x="185534" y="711626"/>
                      </a:cubicBezTo>
                      <a:cubicBezTo>
                        <a:pt x="185695" y="710662"/>
                        <a:pt x="186819" y="706003"/>
                        <a:pt x="191077" y="708975"/>
                      </a:cubicBezTo>
                      <a:cubicBezTo>
                        <a:pt x="189791" y="709457"/>
                        <a:pt x="188506" y="710019"/>
                        <a:pt x="187221" y="710582"/>
                      </a:cubicBezTo>
                      <a:cubicBezTo>
                        <a:pt x="186819" y="712188"/>
                        <a:pt x="185855" y="715963"/>
                        <a:pt x="190916" y="713072"/>
                      </a:cubicBezTo>
                      <a:cubicBezTo>
                        <a:pt x="191157" y="712911"/>
                        <a:pt x="191478" y="712750"/>
                        <a:pt x="191639" y="712590"/>
                      </a:cubicBezTo>
                      <a:cubicBezTo>
                        <a:pt x="183847" y="717570"/>
                        <a:pt x="182321" y="723032"/>
                        <a:pt x="186819" y="729137"/>
                      </a:cubicBezTo>
                      <a:cubicBezTo>
                        <a:pt x="186739" y="729218"/>
                        <a:pt x="186659" y="729298"/>
                        <a:pt x="186578" y="729378"/>
                      </a:cubicBezTo>
                      <a:moveTo>
                        <a:pt x="192764" y="784162"/>
                      </a:moveTo>
                      <a:cubicBezTo>
                        <a:pt x="191880" y="783680"/>
                        <a:pt x="191398" y="783118"/>
                        <a:pt x="191398" y="781511"/>
                      </a:cubicBezTo>
                      <a:cubicBezTo>
                        <a:pt x="190996" y="776209"/>
                        <a:pt x="189550" y="768819"/>
                        <a:pt x="191398" y="763919"/>
                      </a:cubicBezTo>
                      <a:cubicBezTo>
                        <a:pt x="192201" y="761831"/>
                        <a:pt x="194450" y="755083"/>
                        <a:pt x="190836" y="753396"/>
                      </a:cubicBezTo>
                      <a:cubicBezTo>
                        <a:pt x="190113" y="752673"/>
                        <a:pt x="187783" y="750424"/>
                        <a:pt x="188345" y="746086"/>
                      </a:cubicBezTo>
                      <a:cubicBezTo>
                        <a:pt x="188506" y="744400"/>
                        <a:pt x="188988" y="742150"/>
                        <a:pt x="189470" y="740463"/>
                      </a:cubicBezTo>
                      <a:cubicBezTo>
                        <a:pt x="190032" y="738536"/>
                        <a:pt x="191880" y="736447"/>
                        <a:pt x="192442" y="734519"/>
                      </a:cubicBezTo>
                      <a:cubicBezTo>
                        <a:pt x="193406" y="731387"/>
                        <a:pt x="193085" y="728013"/>
                        <a:pt x="194209" y="724880"/>
                      </a:cubicBezTo>
                      <a:cubicBezTo>
                        <a:pt x="196780" y="717972"/>
                        <a:pt x="203206" y="715160"/>
                        <a:pt x="205616" y="714036"/>
                      </a:cubicBezTo>
                      <a:cubicBezTo>
                        <a:pt x="204652" y="716365"/>
                        <a:pt x="203126" y="718293"/>
                        <a:pt x="202082" y="720542"/>
                      </a:cubicBezTo>
                      <a:cubicBezTo>
                        <a:pt x="203367" y="719337"/>
                        <a:pt x="204250" y="719016"/>
                        <a:pt x="205696" y="719257"/>
                      </a:cubicBezTo>
                      <a:cubicBezTo>
                        <a:pt x="199832" y="730824"/>
                        <a:pt x="196539" y="765686"/>
                        <a:pt x="196539" y="765927"/>
                      </a:cubicBezTo>
                      <a:cubicBezTo>
                        <a:pt x="196860" y="774282"/>
                        <a:pt x="193968" y="781190"/>
                        <a:pt x="192764" y="784162"/>
                      </a:cubicBezTo>
                      <a:moveTo>
                        <a:pt x="525321" y="794524"/>
                      </a:moveTo>
                      <a:cubicBezTo>
                        <a:pt x="524920" y="794605"/>
                        <a:pt x="521225" y="795087"/>
                        <a:pt x="517048" y="795488"/>
                      </a:cubicBezTo>
                      <a:cubicBezTo>
                        <a:pt x="518092" y="794846"/>
                        <a:pt x="520582" y="793239"/>
                        <a:pt x="517770" y="792596"/>
                      </a:cubicBezTo>
                      <a:cubicBezTo>
                        <a:pt x="516566" y="792355"/>
                        <a:pt x="514879" y="792275"/>
                        <a:pt x="514075" y="792275"/>
                      </a:cubicBezTo>
                      <a:cubicBezTo>
                        <a:pt x="515843" y="791472"/>
                        <a:pt x="519859" y="789544"/>
                        <a:pt x="516325" y="788178"/>
                      </a:cubicBezTo>
                      <a:cubicBezTo>
                        <a:pt x="516164" y="788098"/>
                        <a:pt x="515843" y="788018"/>
                        <a:pt x="515682" y="787937"/>
                      </a:cubicBezTo>
                      <a:cubicBezTo>
                        <a:pt x="518815" y="787214"/>
                        <a:pt x="520020" y="788500"/>
                        <a:pt x="520903" y="789865"/>
                      </a:cubicBezTo>
                      <a:cubicBezTo>
                        <a:pt x="520823" y="790427"/>
                        <a:pt x="520582" y="790990"/>
                        <a:pt x="520582" y="791633"/>
                      </a:cubicBezTo>
                      <a:cubicBezTo>
                        <a:pt x="520582" y="792034"/>
                        <a:pt x="520662" y="792275"/>
                        <a:pt x="520984" y="792596"/>
                      </a:cubicBezTo>
                      <a:cubicBezTo>
                        <a:pt x="521466" y="793078"/>
                        <a:pt x="522510" y="793159"/>
                        <a:pt x="524116" y="792918"/>
                      </a:cubicBezTo>
                      <a:cubicBezTo>
                        <a:pt x="524598" y="793400"/>
                        <a:pt x="525241" y="793962"/>
                        <a:pt x="525723" y="794444"/>
                      </a:cubicBezTo>
                      <a:cubicBezTo>
                        <a:pt x="525723" y="794444"/>
                        <a:pt x="525482" y="794524"/>
                        <a:pt x="525321" y="794524"/>
                      </a:cubicBezTo>
                      <a:moveTo>
                        <a:pt x="157660" y="681744"/>
                      </a:moveTo>
                      <a:cubicBezTo>
                        <a:pt x="157339" y="682306"/>
                        <a:pt x="157178" y="682386"/>
                        <a:pt x="157018" y="682627"/>
                      </a:cubicBezTo>
                      <a:cubicBezTo>
                        <a:pt x="155973" y="683591"/>
                        <a:pt x="154929" y="684877"/>
                        <a:pt x="153885" y="686403"/>
                      </a:cubicBezTo>
                      <a:cubicBezTo>
                        <a:pt x="154608" y="683752"/>
                        <a:pt x="156214" y="680860"/>
                        <a:pt x="158142" y="678772"/>
                      </a:cubicBezTo>
                      <a:cubicBezTo>
                        <a:pt x="158222" y="679253"/>
                        <a:pt x="158463" y="680378"/>
                        <a:pt x="157660" y="681744"/>
                      </a:cubicBezTo>
                      <a:moveTo>
                        <a:pt x="588861" y="796291"/>
                      </a:moveTo>
                      <a:cubicBezTo>
                        <a:pt x="587495" y="793882"/>
                        <a:pt x="585808" y="791873"/>
                        <a:pt x="583880" y="790427"/>
                      </a:cubicBezTo>
                      <a:cubicBezTo>
                        <a:pt x="585246" y="788098"/>
                        <a:pt x="586772" y="786170"/>
                        <a:pt x="587897" y="790026"/>
                      </a:cubicBezTo>
                      <a:cubicBezTo>
                        <a:pt x="588138" y="790910"/>
                        <a:pt x="588138" y="790910"/>
                        <a:pt x="589021" y="796532"/>
                      </a:cubicBezTo>
                      <a:cubicBezTo>
                        <a:pt x="588941" y="796452"/>
                        <a:pt x="588861" y="796372"/>
                        <a:pt x="588861" y="796291"/>
                      </a:cubicBezTo>
                      <a:moveTo>
                        <a:pt x="179911" y="691624"/>
                      </a:moveTo>
                      <a:cubicBezTo>
                        <a:pt x="179831" y="691704"/>
                        <a:pt x="177983" y="692508"/>
                        <a:pt x="177180" y="692909"/>
                      </a:cubicBezTo>
                      <a:cubicBezTo>
                        <a:pt x="178063" y="692427"/>
                        <a:pt x="178947" y="692026"/>
                        <a:pt x="179911" y="691624"/>
                      </a:cubicBezTo>
                      <a:lnTo>
                        <a:pt x="179911" y="691624"/>
                      </a:lnTo>
                      <a:moveTo>
                        <a:pt x="520020" y="786090"/>
                      </a:moveTo>
                      <a:cubicBezTo>
                        <a:pt x="516084" y="785849"/>
                        <a:pt x="513433" y="786491"/>
                        <a:pt x="511184" y="787295"/>
                      </a:cubicBezTo>
                      <a:lnTo>
                        <a:pt x="510139" y="785688"/>
                      </a:lnTo>
                      <a:lnTo>
                        <a:pt x="510943" y="785849"/>
                      </a:lnTo>
                      <a:cubicBezTo>
                        <a:pt x="520421" y="786491"/>
                        <a:pt x="518574" y="782957"/>
                        <a:pt x="517931" y="781832"/>
                      </a:cubicBezTo>
                      <a:cubicBezTo>
                        <a:pt x="520341" y="780788"/>
                        <a:pt x="520502" y="782796"/>
                        <a:pt x="520582" y="786090"/>
                      </a:cubicBezTo>
                      <a:cubicBezTo>
                        <a:pt x="520421" y="786170"/>
                        <a:pt x="520180" y="786090"/>
                        <a:pt x="520020" y="786090"/>
                      </a:cubicBezTo>
                      <a:moveTo>
                        <a:pt x="613521" y="798782"/>
                      </a:moveTo>
                      <a:cubicBezTo>
                        <a:pt x="613280" y="799183"/>
                        <a:pt x="611353" y="802396"/>
                        <a:pt x="606453" y="800870"/>
                      </a:cubicBezTo>
                      <a:cubicBezTo>
                        <a:pt x="585005" y="794364"/>
                        <a:pt x="585326" y="805128"/>
                        <a:pt x="585407" y="809144"/>
                      </a:cubicBezTo>
                      <a:cubicBezTo>
                        <a:pt x="584282" y="809305"/>
                        <a:pt x="580346" y="809786"/>
                        <a:pt x="576651" y="807136"/>
                      </a:cubicBezTo>
                      <a:cubicBezTo>
                        <a:pt x="580426" y="803119"/>
                        <a:pt x="580426" y="800147"/>
                        <a:pt x="576731" y="795006"/>
                      </a:cubicBezTo>
                      <a:cubicBezTo>
                        <a:pt x="578338" y="796050"/>
                        <a:pt x="579141" y="797898"/>
                        <a:pt x="580908" y="798701"/>
                      </a:cubicBezTo>
                      <a:cubicBezTo>
                        <a:pt x="580989" y="798701"/>
                        <a:pt x="581069" y="798701"/>
                        <a:pt x="581149" y="798621"/>
                      </a:cubicBezTo>
                      <a:cubicBezTo>
                        <a:pt x="582595" y="798380"/>
                        <a:pt x="584523" y="798701"/>
                        <a:pt x="585166" y="798782"/>
                      </a:cubicBezTo>
                      <a:cubicBezTo>
                        <a:pt x="584925" y="798380"/>
                        <a:pt x="584603" y="797898"/>
                        <a:pt x="584362" y="797577"/>
                      </a:cubicBezTo>
                      <a:cubicBezTo>
                        <a:pt x="586290" y="797898"/>
                        <a:pt x="587977" y="797898"/>
                        <a:pt x="589584" y="797737"/>
                      </a:cubicBezTo>
                      <a:cubicBezTo>
                        <a:pt x="589343" y="797336"/>
                        <a:pt x="589182" y="796854"/>
                        <a:pt x="588941" y="796452"/>
                      </a:cubicBezTo>
                      <a:cubicBezTo>
                        <a:pt x="590066" y="796291"/>
                        <a:pt x="593359" y="795890"/>
                        <a:pt x="598661" y="796291"/>
                      </a:cubicBezTo>
                      <a:cubicBezTo>
                        <a:pt x="595287" y="793721"/>
                        <a:pt x="595046" y="791311"/>
                        <a:pt x="597697" y="785688"/>
                      </a:cubicBezTo>
                      <a:cubicBezTo>
                        <a:pt x="598741" y="795970"/>
                        <a:pt x="607095" y="797898"/>
                        <a:pt x="613923" y="797737"/>
                      </a:cubicBezTo>
                      <a:cubicBezTo>
                        <a:pt x="613843" y="798139"/>
                        <a:pt x="613682" y="798541"/>
                        <a:pt x="613521" y="798782"/>
                      </a:cubicBezTo>
                      <a:moveTo>
                        <a:pt x="243932" y="721908"/>
                      </a:moveTo>
                      <a:cubicBezTo>
                        <a:pt x="238309" y="722309"/>
                        <a:pt x="233490" y="724077"/>
                        <a:pt x="231883" y="724639"/>
                      </a:cubicBezTo>
                      <a:cubicBezTo>
                        <a:pt x="232044" y="724237"/>
                        <a:pt x="232205" y="723916"/>
                        <a:pt x="232365" y="723514"/>
                      </a:cubicBezTo>
                      <a:cubicBezTo>
                        <a:pt x="234695" y="722470"/>
                        <a:pt x="235980" y="721265"/>
                        <a:pt x="237265" y="718695"/>
                      </a:cubicBezTo>
                      <a:cubicBezTo>
                        <a:pt x="240157" y="718614"/>
                        <a:pt x="242246" y="719578"/>
                        <a:pt x="244254" y="721827"/>
                      </a:cubicBezTo>
                      <a:cubicBezTo>
                        <a:pt x="244254" y="721827"/>
                        <a:pt x="244093" y="721908"/>
                        <a:pt x="243932" y="721908"/>
                      </a:cubicBezTo>
                      <a:moveTo>
                        <a:pt x="572956" y="791311"/>
                      </a:moveTo>
                      <a:cubicBezTo>
                        <a:pt x="570867" y="789544"/>
                        <a:pt x="568698" y="788178"/>
                        <a:pt x="567895" y="787616"/>
                      </a:cubicBezTo>
                      <a:cubicBezTo>
                        <a:pt x="567895" y="790186"/>
                        <a:pt x="567975" y="792757"/>
                        <a:pt x="568056" y="795408"/>
                      </a:cubicBezTo>
                      <a:cubicBezTo>
                        <a:pt x="565646" y="792837"/>
                        <a:pt x="564843" y="789865"/>
                        <a:pt x="565566" y="786331"/>
                      </a:cubicBezTo>
                      <a:cubicBezTo>
                        <a:pt x="565887" y="786331"/>
                        <a:pt x="566369" y="786331"/>
                        <a:pt x="566771" y="786331"/>
                      </a:cubicBezTo>
                      <a:cubicBezTo>
                        <a:pt x="567092" y="782716"/>
                        <a:pt x="567574" y="780065"/>
                        <a:pt x="568297" y="777414"/>
                      </a:cubicBezTo>
                      <a:cubicBezTo>
                        <a:pt x="569341" y="782154"/>
                        <a:pt x="570787" y="786090"/>
                        <a:pt x="573197" y="791552"/>
                      </a:cubicBezTo>
                      <a:cubicBezTo>
                        <a:pt x="573116" y="791472"/>
                        <a:pt x="573036" y="791392"/>
                        <a:pt x="572956" y="791311"/>
                      </a:cubicBezTo>
                      <a:moveTo>
                        <a:pt x="489897" y="768337"/>
                      </a:moveTo>
                      <a:cubicBezTo>
                        <a:pt x="485077" y="771711"/>
                        <a:pt x="479293" y="773157"/>
                        <a:pt x="472787" y="772514"/>
                      </a:cubicBezTo>
                      <a:cubicBezTo>
                        <a:pt x="472064" y="772434"/>
                        <a:pt x="471421" y="772354"/>
                        <a:pt x="470698" y="772193"/>
                      </a:cubicBezTo>
                      <a:cubicBezTo>
                        <a:pt x="472546" y="772193"/>
                        <a:pt x="473188" y="771952"/>
                        <a:pt x="473349" y="770988"/>
                      </a:cubicBezTo>
                      <a:cubicBezTo>
                        <a:pt x="475679" y="769944"/>
                        <a:pt x="483631" y="768096"/>
                        <a:pt x="490861" y="767614"/>
                      </a:cubicBezTo>
                      <a:cubicBezTo>
                        <a:pt x="490620" y="767855"/>
                        <a:pt x="490218" y="768096"/>
                        <a:pt x="489897" y="768337"/>
                      </a:cubicBezTo>
                      <a:moveTo>
                        <a:pt x="230759" y="705039"/>
                      </a:moveTo>
                      <a:cubicBezTo>
                        <a:pt x="229473" y="705440"/>
                        <a:pt x="228268" y="705440"/>
                        <a:pt x="227224" y="705039"/>
                      </a:cubicBezTo>
                      <a:cubicBezTo>
                        <a:pt x="226742" y="704798"/>
                        <a:pt x="226501" y="704557"/>
                        <a:pt x="226180" y="704155"/>
                      </a:cubicBezTo>
                      <a:cubicBezTo>
                        <a:pt x="229795" y="702870"/>
                        <a:pt x="232044" y="702227"/>
                        <a:pt x="231000" y="704959"/>
                      </a:cubicBezTo>
                      <a:cubicBezTo>
                        <a:pt x="230919" y="705039"/>
                        <a:pt x="230839" y="705039"/>
                        <a:pt x="230759" y="705039"/>
                      </a:cubicBezTo>
                      <a:moveTo>
                        <a:pt x="119986" y="543098"/>
                      </a:moveTo>
                      <a:cubicBezTo>
                        <a:pt x="119344" y="543740"/>
                        <a:pt x="118781" y="544383"/>
                        <a:pt x="118139" y="545106"/>
                      </a:cubicBezTo>
                      <a:cubicBezTo>
                        <a:pt x="119103" y="543740"/>
                        <a:pt x="120067" y="542214"/>
                        <a:pt x="121272" y="540206"/>
                      </a:cubicBezTo>
                      <a:cubicBezTo>
                        <a:pt x="120227" y="541973"/>
                        <a:pt x="119826" y="542937"/>
                        <a:pt x="119986" y="543098"/>
                      </a:cubicBezTo>
                      <a:cubicBezTo>
                        <a:pt x="119986" y="543098"/>
                        <a:pt x="119986" y="543098"/>
                        <a:pt x="119986" y="543098"/>
                      </a:cubicBezTo>
                      <a:moveTo>
                        <a:pt x="233972" y="700460"/>
                      </a:moveTo>
                      <a:cubicBezTo>
                        <a:pt x="232847" y="701826"/>
                        <a:pt x="232847" y="701826"/>
                        <a:pt x="232365" y="702067"/>
                      </a:cubicBezTo>
                      <a:cubicBezTo>
                        <a:pt x="231562" y="702468"/>
                        <a:pt x="230919" y="702388"/>
                        <a:pt x="230437" y="702308"/>
                      </a:cubicBezTo>
                      <a:cubicBezTo>
                        <a:pt x="231562" y="700541"/>
                        <a:pt x="232927" y="699737"/>
                        <a:pt x="234534" y="699898"/>
                      </a:cubicBezTo>
                      <a:cubicBezTo>
                        <a:pt x="234454" y="700058"/>
                        <a:pt x="234213" y="700219"/>
                        <a:pt x="233972" y="700460"/>
                      </a:cubicBezTo>
                      <a:moveTo>
                        <a:pt x="164890" y="655717"/>
                      </a:moveTo>
                      <a:cubicBezTo>
                        <a:pt x="164568" y="655557"/>
                        <a:pt x="164327" y="655476"/>
                        <a:pt x="164167" y="655316"/>
                      </a:cubicBezTo>
                      <a:cubicBezTo>
                        <a:pt x="163604" y="654834"/>
                        <a:pt x="164167" y="654352"/>
                        <a:pt x="165773" y="653950"/>
                      </a:cubicBezTo>
                      <a:cubicBezTo>
                        <a:pt x="165532" y="654513"/>
                        <a:pt x="165211" y="655155"/>
                        <a:pt x="164890" y="655717"/>
                      </a:cubicBezTo>
                      <a:moveTo>
                        <a:pt x="158222" y="649693"/>
                      </a:moveTo>
                      <a:cubicBezTo>
                        <a:pt x="156134" y="653549"/>
                        <a:pt x="154367" y="656280"/>
                        <a:pt x="153804" y="657163"/>
                      </a:cubicBezTo>
                      <a:cubicBezTo>
                        <a:pt x="154768" y="651942"/>
                        <a:pt x="155813" y="649853"/>
                        <a:pt x="157259" y="649693"/>
                      </a:cubicBezTo>
                      <a:cubicBezTo>
                        <a:pt x="157419" y="649371"/>
                        <a:pt x="157660" y="648890"/>
                        <a:pt x="157981" y="648649"/>
                      </a:cubicBezTo>
                      <a:cubicBezTo>
                        <a:pt x="158062" y="648568"/>
                        <a:pt x="159106" y="647604"/>
                        <a:pt x="160632" y="644873"/>
                      </a:cubicBezTo>
                      <a:cubicBezTo>
                        <a:pt x="160150" y="645837"/>
                        <a:pt x="159427" y="647444"/>
                        <a:pt x="158222" y="649693"/>
                      </a:cubicBezTo>
                      <a:moveTo>
                        <a:pt x="164247" y="648327"/>
                      </a:moveTo>
                      <a:cubicBezTo>
                        <a:pt x="163926" y="648970"/>
                        <a:pt x="163524" y="649532"/>
                        <a:pt x="163203" y="650175"/>
                      </a:cubicBezTo>
                      <a:cubicBezTo>
                        <a:pt x="163524" y="649532"/>
                        <a:pt x="163926" y="648970"/>
                        <a:pt x="164247" y="648327"/>
                      </a:cubicBezTo>
                      <a:lnTo>
                        <a:pt x="164247" y="648327"/>
                      </a:lnTo>
                      <a:moveTo>
                        <a:pt x="157901" y="642945"/>
                      </a:moveTo>
                      <a:cubicBezTo>
                        <a:pt x="155250" y="644150"/>
                        <a:pt x="153644" y="646640"/>
                        <a:pt x="153162" y="647444"/>
                      </a:cubicBezTo>
                      <a:cubicBezTo>
                        <a:pt x="154608" y="641259"/>
                        <a:pt x="155572" y="637162"/>
                        <a:pt x="156214" y="636358"/>
                      </a:cubicBezTo>
                      <a:cubicBezTo>
                        <a:pt x="156214" y="636358"/>
                        <a:pt x="156295" y="636358"/>
                        <a:pt x="156295" y="636358"/>
                      </a:cubicBezTo>
                      <a:cubicBezTo>
                        <a:pt x="156455" y="636680"/>
                        <a:pt x="156455" y="638286"/>
                        <a:pt x="156054" y="642383"/>
                      </a:cubicBezTo>
                      <a:cubicBezTo>
                        <a:pt x="158222" y="640455"/>
                        <a:pt x="159990" y="638206"/>
                        <a:pt x="161034" y="636599"/>
                      </a:cubicBezTo>
                      <a:cubicBezTo>
                        <a:pt x="158222" y="642785"/>
                        <a:pt x="158222" y="642785"/>
                        <a:pt x="157901" y="642945"/>
                      </a:cubicBezTo>
                      <a:moveTo>
                        <a:pt x="470056" y="749380"/>
                      </a:moveTo>
                      <a:cubicBezTo>
                        <a:pt x="469654" y="750585"/>
                        <a:pt x="468449" y="751549"/>
                        <a:pt x="467887" y="752111"/>
                      </a:cubicBezTo>
                      <a:lnTo>
                        <a:pt x="467244" y="751709"/>
                      </a:lnTo>
                      <a:cubicBezTo>
                        <a:pt x="467485" y="751549"/>
                        <a:pt x="467806" y="751308"/>
                        <a:pt x="468047" y="751147"/>
                      </a:cubicBezTo>
                      <a:cubicBezTo>
                        <a:pt x="463308" y="749862"/>
                        <a:pt x="461541" y="748014"/>
                        <a:pt x="462023" y="744641"/>
                      </a:cubicBezTo>
                      <a:cubicBezTo>
                        <a:pt x="469734" y="745524"/>
                        <a:pt x="470698" y="747693"/>
                        <a:pt x="470056" y="749380"/>
                      </a:cubicBezTo>
                      <a:moveTo>
                        <a:pt x="238068" y="686804"/>
                      </a:moveTo>
                      <a:cubicBezTo>
                        <a:pt x="237024" y="687286"/>
                        <a:pt x="236060" y="687286"/>
                        <a:pt x="235659" y="687206"/>
                      </a:cubicBezTo>
                      <a:cubicBezTo>
                        <a:pt x="235418" y="687929"/>
                        <a:pt x="235096" y="688813"/>
                        <a:pt x="234855" y="689535"/>
                      </a:cubicBezTo>
                      <a:cubicBezTo>
                        <a:pt x="233168" y="688250"/>
                        <a:pt x="231642" y="688170"/>
                        <a:pt x="230919" y="688090"/>
                      </a:cubicBezTo>
                      <a:cubicBezTo>
                        <a:pt x="231241" y="687688"/>
                        <a:pt x="231723" y="687126"/>
                        <a:pt x="232044" y="686724"/>
                      </a:cubicBezTo>
                      <a:cubicBezTo>
                        <a:pt x="234052" y="686563"/>
                        <a:pt x="235739" y="686563"/>
                        <a:pt x="238390" y="686563"/>
                      </a:cubicBezTo>
                      <a:cubicBezTo>
                        <a:pt x="238309" y="686644"/>
                        <a:pt x="238149" y="686724"/>
                        <a:pt x="238068" y="686804"/>
                      </a:cubicBezTo>
                      <a:moveTo>
                        <a:pt x="123119" y="569204"/>
                      </a:moveTo>
                      <a:cubicBezTo>
                        <a:pt x="122958" y="567758"/>
                        <a:pt x="122717" y="566393"/>
                        <a:pt x="121432" y="567758"/>
                      </a:cubicBezTo>
                      <a:cubicBezTo>
                        <a:pt x="120468" y="568803"/>
                        <a:pt x="119183" y="571293"/>
                        <a:pt x="118621" y="572498"/>
                      </a:cubicBezTo>
                      <a:cubicBezTo>
                        <a:pt x="120709" y="567357"/>
                        <a:pt x="122075" y="563501"/>
                        <a:pt x="123199" y="559565"/>
                      </a:cubicBezTo>
                      <a:cubicBezTo>
                        <a:pt x="123199" y="559806"/>
                        <a:pt x="123119" y="560047"/>
                        <a:pt x="123119" y="560288"/>
                      </a:cubicBezTo>
                      <a:cubicBezTo>
                        <a:pt x="123119" y="560368"/>
                        <a:pt x="123199" y="560529"/>
                        <a:pt x="123199" y="560609"/>
                      </a:cubicBezTo>
                      <a:cubicBezTo>
                        <a:pt x="123280" y="560609"/>
                        <a:pt x="123280" y="560609"/>
                        <a:pt x="123360" y="560609"/>
                      </a:cubicBezTo>
                      <a:cubicBezTo>
                        <a:pt x="123762" y="560208"/>
                        <a:pt x="124083" y="559806"/>
                        <a:pt x="125770" y="556111"/>
                      </a:cubicBezTo>
                      <a:cubicBezTo>
                        <a:pt x="125127" y="558039"/>
                        <a:pt x="123601" y="562055"/>
                        <a:pt x="123119" y="569204"/>
                      </a:cubicBezTo>
                      <a:cubicBezTo>
                        <a:pt x="123119" y="569204"/>
                        <a:pt x="123119" y="569204"/>
                        <a:pt x="123119" y="569204"/>
                      </a:cubicBezTo>
                      <a:moveTo>
                        <a:pt x="446439" y="744400"/>
                      </a:moveTo>
                      <a:cubicBezTo>
                        <a:pt x="446038" y="745123"/>
                        <a:pt x="444592" y="744962"/>
                        <a:pt x="443949" y="744882"/>
                      </a:cubicBezTo>
                      <a:cubicBezTo>
                        <a:pt x="442664" y="744721"/>
                        <a:pt x="441379" y="744319"/>
                        <a:pt x="439370" y="743677"/>
                      </a:cubicBezTo>
                      <a:cubicBezTo>
                        <a:pt x="439370" y="743677"/>
                        <a:pt x="442262" y="741428"/>
                        <a:pt x="444029" y="736608"/>
                      </a:cubicBezTo>
                      <a:cubicBezTo>
                        <a:pt x="444592" y="737973"/>
                        <a:pt x="444672" y="739018"/>
                        <a:pt x="444110" y="740062"/>
                      </a:cubicBezTo>
                      <a:cubicBezTo>
                        <a:pt x="445475" y="741588"/>
                        <a:pt x="446921" y="743516"/>
                        <a:pt x="446439" y="744400"/>
                      </a:cubicBezTo>
                      <a:moveTo>
                        <a:pt x="540744" y="756850"/>
                      </a:moveTo>
                      <a:cubicBezTo>
                        <a:pt x="538415" y="754842"/>
                        <a:pt x="535925" y="751388"/>
                        <a:pt x="537692" y="746809"/>
                      </a:cubicBezTo>
                      <a:cubicBezTo>
                        <a:pt x="538174" y="746327"/>
                        <a:pt x="538816" y="745765"/>
                        <a:pt x="539298" y="745283"/>
                      </a:cubicBezTo>
                      <a:cubicBezTo>
                        <a:pt x="537049" y="749701"/>
                        <a:pt x="537612" y="753477"/>
                        <a:pt x="541066" y="757091"/>
                      </a:cubicBezTo>
                      <a:cubicBezTo>
                        <a:pt x="540905" y="757011"/>
                        <a:pt x="540825" y="756931"/>
                        <a:pt x="540744" y="756850"/>
                      </a:cubicBezTo>
                      <a:moveTo>
                        <a:pt x="161355" y="635394"/>
                      </a:moveTo>
                      <a:cubicBezTo>
                        <a:pt x="160954" y="634109"/>
                        <a:pt x="161596" y="632663"/>
                        <a:pt x="161837" y="632101"/>
                      </a:cubicBezTo>
                      <a:cubicBezTo>
                        <a:pt x="162239" y="631137"/>
                        <a:pt x="164568" y="627281"/>
                        <a:pt x="164970" y="627121"/>
                      </a:cubicBezTo>
                      <a:cubicBezTo>
                        <a:pt x="164970" y="627121"/>
                        <a:pt x="164970" y="627121"/>
                        <a:pt x="165050" y="627121"/>
                      </a:cubicBezTo>
                      <a:cubicBezTo>
                        <a:pt x="165050" y="627603"/>
                        <a:pt x="163765" y="630655"/>
                        <a:pt x="161516" y="635635"/>
                      </a:cubicBezTo>
                      <a:cubicBezTo>
                        <a:pt x="161355" y="635555"/>
                        <a:pt x="161355" y="635475"/>
                        <a:pt x="161355" y="635394"/>
                      </a:cubicBezTo>
                      <a:moveTo>
                        <a:pt x="231482" y="658690"/>
                      </a:moveTo>
                      <a:cubicBezTo>
                        <a:pt x="227224" y="661742"/>
                        <a:pt x="220798" y="665517"/>
                        <a:pt x="214131" y="665999"/>
                      </a:cubicBezTo>
                      <a:cubicBezTo>
                        <a:pt x="215657" y="663108"/>
                        <a:pt x="217505" y="661019"/>
                        <a:pt x="221280" y="660457"/>
                      </a:cubicBezTo>
                      <a:cubicBezTo>
                        <a:pt x="221521" y="660296"/>
                        <a:pt x="221762" y="660135"/>
                        <a:pt x="222003" y="659975"/>
                      </a:cubicBezTo>
                      <a:cubicBezTo>
                        <a:pt x="223449" y="664152"/>
                        <a:pt x="227385" y="657083"/>
                        <a:pt x="230196" y="651942"/>
                      </a:cubicBezTo>
                      <a:lnTo>
                        <a:pt x="229714" y="653308"/>
                      </a:lnTo>
                      <a:cubicBezTo>
                        <a:pt x="230839" y="652986"/>
                        <a:pt x="231883" y="652665"/>
                        <a:pt x="233008" y="652424"/>
                      </a:cubicBezTo>
                      <a:cubicBezTo>
                        <a:pt x="230518" y="655075"/>
                        <a:pt x="230277" y="656521"/>
                        <a:pt x="231964" y="658288"/>
                      </a:cubicBezTo>
                      <a:cubicBezTo>
                        <a:pt x="231883" y="658368"/>
                        <a:pt x="231642" y="658529"/>
                        <a:pt x="231482" y="658690"/>
                      </a:cubicBezTo>
                      <a:moveTo>
                        <a:pt x="183124" y="624470"/>
                      </a:moveTo>
                      <a:cubicBezTo>
                        <a:pt x="179831" y="625353"/>
                        <a:pt x="178786" y="625112"/>
                        <a:pt x="178144" y="624631"/>
                      </a:cubicBezTo>
                      <a:cubicBezTo>
                        <a:pt x="176859" y="623104"/>
                        <a:pt x="178947" y="619891"/>
                        <a:pt x="178947" y="619891"/>
                      </a:cubicBezTo>
                      <a:cubicBezTo>
                        <a:pt x="178947" y="619891"/>
                        <a:pt x="181759" y="618445"/>
                        <a:pt x="183365" y="618606"/>
                      </a:cubicBezTo>
                      <a:cubicBezTo>
                        <a:pt x="185855" y="618847"/>
                        <a:pt x="184329" y="622462"/>
                        <a:pt x="183526" y="624390"/>
                      </a:cubicBezTo>
                      <a:cubicBezTo>
                        <a:pt x="183445" y="624309"/>
                        <a:pt x="183204" y="624390"/>
                        <a:pt x="183124" y="624470"/>
                      </a:cubicBezTo>
                      <a:moveTo>
                        <a:pt x="212605" y="635716"/>
                      </a:moveTo>
                      <a:cubicBezTo>
                        <a:pt x="206018" y="644231"/>
                        <a:pt x="194370" y="657806"/>
                        <a:pt x="190514" y="652826"/>
                      </a:cubicBezTo>
                      <a:cubicBezTo>
                        <a:pt x="191719" y="651139"/>
                        <a:pt x="192442" y="650014"/>
                        <a:pt x="193727" y="647926"/>
                      </a:cubicBezTo>
                      <a:cubicBezTo>
                        <a:pt x="194450" y="649050"/>
                        <a:pt x="193808" y="650577"/>
                        <a:pt x="194852" y="651540"/>
                      </a:cubicBezTo>
                      <a:cubicBezTo>
                        <a:pt x="195655" y="651781"/>
                        <a:pt x="196619" y="650255"/>
                        <a:pt x="198788" y="641660"/>
                      </a:cubicBezTo>
                      <a:cubicBezTo>
                        <a:pt x="198949" y="641018"/>
                        <a:pt x="199431" y="639170"/>
                        <a:pt x="200796" y="637885"/>
                      </a:cubicBezTo>
                      <a:cubicBezTo>
                        <a:pt x="200957" y="637724"/>
                        <a:pt x="201118" y="637563"/>
                        <a:pt x="201278" y="637403"/>
                      </a:cubicBezTo>
                      <a:cubicBezTo>
                        <a:pt x="201760" y="637001"/>
                        <a:pt x="202483" y="636840"/>
                        <a:pt x="203045" y="636439"/>
                      </a:cubicBezTo>
                      <a:cubicBezTo>
                        <a:pt x="204813" y="635073"/>
                        <a:pt x="206259" y="633386"/>
                        <a:pt x="208026" y="632021"/>
                      </a:cubicBezTo>
                      <a:cubicBezTo>
                        <a:pt x="208186" y="631860"/>
                        <a:pt x="208427" y="631699"/>
                        <a:pt x="208668" y="631539"/>
                      </a:cubicBezTo>
                      <a:cubicBezTo>
                        <a:pt x="210436" y="630173"/>
                        <a:pt x="211641" y="629370"/>
                        <a:pt x="212364" y="628808"/>
                      </a:cubicBezTo>
                      <a:cubicBezTo>
                        <a:pt x="212123" y="629932"/>
                        <a:pt x="211882" y="630655"/>
                        <a:pt x="211400" y="631860"/>
                      </a:cubicBezTo>
                      <a:cubicBezTo>
                        <a:pt x="211962" y="631458"/>
                        <a:pt x="212765" y="630977"/>
                        <a:pt x="213327" y="630575"/>
                      </a:cubicBezTo>
                      <a:cubicBezTo>
                        <a:pt x="212364" y="631940"/>
                        <a:pt x="211801" y="633065"/>
                        <a:pt x="211159" y="634672"/>
                      </a:cubicBezTo>
                      <a:cubicBezTo>
                        <a:pt x="211801" y="634190"/>
                        <a:pt x="212524" y="633547"/>
                        <a:pt x="213568" y="634270"/>
                      </a:cubicBezTo>
                      <a:cubicBezTo>
                        <a:pt x="213247" y="634832"/>
                        <a:pt x="212926" y="635394"/>
                        <a:pt x="212605" y="635716"/>
                      </a:cubicBezTo>
                      <a:moveTo>
                        <a:pt x="210596" y="618847"/>
                      </a:moveTo>
                      <a:cubicBezTo>
                        <a:pt x="207303" y="624711"/>
                        <a:pt x="203447" y="628647"/>
                        <a:pt x="200395" y="631458"/>
                      </a:cubicBezTo>
                      <a:cubicBezTo>
                        <a:pt x="199350" y="629450"/>
                        <a:pt x="199270" y="627281"/>
                        <a:pt x="202082" y="622783"/>
                      </a:cubicBezTo>
                      <a:cubicBezTo>
                        <a:pt x="202082" y="622703"/>
                        <a:pt x="205375" y="617803"/>
                        <a:pt x="207223" y="616357"/>
                      </a:cubicBezTo>
                      <a:cubicBezTo>
                        <a:pt x="207223" y="616357"/>
                        <a:pt x="208588" y="616276"/>
                        <a:pt x="209793" y="616678"/>
                      </a:cubicBezTo>
                      <a:cubicBezTo>
                        <a:pt x="210355" y="616839"/>
                        <a:pt x="210837" y="617080"/>
                        <a:pt x="211319" y="617321"/>
                      </a:cubicBezTo>
                      <a:cubicBezTo>
                        <a:pt x="211159" y="617883"/>
                        <a:pt x="210918" y="618365"/>
                        <a:pt x="210596" y="618847"/>
                      </a:cubicBezTo>
                      <a:moveTo>
                        <a:pt x="207544" y="614268"/>
                      </a:moveTo>
                      <a:cubicBezTo>
                        <a:pt x="207383" y="611296"/>
                        <a:pt x="208106" y="611296"/>
                        <a:pt x="208749" y="611858"/>
                      </a:cubicBezTo>
                      <a:cubicBezTo>
                        <a:pt x="208909" y="612019"/>
                        <a:pt x="209070" y="612180"/>
                        <a:pt x="209231" y="612340"/>
                      </a:cubicBezTo>
                      <a:lnTo>
                        <a:pt x="207544" y="614268"/>
                      </a:lnTo>
                      <a:moveTo>
                        <a:pt x="171155" y="579245"/>
                      </a:moveTo>
                      <a:cubicBezTo>
                        <a:pt x="169870" y="581253"/>
                        <a:pt x="168504" y="581655"/>
                        <a:pt x="168022" y="581816"/>
                      </a:cubicBezTo>
                      <a:cubicBezTo>
                        <a:pt x="169227" y="575952"/>
                        <a:pt x="170754" y="573462"/>
                        <a:pt x="173404" y="573301"/>
                      </a:cubicBezTo>
                      <a:cubicBezTo>
                        <a:pt x="173244" y="573622"/>
                        <a:pt x="173083" y="573944"/>
                        <a:pt x="173003" y="574265"/>
                      </a:cubicBezTo>
                      <a:cubicBezTo>
                        <a:pt x="172922" y="574908"/>
                        <a:pt x="172441" y="577237"/>
                        <a:pt x="171155" y="579245"/>
                      </a:cubicBezTo>
                      <a:moveTo>
                        <a:pt x="204732" y="598203"/>
                      </a:moveTo>
                      <a:cubicBezTo>
                        <a:pt x="204572" y="597881"/>
                        <a:pt x="204009" y="594749"/>
                        <a:pt x="204009" y="594427"/>
                      </a:cubicBezTo>
                      <a:cubicBezTo>
                        <a:pt x="204170" y="594749"/>
                        <a:pt x="204732" y="598122"/>
                        <a:pt x="204732" y="598203"/>
                      </a:cubicBezTo>
                      <a:moveTo>
                        <a:pt x="199913" y="586475"/>
                      </a:moveTo>
                      <a:cubicBezTo>
                        <a:pt x="199511" y="586475"/>
                        <a:pt x="199029" y="586314"/>
                        <a:pt x="198708" y="586234"/>
                      </a:cubicBezTo>
                      <a:cubicBezTo>
                        <a:pt x="186337" y="583342"/>
                        <a:pt x="180554" y="583342"/>
                        <a:pt x="174288" y="584306"/>
                      </a:cubicBezTo>
                      <a:cubicBezTo>
                        <a:pt x="175011" y="582860"/>
                        <a:pt x="175252" y="582378"/>
                        <a:pt x="175252" y="581976"/>
                      </a:cubicBezTo>
                      <a:cubicBezTo>
                        <a:pt x="175252" y="581976"/>
                        <a:pt x="175172" y="581896"/>
                        <a:pt x="175091" y="581816"/>
                      </a:cubicBezTo>
                      <a:cubicBezTo>
                        <a:pt x="174770" y="581896"/>
                        <a:pt x="174449" y="582137"/>
                        <a:pt x="173244" y="583422"/>
                      </a:cubicBezTo>
                      <a:cubicBezTo>
                        <a:pt x="174770" y="578763"/>
                        <a:pt x="174850" y="578603"/>
                        <a:pt x="175252" y="577960"/>
                      </a:cubicBezTo>
                      <a:cubicBezTo>
                        <a:pt x="175332" y="577960"/>
                        <a:pt x="175332" y="577960"/>
                        <a:pt x="175413" y="577960"/>
                      </a:cubicBezTo>
                      <a:cubicBezTo>
                        <a:pt x="175493" y="578121"/>
                        <a:pt x="175493" y="578201"/>
                        <a:pt x="175573" y="578763"/>
                      </a:cubicBezTo>
                      <a:cubicBezTo>
                        <a:pt x="178144" y="577398"/>
                        <a:pt x="190755" y="570891"/>
                        <a:pt x="190836" y="570891"/>
                      </a:cubicBezTo>
                      <a:cubicBezTo>
                        <a:pt x="193165" y="570409"/>
                        <a:pt x="193326" y="573542"/>
                        <a:pt x="193406" y="574908"/>
                      </a:cubicBezTo>
                      <a:cubicBezTo>
                        <a:pt x="192924" y="575470"/>
                        <a:pt x="192282" y="576273"/>
                        <a:pt x="191800" y="576835"/>
                      </a:cubicBezTo>
                      <a:cubicBezTo>
                        <a:pt x="195575" y="578201"/>
                        <a:pt x="198065" y="581173"/>
                        <a:pt x="200073" y="586635"/>
                      </a:cubicBezTo>
                      <a:cubicBezTo>
                        <a:pt x="199993" y="586475"/>
                        <a:pt x="199913" y="586475"/>
                        <a:pt x="199913" y="586475"/>
                      </a:cubicBezTo>
                      <a:moveTo>
                        <a:pt x="215095" y="574667"/>
                      </a:moveTo>
                      <a:cubicBezTo>
                        <a:pt x="213247" y="574667"/>
                        <a:pt x="212364" y="575550"/>
                        <a:pt x="212042" y="575952"/>
                      </a:cubicBezTo>
                      <a:cubicBezTo>
                        <a:pt x="213327" y="576032"/>
                        <a:pt x="212444" y="577398"/>
                        <a:pt x="212364" y="577398"/>
                      </a:cubicBezTo>
                      <a:cubicBezTo>
                        <a:pt x="212364" y="577398"/>
                        <a:pt x="210596" y="579004"/>
                        <a:pt x="209713" y="579406"/>
                      </a:cubicBezTo>
                      <a:cubicBezTo>
                        <a:pt x="209311" y="579566"/>
                        <a:pt x="209070" y="579325"/>
                        <a:pt x="208990" y="578763"/>
                      </a:cubicBezTo>
                      <a:cubicBezTo>
                        <a:pt x="207624" y="579004"/>
                        <a:pt x="208508" y="577558"/>
                        <a:pt x="210998" y="573783"/>
                      </a:cubicBezTo>
                      <a:cubicBezTo>
                        <a:pt x="211560" y="574024"/>
                        <a:pt x="211400" y="574908"/>
                        <a:pt x="211078" y="575871"/>
                      </a:cubicBezTo>
                      <a:cubicBezTo>
                        <a:pt x="213247" y="572980"/>
                        <a:pt x="214693" y="572578"/>
                        <a:pt x="215416" y="574667"/>
                      </a:cubicBezTo>
                      <a:cubicBezTo>
                        <a:pt x="215175" y="574667"/>
                        <a:pt x="215095" y="574667"/>
                        <a:pt x="215095" y="574667"/>
                      </a:cubicBezTo>
                      <a:moveTo>
                        <a:pt x="180875" y="533298"/>
                      </a:moveTo>
                      <a:cubicBezTo>
                        <a:pt x="180232" y="533378"/>
                        <a:pt x="179670" y="534181"/>
                        <a:pt x="179429" y="534503"/>
                      </a:cubicBezTo>
                      <a:cubicBezTo>
                        <a:pt x="179991" y="530968"/>
                        <a:pt x="180393" y="529281"/>
                        <a:pt x="180714" y="529602"/>
                      </a:cubicBezTo>
                      <a:cubicBezTo>
                        <a:pt x="180955" y="529844"/>
                        <a:pt x="181036" y="532012"/>
                        <a:pt x="181036" y="533298"/>
                      </a:cubicBezTo>
                      <a:cubicBezTo>
                        <a:pt x="180955" y="533298"/>
                        <a:pt x="180875" y="533298"/>
                        <a:pt x="180875" y="533298"/>
                      </a:cubicBezTo>
                      <a:moveTo>
                        <a:pt x="171075" y="456906"/>
                      </a:moveTo>
                      <a:cubicBezTo>
                        <a:pt x="171075" y="456906"/>
                        <a:pt x="174931" y="450399"/>
                        <a:pt x="181437" y="440037"/>
                      </a:cubicBezTo>
                      <a:cubicBezTo>
                        <a:pt x="181116" y="440679"/>
                        <a:pt x="171155" y="456825"/>
                        <a:pt x="171075" y="456906"/>
                      </a:cubicBezTo>
                      <a:moveTo>
                        <a:pt x="233168" y="592901"/>
                      </a:moveTo>
                      <a:lnTo>
                        <a:pt x="231964" y="594267"/>
                      </a:lnTo>
                      <a:cubicBezTo>
                        <a:pt x="232767" y="588644"/>
                        <a:pt x="233490" y="585350"/>
                        <a:pt x="233731" y="584949"/>
                      </a:cubicBezTo>
                      <a:cubicBezTo>
                        <a:pt x="233811" y="584868"/>
                        <a:pt x="233972" y="584868"/>
                        <a:pt x="234052" y="584868"/>
                      </a:cubicBezTo>
                      <a:cubicBezTo>
                        <a:pt x="234855" y="584547"/>
                        <a:pt x="235739" y="583824"/>
                        <a:pt x="235980" y="583503"/>
                      </a:cubicBezTo>
                      <a:cubicBezTo>
                        <a:pt x="236623" y="582780"/>
                        <a:pt x="237185" y="581896"/>
                        <a:pt x="237908" y="581173"/>
                      </a:cubicBezTo>
                      <a:cubicBezTo>
                        <a:pt x="238470" y="580611"/>
                        <a:pt x="238631" y="580611"/>
                        <a:pt x="238711" y="580611"/>
                      </a:cubicBezTo>
                      <a:cubicBezTo>
                        <a:pt x="239113" y="581093"/>
                        <a:pt x="238791" y="581816"/>
                        <a:pt x="233409" y="593865"/>
                      </a:cubicBezTo>
                      <a:lnTo>
                        <a:pt x="233168" y="592901"/>
                      </a:lnTo>
                      <a:moveTo>
                        <a:pt x="175814" y="498355"/>
                      </a:moveTo>
                      <a:cubicBezTo>
                        <a:pt x="174449" y="500122"/>
                        <a:pt x="173404" y="500685"/>
                        <a:pt x="173244" y="500042"/>
                      </a:cubicBezTo>
                      <a:cubicBezTo>
                        <a:pt x="173244" y="499721"/>
                        <a:pt x="173244" y="499479"/>
                        <a:pt x="173404" y="498837"/>
                      </a:cubicBezTo>
                      <a:cubicBezTo>
                        <a:pt x="174770" y="498275"/>
                        <a:pt x="176216" y="496748"/>
                        <a:pt x="177903" y="493937"/>
                      </a:cubicBezTo>
                      <a:cubicBezTo>
                        <a:pt x="177742" y="494660"/>
                        <a:pt x="177260" y="496427"/>
                        <a:pt x="175814" y="498355"/>
                      </a:cubicBezTo>
                      <a:moveTo>
                        <a:pt x="233891" y="568321"/>
                      </a:moveTo>
                      <a:cubicBezTo>
                        <a:pt x="232606" y="569927"/>
                        <a:pt x="231562" y="571775"/>
                        <a:pt x="230116" y="573221"/>
                      </a:cubicBezTo>
                      <a:cubicBezTo>
                        <a:pt x="228509" y="574908"/>
                        <a:pt x="226501" y="576193"/>
                        <a:pt x="224814" y="577719"/>
                      </a:cubicBezTo>
                      <a:cubicBezTo>
                        <a:pt x="226823" y="572498"/>
                        <a:pt x="228108" y="569766"/>
                        <a:pt x="230518" y="565911"/>
                      </a:cubicBezTo>
                      <a:cubicBezTo>
                        <a:pt x="229554" y="566794"/>
                        <a:pt x="229152" y="566955"/>
                        <a:pt x="228831" y="566794"/>
                      </a:cubicBezTo>
                      <a:cubicBezTo>
                        <a:pt x="228670" y="566634"/>
                        <a:pt x="228590" y="566393"/>
                        <a:pt x="228670" y="565750"/>
                      </a:cubicBezTo>
                      <a:cubicBezTo>
                        <a:pt x="228831" y="565830"/>
                        <a:pt x="229072" y="565991"/>
                        <a:pt x="229232" y="566071"/>
                      </a:cubicBezTo>
                      <a:cubicBezTo>
                        <a:pt x="230919" y="564385"/>
                        <a:pt x="231562" y="563903"/>
                        <a:pt x="231883" y="563983"/>
                      </a:cubicBezTo>
                      <a:cubicBezTo>
                        <a:pt x="232124" y="564385"/>
                        <a:pt x="231723" y="565429"/>
                        <a:pt x="230196" y="568240"/>
                      </a:cubicBezTo>
                      <a:lnTo>
                        <a:pt x="230759" y="568321"/>
                      </a:lnTo>
                      <a:cubicBezTo>
                        <a:pt x="230277" y="568722"/>
                        <a:pt x="229714" y="569284"/>
                        <a:pt x="229313" y="569686"/>
                      </a:cubicBezTo>
                      <a:cubicBezTo>
                        <a:pt x="231160" y="570008"/>
                        <a:pt x="232686" y="569365"/>
                        <a:pt x="234534" y="567437"/>
                      </a:cubicBezTo>
                      <a:cubicBezTo>
                        <a:pt x="234373" y="567758"/>
                        <a:pt x="234132" y="568080"/>
                        <a:pt x="233891" y="568321"/>
                      </a:cubicBezTo>
                      <a:moveTo>
                        <a:pt x="201519" y="406701"/>
                      </a:moveTo>
                      <a:cubicBezTo>
                        <a:pt x="203768" y="403568"/>
                        <a:pt x="206018" y="400515"/>
                        <a:pt x="208267" y="397383"/>
                      </a:cubicBezTo>
                      <a:cubicBezTo>
                        <a:pt x="208186" y="397704"/>
                        <a:pt x="203126" y="404612"/>
                        <a:pt x="201359" y="407022"/>
                      </a:cubicBezTo>
                      <a:cubicBezTo>
                        <a:pt x="201359" y="406861"/>
                        <a:pt x="201439" y="406781"/>
                        <a:pt x="201519" y="406701"/>
                      </a:cubicBezTo>
                      <a:moveTo>
                        <a:pt x="245941" y="555548"/>
                      </a:moveTo>
                      <a:cubicBezTo>
                        <a:pt x="245057" y="556914"/>
                        <a:pt x="243209" y="558922"/>
                        <a:pt x="241121" y="560368"/>
                      </a:cubicBezTo>
                      <a:cubicBezTo>
                        <a:pt x="241683" y="558681"/>
                        <a:pt x="242727" y="557396"/>
                        <a:pt x="243129" y="557235"/>
                      </a:cubicBezTo>
                      <a:cubicBezTo>
                        <a:pt x="243772" y="556994"/>
                        <a:pt x="244816" y="556512"/>
                        <a:pt x="246262" y="554986"/>
                      </a:cubicBezTo>
                      <a:cubicBezTo>
                        <a:pt x="246182" y="555227"/>
                        <a:pt x="246101" y="555388"/>
                        <a:pt x="245941" y="555548"/>
                      </a:cubicBezTo>
                      <a:moveTo>
                        <a:pt x="261444" y="539161"/>
                      </a:moveTo>
                      <a:cubicBezTo>
                        <a:pt x="260159" y="541009"/>
                        <a:pt x="258873" y="541571"/>
                        <a:pt x="258311" y="541812"/>
                      </a:cubicBezTo>
                      <a:cubicBezTo>
                        <a:pt x="259918" y="539242"/>
                        <a:pt x="261364" y="537153"/>
                        <a:pt x="263211" y="534824"/>
                      </a:cubicBezTo>
                      <a:cubicBezTo>
                        <a:pt x="263050" y="535547"/>
                        <a:pt x="262649" y="537394"/>
                        <a:pt x="261444" y="539161"/>
                      </a:cubicBezTo>
                      <a:moveTo>
                        <a:pt x="228991" y="509681"/>
                      </a:moveTo>
                      <a:cubicBezTo>
                        <a:pt x="226100" y="509842"/>
                        <a:pt x="224895" y="508235"/>
                        <a:pt x="224493" y="507593"/>
                      </a:cubicBezTo>
                      <a:cubicBezTo>
                        <a:pt x="222244" y="509520"/>
                        <a:pt x="219111" y="511529"/>
                        <a:pt x="215014" y="513376"/>
                      </a:cubicBezTo>
                      <a:cubicBezTo>
                        <a:pt x="215175" y="513537"/>
                        <a:pt x="215336" y="513698"/>
                        <a:pt x="215496" y="513858"/>
                      </a:cubicBezTo>
                      <a:cubicBezTo>
                        <a:pt x="210677" y="517232"/>
                        <a:pt x="201760" y="523417"/>
                        <a:pt x="195013" y="521811"/>
                      </a:cubicBezTo>
                      <a:cubicBezTo>
                        <a:pt x="188988" y="520365"/>
                        <a:pt x="187301" y="510244"/>
                        <a:pt x="187863" y="507111"/>
                      </a:cubicBezTo>
                      <a:cubicBezTo>
                        <a:pt x="188265" y="505022"/>
                        <a:pt x="189068" y="503094"/>
                        <a:pt x="189791" y="501166"/>
                      </a:cubicBezTo>
                      <a:cubicBezTo>
                        <a:pt x="189791" y="502371"/>
                        <a:pt x="189550" y="503496"/>
                        <a:pt x="189068" y="505504"/>
                      </a:cubicBezTo>
                      <a:cubicBezTo>
                        <a:pt x="191639" y="504540"/>
                        <a:pt x="192282" y="505986"/>
                        <a:pt x="191559" y="511368"/>
                      </a:cubicBezTo>
                      <a:cubicBezTo>
                        <a:pt x="191719" y="511288"/>
                        <a:pt x="191880" y="511127"/>
                        <a:pt x="191960" y="510966"/>
                      </a:cubicBezTo>
                      <a:cubicBezTo>
                        <a:pt x="193245" y="509762"/>
                        <a:pt x="193727" y="508155"/>
                        <a:pt x="193808" y="507834"/>
                      </a:cubicBezTo>
                      <a:cubicBezTo>
                        <a:pt x="194290" y="506147"/>
                        <a:pt x="196860" y="503657"/>
                        <a:pt x="196941" y="503657"/>
                      </a:cubicBezTo>
                      <a:cubicBezTo>
                        <a:pt x="199993" y="500845"/>
                        <a:pt x="204491" y="500203"/>
                        <a:pt x="206982" y="496668"/>
                      </a:cubicBezTo>
                      <a:cubicBezTo>
                        <a:pt x="209070" y="493696"/>
                        <a:pt x="210837" y="487109"/>
                        <a:pt x="212042" y="482289"/>
                      </a:cubicBezTo>
                      <a:cubicBezTo>
                        <a:pt x="211560" y="490965"/>
                        <a:pt x="211962" y="499721"/>
                        <a:pt x="210837" y="508396"/>
                      </a:cubicBezTo>
                      <a:cubicBezTo>
                        <a:pt x="219111" y="504219"/>
                        <a:pt x="223368" y="502934"/>
                        <a:pt x="227787" y="503094"/>
                      </a:cubicBezTo>
                      <a:cubicBezTo>
                        <a:pt x="228590" y="506066"/>
                        <a:pt x="229232" y="507834"/>
                        <a:pt x="229714" y="509520"/>
                      </a:cubicBezTo>
                      <a:cubicBezTo>
                        <a:pt x="229554" y="509601"/>
                        <a:pt x="229232" y="509601"/>
                        <a:pt x="228991" y="509681"/>
                      </a:cubicBezTo>
                      <a:moveTo>
                        <a:pt x="230598" y="512011"/>
                      </a:moveTo>
                      <a:cubicBezTo>
                        <a:pt x="229152" y="507593"/>
                        <a:pt x="228188" y="504299"/>
                        <a:pt x="227787" y="503094"/>
                      </a:cubicBezTo>
                      <a:cubicBezTo>
                        <a:pt x="231562" y="503737"/>
                        <a:pt x="232446" y="506548"/>
                        <a:pt x="230678" y="512332"/>
                      </a:cubicBezTo>
                      <a:cubicBezTo>
                        <a:pt x="230678" y="512252"/>
                        <a:pt x="230678" y="512091"/>
                        <a:pt x="230598" y="512011"/>
                      </a:cubicBezTo>
                      <a:moveTo>
                        <a:pt x="291808" y="559243"/>
                      </a:moveTo>
                      <a:cubicBezTo>
                        <a:pt x="291728" y="559243"/>
                        <a:pt x="289478" y="559565"/>
                        <a:pt x="288032" y="556352"/>
                      </a:cubicBezTo>
                      <a:cubicBezTo>
                        <a:pt x="288273" y="556271"/>
                        <a:pt x="288595" y="556271"/>
                        <a:pt x="288836" y="556191"/>
                      </a:cubicBezTo>
                      <a:cubicBezTo>
                        <a:pt x="289157" y="554585"/>
                        <a:pt x="289157" y="553701"/>
                        <a:pt x="289077" y="552416"/>
                      </a:cubicBezTo>
                      <a:cubicBezTo>
                        <a:pt x="288514" y="552737"/>
                        <a:pt x="287791" y="553139"/>
                        <a:pt x="287229" y="553460"/>
                      </a:cubicBezTo>
                      <a:cubicBezTo>
                        <a:pt x="288354" y="551612"/>
                        <a:pt x="288836" y="550488"/>
                        <a:pt x="289318" y="548640"/>
                      </a:cubicBezTo>
                      <a:cubicBezTo>
                        <a:pt x="289559" y="549122"/>
                        <a:pt x="289800" y="549363"/>
                        <a:pt x="290282" y="549684"/>
                      </a:cubicBezTo>
                      <a:cubicBezTo>
                        <a:pt x="290442" y="549765"/>
                        <a:pt x="290523" y="549845"/>
                        <a:pt x="290683" y="549845"/>
                      </a:cubicBezTo>
                      <a:cubicBezTo>
                        <a:pt x="290764" y="549765"/>
                        <a:pt x="290924" y="549604"/>
                        <a:pt x="291005" y="549443"/>
                      </a:cubicBezTo>
                      <a:cubicBezTo>
                        <a:pt x="292531" y="550167"/>
                        <a:pt x="294459" y="549765"/>
                        <a:pt x="296708" y="548239"/>
                      </a:cubicBezTo>
                      <a:cubicBezTo>
                        <a:pt x="293816" y="551934"/>
                        <a:pt x="292370" y="555388"/>
                        <a:pt x="292129" y="559243"/>
                      </a:cubicBezTo>
                      <a:cubicBezTo>
                        <a:pt x="291969" y="559163"/>
                        <a:pt x="291888" y="559243"/>
                        <a:pt x="291808" y="559243"/>
                      </a:cubicBezTo>
                      <a:moveTo>
                        <a:pt x="288354" y="538519"/>
                      </a:moveTo>
                      <a:cubicBezTo>
                        <a:pt x="285301" y="543339"/>
                        <a:pt x="283775" y="545186"/>
                        <a:pt x="283213" y="545025"/>
                      </a:cubicBezTo>
                      <a:cubicBezTo>
                        <a:pt x="282731" y="544624"/>
                        <a:pt x="283534" y="541973"/>
                        <a:pt x="283534" y="541893"/>
                      </a:cubicBezTo>
                      <a:cubicBezTo>
                        <a:pt x="283534" y="541893"/>
                        <a:pt x="285462" y="539885"/>
                        <a:pt x="288514" y="538117"/>
                      </a:cubicBezTo>
                      <a:cubicBezTo>
                        <a:pt x="288514" y="538198"/>
                        <a:pt x="288434" y="538358"/>
                        <a:pt x="288354" y="538519"/>
                      </a:cubicBezTo>
                      <a:moveTo>
                        <a:pt x="279357" y="532093"/>
                      </a:moveTo>
                      <a:cubicBezTo>
                        <a:pt x="275501" y="537876"/>
                        <a:pt x="273493" y="539081"/>
                        <a:pt x="272690" y="536189"/>
                      </a:cubicBezTo>
                      <a:cubicBezTo>
                        <a:pt x="271003" y="537957"/>
                        <a:pt x="269798" y="539322"/>
                        <a:pt x="268352" y="541170"/>
                      </a:cubicBezTo>
                      <a:cubicBezTo>
                        <a:pt x="268593" y="534021"/>
                        <a:pt x="271485" y="528478"/>
                        <a:pt x="271565" y="528478"/>
                      </a:cubicBezTo>
                      <a:cubicBezTo>
                        <a:pt x="271565" y="528478"/>
                        <a:pt x="277349" y="526068"/>
                        <a:pt x="281044" y="524783"/>
                      </a:cubicBezTo>
                      <a:cubicBezTo>
                        <a:pt x="280964" y="525747"/>
                        <a:pt x="281044" y="526068"/>
                        <a:pt x="281365" y="526389"/>
                      </a:cubicBezTo>
                      <a:cubicBezTo>
                        <a:pt x="281928" y="526630"/>
                        <a:pt x="282490" y="526309"/>
                        <a:pt x="283775" y="525265"/>
                      </a:cubicBezTo>
                      <a:cubicBezTo>
                        <a:pt x="282329" y="527514"/>
                        <a:pt x="280883" y="529844"/>
                        <a:pt x="279357" y="532093"/>
                      </a:cubicBezTo>
                      <a:moveTo>
                        <a:pt x="332052" y="534342"/>
                      </a:moveTo>
                      <a:cubicBezTo>
                        <a:pt x="331169" y="533298"/>
                        <a:pt x="328116" y="529361"/>
                        <a:pt x="324260" y="523980"/>
                      </a:cubicBezTo>
                      <a:cubicBezTo>
                        <a:pt x="327393" y="528398"/>
                        <a:pt x="329000" y="530406"/>
                        <a:pt x="332052" y="534342"/>
                      </a:cubicBezTo>
                      <a:cubicBezTo>
                        <a:pt x="332052" y="534342"/>
                        <a:pt x="332052" y="534342"/>
                        <a:pt x="332052" y="534342"/>
                      </a:cubicBezTo>
                      <a:moveTo>
                        <a:pt x="258472" y="492973"/>
                      </a:moveTo>
                      <a:cubicBezTo>
                        <a:pt x="258150" y="493053"/>
                        <a:pt x="256624" y="491688"/>
                        <a:pt x="255982" y="489921"/>
                      </a:cubicBezTo>
                      <a:cubicBezTo>
                        <a:pt x="255339" y="488153"/>
                        <a:pt x="253813" y="484779"/>
                        <a:pt x="250600" y="481325"/>
                      </a:cubicBezTo>
                      <a:cubicBezTo>
                        <a:pt x="253572" y="483173"/>
                        <a:pt x="255178" y="484217"/>
                        <a:pt x="260560" y="478433"/>
                      </a:cubicBezTo>
                      <a:cubicBezTo>
                        <a:pt x="259918" y="479558"/>
                        <a:pt x="259355" y="480442"/>
                        <a:pt x="258472" y="481647"/>
                      </a:cubicBezTo>
                      <a:cubicBezTo>
                        <a:pt x="258873" y="481566"/>
                        <a:pt x="259436" y="481406"/>
                        <a:pt x="259918" y="481245"/>
                      </a:cubicBezTo>
                      <a:cubicBezTo>
                        <a:pt x="256865" y="483414"/>
                        <a:pt x="257187" y="484779"/>
                        <a:pt x="257508" y="485904"/>
                      </a:cubicBezTo>
                      <a:cubicBezTo>
                        <a:pt x="258472" y="490162"/>
                        <a:pt x="259034" y="492732"/>
                        <a:pt x="258472" y="492973"/>
                      </a:cubicBezTo>
                      <a:moveTo>
                        <a:pt x="265782" y="473855"/>
                      </a:moveTo>
                      <a:cubicBezTo>
                        <a:pt x="265219" y="474417"/>
                        <a:pt x="263773" y="475783"/>
                        <a:pt x="262569" y="474979"/>
                      </a:cubicBezTo>
                      <a:cubicBezTo>
                        <a:pt x="263050" y="474578"/>
                        <a:pt x="264496" y="473534"/>
                        <a:pt x="265942" y="473694"/>
                      </a:cubicBezTo>
                      <a:cubicBezTo>
                        <a:pt x="265942" y="473775"/>
                        <a:pt x="265862" y="473855"/>
                        <a:pt x="265782" y="473855"/>
                      </a:cubicBezTo>
                      <a:moveTo>
                        <a:pt x="261364" y="474016"/>
                      </a:moveTo>
                      <a:cubicBezTo>
                        <a:pt x="262087" y="472168"/>
                        <a:pt x="261444" y="472168"/>
                        <a:pt x="260882" y="472329"/>
                      </a:cubicBezTo>
                      <a:lnTo>
                        <a:pt x="261926" y="470883"/>
                      </a:lnTo>
                      <a:cubicBezTo>
                        <a:pt x="262328" y="470481"/>
                        <a:pt x="262809" y="469999"/>
                        <a:pt x="263131" y="469598"/>
                      </a:cubicBezTo>
                      <a:cubicBezTo>
                        <a:pt x="263291" y="470802"/>
                        <a:pt x="262649" y="472329"/>
                        <a:pt x="261283" y="474257"/>
                      </a:cubicBezTo>
                      <a:cubicBezTo>
                        <a:pt x="261364" y="474096"/>
                        <a:pt x="261364" y="474096"/>
                        <a:pt x="261364" y="474016"/>
                      </a:cubicBezTo>
                      <a:moveTo>
                        <a:pt x="260962" y="471043"/>
                      </a:moveTo>
                      <a:cubicBezTo>
                        <a:pt x="260239" y="471927"/>
                        <a:pt x="259677" y="472489"/>
                        <a:pt x="259436" y="472730"/>
                      </a:cubicBezTo>
                      <a:cubicBezTo>
                        <a:pt x="260400" y="471525"/>
                        <a:pt x="261283" y="470080"/>
                        <a:pt x="262328" y="468232"/>
                      </a:cubicBezTo>
                      <a:cubicBezTo>
                        <a:pt x="262408" y="469035"/>
                        <a:pt x="261444" y="470481"/>
                        <a:pt x="260962" y="471043"/>
                      </a:cubicBezTo>
                      <a:moveTo>
                        <a:pt x="267308" y="473694"/>
                      </a:moveTo>
                      <a:cubicBezTo>
                        <a:pt x="267147" y="473935"/>
                        <a:pt x="266665" y="474016"/>
                        <a:pt x="266505" y="474096"/>
                      </a:cubicBezTo>
                      <a:cubicBezTo>
                        <a:pt x="266665" y="473775"/>
                        <a:pt x="266906" y="473453"/>
                        <a:pt x="267067" y="473132"/>
                      </a:cubicBezTo>
                      <a:cubicBezTo>
                        <a:pt x="267228" y="473132"/>
                        <a:pt x="267549" y="473373"/>
                        <a:pt x="267308" y="473694"/>
                      </a:cubicBezTo>
                      <a:moveTo>
                        <a:pt x="252126" y="459878"/>
                      </a:moveTo>
                      <a:cubicBezTo>
                        <a:pt x="253411" y="457227"/>
                        <a:pt x="254455" y="454978"/>
                        <a:pt x="255259" y="452889"/>
                      </a:cubicBezTo>
                      <a:cubicBezTo>
                        <a:pt x="255419" y="454496"/>
                        <a:pt x="254777" y="456424"/>
                        <a:pt x="253331" y="458914"/>
                      </a:cubicBezTo>
                      <a:lnTo>
                        <a:pt x="252126" y="459878"/>
                      </a:lnTo>
                      <a:moveTo>
                        <a:pt x="340165" y="511770"/>
                      </a:moveTo>
                      <a:cubicBezTo>
                        <a:pt x="336390" y="515465"/>
                        <a:pt x="335185" y="515063"/>
                        <a:pt x="334703" y="514902"/>
                      </a:cubicBezTo>
                      <a:cubicBezTo>
                        <a:pt x="334462" y="514822"/>
                        <a:pt x="334221" y="514661"/>
                        <a:pt x="334060" y="514099"/>
                      </a:cubicBezTo>
                      <a:cubicBezTo>
                        <a:pt x="334060" y="514099"/>
                        <a:pt x="333578" y="512573"/>
                        <a:pt x="333659" y="512171"/>
                      </a:cubicBezTo>
                      <a:cubicBezTo>
                        <a:pt x="333659" y="511770"/>
                        <a:pt x="334221" y="510324"/>
                        <a:pt x="335185" y="510083"/>
                      </a:cubicBezTo>
                      <a:cubicBezTo>
                        <a:pt x="336711" y="509681"/>
                        <a:pt x="338880" y="509601"/>
                        <a:pt x="340808" y="511207"/>
                      </a:cubicBezTo>
                      <a:cubicBezTo>
                        <a:pt x="340567" y="511368"/>
                        <a:pt x="340326" y="511609"/>
                        <a:pt x="340165" y="511770"/>
                      </a:cubicBezTo>
                      <a:moveTo>
                        <a:pt x="244414" y="425578"/>
                      </a:moveTo>
                      <a:cubicBezTo>
                        <a:pt x="243370" y="426702"/>
                        <a:pt x="242968" y="427265"/>
                        <a:pt x="242647" y="427666"/>
                      </a:cubicBezTo>
                      <a:cubicBezTo>
                        <a:pt x="245218" y="422124"/>
                        <a:pt x="246101" y="420758"/>
                        <a:pt x="246262" y="420597"/>
                      </a:cubicBezTo>
                      <a:cubicBezTo>
                        <a:pt x="246262" y="420597"/>
                        <a:pt x="246262" y="420597"/>
                        <a:pt x="246342" y="420597"/>
                      </a:cubicBezTo>
                      <a:cubicBezTo>
                        <a:pt x="246342" y="420597"/>
                        <a:pt x="245218" y="424694"/>
                        <a:pt x="244414" y="425578"/>
                      </a:cubicBezTo>
                      <a:moveTo>
                        <a:pt x="260480" y="447025"/>
                      </a:moveTo>
                      <a:cubicBezTo>
                        <a:pt x="258954" y="448150"/>
                        <a:pt x="258391" y="447507"/>
                        <a:pt x="258070" y="447186"/>
                      </a:cubicBezTo>
                      <a:cubicBezTo>
                        <a:pt x="257026" y="445258"/>
                        <a:pt x="257428" y="440679"/>
                        <a:pt x="259436" y="432406"/>
                      </a:cubicBezTo>
                      <a:lnTo>
                        <a:pt x="260962" y="430799"/>
                      </a:lnTo>
                      <a:cubicBezTo>
                        <a:pt x="261444" y="430237"/>
                        <a:pt x="262167" y="429434"/>
                        <a:pt x="262649" y="428791"/>
                      </a:cubicBezTo>
                      <a:cubicBezTo>
                        <a:pt x="263452" y="429755"/>
                        <a:pt x="262970" y="430076"/>
                        <a:pt x="261846" y="430398"/>
                      </a:cubicBezTo>
                      <a:cubicBezTo>
                        <a:pt x="259918" y="434093"/>
                        <a:pt x="258150" y="438189"/>
                        <a:pt x="261203" y="439716"/>
                      </a:cubicBezTo>
                      <a:cubicBezTo>
                        <a:pt x="259436" y="441483"/>
                        <a:pt x="257909" y="443411"/>
                        <a:pt x="260962" y="446624"/>
                      </a:cubicBezTo>
                      <a:cubicBezTo>
                        <a:pt x="260801" y="446704"/>
                        <a:pt x="260641" y="446865"/>
                        <a:pt x="260480" y="447025"/>
                      </a:cubicBezTo>
                      <a:moveTo>
                        <a:pt x="412541" y="492571"/>
                      </a:moveTo>
                      <a:cubicBezTo>
                        <a:pt x="411015" y="493455"/>
                        <a:pt x="409569" y="494339"/>
                        <a:pt x="408042" y="495222"/>
                      </a:cubicBezTo>
                      <a:cubicBezTo>
                        <a:pt x="409328" y="493375"/>
                        <a:pt x="409328" y="493375"/>
                        <a:pt x="409890" y="493053"/>
                      </a:cubicBezTo>
                      <a:cubicBezTo>
                        <a:pt x="411095" y="492330"/>
                        <a:pt x="411979" y="492330"/>
                        <a:pt x="412621" y="492411"/>
                      </a:cubicBezTo>
                      <a:cubicBezTo>
                        <a:pt x="412621" y="492491"/>
                        <a:pt x="412541" y="492491"/>
                        <a:pt x="412541" y="492571"/>
                      </a:cubicBezTo>
                      <a:moveTo>
                        <a:pt x="416557" y="495061"/>
                      </a:moveTo>
                      <a:cubicBezTo>
                        <a:pt x="416798" y="492491"/>
                        <a:pt x="415593" y="492170"/>
                        <a:pt x="412701" y="493937"/>
                      </a:cubicBezTo>
                      <a:cubicBezTo>
                        <a:pt x="412862" y="493535"/>
                        <a:pt x="412942" y="492893"/>
                        <a:pt x="413264" y="492571"/>
                      </a:cubicBezTo>
                      <a:cubicBezTo>
                        <a:pt x="413264" y="492571"/>
                        <a:pt x="414147" y="491768"/>
                        <a:pt x="415513" y="491366"/>
                      </a:cubicBezTo>
                      <a:cubicBezTo>
                        <a:pt x="415834" y="491286"/>
                        <a:pt x="416959" y="491045"/>
                        <a:pt x="417521" y="492491"/>
                      </a:cubicBezTo>
                      <a:cubicBezTo>
                        <a:pt x="417842" y="493294"/>
                        <a:pt x="417923" y="494258"/>
                        <a:pt x="417923" y="494820"/>
                      </a:cubicBezTo>
                      <a:cubicBezTo>
                        <a:pt x="417521" y="494981"/>
                        <a:pt x="416959" y="495061"/>
                        <a:pt x="416557" y="495061"/>
                      </a:cubicBezTo>
                      <a:moveTo>
                        <a:pt x="268995" y="400194"/>
                      </a:moveTo>
                      <a:cubicBezTo>
                        <a:pt x="262328" y="405335"/>
                        <a:pt x="260319" y="408468"/>
                        <a:pt x="259837" y="409271"/>
                      </a:cubicBezTo>
                      <a:cubicBezTo>
                        <a:pt x="258231" y="412324"/>
                        <a:pt x="255982" y="413689"/>
                        <a:pt x="255259" y="412243"/>
                      </a:cubicBezTo>
                      <a:cubicBezTo>
                        <a:pt x="252688" y="412565"/>
                        <a:pt x="252608" y="412645"/>
                        <a:pt x="250760" y="411761"/>
                      </a:cubicBezTo>
                      <a:cubicBezTo>
                        <a:pt x="249957" y="411360"/>
                        <a:pt x="248752" y="410958"/>
                        <a:pt x="247869" y="411119"/>
                      </a:cubicBezTo>
                      <a:cubicBezTo>
                        <a:pt x="244334" y="411922"/>
                        <a:pt x="244334" y="411922"/>
                        <a:pt x="237667" y="416099"/>
                      </a:cubicBezTo>
                      <a:cubicBezTo>
                        <a:pt x="241362" y="412966"/>
                        <a:pt x="248029" y="407424"/>
                        <a:pt x="251242" y="404933"/>
                      </a:cubicBezTo>
                      <a:cubicBezTo>
                        <a:pt x="242888" y="407906"/>
                        <a:pt x="240237" y="408468"/>
                        <a:pt x="241282" y="406058"/>
                      </a:cubicBezTo>
                      <a:cubicBezTo>
                        <a:pt x="241683" y="405014"/>
                        <a:pt x="241683" y="405014"/>
                        <a:pt x="256865" y="387824"/>
                      </a:cubicBezTo>
                      <a:cubicBezTo>
                        <a:pt x="257267" y="389109"/>
                        <a:pt x="258231" y="392161"/>
                        <a:pt x="259355" y="390474"/>
                      </a:cubicBezTo>
                      <a:cubicBezTo>
                        <a:pt x="260159" y="389270"/>
                        <a:pt x="260721" y="385735"/>
                        <a:pt x="261524" y="380353"/>
                      </a:cubicBezTo>
                      <a:cubicBezTo>
                        <a:pt x="260078" y="382040"/>
                        <a:pt x="259195" y="382843"/>
                        <a:pt x="257909" y="383968"/>
                      </a:cubicBezTo>
                      <a:cubicBezTo>
                        <a:pt x="259677" y="378907"/>
                        <a:pt x="259436" y="376417"/>
                        <a:pt x="257347" y="377140"/>
                      </a:cubicBezTo>
                      <a:lnTo>
                        <a:pt x="255580" y="378746"/>
                      </a:lnTo>
                      <a:cubicBezTo>
                        <a:pt x="257267" y="375935"/>
                        <a:pt x="258632" y="374088"/>
                        <a:pt x="261123" y="371597"/>
                      </a:cubicBezTo>
                      <a:cubicBezTo>
                        <a:pt x="263372" y="374650"/>
                        <a:pt x="266023" y="375774"/>
                        <a:pt x="269798" y="375132"/>
                      </a:cubicBezTo>
                      <a:cubicBezTo>
                        <a:pt x="271565" y="374891"/>
                        <a:pt x="277188" y="374650"/>
                        <a:pt x="277028" y="383245"/>
                      </a:cubicBezTo>
                      <a:cubicBezTo>
                        <a:pt x="255339" y="395053"/>
                        <a:pt x="269155" y="398427"/>
                        <a:pt x="269718" y="398587"/>
                      </a:cubicBezTo>
                      <a:cubicBezTo>
                        <a:pt x="270200" y="398668"/>
                        <a:pt x="270762" y="398587"/>
                        <a:pt x="271244" y="398587"/>
                      </a:cubicBezTo>
                      <a:cubicBezTo>
                        <a:pt x="270521" y="399069"/>
                        <a:pt x="269637" y="399712"/>
                        <a:pt x="268995" y="400194"/>
                      </a:cubicBezTo>
                      <a:moveTo>
                        <a:pt x="370851" y="460280"/>
                      </a:moveTo>
                      <a:cubicBezTo>
                        <a:pt x="365388" y="466465"/>
                        <a:pt x="362416" y="471686"/>
                        <a:pt x="361372" y="473453"/>
                      </a:cubicBezTo>
                      <a:cubicBezTo>
                        <a:pt x="362496" y="471204"/>
                        <a:pt x="364746" y="466545"/>
                        <a:pt x="366754" y="463734"/>
                      </a:cubicBezTo>
                      <a:cubicBezTo>
                        <a:pt x="367959" y="462047"/>
                        <a:pt x="369083" y="461083"/>
                        <a:pt x="370610" y="460360"/>
                      </a:cubicBezTo>
                      <a:cubicBezTo>
                        <a:pt x="370851" y="460280"/>
                        <a:pt x="371011" y="460119"/>
                        <a:pt x="371172" y="459958"/>
                      </a:cubicBezTo>
                      <a:cubicBezTo>
                        <a:pt x="371092" y="459958"/>
                        <a:pt x="370931" y="460119"/>
                        <a:pt x="370851" y="460280"/>
                      </a:cubicBezTo>
                      <a:moveTo>
                        <a:pt x="281124" y="347178"/>
                      </a:moveTo>
                      <a:cubicBezTo>
                        <a:pt x="278634" y="349025"/>
                        <a:pt x="277510" y="349829"/>
                        <a:pt x="277269" y="349829"/>
                      </a:cubicBezTo>
                      <a:cubicBezTo>
                        <a:pt x="277269" y="349829"/>
                        <a:pt x="277269" y="349829"/>
                        <a:pt x="277269" y="349829"/>
                      </a:cubicBezTo>
                      <a:cubicBezTo>
                        <a:pt x="277429" y="349507"/>
                        <a:pt x="280241" y="347017"/>
                        <a:pt x="280241" y="347017"/>
                      </a:cubicBezTo>
                      <a:cubicBezTo>
                        <a:pt x="280241" y="347017"/>
                        <a:pt x="280642" y="346856"/>
                        <a:pt x="281285" y="347017"/>
                      </a:cubicBezTo>
                      <a:cubicBezTo>
                        <a:pt x="281285" y="347017"/>
                        <a:pt x="281205" y="347097"/>
                        <a:pt x="281124" y="347178"/>
                      </a:cubicBezTo>
                      <a:moveTo>
                        <a:pt x="357677" y="449998"/>
                      </a:moveTo>
                      <a:cubicBezTo>
                        <a:pt x="356793" y="451042"/>
                        <a:pt x="355428" y="451765"/>
                        <a:pt x="354865" y="452006"/>
                      </a:cubicBezTo>
                      <a:cubicBezTo>
                        <a:pt x="354785" y="450640"/>
                        <a:pt x="355428" y="449435"/>
                        <a:pt x="357034" y="447989"/>
                      </a:cubicBezTo>
                      <a:cubicBezTo>
                        <a:pt x="357436" y="447507"/>
                        <a:pt x="358078" y="446865"/>
                        <a:pt x="358480" y="446383"/>
                      </a:cubicBezTo>
                      <a:cubicBezTo>
                        <a:pt x="358641" y="447025"/>
                        <a:pt x="358962" y="448471"/>
                        <a:pt x="357677" y="449998"/>
                      </a:cubicBezTo>
                      <a:moveTo>
                        <a:pt x="282088" y="344205"/>
                      </a:moveTo>
                      <a:cubicBezTo>
                        <a:pt x="282169" y="344045"/>
                        <a:pt x="283855" y="341555"/>
                        <a:pt x="286667" y="337619"/>
                      </a:cubicBezTo>
                      <a:cubicBezTo>
                        <a:pt x="286747" y="337619"/>
                        <a:pt x="286828" y="337538"/>
                        <a:pt x="286828" y="337538"/>
                      </a:cubicBezTo>
                      <a:cubicBezTo>
                        <a:pt x="285944" y="338823"/>
                        <a:pt x="284980" y="340109"/>
                        <a:pt x="284096" y="341394"/>
                      </a:cubicBezTo>
                      <a:cubicBezTo>
                        <a:pt x="283454" y="342278"/>
                        <a:pt x="282891" y="343322"/>
                        <a:pt x="282088" y="344205"/>
                      </a:cubicBezTo>
                      <a:moveTo>
                        <a:pt x="305223" y="350391"/>
                      </a:moveTo>
                      <a:cubicBezTo>
                        <a:pt x="304339" y="351274"/>
                        <a:pt x="304259" y="351274"/>
                        <a:pt x="304259" y="351274"/>
                      </a:cubicBezTo>
                      <a:cubicBezTo>
                        <a:pt x="304580" y="350471"/>
                        <a:pt x="309882" y="344366"/>
                        <a:pt x="309882" y="344366"/>
                      </a:cubicBezTo>
                      <a:cubicBezTo>
                        <a:pt x="309882" y="344366"/>
                        <a:pt x="311649" y="342599"/>
                        <a:pt x="313657" y="341394"/>
                      </a:cubicBezTo>
                      <a:cubicBezTo>
                        <a:pt x="310846" y="344366"/>
                        <a:pt x="308114" y="347419"/>
                        <a:pt x="305223" y="350391"/>
                      </a:cubicBezTo>
                      <a:moveTo>
                        <a:pt x="424992" y="413448"/>
                      </a:moveTo>
                      <a:cubicBezTo>
                        <a:pt x="423546" y="414492"/>
                        <a:pt x="421939" y="415376"/>
                        <a:pt x="420413" y="416099"/>
                      </a:cubicBezTo>
                      <a:cubicBezTo>
                        <a:pt x="420574" y="415537"/>
                        <a:pt x="421056" y="413850"/>
                        <a:pt x="424108" y="412002"/>
                      </a:cubicBezTo>
                      <a:cubicBezTo>
                        <a:pt x="424510" y="412404"/>
                        <a:pt x="424911" y="412806"/>
                        <a:pt x="425313" y="413207"/>
                      </a:cubicBezTo>
                      <a:cubicBezTo>
                        <a:pt x="425152" y="413288"/>
                        <a:pt x="425072" y="413368"/>
                        <a:pt x="424992" y="413448"/>
                      </a:cubicBezTo>
                      <a:moveTo>
                        <a:pt x="430052" y="167404"/>
                      </a:moveTo>
                      <a:cubicBezTo>
                        <a:pt x="430374" y="167163"/>
                        <a:pt x="430695" y="166922"/>
                        <a:pt x="431016" y="166681"/>
                      </a:cubicBezTo>
                      <a:lnTo>
                        <a:pt x="438487" y="160817"/>
                      </a:lnTo>
                      <a:cubicBezTo>
                        <a:pt x="437041" y="161861"/>
                        <a:pt x="434149" y="164110"/>
                        <a:pt x="429972" y="167404"/>
                      </a:cubicBezTo>
                      <a:cubicBezTo>
                        <a:pt x="429972" y="167484"/>
                        <a:pt x="429972" y="167404"/>
                        <a:pt x="430052" y="167404"/>
                      </a:cubicBezTo>
                      <a:moveTo>
                        <a:pt x="723571" y="829547"/>
                      </a:moveTo>
                      <a:cubicBezTo>
                        <a:pt x="721643" y="829065"/>
                        <a:pt x="719072" y="828423"/>
                        <a:pt x="717145" y="827941"/>
                      </a:cubicBezTo>
                      <a:cubicBezTo>
                        <a:pt x="719153" y="823603"/>
                        <a:pt x="721081" y="817337"/>
                        <a:pt x="721723" y="812598"/>
                      </a:cubicBezTo>
                      <a:cubicBezTo>
                        <a:pt x="714333" y="810590"/>
                        <a:pt x="706622" y="810670"/>
                        <a:pt x="699231" y="808903"/>
                      </a:cubicBezTo>
                      <a:cubicBezTo>
                        <a:pt x="698508" y="806975"/>
                        <a:pt x="697544" y="804405"/>
                        <a:pt x="696822" y="802557"/>
                      </a:cubicBezTo>
                      <a:cubicBezTo>
                        <a:pt x="695536" y="802316"/>
                        <a:pt x="695536" y="802316"/>
                        <a:pt x="655694" y="813321"/>
                      </a:cubicBezTo>
                      <a:lnTo>
                        <a:pt x="654890" y="813000"/>
                      </a:lnTo>
                      <a:lnTo>
                        <a:pt x="658344" y="810670"/>
                      </a:lnTo>
                      <a:cubicBezTo>
                        <a:pt x="669189" y="802396"/>
                        <a:pt x="683487" y="799665"/>
                        <a:pt x="693207" y="789624"/>
                      </a:cubicBezTo>
                      <a:cubicBezTo>
                        <a:pt x="686138" y="787696"/>
                        <a:pt x="676338" y="786331"/>
                        <a:pt x="669028" y="786090"/>
                      </a:cubicBezTo>
                      <a:cubicBezTo>
                        <a:pt x="669751" y="784242"/>
                        <a:pt x="670715" y="781832"/>
                        <a:pt x="671518" y="780065"/>
                      </a:cubicBezTo>
                      <a:cubicBezTo>
                        <a:pt x="667663" y="778619"/>
                        <a:pt x="661718" y="778459"/>
                        <a:pt x="657782" y="779583"/>
                      </a:cubicBezTo>
                      <a:cubicBezTo>
                        <a:pt x="658746" y="777575"/>
                        <a:pt x="660031" y="774844"/>
                        <a:pt x="660995" y="772836"/>
                      </a:cubicBezTo>
                      <a:cubicBezTo>
                        <a:pt x="660353" y="771149"/>
                        <a:pt x="659549" y="768819"/>
                        <a:pt x="658907" y="767132"/>
                      </a:cubicBezTo>
                      <a:lnTo>
                        <a:pt x="657381" y="768659"/>
                      </a:lnTo>
                      <a:cubicBezTo>
                        <a:pt x="643484" y="760224"/>
                        <a:pt x="643484" y="760224"/>
                        <a:pt x="635772" y="746649"/>
                      </a:cubicBezTo>
                      <a:cubicBezTo>
                        <a:pt x="639467" y="747452"/>
                        <a:pt x="644769" y="747211"/>
                        <a:pt x="648303" y="746006"/>
                      </a:cubicBezTo>
                      <a:cubicBezTo>
                        <a:pt x="645894" y="742954"/>
                        <a:pt x="643243" y="738375"/>
                        <a:pt x="641797" y="734760"/>
                      </a:cubicBezTo>
                      <a:cubicBezTo>
                        <a:pt x="639869" y="734439"/>
                        <a:pt x="637379" y="733957"/>
                        <a:pt x="635531" y="733636"/>
                      </a:cubicBezTo>
                      <a:cubicBezTo>
                        <a:pt x="637379" y="732190"/>
                        <a:pt x="639789" y="730262"/>
                        <a:pt x="641636" y="728896"/>
                      </a:cubicBezTo>
                      <a:cubicBezTo>
                        <a:pt x="640190" y="727129"/>
                        <a:pt x="638182" y="724800"/>
                        <a:pt x="636736" y="723032"/>
                      </a:cubicBezTo>
                      <a:cubicBezTo>
                        <a:pt x="634648" y="722952"/>
                        <a:pt x="631917" y="722791"/>
                        <a:pt x="629828" y="722711"/>
                      </a:cubicBezTo>
                      <a:cubicBezTo>
                        <a:pt x="631515" y="721105"/>
                        <a:pt x="633684" y="719016"/>
                        <a:pt x="635371" y="717409"/>
                      </a:cubicBezTo>
                      <a:cubicBezTo>
                        <a:pt x="633684" y="716526"/>
                        <a:pt x="631435" y="715401"/>
                        <a:pt x="629667" y="714518"/>
                      </a:cubicBezTo>
                      <a:cubicBezTo>
                        <a:pt x="630792" y="712670"/>
                        <a:pt x="632238" y="710260"/>
                        <a:pt x="633282" y="708493"/>
                      </a:cubicBezTo>
                      <a:cubicBezTo>
                        <a:pt x="632559" y="706726"/>
                        <a:pt x="631595" y="704316"/>
                        <a:pt x="630792" y="702468"/>
                      </a:cubicBezTo>
                      <a:cubicBezTo>
                        <a:pt x="628543" y="702147"/>
                        <a:pt x="625571" y="701745"/>
                        <a:pt x="623321" y="701424"/>
                      </a:cubicBezTo>
                      <a:cubicBezTo>
                        <a:pt x="624044" y="697408"/>
                        <a:pt x="624607" y="691865"/>
                        <a:pt x="624687" y="687768"/>
                      </a:cubicBezTo>
                      <a:cubicBezTo>
                        <a:pt x="623482" y="687527"/>
                        <a:pt x="621876" y="687206"/>
                        <a:pt x="620671" y="686965"/>
                      </a:cubicBezTo>
                      <a:cubicBezTo>
                        <a:pt x="620510" y="683270"/>
                        <a:pt x="618582" y="678290"/>
                        <a:pt x="616172" y="675398"/>
                      </a:cubicBezTo>
                      <a:cubicBezTo>
                        <a:pt x="614084" y="678531"/>
                        <a:pt x="611433" y="682868"/>
                        <a:pt x="609585" y="686162"/>
                      </a:cubicBezTo>
                      <a:cubicBezTo>
                        <a:pt x="606613" y="687929"/>
                        <a:pt x="602998" y="691223"/>
                        <a:pt x="601312" y="694195"/>
                      </a:cubicBezTo>
                      <a:lnTo>
                        <a:pt x="599303" y="701103"/>
                      </a:lnTo>
                      <a:cubicBezTo>
                        <a:pt x="595930" y="703352"/>
                        <a:pt x="592235" y="707690"/>
                        <a:pt x="590387" y="711305"/>
                      </a:cubicBezTo>
                      <a:cubicBezTo>
                        <a:pt x="588780" y="710260"/>
                        <a:pt x="586692" y="708814"/>
                        <a:pt x="585085" y="707770"/>
                      </a:cubicBezTo>
                      <a:cubicBezTo>
                        <a:pt x="575607" y="710180"/>
                        <a:pt x="575607" y="710180"/>
                        <a:pt x="565485" y="720140"/>
                      </a:cubicBezTo>
                      <a:cubicBezTo>
                        <a:pt x="565726" y="718293"/>
                        <a:pt x="566128" y="715722"/>
                        <a:pt x="566449" y="713875"/>
                      </a:cubicBezTo>
                      <a:cubicBezTo>
                        <a:pt x="559461" y="712349"/>
                        <a:pt x="559461" y="712349"/>
                        <a:pt x="546689" y="720623"/>
                      </a:cubicBezTo>
                      <a:cubicBezTo>
                        <a:pt x="550384" y="717570"/>
                        <a:pt x="554721" y="712991"/>
                        <a:pt x="557774" y="709376"/>
                      </a:cubicBezTo>
                      <a:cubicBezTo>
                        <a:pt x="557212" y="707529"/>
                        <a:pt x="556408" y="705039"/>
                        <a:pt x="555766" y="703111"/>
                      </a:cubicBezTo>
                      <a:cubicBezTo>
                        <a:pt x="551508" y="702147"/>
                        <a:pt x="545725" y="701344"/>
                        <a:pt x="541387" y="701264"/>
                      </a:cubicBezTo>
                      <a:cubicBezTo>
                        <a:pt x="544038" y="698211"/>
                        <a:pt x="547090" y="693713"/>
                        <a:pt x="548857" y="690098"/>
                      </a:cubicBezTo>
                      <a:cubicBezTo>
                        <a:pt x="546849" y="684957"/>
                        <a:pt x="541789" y="679093"/>
                        <a:pt x="537692" y="675398"/>
                      </a:cubicBezTo>
                      <a:cubicBezTo>
                        <a:pt x="551749" y="668490"/>
                        <a:pt x="551749" y="668490"/>
                        <a:pt x="555203" y="658770"/>
                      </a:cubicBezTo>
                      <a:cubicBezTo>
                        <a:pt x="543636" y="646158"/>
                        <a:pt x="530864" y="634832"/>
                        <a:pt x="519698" y="621899"/>
                      </a:cubicBezTo>
                      <a:cubicBezTo>
                        <a:pt x="514879" y="622060"/>
                        <a:pt x="508533" y="623506"/>
                        <a:pt x="504034" y="625273"/>
                      </a:cubicBezTo>
                      <a:cubicBezTo>
                        <a:pt x="502508" y="623908"/>
                        <a:pt x="500500" y="622060"/>
                        <a:pt x="498974" y="620614"/>
                      </a:cubicBezTo>
                      <a:cubicBezTo>
                        <a:pt x="496564" y="620936"/>
                        <a:pt x="493351" y="621337"/>
                        <a:pt x="490941" y="621739"/>
                      </a:cubicBezTo>
                      <a:lnTo>
                        <a:pt x="492949" y="620695"/>
                      </a:lnTo>
                      <a:cubicBezTo>
                        <a:pt x="483470" y="615473"/>
                        <a:pt x="483470" y="615473"/>
                        <a:pt x="456079" y="643508"/>
                      </a:cubicBezTo>
                      <a:cubicBezTo>
                        <a:pt x="456882" y="644954"/>
                        <a:pt x="458006" y="646962"/>
                        <a:pt x="458890" y="648408"/>
                      </a:cubicBezTo>
                      <a:cubicBezTo>
                        <a:pt x="424510" y="743757"/>
                        <a:pt x="424510" y="743757"/>
                        <a:pt x="393664" y="776852"/>
                      </a:cubicBezTo>
                      <a:cubicBezTo>
                        <a:pt x="394387" y="782636"/>
                        <a:pt x="394387" y="782636"/>
                        <a:pt x="383060" y="829306"/>
                      </a:cubicBezTo>
                      <a:cubicBezTo>
                        <a:pt x="381775" y="827700"/>
                        <a:pt x="380088" y="825531"/>
                        <a:pt x="378803" y="823924"/>
                      </a:cubicBezTo>
                      <a:cubicBezTo>
                        <a:pt x="377598" y="825852"/>
                        <a:pt x="375992" y="828503"/>
                        <a:pt x="374867" y="830431"/>
                      </a:cubicBezTo>
                      <a:cubicBezTo>
                        <a:pt x="371654" y="827860"/>
                        <a:pt x="366352" y="825451"/>
                        <a:pt x="362336" y="824728"/>
                      </a:cubicBezTo>
                      <a:cubicBezTo>
                        <a:pt x="363139" y="815329"/>
                        <a:pt x="362336" y="811072"/>
                        <a:pt x="351411" y="804244"/>
                      </a:cubicBezTo>
                      <a:cubicBezTo>
                        <a:pt x="364103" y="771872"/>
                        <a:pt x="364665" y="750344"/>
                        <a:pt x="328598" y="743195"/>
                      </a:cubicBezTo>
                      <a:cubicBezTo>
                        <a:pt x="316147" y="713232"/>
                        <a:pt x="316147" y="713232"/>
                        <a:pt x="274296" y="684796"/>
                      </a:cubicBezTo>
                      <a:cubicBezTo>
                        <a:pt x="275019" y="674996"/>
                        <a:pt x="279196" y="666080"/>
                        <a:pt x="281205" y="656601"/>
                      </a:cubicBezTo>
                      <a:cubicBezTo>
                        <a:pt x="279598" y="655235"/>
                        <a:pt x="277510" y="653468"/>
                        <a:pt x="275983" y="652103"/>
                      </a:cubicBezTo>
                      <a:cubicBezTo>
                        <a:pt x="273734" y="652665"/>
                        <a:pt x="270682" y="653468"/>
                        <a:pt x="268432" y="654031"/>
                      </a:cubicBezTo>
                      <a:cubicBezTo>
                        <a:pt x="287872" y="612019"/>
                        <a:pt x="341531" y="590572"/>
                        <a:pt x="339442" y="535627"/>
                      </a:cubicBezTo>
                      <a:cubicBezTo>
                        <a:pt x="353419" y="574104"/>
                        <a:pt x="399608" y="534663"/>
                        <a:pt x="399929" y="533860"/>
                      </a:cubicBezTo>
                      <a:cubicBezTo>
                        <a:pt x="404106" y="522373"/>
                        <a:pt x="394788" y="514902"/>
                        <a:pt x="382900" y="505343"/>
                      </a:cubicBezTo>
                      <a:cubicBezTo>
                        <a:pt x="385872" y="504781"/>
                        <a:pt x="390290" y="504621"/>
                        <a:pt x="392941" y="505906"/>
                      </a:cubicBezTo>
                      <a:cubicBezTo>
                        <a:pt x="400893" y="510645"/>
                        <a:pt x="405954" y="519160"/>
                        <a:pt x="414951" y="522453"/>
                      </a:cubicBezTo>
                      <a:cubicBezTo>
                        <a:pt x="421216" y="515143"/>
                        <a:pt x="421216" y="515143"/>
                        <a:pt x="426679" y="502211"/>
                      </a:cubicBezTo>
                      <a:cubicBezTo>
                        <a:pt x="430615" y="503817"/>
                        <a:pt x="435515" y="506789"/>
                        <a:pt x="438728" y="509601"/>
                      </a:cubicBezTo>
                      <a:cubicBezTo>
                        <a:pt x="443226" y="513617"/>
                        <a:pt x="443226" y="513617"/>
                        <a:pt x="443226" y="513617"/>
                      </a:cubicBez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lnTo>
                        <a:pt x="443226" y="513617"/>
                      </a:lnTo>
                      <a:cubicBezTo>
                        <a:pt x="449010" y="504540"/>
                        <a:pt x="449090" y="504380"/>
                        <a:pt x="454552" y="496106"/>
                      </a:cubicBezTo>
                      <a:cubicBezTo>
                        <a:pt x="491825" y="500363"/>
                        <a:pt x="512148" y="441242"/>
                        <a:pt x="512228" y="440679"/>
                      </a:cubicBezTo>
                      <a:cubicBezTo>
                        <a:pt x="510862" y="438832"/>
                        <a:pt x="509015" y="436342"/>
                        <a:pt x="507649" y="434414"/>
                      </a:cubicBezTo>
                      <a:cubicBezTo>
                        <a:pt x="465397" y="446624"/>
                        <a:pt x="465397" y="446624"/>
                        <a:pt x="432543" y="483012"/>
                      </a:cubicBezTo>
                      <a:cubicBezTo>
                        <a:pt x="446520" y="454014"/>
                        <a:pt x="444511" y="451122"/>
                        <a:pt x="439772" y="444294"/>
                      </a:cubicBezTo>
                      <a:cubicBezTo>
                        <a:pt x="437764" y="444455"/>
                        <a:pt x="435033" y="444696"/>
                        <a:pt x="432944" y="444856"/>
                      </a:cubicBezTo>
                      <a:cubicBezTo>
                        <a:pt x="432864" y="440599"/>
                        <a:pt x="433506" y="426301"/>
                        <a:pt x="444511" y="419714"/>
                      </a:cubicBezTo>
                      <a:cubicBezTo>
                        <a:pt x="442423" y="416581"/>
                        <a:pt x="439692" y="412243"/>
                        <a:pt x="437844" y="408950"/>
                      </a:cubicBezTo>
                      <a:cubicBezTo>
                        <a:pt x="451500" y="391358"/>
                        <a:pt x="456641" y="384771"/>
                        <a:pt x="473751" y="341876"/>
                      </a:cubicBezTo>
                      <a:cubicBezTo>
                        <a:pt x="471341" y="343001"/>
                        <a:pt x="468047" y="344446"/>
                        <a:pt x="465638" y="345491"/>
                      </a:cubicBezTo>
                      <a:cubicBezTo>
                        <a:pt x="465075" y="345812"/>
                        <a:pt x="409167" y="384289"/>
                        <a:pt x="423465" y="411520"/>
                      </a:cubicBezTo>
                      <a:cubicBezTo>
                        <a:pt x="421939" y="412163"/>
                        <a:pt x="408765" y="417866"/>
                        <a:pt x="410934" y="431924"/>
                      </a:cubicBezTo>
                      <a:cubicBezTo>
                        <a:pt x="391254" y="441483"/>
                        <a:pt x="386997" y="444375"/>
                        <a:pt x="372859" y="457709"/>
                      </a:cubicBezTo>
                      <a:cubicBezTo>
                        <a:pt x="374144" y="446061"/>
                        <a:pt x="390129" y="439153"/>
                        <a:pt x="383542" y="424855"/>
                      </a:cubicBezTo>
                      <a:cubicBezTo>
                        <a:pt x="378964" y="425096"/>
                        <a:pt x="375670" y="429032"/>
                        <a:pt x="371092" y="429353"/>
                      </a:cubicBezTo>
                      <a:cubicBezTo>
                        <a:pt x="370770" y="429273"/>
                        <a:pt x="342575" y="422766"/>
                        <a:pt x="333900" y="400355"/>
                      </a:cubicBezTo>
                      <a:cubicBezTo>
                        <a:pt x="327554" y="401158"/>
                        <a:pt x="321610" y="401961"/>
                        <a:pt x="306829" y="429755"/>
                      </a:cubicBezTo>
                      <a:cubicBezTo>
                        <a:pt x="306910" y="429032"/>
                        <a:pt x="306990" y="428068"/>
                        <a:pt x="307070" y="427345"/>
                      </a:cubicBezTo>
                      <a:cubicBezTo>
                        <a:pt x="303455" y="430398"/>
                        <a:pt x="299760" y="435779"/>
                        <a:pt x="297752" y="440117"/>
                      </a:cubicBezTo>
                      <a:cubicBezTo>
                        <a:pt x="303777" y="423891"/>
                        <a:pt x="303777" y="423891"/>
                        <a:pt x="311970" y="413689"/>
                      </a:cubicBezTo>
                      <a:cubicBezTo>
                        <a:pt x="308034" y="402042"/>
                        <a:pt x="307311" y="389591"/>
                        <a:pt x="303214" y="377943"/>
                      </a:cubicBezTo>
                      <a:cubicBezTo>
                        <a:pt x="328277" y="355692"/>
                        <a:pt x="323055" y="320509"/>
                        <a:pt x="339041" y="294322"/>
                      </a:cubicBezTo>
                      <a:cubicBezTo>
                        <a:pt x="337193" y="294723"/>
                        <a:pt x="334703" y="295286"/>
                        <a:pt x="332855" y="295768"/>
                      </a:cubicBezTo>
                      <a:cubicBezTo>
                        <a:pt x="336229" y="288779"/>
                        <a:pt x="336229" y="288779"/>
                        <a:pt x="343780" y="279702"/>
                      </a:cubicBezTo>
                      <a:cubicBezTo>
                        <a:pt x="336872" y="280024"/>
                        <a:pt x="330446" y="283478"/>
                        <a:pt x="323377" y="282996"/>
                      </a:cubicBezTo>
                      <a:cubicBezTo>
                        <a:pt x="343378" y="270946"/>
                        <a:pt x="343378" y="270946"/>
                        <a:pt x="345547" y="269179"/>
                      </a:cubicBezTo>
                      <a:cubicBezTo>
                        <a:pt x="341129" y="269661"/>
                        <a:pt x="335265" y="270705"/>
                        <a:pt x="331008" y="271669"/>
                      </a:cubicBezTo>
                      <a:cubicBezTo>
                        <a:pt x="332534" y="270304"/>
                        <a:pt x="334542" y="268536"/>
                        <a:pt x="336069" y="267171"/>
                      </a:cubicBezTo>
                      <a:cubicBezTo>
                        <a:pt x="335908" y="266207"/>
                        <a:pt x="335667" y="265002"/>
                        <a:pt x="335426" y="264118"/>
                      </a:cubicBezTo>
                      <a:cubicBezTo>
                        <a:pt x="333900" y="265404"/>
                        <a:pt x="331892" y="267091"/>
                        <a:pt x="330446" y="268376"/>
                      </a:cubicBezTo>
                      <a:cubicBezTo>
                        <a:pt x="370208" y="213351"/>
                        <a:pt x="423626" y="171982"/>
                        <a:pt x="441138" y="158407"/>
                      </a:cubicBezTo>
                      <a:cubicBezTo>
                        <a:pt x="425313" y="171259"/>
                        <a:pt x="403946" y="188208"/>
                        <a:pt x="388442" y="201463"/>
                      </a:cubicBezTo>
                      <a:cubicBezTo>
                        <a:pt x="316549" y="267974"/>
                        <a:pt x="301608" y="281791"/>
                        <a:pt x="237828" y="356978"/>
                      </a:cubicBezTo>
                      <a:lnTo>
                        <a:pt x="195093" y="412886"/>
                      </a:lnTo>
                      <a:lnTo>
                        <a:pt x="194370" y="413930"/>
                      </a:lnTo>
                      <a:cubicBezTo>
                        <a:pt x="189791" y="420517"/>
                        <a:pt x="185132" y="427024"/>
                        <a:pt x="180634" y="433611"/>
                      </a:cubicBezTo>
                      <a:cubicBezTo>
                        <a:pt x="174770" y="442366"/>
                        <a:pt x="173163" y="444696"/>
                        <a:pt x="167460" y="453532"/>
                      </a:cubicBezTo>
                      <a:cubicBezTo>
                        <a:pt x="168665" y="451765"/>
                        <a:pt x="170352" y="449435"/>
                        <a:pt x="171557" y="447748"/>
                      </a:cubicBezTo>
                      <a:cubicBezTo>
                        <a:pt x="170834" y="449114"/>
                        <a:pt x="169790" y="451042"/>
                        <a:pt x="169067" y="452407"/>
                      </a:cubicBezTo>
                      <a:cubicBezTo>
                        <a:pt x="167782" y="454416"/>
                        <a:pt x="166014" y="457147"/>
                        <a:pt x="164649" y="459155"/>
                      </a:cubicBezTo>
                      <a:cubicBezTo>
                        <a:pt x="166737" y="456263"/>
                        <a:pt x="169468" y="452407"/>
                        <a:pt x="171477" y="449516"/>
                      </a:cubicBezTo>
                      <a:lnTo>
                        <a:pt x="172842" y="447427"/>
                      </a:lnTo>
                      <a:cubicBezTo>
                        <a:pt x="151716" y="479639"/>
                        <a:pt x="146414" y="489519"/>
                        <a:pt x="116854" y="544383"/>
                      </a:cubicBezTo>
                      <a:cubicBezTo>
                        <a:pt x="118540" y="542053"/>
                        <a:pt x="120709" y="539001"/>
                        <a:pt x="122396" y="536671"/>
                      </a:cubicBezTo>
                      <a:cubicBezTo>
                        <a:pt x="109142" y="559565"/>
                        <a:pt x="98940" y="583985"/>
                        <a:pt x="86731" y="607360"/>
                      </a:cubicBezTo>
                      <a:cubicBezTo>
                        <a:pt x="87293" y="607601"/>
                        <a:pt x="87213" y="607842"/>
                        <a:pt x="87213" y="608083"/>
                      </a:cubicBezTo>
                      <a:cubicBezTo>
                        <a:pt x="71067" y="639491"/>
                        <a:pt x="69942" y="675960"/>
                        <a:pt x="53876" y="707449"/>
                      </a:cubicBezTo>
                      <a:cubicBezTo>
                        <a:pt x="53716" y="707449"/>
                        <a:pt x="53394" y="707368"/>
                        <a:pt x="53234" y="707368"/>
                      </a:cubicBezTo>
                      <a:cubicBezTo>
                        <a:pt x="54117" y="705521"/>
                        <a:pt x="55322" y="703031"/>
                        <a:pt x="56206" y="701183"/>
                      </a:cubicBezTo>
                      <a:cubicBezTo>
                        <a:pt x="55483" y="702227"/>
                        <a:pt x="54519" y="703593"/>
                        <a:pt x="53796" y="704637"/>
                      </a:cubicBezTo>
                      <a:lnTo>
                        <a:pt x="55885" y="700541"/>
                      </a:lnTo>
                      <a:cubicBezTo>
                        <a:pt x="56527" y="699095"/>
                        <a:pt x="56527" y="699095"/>
                        <a:pt x="59580" y="680057"/>
                      </a:cubicBezTo>
                      <a:cubicBezTo>
                        <a:pt x="55403" y="690901"/>
                        <a:pt x="54358" y="693552"/>
                        <a:pt x="50503" y="704396"/>
                      </a:cubicBezTo>
                      <a:cubicBezTo>
                        <a:pt x="50663" y="704075"/>
                        <a:pt x="50824" y="703673"/>
                        <a:pt x="50985" y="703352"/>
                      </a:cubicBezTo>
                      <a:cubicBezTo>
                        <a:pt x="44398" y="720542"/>
                        <a:pt x="25601" y="732832"/>
                        <a:pt x="30581" y="754682"/>
                      </a:cubicBezTo>
                      <a:cubicBezTo>
                        <a:pt x="20701" y="780386"/>
                        <a:pt x="17889" y="791392"/>
                        <a:pt x="17889" y="791472"/>
                      </a:cubicBezTo>
                      <a:lnTo>
                        <a:pt x="17568" y="792355"/>
                      </a:lnTo>
                      <a:lnTo>
                        <a:pt x="17568" y="792114"/>
                      </a:lnTo>
                      <a:cubicBezTo>
                        <a:pt x="12106" y="811152"/>
                        <a:pt x="10901" y="816855"/>
                        <a:pt x="7367" y="835090"/>
                      </a:cubicBezTo>
                      <a:cubicBezTo>
                        <a:pt x="7447" y="834528"/>
                        <a:pt x="7608" y="833724"/>
                        <a:pt x="7688" y="833162"/>
                      </a:cubicBezTo>
                      <a:lnTo>
                        <a:pt x="7045" y="835652"/>
                      </a:lnTo>
                      <a:cubicBezTo>
                        <a:pt x="21745" y="925379"/>
                        <a:pt x="-12876" y="1014944"/>
                        <a:pt x="6081" y="1104751"/>
                      </a:cubicBezTo>
                      <a:cubicBezTo>
                        <a:pt x="6804" y="1104510"/>
                        <a:pt x="7848" y="1104108"/>
                        <a:pt x="8571" y="1103867"/>
                      </a:cubicBezTo>
                      <a:cubicBezTo>
                        <a:pt x="2547" y="1059767"/>
                        <a:pt x="-3397" y="999682"/>
                        <a:pt x="2306" y="963695"/>
                      </a:cubicBezTo>
                      <a:cubicBezTo>
                        <a:pt x="11383" y="1002253"/>
                        <a:pt x="619" y="1043059"/>
                        <a:pt x="15399" y="1080893"/>
                      </a:cubicBezTo>
                      <a:cubicBezTo>
                        <a:pt x="30581" y="1119772"/>
                        <a:pt x="26886" y="1163792"/>
                        <a:pt x="48173" y="1200984"/>
                      </a:cubicBezTo>
                      <a:cubicBezTo>
                        <a:pt x="64319" y="1229179"/>
                        <a:pt x="94763" y="1255286"/>
                        <a:pt x="118942" y="1261712"/>
                      </a:cubicBezTo>
                      <a:lnTo>
                        <a:pt x="117898" y="1262274"/>
                      </a:lnTo>
                      <a:cubicBezTo>
                        <a:pt x="143121" y="1281071"/>
                        <a:pt x="160793" y="1308543"/>
                        <a:pt x="188988" y="1323966"/>
                      </a:cubicBezTo>
                      <a:cubicBezTo>
                        <a:pt x="188185" y="1323404"/>
                        <a:pt x="187141" y="1322681"/>
                        <a:pt x="186418" y="1322118"/>
                      </a:cubicBezTo>
                      <a:cubicBezTo>
                        <a:pt x="204893" y="1328705"/>
                        <a:pt x="204893" y="1328705"/>
                        <a:pt x="231482" y="1375296"/>
                      </a:cubicBezTo>
                      <a:cubicBezTo>
                        <a:pt x="262890" y="1378669"/>
                        <a:pt x="279518" y="1407266"/>
                        <a:pt x="306106" y="1418833"/>
                      </a:cubicBezTo>
                      <a:cubicBezTo>
                        <a:pt x="309159" y="1416022"/>
                        <a:pt x="312533" y="1411363"/>
                        <a:pt x="314300" y="1407587"/>
                      </a:cubicBezTo>
                      <a:cubicBezTo>
                        <a:pt x="300885" y="1403009"/>
                        <a:pt x="297190" y="1401563"/>
                        <a:pt x="281767" y="1394655"/>
                      </a:cubicBezTo>
                      <a:cubicBezTo>
                        <a:pt x="282329" y="1395378"/>
                        <a:pt x="283052" y="1396422"/>
                        <a:pt x="283614" y="1397145"/>
                      </a:cubicBezTo>
                      <a:cubicBezTo>
                        <a:pt x="259677" y="1381079"/>
                        <a:pt x="256062" y="1367504"/>
                        <a:pt x="252608" y="1354410"/>
                      </a:cubicBezTo>
                      <a:cubicBezTo>
                        <a:pt x="253009" y="1354651"/>
                        <a:pt x="253491" y="1354892"/>
                        <a:pt x="253893" y="1355133"/>
                      </a:cubicBezTo>
                      <a:cubicBezTo>
                        <a:pt x="253411" y="1336417"/>
                        <a:pt x="257588" y="1327260"/>
                        <a:pt x="260078" y="1321717"/>
                      </a:cubicBezTo>
                      <a:cubicBezTo>
                        <a:pt x="258472" y="1320271"/>
                        <a:pt x="256383" y="1318263"/>
                        <a:pt x="254777" y="1316817"/>
                      </a:cubicBezTo>
                      <a:cubicBezTo>
                        <a:pt x="254937" y="1317138"/>
                        <a:pt x="255098" y="1317540"/>
                        <a:pt x="255178" y="1317861"/>
                      </a:cubicBezTo>
                      <a:cubicBezTo>
                        <a:pt x="249957" y="1315371"/>
                        <a:pt x="247065" y="1310069"/>
                        <a:pt x="242005" y="1307418"/>
                      </a:cubicBezTo>
                      <a:cubicBezTo>
                        <a:pt x="227064" y="1301635"/>
                        <a:pt x="227064" y="1301635"/>
                        <a:pt x="221441" y="1300751"/>
                      </a:cubicBezTo>
                      <a:cubicBezTo>
                        <a:pt x="207544" y="1299225"/>
                        <a:pt x="200877" y="1297377"/>
                        <a:pt x="189068" y="1291835"/>
                      </a:cubicBezTo>
                      <a:cubicBezTo>
                        <a:pt x="188104" y="1286614"/>
                        <a:pt x="186177" y="1275769"/>
                        <a:pt x="192523" y="1259463"/>
                      </a:cubicBezTo>
                      <a:cubicBezTo>
                        <a:pt x="194049" y="1260668"/>
                        <a:pt x="196057" y="1262194"/>
                        <a:pt x="197503" y="1263399"/>
                      </a:cubicBezTo>
                      <a:cubicBezTo>
                        <a:pt x="208829" y="1243237"/>
                        <a:pt x="206098" y="1235204"/>
                        <a:pt x="203527" y="1227492"/>
                      </a:cubicBezTo>
                      <a:cubicBezTo>
                        <a:pt x="183606" y="1222351"/>
                        <a:pt x="169067" y="1223476"/>
                        <a:pt x="153322" y="1244602"/>
                      </a:cubicBezTo>
                      <a:cubicBezTo>
                        <a:pt x="153724" y="1244522"/>
                        <a:pt x="154367" y="1244361"/>
                        <a:pt x="154768" y="1244281"/>
                      </a:cubicBezTo>
                      <a:cubicBezTo>
                        <a:pt x="139024" y="1250787"/>
                        <a:pt x="113239" y="1231026"/>
                        <a:pt x="108178" y="1227010"/>
                      </a:cubicBezTo>
                      <a:cubicBezTo>
                        <a:pt x="108580" y="1227492"/>
                        <a:pt x="109142" y="1228135"/>
                        <a:pt x="109544" y="1228536"/>
                      </a:cubicBezTo>
                      <a:lnTo>
                        <a:pt x="107536" y="1226287"/>
                      </a:lnTo>
                      <a:cubicBezTo>
                        <a:pt x="92996" y="1196405"/>
                        <a:pt x="92996" y="1196405"/>
                        <a:pt x="95165" y="1148208"/>
                      </a:cubicBezTo>
                      <a:cubicBezTo>
                        <a:pt x="94362" y="1150136"/>
                        <a:pt x="93317" y="1152787"/>
                        <a:pt x="92514" y="1154715"/>
                      </a:cubicBezTo>
                      <a:cubicBezTo>
                        <a:pt x="92675" y="1151823"/>
                        <a:pt x="92996" y="1147967"/>
                        <a:pt x="93960" y="1145236"/>
                      </a:cubicBezTo>
                      <a:cubicBezTo>
                        <a:pt x="94281" y="1133508"/>
                        <a:pt x="96450" y="1122021"/>
                        <a:pt x="97013" y="1110374"/>
                      </a:cubicBezTo>
                      <a:cubicBezTo>
                        <a:pt x="99262" y="1109249"/>
                        <a:pt x="102636" y="1107723"/>
                        <a:pt x="103680" y="1105554"/>
                      </a:cubicBezTo>
                      <a:lnTo>
                        <a:pt x="106009" y="1105474"/>
                      </a:lnTo>
                      <a:cubicBezTo>
                        <a:pt x="106973" y="1103707"/>
                        <a:pt x="108339" y="1101377"/>
                        <a:pt x="109303" y="1099610"/>
                      </a:cubicBezTo>
                      <a:cubicBezTo>
                        <a:pt x="110026" y="1100172"/>
                        <a:pt x="110909" y="1100815"/>
                        <a:pt x="111632" y="1101377"/>
                      </a:cubicBezTo>
                      <a:lnTo>
                        <a:pt x="112677" y="1104189"/>
                      </a:lnTo>
                      <a:cubicBezTo>
                        <a:pt x="116693" y="1103707"/>
                        <a:pt x="122155" y="1101618"/>
                        <a:pt x="125047" y="1098807"/>
                      </a:cubicBezTo>
                      <a:cubicBezTo>
                        <a:pt x="129304" y="1097280"/>
                        <a:pt x="130188" y="1097602"/>
                        <a:pt x="131072" y="1098003"/>
                      </a:cubicBezTo>
                      <a:cubicBezTo>
                        <a:pt x="136695" y="1097200"/>
                        <a:pt x="142478" y="1096397"/>
                        <a:pt x="164006" y="1109731"/>
                      </a:cubicBezTo>
                      <a:cubicBezTo>
                        <a:pt x="164167" y="1111177"/>
                        <a:pt x="164488" y="1113185"/>
                        <a:pt x="164649" y="1114712"/>
                      </a:cubicBezTo>
                      <a:cubicBezTo>
                        <a:pt x="171155" y="1119130"/>
                        <a:pt x="171155" y="1119130"/>
                        <a:pt x="183124" y="1120495"/>
                      </a:cubicBezTo>
                      <a:cubicBezTo>
                        <a:pt x="184008" y="1122182"/>
                        <a:pt x="185213" y="1124512"/>
                        <a:pt x="186096" y="1126199"/>
                      </a:cubicBezTo>
                      <a:cubicBezTo>
                        <a:pt x="186659" y="1125958"/>
                        <a:pt x="187382" y="1125636"/>
                        <a:pt x="187944" y="1125395"/>
                      </a:cubicBezTo>
                      <a:lnTo>
                        <a:pt x="188827" y="1126520"/>
                      </a:lnTo>
                      <a:lnTo>
                        <a:pt x="185052" y="1116077"/>
                      </a:lnTo>
                      <a:lnTo>
                        <a:pt x="184811" y="1115676"/>
                      </a:lnTo>
                      <a:lnTo>
                        <a:pt x="187462" y="1112222"/>
                      </a:lnTo>
                      <a:cubicBezTo>
                        <a:pt x="185534" y="1111498"/>
                        <a:pt x="182963" y="1110454"/>
                        <a:pt x="181036" y="1109731"/>
                      </a:cubicBezTo>
                      <a:cubicBezTo>
                        <a:pt x="188988" y="1109249"/>
                        <a:pt x="197021" y="1109490"/>
                        <a:pt x="205054" y="1108767"/>
                      </a:cubicBezTo>
                      <a:cubicBezTo>
                        <a:pt x="205696" y="1110615"/>
                        <a:pt x="206500" y="1113105"/>
                        <a:pt x="207142" y="1114953"/>
                      </a:cubicBezTo>
                      <a:cubicBezTo>
                        <a:pt x="206339" y="1114953"/>
                        <a:pt x="205214" y="1114953"/>
                        <a:pt x="204411" y="1114953"/>
                      </a:cubicBezTo>
                      <a:cubicBezTo>
                        <a:pt x="206339" y="1115033"/>
                        <a:pt x="208829" y="1115033"/>
                        <a:pt x="210757" y="1115113"/>
                      </a:cubicBezTo>
                      <a:cubicBezTo>
                        <a:pt x="210677" y="1115274"/>
                        <a:pt x="210677" y="1115595"/>
                        <a:pt x="210596" y="1115756"/>
                      </a:cubicBezTo>
                      <a:lnTo>
                        <a:pt x="216219" y="1114792"/>
                      </a:lnTo>
                      <a:lnTo>
                        <a:pt x="217344" y="1114069"/>
                      </a:lnTo>
                      <a:cubicBezTo>
                        <a:pt x="269878" y="1143389"/>
                        <a:pt x="269959" y="1145959"/>
                        <a:pt x="270200" y="1165720"/>
                      </a:cubicBezTo>
                      <a:cubicBezTo>
                        <a:pt x="271485" y="1165238"/>
                        <a:pt x="273252" y="1164595"/>
                        <a:pt x="274537" y="1164113"/>
                      </a:cubicBezTo>
                      <a:cubicBezTo>
                        <a:pt x="273413" y="1165881"/>
                        <a:pt x="271967" y="1168130"/>
                        <a:pt x="270842" y="1169897"/>
                      </a:cubicBezTo>
                      <a:cubicBezTo>
                        <a:pt x="271003" y="1170218"/>
                        <a:pt x="291567" y="1200582"/>
                        <a:pt x="297351" y="1203073"/>
                      </a:cubicBezTo>
                      <a:cubicBezTo>
                        <a:pt x="299921" y="1201305"/>
                        <a:pt x="303295" y="1198895"/>
                        <a:pt x="306106" y="1197530"/>
                      </a:cubicBezTo>
                      <a:cubicBezTo>
                        <a:pt x="306910" y="1186686"/>
                        <a:pt x="307472" y="1178813"/>
                        <a:pt x="300564" y="1162668"/>
                      </a:cubicBezTo>
                      <a:cubicBezTo>
                        <a:pt x="300001" y="1161302"/>
                        <a:pt x="287470" y="1130054"/>
                        <a:pt x="295503" y="1119853"/>
                      </a:cubicBezTo>
                      <a:cubicBezTo>
                        <a:pt x="298395" y="1117121"/>
                        <a:pt x="301608" y="1112623"/>
                        <a:pt x="303214" y="1108928"/>
                      </a:cubicBezTo>
                      <a:cubicBezTo>
                        <a:pt x="303616" y="1109410"/>
                        <a:pt x="304098" y="1110133"/>
                        <a:pt x="304419" y="1110615"/>
                      </a:cubicBezTo>
                      <a:lnTo>
                        <a:pt x="305383" y="1110053"/>
                      </a:lnTo>
                      <a:cubicBezTo>
                        <a:pt x="313095" y="1108687"/>
                        <a:pt x="319842" y="1104269"/>
                        <a:pt x="327393" y="1102341"/>
                      </a:cubicBezTo>
                      <a:cubicBezTo>
                        <a:pt x="336229" y="1096477"/>
                        <a:pt x="346511" y="1093987"/>
                        <a:pt x="355910" y="1089248"/>
                      </a:cubicBezTo>
                      <a:cubicBezTo>
                        <a:pt x="355829" y="1088364"/>
                        <a:pt x="355749" y="1087159"/>
                        <a:pt x="355669" y="1086356"/>
                      </a:cubicBezTo>
                      <a:cubicBezTo>
                        <a:pt x="359926" y="1087320"/>
                        <a:pt x="365951" y="1087480"/>
                        <a:pt x="370208" y="1086517"/>
                      </a:cubicBezTo>
                      <a:cubicBezTo>
                        <a:pt x="368200" y="1085633"/>
                        <a:pt x="365549" y="1084508"/>
                        <a:pt x="363621" y="1083705"/>
                      </a:cubicBezTo>
                      <a:cubicBezTo>
                        <a:pt x="363300" y="1081456"/>
                        <a:pt x="362818" y="1078403"/>
                        <a:pt x="362496" y="1076154"/>
                      </a:cubicBezTo>
                      <a:cubicBezTo>
                        <a:pt x="366593" y="1076877"/>
                        <a:pt x="371975" y="1077680"/>
                        <a:pt x="376072" y="1078243"/>
                      </a:cubicBezTo>
                      <a:cubicBezTo>
                        <a:pt x="375670" y="1076235"/>
                        <a:pt x="375108" y="1073584"/>
                        <a:pt x="374706" y="1071575"/>
                      </a:cubicBezTo>
                      <a:cubicBezTo>
                        <a:pt x="372618" y="1071334"/>
                        <a:pt x="369806" y="1071093"/>
                        <a:pt x="367798" y="1070933"/>
                      </a:cubicBezTo>
                      <a:cubicBezTo>
                        <a:pt x="369806" y="1070692"/>
                        <a:pt x="372457" y="1070290"/>
                        <a:pt x="374385" y="1070049"/>
                      </a:cubicBezTo>
                      <a:cubicBezTo>
                        <a:pt x="374546" y="1069648"/>
                        <a:pt x="374706" y="1069085"/>
                        <a:pt x="374867" y="1068684"/>
                      </a:cubicBezTo>
                      <a:lnTo>
                        <a:pt x="376634" y="1069567"/>
                      </a:lnTo>
                      <a:cubicBezTo>
                        <a:pt x="376715" y="1068925"/>
                        <a:pt x="376795" y="1068282"/>
                        <a:pt x="376875" y="1067639"/>
                      </a:cubicBezTo>
                      <a:cubicBezTo>
                        <a:pt x="378642" y="1068603"/>
                        <a:pt x="381052" y="1069808"/>
                        <a:pt x="382819" y="1070772"/>
                      </a:cubicBezTo>
                      <a:cubicBezTo>
                        <a:pt x="381936" y="1066354"/>
                        <a:pt x="378803" y="1060892"/>
                        <a:pt x="375831" y="1057438"/>
                      </a:cubicBezTo>
                      <a:cubicBezTo>
                        <a:pt x="376152" y="1055831"/>
                        <a:pt x="376634" y="1053662"/>
                        <a:pt x="376956" y="1052056"/>
                      </a:cubicBezTo>
                      <a:lnTo>
                        <a:pt x="376715" y="1048923"/>
                      </a:lnTo>
                      <a:cubicBezTo>
                        <a:pt x="373260" y="1046112"/>
                        <a:pt x="368923" y="1041935"/>
                        <a:pt x="366111" y="1038561"/>
                      </a:cubicBezTo>
                      <a:cubicBezTo>
                        <a:pt x="367718" y="1040167"/>
                        <a:pt x="369887" y="1042256"/>
                        <a:pt x="371493" y="1043862"/>
                      </a:cubicBezTo>
                      <a:cubicBezTo>
                        <a:pt x="373019" y="1042738"/>
                        <a:pt x="375028" y="1041211"/>
                        <a:pt x="376554" y="1040087"/>
                      </a:cubicBezTo>
                      <a:cubicBezTo>
                        <a:pt x="376313" y="1036071"/>
                        <a:pt x="376072" y="1030769"/>
                        <a:pt x="375911" y="1026752"/>
                      </a:cubicBezTo>
                      <a:cubicBezTo>
                        <a:pt x="376554" y="1026110"/>
                        <a:pt x="377518" y="1025307"/>
                        <a:pt x="378160" y="1024744"/>
                      </a:cubicBezTo>
                      <a:lnTo>
                        <a:pt x="379847" y="1022335"/>
                      </a:lnTo>
                      <a:lnTo>
                        <a:pt x="380570" y="1023700"/>
                      </a:lnTo>
                      <a:lnTo>
                        <a:pt x="381213" y="1022013"/>
                      </a:lnTo>
                      <a:lnTo>
                        <a:pt x="381454" y="1022977"/>
                      </a:lnTo>
                      <a:lnTo>
                        <a:pt x="385390" y="1021692"/>
                      </a:lnTo>
                      <a:lnTo>
                        <a:pt x="386836" y="1021772"/>
                      </a:lnTo>
                      <a:lnTo>
                        <a:pt x="384667" y="1022897"/>
                      </a:lnTo>
                      <a:lnTo>
                        <a:pt x="386434" y="1023700"/>
                      </a:lnTo>
                      <a:cubicBezTo>
                        <a:pt x="384747" y="1024905"/>
                        <a:pt x="382498" y="1026431"/>
                        <a:pt x="380811" y="1027636"/>
                      </a:cubicBezTo>
                      <a:cubicBezTo>
                        <a:pt x="381213" y="1027395"/>
                        <a:pt x="381856" y="1027154"/>
                        <a:pt x="382257" y="1026913"/>
                      </a:cubicBezTo>
                      <a:lnTo>
                        <a:pt x="381213" y="1028680"/>
                      </a:lnTo>
                      <a:lnTo>
                        <a:pt x="379365" y="1031733"/>
                      </a:lnTo>
                      <a:lnTo>
                        <a:pt x="383141" y="1034785"/>
                      </a:lnTo>
                      <a:lnTo>
                        <a:pt x="383060" y="1039444"/>
                      </a:lnTo>
                      <a:lnTo>
                        <a:pt x="384747" y="1038641"/>
                      </a:lnTo>
                      <a:lnTo>
                        <a:pt x="386997" y="1044907"/>
                      </a:lnTo>
                      <a:cubicBezTo>
                        <a:pt x="385711" y="1046433"/>
                        <a:pt x="383944" y="1048441"/>
                        <a:pt x="382659" y="1049887"/>
                      </a:cubicBezTo>
                      <a:cubicBezTo>
                        <a:pt x="388121" y="1047798"/>
                        <a:pt x="391575" y="1043059"/>
                        <a:pt x="396395" y="1040087"/>
                      </a:cubicBezTo>
                      <a:cubicBezTo>
                        <a:pt x="390692" y="1027315"/>
                        <a:pt x="390692" y="1027315"/>
                        <a:pt x="396395" y="1018318"/>
                      </a:cubicBezTo>
                      <a:cubicBezTo>
                        <a:pt x="395833" y="1020567"/>
                        <a:pt x="395029" y="1023620"/>
                        <a:pt x="394467" y="1025949"/>
                      </a:cubicBezTo>
                      <a:cubicBezTo>
                        <a:pt x="395913" y="1027716"/>
                        <a:pt x="397921" y="1030126"/>
                        <a:pt x="399367" y="1031894"/>
                      </a:cubicBezTo>
                      <a:cubicBezTo>
                        <a:pt x="404910" y="1028520"/>
                        <a:pt x="404910" y="1028520"/>
                        <a:pt x="414147" y="1019282"/>
                      </a:cubicBezTo>
                      <a:cubicBezTo>
                        <a:pt x="414067" y="1019925"/>
                        <a:pt x="414067" y="1020728"/>
                        <a:pt x="413987" y="1021370"/>
                      </a:cubicBezTo>
                      <a:cubicBezTo>
                        <a:pt x="416236" y="1015025"/>
                        <a:pt x="415192" y="1008116"/>
                        <a:pt x="417441" y="1001771"/>
                      </a:cubicBezTo>
                      <a:cubicBezTo>
                        <a:pt x="419128" y="1003136"/>
                        <a:pt x="421377" y="1004903"/>
                        <a:pt x="423064" y="1006269"/>
                      </a:cubicBezTo>
                      <a:cubicBezTo>
                        <a:pt x="435515" y="1003618"/>
                        <a:pt x="447002" y="997192"/>
                        <a:pt x="460175" y="997754"/>
                      </a:cubicBezTo>
                      <a:lnTo>
                        <a:pt x="462103" y="997031"/>
                      </a:lnTo>
                      <a:cubicBezTo>
                        <a:pt x="465879" y="997834"/>
                        <a:pt x="470939" y="998879"/>
                        <a:pt x="474715" y="999843"/>
                      </a:cubicBezTo>
                      <a:cubicBezTo>
                        <a:pt x="476241" y="998557"/>
                        <a:pt x="478329" y="996951"/>
                        <a:pt x="479856" y="995666"/>
                      </a:cubicBezTo>
                      <a:cubicBezTo>
                        <a:pt x="477928" y="996067"/>
                        <a:pt x="475438" y="996710"/>
                        <a:pt x="473510" y="997111"/>
                      </a:cubicBezTo>
                      <a:cubicBezTo>
                        <a:pt x="470618" y="994541"/>
                        <a:pt x="467887" y="989802"/>
                        <a:pt x="467084" y="986026"/>
                      </a:cubicBezTo>
                      <a:cubicBezTo>
                        <a:pt x="472466" y="979841"/>
                        <a:pt x="476803" y="972852"/>
                        <a:pt x="482266" y="966747"/>
                      </a:cubicBezTo>
                      <a:cubicBezTo>
                        <a:pt x="482828" y="966908"/>
                        <a:pt x="483631" y="967149"/>
                        <a:pt x="484193" y="967310"/>
                      </a:cubicBezTo>
                      <a:lnTo>
                        <a:pt x="486764" y="967711"/>
                      </a:lnTo>
                      <a:lnTo>
                        <a:pt x="487166" y="965623"/>
                      </a:lnTo>
                      <a:lnTo>
                        <a:pt x="488129" y="966587"/>
                      </a:lnTo>
                      <a:lnTo>
                        <a:pt x="489495" y="964498"/>
                      </a:lnTo>
                      <a:lnTo>
                        <a:pt x="489656" y="966265"/>
                      </a:lnTo>
                      <a:lnTo>
                        <a:pt x="490941" y="964739"/>
                      </a:lnTo>
                      <a:lnTo>
                        <a:pt x="491262" y="966185"/>
                      </a:lnTo>
                      <a:cubicBezTo>
                        <a:pt x="495439" y="964257"/>
                        <a:pt x="500580" y="960723"/>
                        <a:pt x="503713" y="957429"/>
                      </a:cubicBezTo>
                      <a:cubicBezTo>
                        <a:pt x="503472" y="958233"/>
                        <a:pt x="503231" y="959277"/>
                        <a:pt x="502990" y="960160"/>
                      </a:cubicBezTo>
                      <a:cubicBezTo>
                        <a:pt x="506766" y="958715"/>
                        <a:pt x="512469" y="958474"/>
                        <a:pt x="516485" y="959116"/>
                      </a:cubicBezTo>
                      <a:lnTo>
                        <a:pt x="517289" y="959357"/>
                      </a:lnTo>
                      <a:cubicBezTo>
                        <a:pt x="531989" y="955662"/>
                        <a:pt x="543154" y="949316"/>
                        <a:pt x="548536" y="945862"/>
                      </a:cubicBezTo>
                      <a:lnTo>
                        <a:pt x="546930" y="947388"/>
                      </a:lnTo>
                      <a:cubicBezTo>
                        <a:pt x="557131" y="947147"/>
                        <a:pt x="565807" y="940560"/>
                        <a:pt x="576008" y="940480"/>
                      </a:cubicBezTo>
                      <a:cubicBezTo>
                        <a:pt x="574161" y="941766"/>
                        <a:pt x="571671" y="943533"/>
                        <a:pt x="569823" y="944898"/>
                      </a:cubicBezTo>
                      <a:cubicBezTo>
                        <a:pt x="575526" y="947469"/>
                        <a:pt x="575526" y="947469"/>
                        <a:pt x="590467" y="948593"/>
                      </a:cubicBezTo>
                      <a:cubicBezTo>
                        <a:pt x="586371" y="948834"/>
                        <a:pt x="580908" y="951003"/>
                        <a:pt x="577695" y="953574"/>
                      </a:cubicBezTo>
                      <a:cubicBezTo>
                        <a:pt x="576330" y="952048"/>
                        <a:pt x="574562" y="949959"/>
                        <a:pt x="573277" y="948352"/>
                      </a:cubicBezTo>
                      <a:cubicBezTo>
                        <a:pt x="566128" y="951485"/>
                        <a:pt x="558979" y="954538"/>
                        <a:pt x="551830" y="957670"/>
                      </a:cubicBezTo>
                      <a:cubicBezTo>
                        <a:pt x="552954" y="957429"/>
                        <a:pt x="554400" y="957028"/>
                        <a:pt x="555444" y="956706"/>
                      </a:cubicBezTo>
                      <a:cubicBezTo>
                        <a:pt x="544761" y="960562"/>
                        <a:pt x="544600" y="962892"/>
                        <a:pt x="544198" y="970603"/>
                      </a:cubicBezTo>
                      <a:cubicBezTo>
                        <a:pt x="544841" y="970764"/>
                        <a:pt x="545725" y="971005"/>
                        <a:pt x="546367" y="971246"/>
                      </a:cubicBezTo>
                      <a:cubicBezTo>
                        <a:pt x="547974" y="972531"/>
                        <a:pt x="550062" y="974298"/>
                        <a:pt x="551589" y="975664"/>
                      </a:cubicBezTo>
                      <a:cubicBezTo>
                        <a:pt x="555766" y="974539"/>
                        <a:pt x="555766" y="974539"/>
                        <a:pt x="577294" y="962089"/>
                      </a:cubicBezTo>
                      <a:lnTo>
                        <a:pt x="579221" y="959759"/>
                      </a:lnTo>
                      <a:cubicBezTo>
                        <a:pt x="584443" y="961044"/>
                        <a:pt x="613923" y="956546"/>
                        <a:pt x="621153" y="949397"/>
                      </a:cubicBezTo>
                      <a:cubicBezTo>
                        <a:pt x="620189" y="947710"/>
                        <a:pt x="618823" y="945461"/>
                        <a:pt x="617859" y="943774"/>
                      </a:cubicBezTo>
                      <a:cubicBezTo>
                        <a:pt x="612477" y="942970"/>
                        <a:pt x="607015" y="944416"/>
                        <a:pt x="601713" y="942970"/>
                      </a:cubicBezTo>
                      <a:cubicBezTo>
                        <a:pt x="596813" y="942408"/>
                        <a:pt x="590226" y="941203"/>
                        <a:pt x="585487" y="939838"/>
                      </a:cubicBezTo>
                      <a:cubicBezTo>
                        <a:pt x="585166" y="938793"/>
                        <a:pt x="584764" y="937428"/>
                        <a:pt x="584443" y="936383"/>
                      </a:cubicBezTo>
                      <a:cubicBezTo>
                        <a:pt x="579944" y="935098"/>
                        <a:pt x="574241" y="931805"/>
                        <a:pt x="570787" y="928592"/>
                      </a:cubicBezTo>
                      <a:cubicBezTo>
                        <a:pt x="570707" y="926101"/>
                        <a:pt x="570626" y="922728"/>
                        <a:pt x="570546" y="920237"/>
                      </a:cubicBezTo>
                      <a:cubicBezTo>
                        <a:pt x="568457" y="919996"/>
                        <a:pt x="565726" y="919675"/>
                        <a:pt x="563718" y="919354"/>
                      </a:cubicBezTo>
                      <a:cubicBezTo>
                        <a:pt x="567012" y="916623"/>
                        <a:pt x="571108" y="912606"/>
                        <a:pt x="573839" y="909313"/>
                      </a:cubicBezTo>
                      <a:cubicBezTo>
                        <a:pt x="572554" y="908670"/>
                        <a:pt x="570787" y="907787"/>
                        <a:pt x="569502" y="907144"/>
                      </a:cubicBezTo>
                      <a:cubicBezTo>
                        <a:pt x="558015" y="907867"/>
                        <a:pt x="555605" y="907706"/>
                        <a:pt x="543716" y="902806"/>
                      </a:cubicBezTo>
                      <a:cubicBezTo>
                        <a:pt x="567172" y="905297"/>
                        <a:pt x="573357" y="902003"/>
                        <a:pt x="578980" y="891641"/>
                      </a:cubicBezTo>
                      <a:cubicBezTo>
                        <a:pt x="541548" y="893328"/>
                        <a:pt x="516084" y="898228"/>
                        <a:pt x="478249" y="911000"/>
                      </a:cubicBezTo>
                      <a:cubicBezTo>
                        <a:pt x="480579" y="906983"/>
                        <a:pt x="482426" y="900878"/>
                        <a:pt x="482587" y="896219"/>
                      </a:cubicBezTo>
                      <a:cubicBezTo>
                        <a:pt x="496002" y="891078"/>
                        <a:pt x="513272" y="896621"/>
                        <a:pt x="522992" y="881520"/>
                      </a:cubicBezTo>
                      <a:cubicBezTo>
                        <a:pt x="592957" y="874611"/>
                        <a:pt x="656095" y="843926"/>
                        <a:pt x="723571" y="829547"/>
                      </a:cubicBezTo>
                      <a:moveTo>
                        <a:pt x="495038" y="321794"/>
                      </a:moveTo>
                      <a:lnTo>
                        <a:pt x="495038" y="321794"/>
                      </a:lnTo>
                      <a:lnTo>
                        <a:pt x="495038" y="321794"/>
                      </a:lnTo>
                      <a:lnTo>
                        <a:pt x="495038" y="321794"/>
                      </a:lnTo>
                      <a:moveTo>
                        <a:pt x="491102" y="305889"/>
                      </a:moveTo>
                      <a:cubicBezTo>
                        <a:pt x="491664" y="305327"/>
                        <a:pt x="492307" y="304363"/>
                        <a:pt x="492708" y="303640"/>
                      </a:cubicBezTo>
                      <a:lnTo>
                        <a:pt x="492387" y="303961"/>
                      </a:lnTo>
                      <a:cubicBezTo>
                        <a:pt x="490780" y="305648"/>
                        <a:pt x="487005" y="309504"/>
                        <a:pt x="486764" y="309906"/>
                      </a:cubicBezTo>
                      <a:cubicBezTo>
                        <a:pt x="486925" y="309825"/>
                        <a:pt x="487085" y="309745"/>
                        <a:pt x="491102" y="305889"/>
                      </a:cubicBezTo>
                      <a:moveTo>
                        <a:pt x="440013" y="250463"/>
                      </a:moveTo>
                      <a:lnTo>
                        <a:pt x="440013" y="250463"/>
                      </a:lnTo>
                      <a:cubicBezTo>
                        <a:pt x="440013" y="250463"/>
                        <a:pt x="440013" y="250463"/>
                        <a:pt x="440013" y="250463"/>
                      </a:cubicBezTo>
                      <a:cubicBezTo>
                        <a:pt x="440013" y="250463"/>
                        <a:pt x="440013" y="250463"/>
                        <a:pt x="440013" y="250463"/>
                      </a:cubicBezTo>
                      <a:cubicBezTo>
                        <a:pt x="440013" y="250463"/>
                        <a:pt x="440013" y="250463"/>
                        <a:pt x="440013" y="250463"/>
                      </a:cubicBezTo>
                      <a:moveTo>
                        <a:pt x="1609749" y="0"/>
                      </a:moveTo>
                      <a:lnTo>
                        <a:pt x="1609749" y="0"/>
                      </a:lnTo>
                      <a:cubicBezTo>
                        <a:pt x="1614890" y="2410"/>
                        <a:pt x="1620111" y="4820"/>
                        <a:pt x="1625252" y="7229"/>
                      </a:cubicBezTo>
                      <a:cubicBezTo>
                        <a:pt x="1625011" y="7069"/>
                        <a:pt x="1624690" y="6908"/>
                        <a:pt x="1624449" y="6748"/>
                      </a:cubicBezTo>
                      <a:cubicBezTo>
                        <a:pt x="1615292" y="2490"/>
                        <a:pt x="1609829" y="0"/>
                        <a:pt x="1609749" y="0"/>
                      </a:cubicBezTo>
                      <a:moveTo>
                        <a:pt x="622679" y="345250"/>
                      </a:moveTo>
                      <a:cubicBezTo>
                        <a:pt x="623643" y="344768"/>
                        <a:pt x="624928" y="344125"/>
                        <a:pt x="625892" y="343643"/>
                      </a:cubicBezTo>
                      <a:cubicBezTo>
                        <a:pt x="624607" y="329586"/>
                        <a:pt x="620590" y="322919"/>
                        <a:pt x="612718" y="322035"/>
                      </a:cubicBezTo>
                      <a:cubicBezTo>
                        <a:pt x="605408" y="322115"/>
                        <a:pt x="599785" y="326453"/>
                        <a:pt x="599785" y="326453"/>
                      </a:cubicBezTo>
                      <a:cubicBezTo>
                        <a:pt x="599705" y="326614"/>
                        <a:pt x="593600" y="341233"/>
                        <a:pt x="600107" y="347178"/>
                      </a:cubicBezTo>
                      <a:cubicBezTo>
                        <a:pt x="602436" y="349266"/>
                        <a:pt x="608461" y="351837"/>
                        <a:pt x="622679" y="345250"/>
                      </a:cubicBezTo>
                      <a:moveTo>
                        <a:pt x="473911" y="267653"/>
                      </a:moveTo>
                      <a:cubicBezTo>
                        <a:pt x="474313" y="267332"/>
                        <a:pt x="474875" y="266930"/>
                        <a:pt x="475277" y="266609"/>
                      </a:cubicBezTo>
                      <a:cubicBezTo>
                        <a:pt x="474956" y="266850"/>
                        <a:pt x="474634" y="267171"/>
                        <a:pt x="474313" y="267332"/>
                      </a:cubicBezTo>
                      <a:cubicBezTo>
                        <a:pt x="463951" y="275445"/>
                        <a:pt x="456239" y="281710"/>
                        <a:pt x="455356" y="282353"/>
                      </a:cubicBezTo>
                      <a:cubicBezTo>
                        <a:pt x="460738" y="278176"/>
                        <a:pt x="465718" y="274079"/>
                        <a:pt x="473911" y="267653"/>
                      </a:cubicBezTo>
                      <a:moveTo>
                        <a:pt x="560505" y="565670"/>
                      </a:moveTo>
                      <a:cubicBezTo>
                        <a:pt x="560344" y="565830"/>
                        <a:pt x="560184" y="565991"/>
                        <a:pt x="560023" y="566232"/>
                      </a:cubicBezTo>
                      <a:cubicBezTo>
                        <a:pt x="559943" y="566071"/>
                        <a:pt x="559862" y="56583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lnTo>
                        <a:pt x="559782" y="565670"/>
                      </a:lnTo>
                      <a:lnTo>
                        <a:pt x="559782" y="565670"/>
                      </a:ln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59782" y="565670"/>
                        <a:pt x="559782" y="565670"/>
                        <a:pt x="559782" y="565670"/>
                      </a:cubicBezTo>
                      <a:cubicBezTo>
                        <a:pt x="560103" y="565670"/>
                        <a:pt x="560344" y="565670"/>
                        <a:pt x="560505" y="565670"/>
                      </a:cubicBezTo>
                      <a:cubicBezTo>
                        <a:pt x="560585" y="565670"/>
                        <a:pt x="560505" y="565670"/>
                        <a:pt x="560505" y="565670"/>
                      </a:cubicBezTo>
                      <a:moveTo>
                        <a:pt x="573759" y="574667"/>
                      </a:moveTo>
                      <a:cubicBezTo>
                        <a:pt x="565485" y="573381"/>
                        <a:pt x="562513" y="570249"/>
                        <a:pt x="560826" y="567678"/>
                      </a:cubicBezTo>
                      <a:cubicBezTo>
                        <a:pt x="560987" y="567678"/>
                        <a:pt x="561067" y="567678"/>
                        <a:pt x="561228" y="567678"/>
                      </a:cubicBezTo>
                      <a:cubicBezTo>
                        <a:pt x="561148" y="567437"/>
                        <a:pt x="561067" y="567116"/>
                        <a:pt x="560987" y="566794"/>
                      </a:cubicBezTo>
                      <a:cubicBezTo>
                        <a:pt x="564762" y="563983"/>
                        <a:pt x="566369" y="559725"/>
                        <a:pt x="566048" y="553942"/>
                      </a:cubicBezTo>
                      <a:cubicBezTo>
                        <a:pt x="572474" y="559243"/>
                        <a:pt x="575125" y="565911"/>
                        <a:pt x="573839" y="573140"/>
                      </a:cubicBezTo>
                      <a:cubicBezTo>
                        <a:pt x="574000" y="573622"/>
                        <a:pt x="574161" y="574265"/>
                        <a:pt x="574321" y="574747"/>
                      </a:cubicBezTo>
                      <a:cubicBezTo>
                        <a:pt x="574161" y="574747"/>
                        <a:pt x="573920" y="574747"/>
                        <a:pt x="573759" y="574667"/>
                      </a:cubicBezTo>
                      <a:moveTo>
                        <a:pt x="601312" y="534422"/>
                      </a:moveTo>
                      <a:cubicBezTo>
                        <a:pt x="599384" y="536270"/>
                        <a:pt x="598741" y="536350"/>
                        <a:pt x="598259" y="536430"/>
                      </a:cubicBezTo>
                      <a:cubicBezTo>
                        <a:pt x="598179" y="536430"/>
                        <a:pt x="584443" y="527675"/>
                        <a:pt x="583961" y="526068"/>
                      </a:cubicBezTo>
                      <a:cubicBezTo>
                        <a:pt x="584523" y="525506"/>
                        <a:pt x="589503" y="527916"/>
                        <a:pt x="601874" y="533940"/>
                      </a:cubicBezTo>
                      <a:cubicBezTo>
                        <a:pt x="601633" y="534101"/>
                        <a:pt x="601472" y="534262"/>
                        <a:pt x="601312" y="534422"/>
                      </a:cubicBezTo>
                      <a:moveTo>
                        <a:pt x="517289" y="389912"/>
                      </a:moveTo>
                      <a:cubicBezTo>
                        <a:pt x="516646" y="388707"/>
                        <a:pt x="517128" y="387502"/>
                        <a:pt x="518815" y="386297"/>
                      </a:cubicBezTo>
                      <a:cubicBezTo>
                        <a:pt x="518333" y="387583"/>
                        <a:pt x="517851" y="388787"/>
                        <a:pt x="517369" y="390073"/>
                      </a:cubicBezTo>
                      <a:cubicBezTo>
                        <a:pt x="517369" y="389993"/>
                        <a:pt x="517289" y="389912"/>
                        <a:pt x="517289" y="389912"/>
                      </a:cubicBezTo>
                      <a:moveTo>
                        <a:pt x="694090" y="527353"/>
                      </a:moveTo>
                      <a:cubicBezTo>
                        <a:pt x="694412" y="526871"/>
                        <a:pt x="694492" y="526148"/>
                        <a:pt x="694653" y="525586"/>
                      </a:cubicBezTo>
                      <a:cubicBezTo>
                        <a:pt x="692163" y="524060"/>
                        <a:pt x="689833" y="523337"/>
                        <a:pt x="670795" y="525666"/>
                      </a:cubicBezTo>
                      <a:cubicBezTo>
                        <a:pt x="675936" y="522293"/>
                        <a:pt x="678346" y="520044"/>
                        <a:pt x="681720" y="515545"/>
                      </a:cubicBezTo>
                      <a:cubicBezTo>
                        <a:pt x="679792" y="513296"/>
                        <a:pt x="679471" y="512975"/>
                        <a:pt x="676579" y="511770"/>
                      </a:cubicBezTo>
                      <a:cubicBezTo>
                        <a:pt x="668867" y="515063"/>
                        <a:pt x="668867" y="515063"/>
                        <a:pt x="664128" y="512171"/>
                      </a:cubicBezTo>
                      <a:cubicBezTo>
                        <a:pt x="666699" y="512091"/>
                        <a:pt x="666699" y="512091"/>
                        <a:pt x="670474" y="512252"/>
                      </a:cubicBezTo>
                      <a:cubicBezTo>
                        <a:pt x="671840" y="508476"/>
                        <a:pt x="671840" y="508476"/>
                        <a:pt x="673928" y="507191"/>
                      </a:cubicBezTo>
                      <a:cubicBezTo>
                        <a:pt x="673928" y="506388"/>
                        <a:pt x="673848" y="505263"/>
                        <a:pt x="673848" y="504460"/>
                      </a:cubicBezTo>
                      <a:lnTo>
                        <a:pt x="672081" y="505183"/>
                      </a:lnTo>
                      <a:cubicBezTo>
                        <a:pt x="667663" y="493616"/>
                        <a:pt x="664128" y="493134"/>
                        <a:pt x="658505" y="503255"/>
                      </a:cubicBezTo>
                      <a:cubicBezTo>
                        <a:pt x="659951" y="498917"/>
                        <a:pt x="659951" y="498917"/>
                        <a:pt x="659710" y="496588"/>
                      </a:cubicBezTo>
                      <a:cubicBezTo>
                        <a:pt x="658264" y="495865"/>
                        <a:pt x="656497" y="496186"/>
                        <a:pt x="655051" y="495302"/>
                      </a:cubicBezTo>
                      <a:cubicBezTo>
                        <a:pt x="655212" y="494660"/>
                        <a:pt x="655533" y="493857"/>
                        <a:pt x="655694" y="493294"/>
                      </a:cubicBezTo>
                      <a:cubicBezTo>
                        <a:pt x="650713" y="496829"/>
                        <a:pt x="650713" y="496829"/>
                        <a:pt x="649589" y="497471"/>
                      </a:cubicBezTo>
                      <a:cubicBezTo>
                        <a:pt x="649428" y="496909"/>
                        <a:pt x="649267" y="496266"/>
                        <a:pt x="649107" y="495704"/>
                      </a:cubicBezTo>
                      <a:cubicBezTo>
                        <a:pt x="651597" y="491768"/>
                        <a:pt x="651597" y="491768"/>
                        <a:pt x="655131" y="487109"/>
                      </a:cubicBezTo>
                      <a:cubicBezTo>
                        <a:pt x="651838" y="487752"/>
                        <a:pt x="649749" y="490563"/>
                        <a:pt x="646858" y="491929"/>
                      </a:cubicBezTo>
                      <a:cubicBezTo>
                        <a:pt x="646456" y="491527"/>
                        <a:pt x="645974" y="490965"/>
                        <a:pt x="645572" y="490644"/>
                      </a:cubicBezTo>
                      <a:cubicBezTo>
                        <a:pt x="646938" y="486386"/>
                        <a:pt x="647581" y="485181"/>
                        <a:pt x="651356" y="482450"/>
                      </a:cubicBezTo>
                      <a:cubicBezTo>
                        <a:pt x="636174" y="476586"/>
                        <a:pt x="632077" y="474899"/>
                        <a:pt x="629667" y="472489"/>
                      </a:cubicBezTo>
                      <a:cubicBezTo>
                        <a:pt x="634808" y="471766"/>
                        <a:pt x="634808" y="471766"/>
                        <a:pt x="640913" y="472570"/>
                      </a:cubicBezTo>
                      <a:cubicBezTo>
                        <a:pt x="646054" y="468553"/>
                        <a:pt x="645251" y="464697"/>
                        <a:pt x="641877" y="462930"/>
                      </a:cubicBezTo>
                      <a:cubicBezTo>
                        <a:pt x="650794" y="461806"/>
                        <a:pt x="652641" y="461484"/>
                        <a:pt x="656256" y="459958"/>
                      </a:cubicBezTo>
                      <a:cubicBezTo>
                        <a:pt x="654248" y="456584"/>
                        <a:pt x="654087" y="456343"/>
                        <a:pt x="636094" y="452327"/>
                      </a:cubicBezTo>
                      <a:cubicBezTo>
                        <a:pt x="650071" y="446463"/>
                        <a:pt x="654730" y="444134"/>
                        <a:pt x="658826" y="441001"/>
                      </a:cubicBezTo>
                      <a:cubicBezTo>
                        <a:pt x="658907" y="440439"/>
                        <a:pt x="658907" y="439635"/>
                        <a:pt x="658987" y="439073"/>
                      </a:cubicBezTo>
                      <a:cubicBezTo>
                        <a:pt x="656577" y="438591"/>
                        <a:pt x="655051" y="438270"/>
                        <a:pt x="644046" y="439876"/>
                      </a:cubicBezTo>
                      <a:cubicBezTo>
                        <a:pt x="644367" y="439073"/>
                        <a:pt x="644849" y="438029"/>
                        <a:pt x="645251" y="437225"/>
                      </a:cubicBezTo>
                      <a:cubicBezTo>
                        <a:pt x="644930" y="436502"/>
                        <a:pt x="644930" y="436502"/>
                        <a:pt x="641235" y="433209"/>
                      </a:cubicBezTo>
                      <a:cubicBezTo>
                        <a:pt x="643966" y="431120"/>
                        <a:pt x="645894" y="430237"/>
                        <a:pt x="657220" y="425256"/>
                      </a:cubicBezTo>
                      <a:cubicBezTo>
                        <a:pt x="657220" y="424614"/>
                        <a:pt x="657220" y="423811"/>
                        <a:pt x="657220" y="423248"/>
                      </a:cubicBezTo>
                      <a:cubicBezTo>
                        <a:pt x="650553" y="415938"/>
                        <a:pt x="650553" y="415938"/>
                        <a:pt x="621876" y="433611"/>
                      </a:cubicBezTo>
                      <a:cubicBezTo>
                        <a:pt x="627017" y="426783"/>
                        <a:pt x="627177" y="426060"/>
                        <a:pt x="627820" y="423489"/>
                      </a:cubicBezTo>
                      <a:cubicBezTo>
                        <a:pt x="625731" y="422766"/>
                        <a:pt x="625731" y="422766"/>
                        <a:pt x="622438" y="424293"/>
                      </a:cubicBezTo>
                      <a:cubicBezTo>
                        <a:pt x="637781" y="413448"/>
                        <a:pt x="638343" y="412484"/>
                        <a:pt x="638664" y="409432"/>
                      </a:cubicBezTo>
                      <a:cubicBezTo>
                        <a:pt x="635612" y="408950"/>
                        <a:pt x="634085" y="408628"/>
                        <a:pt x="620108" y="412966"/>
                      </a:cubicBezTo>
                      <a:cubicBezTo>
                        <a:pt x="641556" y="403729"/>
                        <a:pt x="644046" y="397865"/>
                        <a:pt x="630390" y="388787"/>
                      </a:cubicBezTo>
                      <a:cubicBezTo>
                        <a:pt x="624687" y="391920"/>
                        <a:pt x="622679" y="394491"/>
                        <a:pt x="621795" y="399712"/>
                      </a:cubicBezTo>
                      <a:cubicBezTo>
                        <a:pt x="621554" y="395615"/>
                        <a:pt x="621554" y="394732"/>
                        <a:pt x="621715" y="390555"/>
                      </a:cubicBezTo>
                      <a:cubicBezTo>
                        <a:pt x="618502" y="393125"/>
                        <a:pt x="617618" y="393688"/>
                        <a:pt x="614485" y="395133"/>
                      </a:cubicBezTo>
                      <a:cubicBezTo>
                        <a:pt x="618743" y="390073"/>
                        <a:pt x="619064" y="389591"/>
                        <a:pt x="621153" y="386699"/>
                      </a:cubicBezTo>
                      <a:cubicBezTo>
                        <a:pt x="618662" y="386860"/>
                        <a:pt x="618662" y="386860"/>
                        <a:pt x="604284" y="399552"/>
                      </a:cubicBezTo>
                      <a:cubicBezTo>
                        <a:pt x="607176" y="395696"/>
                        <a:pt x="609425" y="392884"/>
                        <a:pt x="614325" y="386860"/>
                      </a:cubicBezTo>
                      <a:cubicBezTo>
                        <a:pt x="613280" y="386860"/>
                        <a:pt x="611915" y="386619"/>
                        <a:pt x="610951" y="386217"/>
                      </a:cubicBezTo>
                      <a:cubicBezTo>
                        <a:pt x="614164" y="382763"/>
                        <a:pt x="618341" y="380433"/>
                        <a:pt x="621876" y="377381"/>
                      </a:cubicBezTo>
                      <a:cubicBezTo>
                        <a:pt x="619385" y="377301"/>
                        <a:pt x="619225" y="377301"/>
                        <a:pt x="604284" y="384289"/>
                      </a:cubicBezTo>
                      <a:cubicBezTo>
                        <a:pt x="615690" y="360994"/>
                        <a:pt x="615048" y="359709"/>
                        <a:pt x="613762" y="356978"/>
                      </a:cubicBezTo>
                      <a:cubicBezTo>
                        <a:pt x="611031" y="357781"/>
                        <a:pt x="609344" y="358263"/>
                        <a:pt x="598741" y="369107"/>
                      </a:cubicBezTo>
                      <a:cubicBezTo>
                        <a:pt x="595207" y="366617"/>
                        <a:pt x="594564" y="365974"/>
                        <a:pt x="592315" y="362520"/>
                      </a:cubicBezTo>
                      <a:cubicBezTo>
                        <a:pt x="587094" y="367501"/>
                        <a:pt x="585246" y="370874"/>
                        <a:pt x="584523" y="376176"/>
                      </a:cubicBezTo>
                      <a:cubicBezTo>
                        <a:pt x="585166" y="370392"/>
                        <a:pt x="585969" y="366697"/>
                        <a:pt x="588057" y="360432"/>
                      </a:cubicBezTo>
                      <a:cubicBezTo>
                        <a:pt x="585246" y="358504"/>
                        <a:pt x="582595" y="357620"/>
                        <a:pt x="579382" y="365733"/>
                      </a:cubicBezTo>
                      <a:cubicBezTo>
                        <a:pt x="573277" y="367420"/>
                        <a:pt x="572875" y="367340"/>
                        <a:pt x="569662" y="366617"/>
                      </a:cubicBezTo>
                      <a:cubicBezTo>
                        <a:pt x="568136" y="363565"/>
                        <a:pt x="568136" y="363565"/>
                        <a:pt x="578177" y="353122"/>
                      </a:cubicBezTo>
                      <a:cubicBezTo>
                        <a:pt x="587817" y="343081"/>
                        <a:pt x="598259" y="329988"/>
                        <a:pt x="592797" y="324445"/>
                      </a:cubicBezTo>
                      <a:cubicBezTo>
                        <a:pt x="590146" y="321714"/>
                        <a:pt x="561148" y="319545"/>
                        <a:pt x="558256" y="332879"/>
                      </a:cubicBezTo>
                      <a:cubicBezTo>
                        <a:pt x="557774" y="335209"/>
                        <a:pt x="558336" y="338502"/>
                        <a:pt x="558738" y="340832"/>
                      </a:cubicBezTo>
                      <a:cubicBezTo>
                        <a:pt x="547653" y="336333"/>
                        <a:pt x="544279" y="339627"/>
                        <a:pt x="546930" y="352238"/>
                      </a:cubicBezTo>
                      <a:cubicBezTo>
                        <a:pt x="542351" y="355210"/>
                        <a:pt x="542271" y="357219"/>
                        <a:pt x="542190" y="360833"/>
                      </a:cubicBezTo>
                      <a:cubicBezTo>
                        <a:pt x="528454" y="362922"/>
                        <a:pt x="527972" y="363002"/>
                        <a:pt x="518734" y="385976"/>
                      </a:cubicBezTo>
                      <a:cubicBezTo>
                        <a:pt x="516003" y="385012"/>
                        <a:pt x="512630" y="383888"/>
                        <a:pt x="504275" y="386940"/>
                      </a:cubicBezTo>
                      <a:cubicBezTo>
                        <a:pt x="528374" y="361315"/>
                        <a:pt x="550866" y="334245"/>
                        <a:pt x="576249" y="309745"/>
                      </a:cubicBezTo>
                      <a:cubicBezTo>
                        <a:pt x="572956" y="309504"/>
                        <a:pt x="568538" y="309263"/>
                        <a:pt x="565244" y="309022"/>
                      </a:cubicBezTo>
                      <a:cubicBezTo>
                        <a:pt x="538977" y="312637"/>
                        <a:pt x="473510" y="361797"/>
                        <a:pt x="500500" y="385092"/>
                      </a:cubicBezTo>
                      <a:cubicBezTo>
                        <a:pt x="492708" y="384691"/>
                        <a:pt x="489575" y="382602"/>
                        <a:pt x="486041" y="379630"/>
                      </a:cubicBezTo>
                      <a:cubicBezTo>
                        <a:pt x="473028" y="393366"/>
                        <a:pt x="480659" y="404050"/>
                        <a:pt x="486523" y="403488"/>
                      </a:cubicBezTo>
                      <a:cubicBezTo>
                        <a:pt x="489174" y="403247"/>
                        <a:pt x="491343" y="401319"/>
                        <a:pt x="494074" y="401319"/>
                      </a:cubicBezTo>
                      <a:cubicBezTo>
                        <a:pt x="502026" y="415537"/>
                        <a:pt x="506364" y="423409"/>
                        <a:pt x="527651" y="431522"/>
                      </a:cubicBezTo>
                      <a:cubicBezTo>
                        <a:pt x="530141" y="426702"/>
                        <a:pt x="529418" y="424774"/>
                        <a:pt x="528133" y="421642"/>
                      </a:cubicBezTo>
                      <a:cubicBezTo>
                        <a:pt x="539780" y="428068"/>
                        <a:pt x="549902" y="433611"/>
                        <a:pt x="558256" y="411038"/>
                      </a:cubicBezTo>
                      <a:cubicBezTo>
                        <a:pt x="557131" y="444375"/>
                        <a:pt x="559380" y="459235"/>
                        <a:pt x="575285" y="459074"/>
                      </a:cubicBezTo>
                      <a:cubicBezTo>
                        <a:pt x="570385" y="463412"/>
                        <a:pt x="570385" y="463412"/>
                        <a:pt x="580828" y="478514"/>
                      </a:cubicBezTo>
                      <a:cubicBezTo>
                        <a:pt x="570385" y="510645"/>
                        <a:pt x="563638" y="524622"/>
                        <a:pt x="546528" y="549845"/>
                      </a:cubicBezTo>
                      <a:cubicBezTo>
                        <a:pt x="524679" y="546953"/>
                        <a:pt x="521305" y="553540"/>
                        <a:pt x="519216" y="562376"/>
                      </a:cubicBezTo>
                      <a:cubicBezTo>
                        <a:pt x="511425" y="562055"/>
                        <a:pt x="503552" y="561734"/>
                        <a:pt x="495761" y="561573"/>
                      </a:cubicBezTo>
                      <a:cubicBezTo>
                        <a:pt x="499375" y="562376"/>
                        <a:pt x="501303" y="562858"/>
                        <a:pt x="524598" y="564304"/>
                      </a:cubicBezTo>
                      <a:cubicBezTo>
                        <a:pt x="527972" y="572096"/>
                        <a:pt x="532390" y="572899"/>
                        <a:pt x="539861" y="571614"/>
                      </a:cubicBezTo>
                      <a:cubicBezTo>
                        <a:pt x="540985" y="586153"/>
                        <a:pt x="540985" y="586153"/>
                        <a:pt x="547653" y="588804"/>
                      </a:cubicBezTo>
                      <a:cubicBezTo>
                        <a:pt x="545966" y="592821"/>
                        <a:pt x="547251" y="594427"/>
                        <a:pt x="554159" y="596837"/>
                      </a:cubicBezTo>
                      <a:cubicBezTo>
                        <a:pt x="549741" y="599166"/>
                        <a:pt x="548938" y="599729"/>
                        <a:pt x="547171" y="601978"/>
                      </a:cubicBezTo>
                      <a:cubicBezTo>
                        <a:pt x="547492" y="603344"/>
                        <a:pt x="548375" y="605111"/>
                        <a:pt x="549580" y="605834"/>
                      </a:cubicBezTo>
                      <a:lnTo>
                        <a:pt x="608059" y="639089"/>
                      </a:lnTo>
                      <a:cubicBezTo>
                        <a:pt x="608059" y="636117"/>
                        <a:pt x="608139" y="635475"/>
                        <a:pt x="610148" y="632904"/>
                      </a:cubicBezTo>
                      <a:cubicBezTo>
                        <a:pt x="598339" y="612822"/>
                        <a:pt x="596492" y="609770"/>
                        <a:pt x="593359" y="598524"/>
                      </a:cubicBezTo>
                      <a:cubicBezTo>
                        <a:pt x="595126" y="599970"/>
                        <a:pt x="595126" y="599970"/>
                        <a:pt x="597135" y="603986"/>
                      </a:cubicBezTo>
                      <a:cubicBezTo>
                        <a:pt x="597456" y="600773"/>
                        <a:pt x="597456" y="599970"/>
                        <a:pt x="597215" y="596757"/>
                      </a:cubicBezTo>
                      <a:cubicBezTo>
                        <a:pt x="602035" y="607922"/>
                        <a:pt x="603079" y="608485"/>
                        <a:pt x="606292" y="610091"/>
                      </a:cubicBezTo>
                      <a:cubicBezTo>
                        <a:pt x="606854" y="609930"/>
                        <a:pt x="607577" y="609689"/>
                        <a:pt x="608139" y="609529"/>
                      </a:cubicBezTo>
                      <a:cubicBezTo>
                        <a:pt x="608621" y="609770"/>
                        <a:pt x="609184" y="610091"/>
                        <a:pt x="609666" y="610413"/>
                      </a:cubicBezTo>
                      <a:cubicBezTo>
                        <a:pt x="609907" y="611457"/>
                        <a:pt x="610389" y="612903"/>
                        <a:pt x="610790" y="613947"/>
                      </a:cubicBezTo>
                      <a:cubicBezTo>
                        <a:pt x="611915" y="613867"/>
                        <a:pt x="613361" y="613867"/>
                        <a:pt x="614405" y="613947"/>
                      </a:cubicBezTo>
                      <a:cubicBezTo>
                        <a:pt x="622036" y="625032"/>
                        <a:pt x="624285" y="623747"/>
                        <a:pt x="626374" y="616517"/>
                      </a:cubicBezTo>
                      <a:cubicBezTo>
                        <a:pt x="631836" y="615072"/>
                        <a:pt x="632640" y="611617"/>
                        <a:pt x="630792" y="597962"/>
                      </a:cubicBezTo>
                      <a:cubicBezTo>
                        <a:pt x="632881" y="607521"/>
                        <a:pt x="633684" y="607922"/>
                        <a:pt x="635451" y="608886"/>
                      </a:cubicBezTo>
                      <a:cubicBezTo>
                        <a:pt x="636897" y="606557"/>
                        <a:pt x="637138" y="606235"/>
                        <a:pt x="638182" y="600211"/>
                      </a:cubicBezTo>
                      <a:cubicBezTo>
                        <a:pt x="638825" y="600050"/>
                        <a:pt x="639628" y="599889"/>
                        <a:pt x="640271" y="599729"/>
                      </a:cubicBezTo>
                      <a:cubicBezTo>
                        <a:pt x="640351" y="597721"/>
                        <a:pt x="640351" y="597721"/>
                        <a:pt x="629587" y="585029"/>
                      </a:cubicBezTo>
                      <a:cubicBezTo>
                        <a:pt x="633523" y="584306"/>
                        <a:pt x="633523" y="584306"/>
                        <a:pt x="636174" y="583101"/>
                      </a:cubicBezTo>
                      <a:cubicBezTo>
                        <a:pt x="635049" y="582057"/>
                        <a:pt x="633202" y="581013"/>
                        <a:pt x="631676" y="580611"/>
                      </a:cubicBezTo>
                      <a:cubicBezTo>
                        <a:pt x="632800" y="580049"/>
                        <a:pt x="634166" y="579245"/>
                        <a:pt x="635049" y="578362"/>
                      </a:cubicBezTo>
                      <a:cubicBezTo>
                        <a:pt x="635049" y="577719"/>
                        <a:pt x="635049" y="576916"/>
                        <a:pt x="635049" y="576273"/>
                      </a:cubicBezTo>
                      <a:cubicBezTo>
                        <a:pt x="622759" y="569766"/>
                        <a:pt x="622759" y="569766"/>
                        <a:pt x="621956" y="568240"/>
                      </a:cubicBezTo>
                      <a:cubicBezTo>
                        <a:pt x="621313" y="569124"/>
                        <a:pt x="620590" y="570329"/>
                        <a:pt x="620189" y="571373"/>
                      </a:cubicBezTo>
                      <a:cubicBezTo>
                        <a:pt x="620189" y="566553"/>
                        <a:pt x="619225" y="563581"/>
                        <a:pt x="616413" y="559404"/>
                      </a:cubicBezTo>
                      <a:cubicBezTo>
                        <a:pt x="617377" y="558762"/>
                        <a:pt x="618662" y="557958"/>
                        <a:pt x="619707" y="557316"/>
                      </a:cubicBezTo>
                      <a:cubicBezTo>
                        <a:pt x="612236" y="550649"/>
                        <a:pt x="610790" y="548239"/>
                        <a:pt x="607256" y="537555"/>
                      </a:cubicBezTo>
                      <a:cubicBezTo>
                        <a:pt x="616253" y="544704"/>
                        <a:pt x="618020" y="544222"/>
                        <a:pt x="620590" y="543499"/>
                      </a:cubicBezTo>
                      <a:cubicBezTo>
                        <a:pt x="621876" y="540527"/>
                        <a:pt x="622197" y="539804"/>
                        <a:pt x="619948" y="531209"/>
                      </a:cubicBezTo>
                      <a:cubicBezTo>
                        <a:pt x="622197" y="534021"/>
                        <a:pt x="622197" y="534021"/>
                        <a:pt x="624366" y="535466"/>
                      </a:cubicBezTo>
                      <a:cubicBezTo>
                        <a:pt x="624928" y="535306"/>
                        <a:pt x="625651" y="535065"/>
                        <a:pt x="626133" y="534824"/>
                      </a:cubicBezTo>
                      <a:cubicBezTo>
                        <a:pt x="626615" y="533298"/>
                        <a:pt x="626936" y="531209"/>
                        <a:pt x="627017" y="529602"/>
                      </a:cubicBezTo>
                      <a:cubicBezTo>
                        <a:pt x="627900" y="530165"/>
                        <a:pt x="629346" y="530406"/>
                        <a:pt x="630390" y="530245"/>
                      </a:cubicBezTo>
                      <a:cubicBezTo>
                        <a:pt x="630551" y="529763"/>
                        <a:pt x="630712" y="529120"/>
                        <a:pt x="630872" y="528558"/>
                      </a:cubicBezTo>
                      <a:cubicBezTo>
                        <a:pt x="632077" y="535306"/>
                        <a:pt x="632077" y="535306"/>
                        <a:pt x="643082" y="539724"/>
                      </a:cubicBezTo>
                      <a:cubicBezTo>
                        <a:pt x="642681" y="541009"/>
                        <a:pt x="642439" y="542857"/>
                        <a:pt x="642520" y="544222"/>
                      </a:cubicBezTo>
                      <a:cubicBezTo>
                        <a:pt x="645171" y="545106"/>
                        <a:pt x="645412" y="545186"/>
                        <a:pt x="650874" y="542214"/>
                      </a:cubicBezTo>
                      <a:cubicBezTo>
                        <a:pt x="642761" y="550488"/>
                        <a:pt x="640512" y="555709"/>
                        <a:pt x="647902" y="566714"/>
                      </a:cubicBezTo>
                      <a:cubicBezTo>
                        <a:pt x="649749" y="563421"/>
                        <a:pt x="650472" y="562537"/>
                        <a:pt x="653525" y="559967"/>
                      </a:cubicBezTo>
                      <a:cubicBezTo>
                        <a:pt x="650553" y="564063"/>
                        <a:pt x="650713" y="565027"/>
                        <a:pt x="652561" y="568080"/>
                      </a:cubicBezTo>
                      <a:cubicBezTo>
                        <a:pt x="656738" y="566553"/>
                        <a:pt x="657300" y="567758"/>
                        <a:pt x="658264" y="571614"/>
                      </a:cubicBezTo>
                      <a:cubicBezTo>
                        <a:pt x="663003" y="565830"/>
                        <a:pt x="664931" y="561894"/>
                        <a:pt x="666297" y="555227"/>
                      </a:cubicBezTo>
                      <a:cubicBezTo>
                        <a:pt x="665654" y="554986"/>
                        <a:pt x="664851" y="554665"/>
                        <a:pt x="664289" y="554424"/>
                      </a:cubicBezTo>
                      <a:cubicBezTo>
                        <a:pt x="664289" y="553219"/>
                        <a:pt x="664851" y="551532"/>
                        <a:pt x="665574" y="550488"/>
                      </a:cubicBezTo>
                      <a:cubicBezTo>
                        <a:pt x="669108" y="550568"/>
                        <a:pt x="671358" y="555066"/>
                        <a:pt x="675454" y="553460"/>
                      </a:cubicBezTo>
                      <a:cubicBezTo>
                        <a:pt x="675454" y="553460"/>
                        <a:pt x="677462" y="552657"/>
                        <a:pt x="677784" y="545748"/>
                      </a:cubicBezTo>
                      <a:cubicBezTo>
                        <a:pt x="681559" y="546150"/>
                        <a:pt x="682845" y="545909"/>
                        <a:pt x="685576" y="545427"/>
                      </a:cubicBezTo>
                      <a:cubicBezTo>
                        <a:pt x="681559" y="542214"/>
                        <a:pt x="681318" y="541009"/>
                        <a:pt x="681158" y="537555"/>
                      </a:cubicBezTo>
                      <a:cubicBezTo>
                        <a:pt x="681559" y="537234"/>
                        <a:pt x="682122" y="536832"/>
                        <a:pt x="682523" y="536511"/>
                      </a:cubicBezTo>
                      <a:cubicBezTo>
                        <a:pt x="687182" y="537876"/>
                        <a:pt x="687745" y="537876"/>
                        <a:pt x="690154" y="537876"/>
                      </a:cubicBezTo>
                      <a:cubicBezTo>
                        <a:pt x="690556" y="537394"/>
                        <a:pt x="691199" y="536832"/>
                        <a:pt x="691600" y="536350"/>
                      </a:cubicBezTo>
                      <a:cubicBezTo>
                        <a:pt x="690556" y="533539"/>
                        <a:pt x="690556" y="533539"/>
                        <a:pt x="688146" y="530486"/>
                      </a:cubicBezTo>
                      <a:cubicBezTo>
                        <a:pt x="689030" y="530245"/>
                        <a:pt x="690154" y="529924"/>
                        <a:pt x="691038" y="529683"/>
                      </a:cubicBezTo>
                      <a:cubicBezTo>
                        <a:pt x="691922" y="529201"/>
                        <a:pt x="693367" y="528317"/>
                        <a:pt x="694090" y="527353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8" name="Freeform: Shape 427">
                  <a:extLst>
                    <a:ext uri="{FF2B5EF4-FFF2-40B4-BE49-F238E27FC236}">
                      <a16:creationId xmlns:a16="http://schemas.microsoft.com/office/drawing/2014/main" id="{C0E5E661-589D-9E7F-D855-2B8868D35837}"/>
                    </a:ext>
                  </a:extLst>
                </p:cNvPr>
                <p:cNvSpPr/>
                <p:nvPr/>
              </p:nvSpPr>
              <p:spPr>
                <a:xfrm>
                  <a:off x="-5248584" y="3121682"/>
                  <a:ext cx="2317118" cy="1240210"/>
                </a:xfrm>
                <a:custGeom>
                  <a:avLst/>
                  <a:gdLst>
                    <a:gd name="connsiteX0" fmla="*/ 1189095 w 2317118"/>
                    <a:gd name="connsiteY0" fmla="*/ 1238336 h 1240210"/>
                    <a:gd name="connsiteX1" fmla="*/ 1212149 w 2317118"/>
                    <a:gd name="connsiteY1" fmla="*/ 1236408 h 1240210"/>
                    <a:gd name="connsiteX2" fmla="*/ 1210543 w 2317118"/>
                    <a:gd name="connsiteY2" fmla="*/ 1236569 h 1240210"/>
                    <a:gd name="connsiteX3" fmla="*/ 1165880 w 2317118"/>
                    <a:gd name="connsiteY3" fmla="*/ 1238497 h 1240210"/>
                    <a:gd name="connsiteX4" fmla="*/ 1158731 w 2317118"/>
                    <a:gd name="connsiteY4" fmla="*/ 1239862 h 1240210"/>
                    <a:gd name="connsiteX5" fmla="*/ 1158811 w 2317118"/>
                    <a:gd name="connsiteY5" fmla="*/ 1240184 h 1240210"/>
                    <a:gd name="connsiteX6" fmla="*/ 1189095 w 2317118"/>
                    <a:gd name="connsiteY6" fmla="*/ 1238336 h 1240210"/>
                    <a:gd name="connsiteX7" fmla="*/ 838303 w 2317118"/>
                    <a:gd name="connsiteY7" fmla="*/ 1193513 h 1240210"/>
                    <a:gd name="connsiteX8" fmla="*/ 816052 w 2317118"/>
                    <a:gd name="connsiteY8" fmla="*/ 1189417 h 1240210"/>
                    <a:gd name="connsiteX9" fmla="*/ 803440 w 2317118"/>
                    <a:gd name="connsiteY9" fmla="*/ 1188935 h 1240210"/>
                    <a:gd name="connsiteX10" fmla="*/ 816132 w 2317118"/>
                    <a:gd name="connsiteY10" fmla="*/ 1191907 h 1240210"/>
                    <a:gd name="connsiteX11" fmla="*/ 792596 w 2317118"/>
                    <a:gd name="connsiteY11" fmla="*/ 1191184 h 1240210"/>
                    <a:gd name="connsiteX12" fmla="*/ 797576 w 2317118"/>
                    <a:gd name="connsiteY12" fmla="*/ 1193353 h 1240210"/>
                    <a:gd name="connsiteX13" fmla="*/ 807055 w 2317118"/>
                    <a:gd name="connsiteY13" fmla="*/ 1195762 h 1240210"/>
                    <a:gd name="connsiteX14" fmla="*/ 807457 w 2317118"/>
                    <a:gd name="connsiteY14" fmla="*/ 1195762 h 1240210"/>
                    <a:gd name="connsiteX15" fmla="*/ 816775 w 2317118"/>
                    <a:gd name="connsiteY15" fmla="*/ 1197690 h 1240210"/>
                    <a:gd name="connsiteX16" fmla="*/ 830913 w 2317118"/>
                    <a:gd name="connsiteY16" fmla="*/ 1197369 h 1240210"/>
                    <a:gd name="connsiteX17" fmla="*/ 853726 w 2317118"/>
                    <a:gd name="connsiteY17" fmla="*/ 1203152 h 1240210"/>
                    <a:gd name="connsiteX18" fmla="*/ 859509 w 2317118"/>
                    <a:gd name="connsiteY18" fmla="*/ 1204599 h 1240210"/>
                    <a:gd name="connsiteX19" fmla="*/ 838303 w 2317118"/>
                    <a:gd name="connsiteY19" fmla="*/ 1193513 h 1240210"/>
                    <a:gd name="connsiteX20" fmla="*/ 833724 w 2317118"/>
                    <a:gd name="connsiteY20" fmla="*/ 1190943 h 1240210"/>
                    <a:gd name="connsiteX21" fmla="*/ 830672 w 2317118"/>
                    <a:gd name="connsiteY21" fmla="*/ 1189738 h 1240210"/>
                    <a:gd name="connsiteX22" fmla="*/ 830832 w 2317118"/>
                    <a:gd name="connsiteY22" fmla="*/ 1189818 h 1240210"/>
                    <a:gd name="connsiteX23" fmla="*/ 835250 w 2317118"/>
                    <a:gd name="connsiteY23" fmla="*/ 1192068 h 1240210"/>
                    <a:gd name="connsiteX24" fmla="*/ 833724 w 2317118"/>
                    <a:gd name="connsiteY24" fmla="*/ 1190943 h 1240210"/>
                    <a:gd name="connsiteX25" fmla="*/ 829708 w 2317118"/>
                    <a:gd name="connsiteY25" fmla="*/ 1189577 h 1240210"/>
                    <a:gd name="connsiteX26" fmla="*/ 830591 w 2317118"/>
                    <a:gd name="connsiteY26" fmla="*/ 1189738 h 1240210"/>
                    <a:gd name="connsiteX27" fmla="*/ 821273 w 2317118"/>
                    <a:gd name="connsiteY27" fmla="*/ 1185239 h 1240210"/>
                    <a:gd name="connsiteX28" fmla="*/ 814445 w 2317118"/>
                    <a:gd name="connsiteY28" fmla="*/ 1186043 h 1240210"/>
                    <a:gd name="connsiteX29" fmla="*/ 829708 w 2317118"/>
                    <a:gd name="connsiteY29" fmla="*/ 1189577 h 1240210"/>
                    <a:gd name="connsiteX30" fmla="*/ 824326 w 2317118"/>
                    <a:gd name="connsiteY30" fmla="*/ 1185320 h 1240210"/>
                    <a:gd name="connsiteX31" fmla="*/ 824486 w 2317118"/>
                    <a:gd name="connsiteY31" fmla="*/ 1185320 h 1240210"/>
                    <a:gd name="connsiteX32" fmla="*/ 819345 w 2317118"/>
                    <a:gd name="connsiteY32" fmla="*/ 1184035 h 1240210"/>
                    <a:gd name="connsiteX33" fmla="*/ 819506 w 2317118"/>
                    <a:gd name="connsiteY33" fmla="*/ 1184115 h 1240210"/>
                    <a:gd name="connsiteX34" fmla="*/ 819667 w 2317118"/>
                    <a:gd name="connsiteY34" fmla="*/ 1184195 h 1240210"/>
                    <a:gd name="connsiteX35" fmla="*/ 820390 w 2317118"/>
                    <a:gd name="connsiteY35" fmla="*/ 1184597 h 1240210"/>
                    <a:gd name="connsiteX36" fmla="*/ 821755 w 2317118"/>
                    <a:gd name="connsiteY36" fmla="*/ 1185320 h 1240210"/>
                    <a:gd name="connsiteX37" fmla="*/ 821916 w 2317118"/>
                    <a:gd name="connsiteY37" fmla="*/ 1185320 h 1240210"/>
                    <a:gd name="connsiteX38" fmla="*/ 824326 w 2317118"/>
                    <a:gd name="connsiteY38" fmla="*/ 1185320 h 1240210"/>
                    <a:gd name="connsiteX39" fmla="*/ 816614 w 2317118"/>
                    <a:gd name="connsiteY39" fmla="*/ 1183312 h 1240210"/>
                    <a:gd name="connsiteX40" fmla="*/ 819345 w 2317118"/>
                    <a:gd name="connsiteY40" fmla="*/ 1184035 h 1240210"/>
                    <a:gd name="connsiteX41" fmla="*/ 801432 w 2317118"/>
                    <a:gd name="connsiteY41" fmla="*/ 1174636 h 1240210"/>
                    <a:gd name="connsiteX42" fmla="*/ 800147 w 2317118"/>
                    <a:gd name="connsiteY42" fmla="*/ 1173994 h 1240210"/>
                    <a:gd name="connsiteX43" fmla="*/ 783358 w 2317118"/>
                    <a:gd name="connsiteY43" fmla="*/ 1171744 h 1240210"/>
                    <a:gd name="connsiteX44" fmla="*/ 779904 w 2317118"/>
                    <a:gd name="connsiteY44" fmla="*/ 1171744 h 1240210"/>
                    <a:gd name="connsiteX45" fmla="*/ 779744 w 2317118"/>
                    <a:gd name="connsiteY45" fmla="*/ 1172066 h 1240210"/>
                    <a:gd name="connsiteX46" fmla="*/ 816614 w 2317118"/>
                    <a:gd name="connsiteY46" fmla="*/ 1183312 h 1240210"/>
                    <a:gd name="connsiteX47" fmla="*/ 865213 w 2317118"/>
                    <a:gd name="connsiteY47" fmla="*/ 1145638 h 1240210"/>
                    <a:gd name="connsiteX48" fmla="*/ 865373 w 2317118"/>
                    <a:gd name="connsiteY48" fmla="*/ 1145638 h 1240210"/>
                    <a:gd name="connsiteX49" fmla="*/ 863767 w 2317118"/>
                    <a:gd name="connsiteY49" fmla="*/ 1145557 h 1240210"/>
                    <a:gd name="connsiteX50" fmla="*/ 862963 w 2317118"/>
                    <a:gd name="connsiteY50" fmla="*/ 1145638 h 1240210"/>
                    <a:gd name="connsiteX51" fmla="*/ 862963 w 2317118"/>
                    <a:gd name="connsiteY51" fmla="*/ 1145638 h 1240210"/>
                    <a:gd name="connsiteX52" fmla="*/ 862963 w 2317118"/>
                    <a:gd name="connsiteY52" fmla="*/ 1145638 h 1240210"/>
                    <a:gd name="connsiteX53" fmla="*/ 862963 w 2317118"/>
                    <a:gd name="connsiteY53" fmla="*/ 1145638 h 1240210"/>
                    <a:gd name="connsiteX54" fmla="*/ 862963 w 2317118"/>
                    <a:gd name="connsiteY54" fmla="*/ 1145638 h 1240210"/>
                    <a:gd name="connsiteX55" fmla="*/ 862963 w 2317118"/>
                    <a:gd name="connsiteY55" fmla="*/ 1145638 h 1240210"/>
                    <a:gd name="connsiteX56" fmla="*/ 862963 w 2317118"/>
                    <a:gd name="connsiteY56" fmla="*/ 1145638 h 1240210"/>
                    <a:gd name="connsiteX57" fmla="*/ 862963 w 2317118"/>
                    <a:gd name="connsiteY57" fmla="*/ 1145638 h 1240210"/>
                    <a:gd name="connsiteX58" fmla="*/ 862963 w 2317118"/>
                    <a:gd name="connsiteY58" fmla="*/ 1145638 h 1240210"/>
                    <a:gd name="connsiteX59" fmla="*/ 865213 w 2317118"/>
                    <a:gd name="connsiteY59" fmla="*/ 1145638 h 1240210"/>
                    <a:gd name="connsiteX60" fmla="*/ 887464 w 2317118"/>
                    <a:gd name="connsiteY60" fmla="*/ 1118728 h 1240210"/>
                    <a:gd name="connsiteX61" fmla="*/ 878226 w 2317118"/>
                    <a:gd name="connsiteY61" fmla="*/ 1118888 h 1240210"/>
                    <a:gd name="connsiteX62" fmla="*/ 825691 w 2317118"/>
                    <a:gd name="connsiteY62" fmla="*/ 1130054 h 1240210"/>
                    <a:gd name="connsiteX63" fmla="*/ 827378 w 2317118"/>
                    <a:gd name="connsiteY63" fmla="*/ 1131259 h 1240210"/>
                    <a:gd name="connsiteX64" fmla="*/ 822157 w 2317118"/>
                    <a:gd name="connsiteY64" fmla="*/ 1132062 h 1240210"/>
                    <a:gd name="connsiteX65" fmla="*/ 822880 w 2317118"/>
                    <a:gd name="connsiteY65" fmla="*/ 1133669 h 1240210"/>
                    <a:gd name="connsiteX66" fmla="*/ 812999 w 2317118"/>
                    <a:gd name="connsiteY66" fmla="*/ 1134071 h 1240210"/>
                    <a:gd name="connsiteX67" fmla="*/ 818703 w 2317118"/>
                    <a:gd name="connsiteY67" fmla="*/ 1137766 h 1240210"/>
                    <a:gd name="connsiteX68" fmla="*/ 813722 w 2317118"/>
                    <a:gd name="connsiteY68" fmla="*/ 1139131 h 1240210"/>
                    <a:gd name="connsiteX69" fmla="*/ 814204 w 2317118"/>
                    <a:gd name="connsiteY69" fmla="*/ 1140497 h 1240210"/>
                    <a:gd name="connsiteX70" fmla="*/ 812598 w 2317118"/>
                    <a:gd name="connsiteY70" fmla="*/ 1140497 h 1240210"/>
                    <a:gd name="connsiteX71" fmla="*/ 815008 w 2317118"/>
                    <a:gd name="connsiteY71" fmla="*/ 1142906 h 1240210"/>
                    <a:gd name="connsiteX72" fmla="*/ 808662 w 2317118"/>
                    <a:gd name="connsiteY72" fmla="*/ 1142345 h 1240210"/>
                    <a:gd name="connsiteX73" fmla="*/ 809465 w 2317118"/>
                    <a:gd name="connsiteY73" fmla="*/ 1144031 h 1240210"/>
                    <a:gd name="connsiteX74" fmla="*/ 809385 w 2317118"/>
                    <a:gd name="connsiteY74" fmla="*/ 1155759 h 1240210"/>
                    <a:gd name="connsiteX75" fmla="*/ 806895 w 2317118"/>
                    <a:gd name="connsiteY75" fmla="*/ 1154795 h 1240210"/>
                    <a:gd name="connsiteX76" fmla="*/ 805368 w 2317118"/>
                    <a:gd name="connsiteY76" fmla="*/ 1155036 h 1240210"/>
                    <a:gd name="connsiteX77" fmla="*/ 831957 w 2317118"/>
                    <a:gd name="connsiteY77" fmla="*/ 1177207 h 1240210"/>
                    <a:gd name="connsiteX78" fmla="*/ 818703 w 2317118"/>
                    <a:gd name="connsiteY78" fmla="*/ 1176162 h 1240210"/>
                    <a:gd name="connsiteX79" fmla="*/ 877503 w 2317118"/>
                    <a:gd name="connsiteY79" fmla="*/ 1206125 h 1240210"/>
                    <a:gd name="connsiteX80" fmla="*/ 858144 w 2317118"/>
                    <a:gd name="connsiteY80" fmla="*/ 1210623 h 1240210"/>
                    <a:gd name="connsiteX81" fmla="*/ 785608 w 2317118"/>
                    <a:gd name="connsiteY81" fmla="*/ 1197690 h 1240210"/>
                    <a:gd name="connsiteX82" fmla="*/ 792034 w 2317118"/>
                    <a:gd name="connsiteY82" fmla="*/ 1200180 h 1240210"/>
                    <a:gd name="connsiteX83" fmla="*/ 709537 w 2317118"/>
                    <a:gd name="connsiteY83" fmla="*/ 1178251 h 1240210"/>
                    <a:gd name="connsiteX84" fmla="*/ 829306 w 2317118"/>
                    <a:gd name="connsiteY84" fmla="*/ 1211667 h 1240210"/>
                    <a:gd name="connsiteX85" fmla="*/ 918791 w 2317118"/>
                    <a:gd name="connsiteY85" fmla="*/ 1228376 h 1240210"/>
                    <a:gd name="connsiteX86" fmla="*/ 919273 w 2317118"/>
                    <a:gd name="connsiteY86" fmla="*/ 1228456 h 1240210"/>
                    <a:gd name="connsiteX87" fmla="*/ 977110 w 2317118"/>
                    <a:gd name="connsiteY87" fmla="*/ 1230785 h 1240210"/>
                    <a:gd name="connsiteX88" fmla="*/ 975824 w 2317118"/>
                    <a:gd name="connsiteY88" fmla="*/ 1229259 h 1240210"/>
                    <a:gd name="connsiteX89" fmla="*/ 981126 w 2317118"/>
                    <a:gd name="connsiteY89" fmla="*/ 1228697 h 1240210"/>
                    <a:gd name="connsiteX90" fmla="*/ 972531 w 2317118"/>
                    <a:gd name="connsiteY90" fmla="*/ 1227572 h 1240210"/>
                    <a:gd name="connsiteX91" fmla="*/ 982572 w 2317118"/>
                    <a:gd name="connsiteY91" fmla="*/ 1227171 h 1240210"/>
                    <a:gd name="connsiteX92" fmla="*/ 976226 w 2317118"/>
                    <a:gd name="connsiteY92" fmla="*/ 1224279 h 1240210"/>
                    <a:gd name="connsiteX93" fmla="*/ 986588 w 2317118"/>
                    <a:gd name="connsiteY93" fmla="*/ 1224761 h 1240210"/>
                    <a:gd name="connsiteX94" fmla="*/ 985946 w 2317118"/>
                    <a:gd name="connsiteY94" fmla="*/ 1223074 h 1240210"/>
                    <a:gd name="connsiteX95" fmla="*/ 976949 w 2317118"/>
                    <a:gd name="connsiteY95" fmla="*/ 1223234 h 1240210"/>
                    <a:gd name="connsiteX96" fmla="*/ 980564 w 2317118"/>
                    <a:gd name="connsiteY96" fmla="*/ 1222512 h 1240210"/>
                    <a:gd name="connsiteX97" fmla="*/ 971888 w 2317118"/>
                    <a:gd name="connsiteY97" fmla="*/ 1221307 h 1240210"/>
                    <a:gd name="connsiteX98" fmla="*/ 976547 w 2317118"/>
                    <a:gd name="connsiteY98" fmla="*/ 1220825 h 1240210"/>
                    <a:gd name="connsiteX99" fmla="*/ 975824 w 2317118"/>
                    <a:gd name="connsiteY99" fmla="*/ 1219138 h 1240210"/>
                    <a:gd name="connsiteX100" fmla="*/ 953734 w 2317118"/>
                    <a:gd name="connsiteY100" fmla="*/ 1214318 h 1240210"/>
                    <a:gd name="connsiteX101" fmla="*/ 973575 w 2317118"/>
                    <a:gd name="connsiteY101" fmla="*/ 1215604 h 1240210"/>
                    <a:gd name="connsiteX102" fmla="*/ 957991 w 2317118"/>
                    <a:gd name="connsiteY102" fmla="*/ 1210784 h 1240210"/>
                    <a:gd name="connsiteX103" fmla="*/ 950039 w 2317118"/>
                    <a:gd name="connsiteY103" fmla="*/ 1209418 h 1240210"/>
                    <a:gd name="connsiteX104" fmla="*/ 950682 w 2317118"/>
                    <a:gd name="connsiteY104" fmla="*/ 1207892 h 1240210"/>
                    <a:gd name="connsiteX105" fmla="*/ 950039 w 2317118"/>
                    <a:gd name="connsiteY105" fmla="*/ 1206446 h 1240210"/>
                    <a:gd name="connsiteX106" fmla="*/ 931323 w 2317118"/>
                    <a:gd name="connsiteY106" fmla="*/ 1204599 h 1240210"/>
                    <a:gd name="connsiteX107" fmla="*/ 939275 w 2317118"/>
                    <a:gd name="connsiteY107" fmla="*/ 1202189 h 1240210"/>
                    <a:gd name="connsiteX108" fmla="*/ 929877 w 2317118"/>
                    <a:gd name="connsiteY108" fmla="*/ 1201466 h 1240210"/>
                    <a:gd name="connsiteX109" fmla="*/ 931563 w 2317118"/>
                    <a:gd name="connsiteY109" fmla="*/ 1199458 h 1240210"/>
                    <a:gd name="connsiteX110" fmla="*/ 921603 w 2317118"/>
                    <a:gd name="connsiteY110" fmla="*/ 1195120 h 1240210"/>
                    <a:gd name="connsiteX111" fmla="*/ 903770 w 2317118"/>
                    <a:gd name="connsiteY111" fmla="*/ 1189015 h 1240210"/>
                    <a:gd name="connsiteX112" fmla="*/ 906019 w 2317118"/>
                    <a:gd name="connsiteY112" fmla="*/ 1188453 h 1240210"/>
                    <a:gd name="connsiteX113" fmla="*/ 868426 w 2317118"/>
                    <a:gd name="connsiteY113" fmla="*/ 1169656 h 1240210"/>
                    <a:gd name="connsiteX114" fmla="*/ 857581 w 2317118"/>
                    <a:gd name="connsiteY114" fmla="*/ 1169977 h 1240210"/>
                    <a:gd name="connsiteX115" fmla="*/ 859670 w 2317118"/>
                    <a:gd name="connsiteY115" fmla="*/ 1172547 h 1240210"/>
                    <a:gd name="connsiteX116" fmla="*/ 837178 w 2317118"/>
                    <a:gd name="connsiteY116" fmla="*/ 1167326 h 1240210"/>
                    <a:gd name="connsiteX117" fmla="*/ 840713 w 2317118"/>
                    <a:gd name="connsiteY117" fmla="*/ 1166443 h 1240210"/>
                    <a:gd name="connsiteX118" fmla="*/ 839829 w 2317118"/>
                    <a:gd name="connsiteY118" fmla="*/ 1164756 h 1240210"/>
                    <a:gd name="connsiteX119" fmla="*/ 825611 w 2317118"/>
                    <a:gd name="connsiteY119" fmla="*/ 1157044 h 1240210"/>
                    <a:gd name="connsiteX120" fmla="*/ 832760 w 2317118"/>
                    <a:gd name="connsiteY120" fmla="*/ 1152064 h 1240210"/>
                    <a:gd name="connsiteX121" fmla="*/ 829547 w 2317118"/>
                    <a:gd name="connsiteY121" fmla="*/ 1146361 h 1240210"/>
                    <a:gd name="connsiteX122" fmla="*/ 850191 w 2317118"/>
                    <a:gd name="connsiteY122" fmla="*/ 1151502 h 1240210"/>
                    <a:gd name="connsiteX123" fmla="*/ 844006 w 2317118"/>
                    <a:gd name="connsiteY123" fmla="*/ 1147325 h 1240210"/>
                    <a:gd name="connsiteX124" fmla="*/ 856537 w 2317118"/>
                    <a:gd name="connsiteY124" fmla="*/ 1148771 h 1240210"/>
                    <a:gd name="connsiteX125" fmla="*/ 855895 w 2317118"/>
                    <a:gd name="connsiteY125" fmla="*/ 1147485 h 1240210"/>
                    <a:gd name="connsiteX126" fmla="*/ 856698 w 2317118"/>
                    <a:gd name="connsiteY126" fmla="*/ 1146120 h 1240210"/>
                    <a:gd name="connsiteX127" fmla="*/ 864008 w 2317118"/>
                    <a:gd name="connsiteY127" fmla="*/ 1147646 h 1240210"/>
                    <a:gd name="connsiteX128" fmla="*/ 846175 w 2317118"/>
                    <a:gd name="connsiteY128" fmla="*/ 1139533 h 1240210"/>
                    <a:gd name="connsiteX129" fmla="*/ 839267 w 2317118"/>
                    <a:gd name="connsiteY129" fmla="*/ 1137043 h 1240210"/>
                    <a:gd name="connsiteX130" fmla="*/ 839347 w 2317118"/>
                    <a:gd name="connsiteY130" fmla="*/ 1135276 h 1240210"/>
                    <a:gd name="connsiteX131" fmla="*/ 871478 w 2317118"/>
                    <a:gd name="connsiteY131" fmla="*/ 1125957 h 1240210"/>
                    <a:gd name="connsiteX132" fmla="*/ 887464 w 2317118"/>
                    <a:gd name="connsiteY132" fmla="*/ 1118728 h 1240210"/>
                    <a:gd name="connsiteX133" fmla="*/ 1820553 w 2317118"/>
                    <a:gd name="connsiteY133" fmla="*/ 1007072 h 1240210"/>
                    <a:gd name="connsiteX134" fmla="*/ 1958235 w 2317118"/>
                    <a:gd name="connsiteY134" fmla="*/ 890596 h 1240210"/>
                    <a:gd name="connsiteX135" fmla="*/ 1959039 w 2317118"/>
                    <a:gd name="connsiteY135" fmla="*/ 889793 h 1240210"/>
                    <a:gd name="connsiteX136" fmla="*/ 1963617 w 2317118"/>
                    <a:gd name="connsiteY136" fmla="*/ 885134 h 1240210"/>
                    <a:gd name="connsiteX137" fmla="*/ 1854291 w 2317118"/>
                    <a:gd name="connsiteY137" fmla="*/ 975985 h 1240210"/>
                    <a:gd name="connsiteX138" fmla="*/ 1856942 w 2317118"/>
                    <a:gd name="connsiteY138" fmla="*/ 971888 h 1240210"/>
                    <a:gd name="connsiteX139" fmla="*/ 1544707 w 2317118"/>
                    <a:gd name="connsiteY139" fmla="*/ 1116640 h 1240210"/>
                    <a:gd name="connsiteX140" fmla="*/ 1531292 w 2317118"/>
                    <a:gd name="connsiteY140" fmla="*/ 1112944 h 1240210"/>
                    <a:gd name="connsiteX141" fmla="*/ 1448233 w 2317118"/>
                    <a:gd name="connsiteY141" fmla="*/ 1159374 h 1240210"/>
                    <a:gd name="connsiteX142" fmla="*/ 1461005 w 2317118"/>
                    <a:gd name="connsiteY142" fmla="*/ 1160338 h 1240210"/>
                    <a:gd name="connsiteX143" fmla="*/ 1412808 w 2317118"/>
                    <a:gd name="connsiteY143" fmla="*/ 1185159 h 1240210"/>
                    <a:gd name="connsiteX144" fmla="*/ 1270066 w 2317118"/>
                    <a:gd name="connsiteY144" fmla="*/ 1226367 h 1240210"/>
                    <a:gd name="connsiteX145" fmla="*/ 1311435 w 2317118"/>
                    <a:gd name="connsiteY145" fmla="*/ 1223234 h 1240210"/>
                    <a:gd name="connsiteX146" fmla="*/ 1371841 w 2317118"/>
                    <a:gd name="connsiteY146" fmla="*/ 1211025 h 1240210"/>
                    <a:gd name="connsiteX147" fmla="*/ 1435541 w 2317118"/>
                    <a:gd name="connsiteY147" fmla="*/ 1194718 h 1240210"/>
                    <a:gd name="connsiteX148" fmla="*/ 1506150 w 2317118"/>
                    <a:gd name="connsiteY148" fmla="*/ 1172226 h 1240210"/>
                    <a:gd name="connsiteX149" fmla="*/ 1588646 w 2317118"/>
                    <a:gd name="connsiteY149" fmla="*/ 1139774 h 1240210"/>
                    <a:gd name="connsiteX150" fmla="*/ 1820553 w 2317118"/>
                    <a:gd name="connsiteY150" fmla="*/ 1007072 h 1240210"/>
                    <a:gd name="connsiteX151" fmla="*/ 688170 w 2317118"/>
                    <a:gd name="connsiteY151" fmla="*/ 1018318 h 1240210"/>
                    <a:gd name="connsiteX152" fmla="*/ 690098 w 2317118"/>
                    <a:gd name="connsiteY152" fmla="*/ 1018318 h 1240210"/>
                    <a:gd name="connsiteX153" fmla="*/ 634109 w 2317118"/>
                    <a:gd name="connsiteY153" fmla="*/ 995103 h 1240210"/>
                    <a:gd name="connsiteX154" fmla="*/ 610573 w 2317118"/>
                    <a:gd name="connsiteY154" fmla="*/ 987793 h 1240210"/>
                    <a:gd name="connsiteX155" fmla="*/ 600130 w 2317118"/>
                    <a:gd name="connsiteY155" fmla="*/ 988837 h 1240210"/>
                    <a:gd name="connsiteX156" fmla="*/ 630816 w 2317118"/>
                    <a:gd name="connsiteY156" fmla="*/ 1010687 h 1240210"/>
                    <a:gd name="connsiteX157" fmla="*/ 607119 w 2317118"/>
                    <a:gd name="connsiteY157" fmla="*/ 1002654 h 1240210"/>
                    <a:gd name="connsiteX158" fmla="*/ 610493 w 2317118"/>
                    <a:gd name="connsiteY158" fmla="*/ 1002734 h 1240210"/>
                    <a:gd name="connsiteX159" fmla="*/ 605111 w 2317118"/>
                    <a:gd name="connsiteY159" fmla="*/ 998477 h 1240210"/>
                    <a:gd name="connsiteX160" fmla="*/ 603906 w 2317118"/>
                    <a:gd name="connsiteY160" fmla="*/ 998959 h 1240210"/>
                    <a:gd name="connsiteX161" fmla="*/ 605271 w 2317118"/>
                    <a:gd name="connsiteY161" fmla="*/ 1000565 h 1240210"/>
                    <a:gd name="connsiteX162" fmla="*/ 616116 w 2317118"/>
                    <a:gd name="connsiteY162" fmla="*/ 1009000 h 1240210"/>
                    <a:gd name="connsiteX163" fmla="*/ 594186 w 2317118"/>
                    <a:gd name="connsiteY163" fmla="*/ 1005867 h 1240210"/>
                    <a:gd name="connsiteX164" fmla="*/ 614509 w 2317118"/>
                    <a:gd name="connsiteY164" fmla="*/ 1011169 h 1240210"/>
                    <a:gd name="connsiteX165" fmla="*/ 688170 w 2317118"/>
                    <a:gd name="connsiteY165" fmla="*/ 1018318 h 1240210"/>
                    <a:gd name="connsiteX166" fmla="*/ 478835 w 2317118"/>
                    <a:gd name="connsiteY166" fmla="*/ 912526 h 1240210"/>
                    <a:gd name="connsiteX167" fmla="*/ 478835 w 2317118"/>
                    <a:gd name="connsiteY167" fmla="*/ 912526 h 1240210"/>
                    <a:gd name="connsiteX168" fmla="*/ 478835 w 2317118"/>
                    <a:gd name="connsiteY168" fmla="*/ 912526 h 1240210"/>
                    <a:gd name="connsiteX169" fmla="*/ 478433 w 2317118"/>
                    <a:gd name="connsiteY169" fmla="*/ 912526 h 1240210"/>
                    <a:gd name="connsiteX170" fmla="*/ 477791 w 2317118"/>
                    <a:gd name="connsiteY170" fmla="*/ 913490 h 1240210"/>
                    <a:gd name="connsiteX171" fmla="*/ 478835 w 2317118"/>
                    <a:gd name="connsiteY171" fmla="*/ 912526 h 1240210"/>
                    <a:gd name="connsiteX172" fmla="*/ 629932 w 2317118"/>
                    <a:gd name="connsiteY172" fmla="*/ 878547 h 1240210"/>
                    <a:gd name="connsiteX173" fmla="*/ 630093 w 2317118"/>
                    <a:gd name="connsiteY173" fmla="*/ 878547 h 1240210"/>
                    <a:gd name="connsiteX174" fmla="*/ 626799 w 2317118"/>
                    <a:gd name="connsiteY174" fmla="*/ 878306 h 1240210"/>
                    <a:gd name="connsiteX175" fmla="*/ 626880 w 2317118"/>
                    <a:gd name="connsiteY175" fmla="*/ 878306 h 1240210"/>
                    <a:gd name="connsiteX176" fmla="*/ 629932 w 2317118"/>
                    <a:gd name="connsiteY176" fmla="*/ 878547 h 1240210"/>
                    <a:gd name="connsiteX177" fmla="*/ 808581 w 2317118"/>
                    <a:gd name="connsiteY177" fmla="*/ 764321 h 1240210"/>
                    <a:gd name="connsiteX178" fmla="*/ 808742 w 2317118"/>
                    <a:gd name="connsiteY178" fmla="*/ 764241 h 1240210"/>
                    <a:gd name="connsiteX179" fmla="*/ 808581 w 2317118"/>
                    <a:gd name="connsiteY179" fmla="*/ 764321 h 1240210"/>
                    <a:gd name="connsiteX180" fmla="*/ 802236 w 2317118"/>
                    <a:gd name="connsiteY180" fmla="*/ 767695 h 1240210"/>
                    <a:gd name="connsiteX181" fmla="*/ 808581 w 2317118"/>
                    <a:gd name="connsiteY181" fmla="*/ 764321 h 1240210"/>
                    <a:gd name="connsiteX182" fmla="*/ 938954 w 2317118"/>
                    <a:gd name="connsiteY182" fmla="*/ 658930 h 1240210"/>
                    <a:gd name="connsiteX183" fmla="*/ 939114 w 2317118"/>
                    <a:gd name="connsiteY183" fmla="*/ 658850 h 1240210"/>
                    <a:gd name="connsiteX184" fmla="*/ 937026 w 2317118"/>
                    <a:gd name="connsiteY184" fmla="*/ 658850 h 1240210"/>
                    <a:gd name="connsiteX185" fmla="*/ 933331 w 2317118"/>
                    <a:gd name="connsiteY185" fmla="*/ 659814 h 1240210"/>
                    <a:gd name="connsiteX186" fmla="*/ 938954 w 2317118"/>
                    <a:gd name="connsiteY186" fmla="*/ 658930 h 1240210"/>
                    <a:gd name="connsiteX187" fmla="*/ 2316820 w 2317118"/>
                    <a:gd name="connsiteY187" fmla="*/ 23456 h 1240210"/>
                    <a:gd name="connsiteX188" fmla="*/ 2315213 w 2317118"/>
                    <a:gd name="connsiteY188" fmla="*/ 0 h 1240210"/>
                    <a:gd name="connsiteX189" fmla="*/ 2314249 w 2317118"/>
                    <a:gd name="connsiteY189" fmla="*/ 4257 h 1240210"/>
                    <a:gd name="connsiteX190" fmla="*/ 2310313 w 2317118"/>
                    <a:gd name="connsiteY190" fmla="*/ 44421 h 1240210"/>
                    <a:gd name="connsiteX191" fmla="*/ 2309992 w 2317118"/>
                    <a:gd name="connsiteY191" fmla="*/ 42654 h 1240210"/>
                    <a:gd name="connsiteX192" fmla="*/ 2309188 w 2317118"/>
                    <a:gd name="connsiteY192" fmla="*/ 52535 h 1240210"/>
                    <a:gd name="connsiteX193" fmla="*/ 2295774 w 2317118"/>
                    <a:gd name="connsiteY193" fmla="*/ 129248 h 1240210"/>
                    <a:gd name="connsiteX194" fmla="*/ 2301718 w 2317118"/>
                    <a:gd name="connsiteY194" fmla="*/ 169412 h 1240210"/>
                    <a:gd name="connsiteX195" fmla="*/ 2316820 w 2317118"/>
                    <a:gd name="connsiteY195" fmla="*/ 23456 h 1240210"/>
                    <a:gd name="connsiteX196" fmla="*/ 1688735 w 2317118"/>
                    <a:gd name="connsiteY196" fmla="*/ 180818 h 1240210"/>
                    <a:gd name="connsiteX197" fmla="*/ 1692992 w 2317118"/>
                    <a:gd name="connsiteY197" fmla="*/ 179212 h 1240210"/>
                    <a:gd name="connsiteX198" fmla="*/ 1692591 w 2317118"/>
                    <a:gd name="connsiteY198" fmla="*/ 179372 h 1240210"/>
                    <a:gd name="connsiteX199" fmla="*/ 1688735 w 2317118"/>
                    <a:gd name="connsiteY199" fmla="*/ 180818 h 1240210"/>
                    <a:gd name="connsiteX200" fmla="*/ 246045 w 2317118"/>
                    <a:gd name="connsiteY200" fmla="*/ 295446 h 1240210"/>
                    <a:gd name="connsiteX201" fmla="*/ 246125 w 2317118"/>
                    <a:gd name="connsiteY201" fmla="*/ 295366 h 1240210"/>
                    <a:gd name="connsiteX202" fmla="*/ 246045 w 2317118"/>
                    <a:gd name="connsiteY202" fmla="*/ 295446 h 1240210"/>
                    <a:gd name="connsiteX203" fmla="*/ 242831 w 2317118"/>
                    <a:gd name="connsiteY203" fmla="*/ 294964 h 1240210"/>
                    <a:gd name="connsiteX204" fmla="*/ 246045 w 2317118"/>
                    <a:gd name="connsiteY204" fmla="*/ 295446 h 1240210"/>
                    <a:gd name="connsiteX205" fmla="*/ 246768 w 2317118"/>
                    <a:gd name="connsiteY205" fmla="*/ 295446 h 1240210"/>
                    <a:gd name="connsiteX206" fmla="*/ 246768 w 2317118"/>
                    <a:gd name="connsiteY206" fmla="*/ 295446 h 1240210"/>
                    <a:gd name="connsiteX207" fmla="*/ 246607 w 2317118"/>
                    <a:gd name="connsiteY207" fmla="*/ 295125 h 1240210"/>
                    <a:gd name="connsiteX208" fmla="*/ 246607 w 2317118"/>
                    <a:gd name="connsiteY208" fmla="*/ 295125 h 1240210"/>
                    <a:gd name="connsiteX209" fmla="*/ 246205 w 2317118"/>
                    <a:gd name="connsiteY209" fmla="*/ 295366 h 1240210"/>
                    <a:gd name="connsiteX210" fmla="*/ 246768 w 2317118"/>
                    <a:gd name="connsiteY210" fmla="*/ 295446 h 1240210"/>
                    <a:gd name="connsiteX211" fmla="*/ 242430 w 2317118"/>
                    <a:gd name="connsiteY211" fmla="*/ 294964 h 1240210"/>
                    <a:gd name="connsiteX212" fmla="*/ 242831 w 2317118"/>
                    <a:gd name="connsiteY212" fmla="*/ 295045 h 1240210"/>
                    <a:gd name="connsiteX213" fmla="*/ 241546 w 2317118"/>
                    <a:gd name="connsiteY213" fmla="*/ 293920 h 1240210"/>
                    <a:gd name="connsiteX214" fmla="*/ 236727 w 2317118"/>
                    <a:gd name="connsiteY214" fmla="*/ 290627 h 1240210"/>
                    <a:gd name="connsiteX215" fmla="*/ 229336 w 2317118"/>
                    <a:gd name="connsiteY215" fmla="*/ 288538 h 1240210"/>
                    <a:gd name="connsiteX216" fmla="*/ 220018 w 2317118"/>
                    <a:gd name="connsiteY216" fmla="*/ 289020 h 1240210"/>
                    <a:gd name="connsiteX217" fmla="*/ 220982 w 2317118"/>
                    <a:gd name="connsiteY217" fmla="*/ 289743 h 1240210"/>
                    <a:gd name="connsiteX218" fmla="*/ 220902 w 2317118"/>
                    <a:gd name="connsiteY218" fmla="*/ 289984 h 1240210"/>
                    <a:gd name="connsiteX219" fmla="*/ 242430 w 2317118"/>
                    <a:gd name="connsiteY219" fmla="*/ 294964 h 1240210"/>
                    <a:gd name="connsiteX220" fmla="*/ 221464 w 2317118"/>
                    <a:gd name="connsiteY220" fmla="*/ 283397 h 1240210"/>
                    <a:gd name="connsiteX221" fmla="*/ 221705 w 2317118"/>
                    <a:gd name="connsiteY221" fmla="*/ 283237 h 1240210"/>
                    <a:gd name="connsiteX222" fmla="*/ 218733 w 2317118"/>
                    <a:gd name="connsiteY222" fmla="*/ 281309 h 1240210"/>
                    <a:gd name="connsiteX223" fmla="*/ 215761 w 2317118"/>
                    <a:gd name="connsiteY223" fmla="*/ 283638 h 1240210"/>
                    <a:gd name="connsiteX224" fmla="*/ 218251 w 2317118"/>
                    <a:gd name="connsiteY224" fmla="*/ 282513 h 1240210"/>
                    <a:gd name="connsiteX225" fmla="*/ 219617 w 2317118"/>
                    <a:gd name="connsiteY225" fmla="*/ 283397 h 1240210"/>
                    <a:gd name="connsiteX226" fmla="*/ 219697 w 2317118"/>
                    <a:gd name="connsiteY226" fmla="*/ 284040 h 1240210"/>
                    <a:gd name="connsiteX227" fmla="*/ 221464 w 2317118"/>
                    <a:gd name="connsiteY227" fmla="*/ 283397 h 1240210"/>
                    <a:gd name="connsiteX228" fmla="*/ 536189 w 2317118"/>
                    <a:gd name="connsiteY228" fmla="*/ 960321 h 1240210"/>
                    <a:gd name="connsiteX229" fmla="*/ 535948 w 2317118"/>
                    <a:gd name="connsiteY229" fmla="*/ 963213 h 1240210"/>
                    <a:gd name="connsiteX230" fmla="*/ 532735 w 2317118"/>
                    <a:gd name="connsiteY230" fmla="*/ 961365 h 1240210"/>
                    <a:gd name="connsiteX231" fmla="*/ 534663 w 2317118"/>
                    <a:gd name="connsiteY231" fmla="*/ 958474 h 1240210"/>
                    <a:gd name="connsiteX232" fmla="*/ 536430 w 2317118"/>
                    <a:gd name="connsiteY232" fmla="*/ 960321 h 1240210"/>
                    <a:gd name="connsiteX233" fmla="*/ 536189 w 2317118"/>
                    <a:gd name="connsiteY233" fmla="*/ 960321 h 1240210"/>
                    <a:gd name="connsiteX234" fmla="*/ 554745 w 2317118"/>
                    <a:gd name="connsiteY234" fmla="*/ 958152 h 1240210"/>
                    <a:gd name="connsiteX235" fmla="*/ 545186 w 2317118"/>
                    <a:gd name="connsiteY235" fmla="*/ 958554 h 1240210"/>
                    <a:gd name="connsiteX236" fmla="*/ 546712 w 2317118"/>
                    <a:gd name="connsiteY236" fmla="*/ 959518 h 1240210"/>
                    <a:gd name="connsiteX237" fmla="*/ 545668 w 2317118"/>
                    <a:gd name="connsiteY237" fmla="*/ 961125 h 1240210"/>
                    <a:gd name="connsiteX238" fmla="*/ 538840 w 2317118"/>
                    <a:gd name="connsiteY238" fmla="*/ 957429 h 1240210"/>
                    <a:gd name="connsiteX239" fmla="*/ 541491 w 2317118"/>
                    <a:gd name="connsiteY239" fmla="*/ 956546 h 1240210"/>
                    <a:gd name="connsiteX240" fmla="*/ 537555 w 2317118"/>
                    <a:gd name="connsiteY240" fmla="*/ 955903 h 1240210"/>
                    <a:gd name="connsiteX241" fmla="*/ 537233 w 2317118"/>
                    <a:gd name="connsiteY241" fmla="*/ 953413 h 1240210"/>
                    <a:gd name="connsiteX242" fmla="*/ 555388 w 2317118"/>
                    <a:gd name="connsiteY242" fmla="*/ 958152 h 1240210"/>
                    <a:gd name="connsiteX243" fmla="*/ 554745 w 2317118"/>
                    <a:gd name="connsiteY243" fmla="*/ 958152 h 1240210"/>
                    <a:gd name="connsiteX244" fmla="*/ 548479 w 2317118"/>
                    <a:gd name="connsiteY244" fmla="*/ 951164 h 1240210"/>
                    <a:gd name="connsiteX245" fmla="*/ 537233 w 2317118"/>
                    <a:gd name="connsiteY245" fmla="*/ 950280 h 1240210"/>
                    <a:gd name="connsiteX246" fmla="*/ 537153 w 2317118"/>
                    <a:gd name="connsiteY246" fmla="*/ 950119 h 1240210"/>
                    <a:gd name="connsiteX247" fmla="*/ 545186 w 2317118"/>
                    <a:gd name="connsiteY247" fmla="*/ 950842 h 1240210"/>
                    <a:gd name="connsiteX248" fmla="*/ 548479 w 2317118"/>
                    <a:gd name="connsiteY248" fmla="*/ 951164 h 1240210"/>
                    <a:gd name="connsiteX249" fmla="*/ 540929 w 2317118"/>
                    <a:gd name="connsiteY249" fmla="*/ 918149 h 1240210"/>
                    <a:gd name="connsiteX250" fmla="*/ 519481 w 2317118"/>
                    <a:gd name="connsiteY250" fmla="*/ 920719 h 1240210"/>
                    <a:gd name="connsiteX251" fmla="*/ 518999 w 2317118"/>
                    <a:gd name="connsiteY251" fmla="*/ 915338 h 1240210"/>
                    <a:gd name="connsiteX252" fmla="*/ 541812 w 2317118"/>
                    <a:gd name="connsiteY252" fmla="*/ 918390 h 1240210"/>
                    <a:gd name="connsiteX253" fmla="*/ 540929 w 2317118"/>
                    <a:gd name="connsiteY253" fmla="*/ 918149 h 1240210"/>
                    <a:gd name="connsiteX254" fmla="*/ 483735 w 2317118"/>
                    <a:gd name="connsiteY254" fmla="*/ 850834 h 1240210"/>
                    <a:gd name="connsiteX255" fmla="*/ 487511 w 2317118"/>
                    <a:gd name="connsiteY255" fmla="*/ 851316 h 1240210"/>
                    <a:gd name="connsiteX256" fmla="*/ 483735 w 2317118"/>
                    <a:gd name="connsiteY256" fmla="*/ 850834 h 1240210"/>
                    <a:gd name="connsiteX257" fmla="*/ 485904 w 2317118"/>
                    <a:gd name="connsiteY257" fmla="*/ 847300 h 1240210"/>
                    <a:gd name="connsiteX258" fmla="*/ 483976 w 2317118"/>
                    <a:gd name="connsiteY258" fmla="*/ 845773 h 1240210"/>
                    <a:gd name="connsiteX259" fmla="*/ 486065 w 2317118"/>
                    <a:gd name="connsiteY259" fmla="*/ 847460 h 1240210"/>
                    <a:gd name="connsiteX260" fmla="*/ 485904 w 2317118"/>
                    <a:gd name="connsiteY260" fmla="*/ 847300 h 1240210"/>
                    <a:gd name="connsiteX261" fmla="*/ 782957 w 2317118"/>
                    <a:gd name="connsiteY261" fmla="*/ 776772 h 1240210"/>
                    <a:gd name="connsiteX262" fmla="*/ 775486 w 2317118"/>
                    <a:gd name="connsiteY262" fmla="*/ 779422 h 1240210"/>
                    <a:gd name="connsiteX263" fmla="*/ 776209 w 2317118"/>
                    <a:gd name="connsiteY263" fmla="*/ 779182 h 1240210"/>
                    <a:gd name="connsiteX264" fmla="*/ 783278 w 2317118"/>
                    <a:gd name="connsiteY264" fmla="*/ 776691 h 1240210"/>
                    <a:gd name="connsiteX265" fmla="*/ 782957 w 2317118"/>
                    <a:gd name="connsiteY265" fmla="*/ 776772 h 1240210"/>
                    <a:gd name="connsiteX266" fmla="*/ 792436 w 2317118"/>
                    <a:gd name="connsiteY266" fmla="*/ 773478 h 1240210"/>
                    <a:gd name="connsiteX267" fmla="*/ 785608 w 2317118"/>
                    <a:gd name="connsiteY267" fmla="*/ 775888 h 1240210"/>
                    <a:gd name="connsiteX268" fmla="*/ 792436 w 2317118"/>
                    <a:gd name="connsiteY268" fmla="*/ 773478 h 1240210"/>
                    <a:gd name="connsiteX269" fmla="*/ 792436 w 2317118"/>
                    <a:gd name="connsiteY269" fmla="*/ 773478 h 1240210"/>
                    <a:gd name="connsiteX270" fmla="*/ 608163 w 2317118"/>
                    <a:gd name="connsiteY270" fmla="*/ 754119 h 1240210"/>
                    <a:gd name="connsiteX271" fmla="*/ 607922 w 2317118"/>
                    <a:gd name="connsiteY271" fmla="*/ 754119 h 1240210"/>
                    <a:gd name="connsiteX272" fmla="*/ 608163 w 2317118"/>
                    <a:gd name="connsiteY272" fmla="*/ 754119 h 1240210"/>
                    <a:gd name="connsiteX273" fmla="*/ 608163 w 2317118"/>
                    <a:gd name="connsiteY273" fmla="*/ 754119 h 1240210"/>
                    <a:gd name="connsiteX274" fmla="*/ 599407 w 2317118"/>
                    <a:gd name="connsiteY274" fmla="*/ 753396 h 1240210"/>
                    <a:gd name="connsiteX275" fmla="*/ 598202 w 2317118"/>
                    <a:gd name="connsiteY275" fmla="*/ 753316 h 1240210"/>
                    <a:gd name="connsiteX276" fmla="*/ 599407 w 2317118"/>
                    <a:gd name="connsiteY276" fmla="*/ 753396 h 1240210"/>
                    <a:gd name="connsiteX277" fmla="*/ 599407 w 2317118"/>
                    <a:gd name="connsiteY277" fmla="*/ 753396 h 1240210"/>
                    <a:gd name="connsiteX278" fmla="*/ 738294 w 2317118"/>
                    <a:gd name="connsiteY278" fmla="*/ 689696 h 1240210"/>
                    <a:gd name="connsiteX279" fmla="*/ 738294 w 2317118"/>
                    <a:gd name="connsiteY279" fmla="*/ 691383 h 1240210"/>
                    <a:gd name="connsiteX280" fmla="*/ 739098 w 2317118"/>
                    <a:gd name="connsiteY280" fmla="*/ 691704 h 1240210"/>
                    <a:gd name="connsiteX281" fmla="*/ 737491 w 2317118"/>
                    <a:gd name="connsiteY281" fmla="*/ 693954 h 1240210"/>
                    <a:gd name="connsiteX282" fmla="*/ 740383 w 2317118"/>
                    <a:gd name="connsiteY282" fmla="*/ 695158 h 1240210"/>
                    <a:gd name="connsiteX283" fmla="*/ 736206 w 2317118"/>
                    <a:gd name="connsiteY283" fmla="*/ 695962 h 1240210"/>
                    <a:gd name="connsiteX284" fmla="*/ 737090 w 2317118"/>
                    <a:gd name="connsiteY284" fmla="*/ 696604 h 1240210"/>
                    <a:gd name="connsiteX285" fmla="*/ 732993 w 2317118"/>
                    <a:gd name="connsiteY285" fmla="*/ 693954 h 1240210"/>
                    <a:gd name="connsiteX286" fmla="*/ 729458 w 2317118"/>
                    <a:gd name="connsiteY286" fmla="*/ 693552 h 1240210"/>
                    <a:gd name="connsiteX287" fmla="*/ 733635 w 2317118"/>
                    <a:gd name="connsiteY287" fmla="*/ 692668 h 1240210"/>
                    <a:gd name="connsiteX288" fmla="*/ 728253 w 2317118"/>
                    <a:gd name="connsiteY288" fmla="*/ 691543 h 1240210"/>
                    <a:gd name="connsiteX289" fmla="*/ 731547 w 2317118"/>
                    <a:gd name="connsiteY289" fmla="*/ 691543 h 1240210"/>
                    <a:gd name="connsiteX290" fmla="*/ 732912 w 2317118"/>
                    <a:gd name="connsiteY290" fmla="*/ 690018 h 1240210"/>
                    <a:gd name="connsiteX291" fmla="*/ 735885 w 2317118"/>
                    <a:gd name="connsiteY291" fmla="*/ 682547 h 1240210"/>
                    <a:gd name="connsiteX292" fmla="*/ 739258 w 2317118"/>
                    <a:gd name="connsiteY292" fmla="*/ 689375 h 1240210"/>
                    <a:gd name="connsiteX293" fmla="*/ 738294 w 2317118"/>
                    <a:gd name="connsiteY293" fmla="*/ 689696 h 1240210"/>
                    <a:gd name="connsiteX294" fmla="*/ 794765 w 2317118"/>
                    <a:gd name="connsiteY294" fmla="*/ 634270 h 1240210"/>
                    <a:gd name="connsiteX295" fmla="*/ 790427 w 2317118"/>
                    <a:gd name="connsiteY295" fmla="*/ 639732 h 1240210"/>
                    <a:gd name="connsiteX296" fmla="*/ 784162 w 2317118"/>
                    <a:gd name="connsiteY296" fmla="*/ 640856 h 1240210"/>
                    <a:gd name="connsiteX297" fmla="*/ 787937 w 2317118"/>
                    <a:gd name="connsiteY297" fmla="*/ 642142 h 1240210"/>
                    <a:gd name="connsiteX298" fmla="*/ 780145 w 2317118"/>
                    <a:gd name="connsiteY298" fmla="*/ 639491 h 1240210"/>
                    <a:gd name="connsiteX299" fmla="*/ 782555 w 2317118"/>
                    <a:gd name="connsiteY299" fmla="*/ 639652 h 1240210"/>
                    <a:gd name="connsiteX300" fmla="*/ 785206 w 2317118"/>
                    <a:gd name="connsiteY300" fmla="*/ 638126 h 1240210"/>
                    <a:gd name="connsiteX301" fmla="*/ 787134 w 2317118"/>
                    <a:gd name="connsiteY301" fmla="*/ 632824 h 1240210"/>
                    <a:gd name="connsiteX302" fmla="*/ 788821 w 2317118"/>
                    <a:gd name="connsiteY302" fmla="*/ 636198 h 1240210"/>
                    <a:gd name="connsiteX303" fmla="*/ 795568 w 2317118"/>
                    <a:gd name="connsiteY303" fmla="*/ 634029 h 1240210"/>
                    <a:gd name="connsiteX304" fmla="*/ 794765 w 2317118"/>
                    <a:gd name="connsiteY304" fmla="*/ 634270 h 1240210"/>
                    <a:gd name="connsiteX305" fmla="*/ 904975 w 2317118"/>
                    <a:gd name="connsiteY305" fmla="*/ 615875 h 1240210"/>
                    <a:gd name="connsiteX306" fmla="*/ 901521 w 2317118"/>
                    <a:gd name="connsiteY306" fmla="*/ 617963 h 1240210"/>
                    <a:gd name="connsiteX307" fmla="*/ 902083 w 2317118"/>
                    <a:gd name="connsiteY307" fmla="*/ 618526 h 1240210"/>
                    <a:gd name="connsiteX308" fmla="*/ 895818 w 2317118"/>
                    <a:gd name="connsiteY308" fmla="*/ 618606 h 1240210"/>
                    <a:gd name="connsiteX309" fmla="*/ 898950 w 2317118"/>
                    <a:gd name="connsiteY309" fmla="*/ 615553 h 1240210"/>
                    <a:gd name="connsiteX310" fmla="*/ 897103 w 2317118"/>
                    <a:gd name="connsiteY310" fmla="*/ 616517 h 1240210"/>
                    <a:gd name="connsiteX311" fmla="*/ 897745 w 2317118"/>
                    <a:gd name="connsiteY311" fmla="*/ 614188 h 1240210"/>
                    <a:gd name="connsiteX312" fmla="*/ 895737 w 2317118"/>
                    <a:gd name="connsiteY312" fmla="*/ 614830 h 1240210"/>
                    <a:gd name="connsiteX313" fmla="*/ 894613 w 2317118"/>
                    <a:gd name="connsiteY313" fmla="*/ 613465 h 1240210"/>
                    <a:gd name="connsiteX314" fmla="*/ 892524 w 2317118"/>
                    <a:gd name="connsiteY314" fmla="*/ 614268 h 1240210"/>
                    <a:gd name="connsiteX315" fmla="*/ 892604 w 2317118"/>
                    <a:gd name="connsiteY315" fmla="*/ 613786 h 1240210"/>
                    <a:gd name="connsiteX316" fmla="*/ 894452 w 2317118"/>
                    <a:gd name="connsiteY316" fmla="*/ 610573 h 1240210"/>
                    <a:gd name="connsiteX317" fmla="*/ 898950 w 2317118"/>
                    <a:gd name="connsiteY317" fmla="*/ 613545 h 1240210"/>
                    <a:gd name="connsiteX318" fmla="*/ 902726 w 2317118"/>
                    <a:gd name="connsiteY318" fmla="*/ 614911 h 1240210"/>
                    <a:gd name="connsiteX319" fmla="*/ 905296 w 2317118"/>
                    <a:gd name="connsiteY319" fmla="*/ 616035 h 1240210"/>
                    <a:gd name="connsiteX320" fmla="*/ 904975 w 2317118"/>
                    <a:gd name="connsiteY320" fmla="*/ 615875 h 1240210"/>
                    <a:gd name="connsiteX321" fmla="*/ 446302 w 2317118"/>
                    <a:gd name="connsiteY321" fmla="*/ 593784 h 1240210"/>
                    <a:gd name="connsiteX322" fmla="*/ 446463 w 2317118"/>
                    <a:gd name="connsiteY322" fmla="*/ 594588 h 1240210"/>
                    <a:gd name="connsiteX323" fmla="*/ 445338 w 2317118"/>
                    <a:gd name="connsiteY323" fmla="*/ 595230 h 1240210"/>
                    <a:gd name="connsiteX324" fmla="*/ 446142 w 2317118"/>
                    <a:gd name="connsiteY324" fmla="*/ 593142 h 1240210"/>
                    <a:gd name="connsiteX325" fmla="*/ 446302 w 2317118"/>
                    <a:gd name="connsiteY325" fmla="*/ 593784 h 1240210"/>
                    <a:gd name="connsiteX326" fmla="*/ 445178 w 2317118"/>
                    <a:gd name="connsiteY326" fmla="*/ 592098 h 1240210"/>
                    <a:gd name="connsiteX327" fmla="*/ 425738 w 2317118"/>
                    <a:gd name="connsiteY327" fmla="*/ 585189 h 1240210"/>
                    <a:gd name="connsiteX328" fmla="*/ 429433 w 2317118"/>
                    <a:gd name="connsiteY328" fmla="*/ 585029 h 1240210"/>
                    <a:gd name="connsiteX329" fmla="*/ 445820 w 2317118"/>
                    <a:gd name="connsiteY329" fmla="*/ 592178 h 1240210"/>
                    <a:gd name="connsiteX330" fmla="*/ 445178 w 2317118"/>
                    <a:gd name="connsiteY330" fmla="*/ 592098 h 1240210"/>
                    <a:gd name="connsiteX331" fmla="*/ 957670 w 2317118"/>
                    <a:gd name="connsiteY331" fmla="*/ 506789 h 1240210"/>
                    <a:gd name="connsiteX332" fmla="*/ 948191 w 2317118"/>
                    <a:gd name="connsiteY332" fmla="*/ 516991 h 1240210"/>
                    <a:gd name="connsiteX333" fmla="*/ 938552 w 2317118"/>
                    <a:gd name="connsiteY333" fmla="*/ 515706 h 1240210"/>
                    <a:gd name="connsiteX334" fmla="*/ 939998 w 2317118"/>
                    <a:gd name="connsiteY334" fmla="*/ 525747 h 1240210"/>
                    <a:gd name="connsiteX335" fmla="*/ 933893 w 2317118"/>
                    <a:gd name="connsiteY335" fmla="*/ 523257 h 1240210"/>
                    <a:gd name="connsiteX336" fmla="*/ 930921 w 2317118"/>
                    <a:gd name="connsiteY336" fmla="*/ 529362 h 1240210"/>
                    <a:gd name="connsiteX337" fmla="*/ 924013 w 2317118"/>
                    <a:gd name="connsiteY337" fmla="*/ 528799 h 1240210"/>
                    <a:gd name="connsiteX338" fmla="*/ 925539 w 2317118"/>
                    <a:gd name="connsiteY338" fmla="*/ 526389 h 1240210"/>
                    <a:gd name="connsiteX339" fmla="*/ 926824 w 2317118"/>
                    <a:gd name="connsiteY339" fmla="*/ 522373 h 1240210"/>
                    <a:gd name="connsiteX340" fmla="*/ 930760 w 2317118"/>
                    <a:gd name="connsiteY340" fmla="*/ 522855 h 1240210"/>
                    <a:gd name="connsiteX341" fmla="*/ 928752 w 2317118"/>
                    <a:gd name="connsiteY341" fmla="*/ 520767 h 1240210"/>
                    <a:gd name="connsiteX342" fmla="*/ 932447 w 2317118"/>
                    <a:gd name="connsiteY342" fmla="*/ 518999 h 1240210"/>
                    <a:gd name="connsiteX343" fmla="*/ 932046 w 2317118"/>
                    <a:gd name="connsiteY343" fmla="*/ 518437 h 1240210"/>
                    <a:gd name="connsiteX344" fmla="*/ 935259 w 2317118"/>
                    <a:gd name="connsiteY344" fmla="*/ 517794 h 1240210"/>
                    <a:gd name="connsiteX345" fmla="*/ 928511 w 2317118"/>
                    <a:gd name="connsiteY345" fmla="*/ 515143 h 1240210"/>
                    <a:gd name="connsiteX346" fmla="*/ 929796 w 2317118"/>
                    <a:gd name="connsiteY346" fmla="*/ 514902 h 1240210"/>
                    <a:gd name="connsiteX347" fmla="*/ 930118 w 2317118"/>
                    <a:gd name="connsiteY347" fmla="*/ 514501 h 1240210"/>
                    <a:gd name="connsiteX348" fmla="*/ 934696 w 2317118"/>
                    <a:gd name="connsiteY348" fmla="*/ 514420 h 1240210"/>
                    <a:gd name="connsiteX349" fmla="*/ 936142 w 2317118"/>
                    <a:gd name="connsiteY349" fmla="*/ 514340 h 1240210"/>
                    <a:gd name="connsiteX350" fmla="*/ 937267 w 2317118"/>
                    <a:gd name="connsiteY350" fmla="*/ 511368 h 1240210"/>
                    <a:gd name="connsiteX351" fmla="*/ 959277 w 2317118"/>
                    <a:gd name="connsiteY351" fmla="*/ 504942 h 1240210"/>
                    <a:gd name="connsiteX352" fmla="*/ 957670 w 2317118"/>
                    <a:gd name="connsiteY352" fmla="*/ 506789 h 1240210"/>
                    <a:gd name="connsiteX353" fmla="*/ 795649 w 2317118"/>
                    <a:gd name="connsiteY353" fmla="*/ 472730 h 1240210"/>
                    <a:gd name="connsiteX354" fmla="*/ 779583 w 2317118"/>
                    <a:gd name="connsiteY354" fmla="*/ 465581 h 1240210"/>
                    <a:gd name="connsiteX355" fmla="*/ 776209 w 2317118"/>
                    <a:gd name="connsiteY355" fmla="*/ 462448 h 1240210"/>
                    <a:gd name="connsiteX356" fmla="*/ 796372 w 2317118"/>
                    <a:gd name="connsiteY356" fmla="*/ 472730 h 1240210"/>
                    <a:gd name="connsiteX357" fmla="*/ 795649 w 2317118"/>
                    <a:gd name="connsiteY357" fmla="*/ 472730 h 1240210"/>
                    <a:gd name="connsiteX358" fmla="*/ 662063 w 2317118"/>
                    <a:gd name="connsiteY358" fmla="*/ 362279 h 1240210"/>
                    <a:gd name="connsiteX359" fmla="*/ 653548 w 2317118"/>
                    <a:gd name="connsiteY359" fmla="*/ 365573 h 1240210"/>
                    <a:gd name="connsiteX360" fmla="*/ 653629 w 2317118"/>
                    <a:gd name="connsiteY360" fmla="*/ 365091 h 1240210"/>
                    <a:gd name="connsiteX361" fmla="*/ 662063 w 2317118"/>
                    <a:gd name="connsiteY361" fmla="*/ 362279 h 1240210"/>
                    <a:gd name="connsiteX362" fmla="*/ 662063 w 2317118"/>
                    <a:gd name="connsiteY362" fmla="*/ 362279 h 1240210"/>
                    <a:gd name="connsiteX363" fmla="*/ 488153 w 2317118"/>
                    <a:gd name="connsiteY363" fmla="*/ 294964 h 1240210"/>
                    <a:gd name="connsiteX364" fmla="*/ 482530 w 2317118"/>
                    <a:gd name="connsiteY364" fmla="*/ 293920 h 1240210"/>
                    <a:gd name="connsiteX365" fmla="*/ 482530 w 2317118"/>
                    <a:gd name="connsiteY365" fmla="*/ 293920 h 1240210"/>
                    <a:gd name="connsiteX366" fmla="*/ 482530 w 2317118"/>
                    <a:gd name="connsiteY366" fmla="*/ 293920 h 1240210"/>
                    <a:gd name="connsiteX367" fmla="*/ 482530 w 2317118"/>
                    <a:gd name="connsiteY367" fmla="*/ 293920 h 1240210"/>
                    <a:gd name="connsiteX368" fmla="*/ 482530 w 2317118"/>
                    <a:gd name="connsiteY368" fmla="*/ 293920 h 1240210"/>
                    <a:gd name="connsiteX369" fmla="*/ 482530 w 2317118"/>
                    <a:gd name="connsiteY369" fmla="*/ 293920 h 1240210"/>
                    <a:gd name="connsiteX370" fmla="*/ 482530 w 2317118"/>
                    <a:gd name="connsiteY370" fmla="*/ 293920 h 1240210"/>
                    <a:gd name="connsiteX371" fmla="*/ 482530 w 2317118"/>
                    <a:gd name="connsiteY371" fmla="*/ 293920 h 1240210"/>
                    <a:gd name="connsiteX372" fmla="*/ 482530 w 2317118"/>
                    <a:gd name="connsiteY372" fmla="*/ 293920 h 1240210"/>
                    <a:gd name="connsiteX373" fmla="*/ 488153 w 2317118"/>
                    <a:gd name="connsiteY373" fmla="*/ 295045 h 1240210"/>
                    <a:gd name="connsiteX374" fmla="*/ 488153 w 2317118"/>
                    <a:gd name="connsiteY374" fmla="*/ 294964 h 1240210"/>
                    <a:gd name="connsiteX375" fmla="*/ 1068924 w 2317118"/>
                    <a:gd name="connsiteY375" fmla="*/ 495784 h 1240210"/>
                    <a:gd name="connsiteX376" fmla="*/ 881600 w 2317118"/>
                    <a:gd name="connsiteY376" fmla="*/ 437306 h 1240210"/>
                    <a:gd name="connsiteX377" fmla="*/ 877985 w 2317118"/>
                    <a:gd name="connsiteY377" fmla="*/ 441483 h 1240210"/>
                    <a:gd name="connsiteX378" fmla="*/ 881198 w 2317118"/>
                    <a:gd name="connsiteY378" fmla="*/ 432807 h 1240210"/>
                    <a:gd name="connsiteX379" fmla="*/ 874531 w 2317118"/>
                    <a:gd name="connsiteY379" fmla="*/ 432084 h 1240210"/>
                    <a:gd name="connsiteX380" fmla="*/ 878145 w 2317118"/>
                    <a:gd name="connsiteY380" fmla="*/ 429192 h 1240210"/>
                    <a:gd name="connsiteX381" fmla="*/ 873245 w 2317118"/>
                    <a:gd name="connsiteY381" fmla="*/ 426702 h 1240210"/>
                    <a:gd name="connsiteX382" fmla="*/ 874209 w 2317118"/>
                    <a:gd name="connsiteY382" fmla="*/ 425899 h 1240210"/>
                    <a:gd name="connsiteX383" fmla="*/ 800388 w 2317118"/>
                    <a:gd name="connsiteY383" fmla="*/ 423168 h 1240210"/>
                    <a:gd name="connsiteX384" fmla="*/ 800870 w 2317118"/>
                    <a:gd name="connsiteY384" fmla="*/ 428469 h 1240210"/>
                    <a:gd name="connsiteX385" fmla="*/ 798942 w 2317118"/>
                    <a:gd name="connsiteY385" fmla="*/ 430156 h 1240210"/>
                    <a:gd name="connsiteX386" fmla="*/ 777414 w 2317118"/>
                    <a:gd name="connsiteY386" fmla="*/ 443491 h 1240210"/>
                    <a:gd name="connsiteX387" fmla="*/ 781109 w 2317118"/>
                    <a:gd name="connsiteY387" fmla="*/ 435297 h 1240210"/>
                    <a:gd name="connsiteX388" fmla="*/ 715722 w 2317118"/>
                    <a:gd name="connsiteY388" fmla="*/ 433691 h 1240210"/>
                    <a:gd name="connsiteX389" fmla="*/ 723675 w 2317118"/>
                    <a:gd name="connsiteY389" fmla="*/ 363725 h 1240210"/>
                    <a:gd name="connsiteX390" fmla="*/ 719096 w 2317118"/>
                    <a:gd name="connsiteY390" fmla="*/ 364769 h 1240210"/>
                    <a:gd name="connsiteX391" fmla="*/ 716204 w 2317118"/>
                    <a:gd name="connsiteY391" fmla="*/ 360833 h 1240210"/>
                    <a:gd name="connsiteX392" fmla="*/ 711706 w 2317118"/>
                    <a:gd name="connsiteY392" fmla="*/ 360833 h 1240210"/>
                    <a:gd name="connsiteX393" fmla="*/ 618204 w 2317118"/>
                    <a:gd name="connsiteY393" fmla="*/ 351997 h 1240210"/>
                    <a:gd name="connsiteX394" fmla="*/ 588643 w 2317118"/>
                    <a:gd name="connsiteY394" fmla="*/ 343804 h 1240210"/>
                    <a:gd name="connsiteX395" fmla="*/ 564304 w 2317118"/>
                    <a:gd name="connsiteY395" fmla="*/ 321392 h 1240210"/>
                    <a:gd name="connsiteX396" fmla="*/ 564384 w 2317118"/>
                    <a:gd name="connsiteY396" fmla="*/ 321874 h 1240210"/>
                    <a:gd name="connsiteX397" fmla="*/ 530807 w 2317118"/>
                    <a:gd name="connsiteY397" fmla="*/ 318259 h 1240210"/>
                    <a:gd name="connsiteX398" fmla="*/ 540688 w 2317118"/>
                    <a:gd name="connsiteY398" fmla="*/ 311512 h 1240210"/>
                    <a:gd name="connsiteX399" fmla="*/ 528237 w 2317118"/>
                    <a:gd name="connsiteY399" fmla="*/ 303158 h 1240210"/>
                    <a:gd name="connsiteX400" fmla="*/ 525907 w 2317118"/>
                    <a:gd name="connsiteY400" fmla="*/ 306210 h 1240210"/>
                    <a:gd name="connsiteX401" fmla="*/ 517633 w 2317118"/>
                    <a:gd name="connsiteY401" fmla="*/ 301873 h 1240210"/>
                    <a:gd name="connsiteX402" fmla="*/ 517955 w 2317118"/>
                    <a:gd name="connsiteY402" fmla="*/ 303720 h 1240210"/>
                    <a:gd name="connsiteX403" fmla="*/ 516589 w 2317118"/>
                    <a:gd name="connsiteY403" fmla="*/ 303077 h 1240210"/>
                    <a:gd name="connsiteX404" fmla="*/ 505343 w 2317118"/>
                    <a:gd name="connsiteY404" fmla="*/ 296169 h 1240210"/>
                    <a:gd name="connsiteX405" fmla="*/ 519963 w 2317118"/>
                    <a:gd name="connsiteY405" fmla="*/ 293599 h 1240210"/>
                    <a:gd name="connsiteX406" fmla="*/ 352158 w 2317118"/>
                    <a:gd name="connsiteY406" fmla="*/ 280264 h 1240210"/>
                    <a:gd name="connsiteX407" fmla="*/ 352881 w 2317118"/>
                    <a:gd name="connsiteY407" fmla="*/ 296732 h 1240210"/>
                    <a:gd name="connsiteX408" fmla="*/ 347740 w 2317118"/>
                    <a:gd name="connsiteY408" fmla="*/ 279541 h 1240210"/>
                    <a:gd name="connsiteX409" fmla="*/ 349186 w 2317118"/>
                    <a:gd name="connsiteY409" fmla="*/ 279381 h 1240210"/>
                    <a:gd name="connsiteX410" fmla="*/ 334727 w 2317118"/>
                    <a:gd name="connsiteY410" fmla="*/ 264600 h 1240210"/>
                    <a:gd name="connsiteX411" fmla="*/ 284281 w 2317118"/>
                    <a:gd name="connsiteY411" fmla="*/ 279381 h 1240210"/>
                    <a:gd name="connsiteX412" fmla="*/ 285325 w 2317118"/>
                    <a:gd name="connsiteY412" fmla="*/ 280746 h 1240210"/>
                    <a:gd name="connsiteX413" fmla="*/ 242831 w 2317118"/>
                    <a:gd name="connsiteY413" fmla="*/ 298017 h 1240210"/>
                    <a:gd name="connsiteX414" fmla="*/ 262191 w 2317118"/>
                    <a:gd name="connsiteY414" fmla="*/ 345812 h 1240210"/>
                    <a:gd name="connsiteX415" fmla="*/ 264440 w 2317118"/>
                    <a:gd name="connsiteY415" fmla="*/ 348382 h 1240210"/>
                    <a:gd name="connsiteX416" fmla="*/ 266528 w 2317118"/>
                    <a:gd name="connsiteY416" fmla="*/ 352238 h 1240210"/>
                    <a:gd name="connsiteX417" fmla="*/ 246928 w 2317118"/>
                    <a:gd name="connsiteY417" fmla="*/ 366858 h 1240210"/>
                    <a:gd name="connsiteX418" fmla="*/ 247250 w 2317118"/>
                    <a:gd name="connsiteY418" fmla="*/ 371276 h 1240210"/>
                    <a:gd name="connsiteX419" fmla="*/ 242831 w 2317118"/>
                    <a:gd name="connsiteY419" fmla="*/ 369991 h 1240210"/>
                    <a:gd name="connsiteX420" fmla="*/ 221946 w 2317118"/>
                    <a:gd name="connsiteY420" fmla="*/ 393045 h 1240210"/>
                    <a:gd name="connsiteX421" fmla="*/ 232148 w 2317118"/>
                    <a:gd name="connsiteY421" fmla="*/ 415376 h 1240210"/>
                    <a:gd name="connsiteX422" fmla="*/ 361235 w 2317118"/>
                    <a:gd name="connsiteY422" fmla="*/ 577156 h 1240210"/>
                    <a:gd name="connsiteX423" fmla="*/ 453853 w 2317118"/>
                    <a:gd name="connsiteY423" fmla="*/ 797014 h 1240210"/>
                    <a:gd name="connsiteX424" fmla="*/ 473453 w 2317118"/>
                    <a:gd name="connsiteY424" fmla="*/ 859108 h 1240210"/>
                    <a:gd name="connsiteX425" fmla="*/ 472650 w 2317118"/>
                    <a:gd name="connsiteY425" fmla="*/ 860634 h 1240210"/>
                    <a:gd name="connsiteX426" fmla="*/ 492973 w 2317118"/>
                    <a:gd name="connsiteY426" fmla="*/ 860473 h 1240210"/>
                    <a:gd name="connsiteX427" fmla="*/ 489037 w 2317118"/>
                    <a:gd name="connsiteY427" fmla="*/ 862240 h 1240210"/>
                    <a:gd name="connsiteX428" fmla="*/ 496025 w 2317118"/>
                    <a:gd name="connsiteY428" fmla="*/ 869309 h 1240210"/>
                    <a:gd name="connsiteX429" fmla="*/ 491688 w 2317118"/>
                    <a:gd name="connsiteY429" fmla="*/ 867944 h 1240210"/>
                    <a:gd name="connsiteX430" fmla="*/ 499158 w 2317118"/>
                    <a:gd name="connsiteY430" fmla="*/ 899834 h 1240210"/>
                    <a:gd name="connsiteX431" fmla="*/ 508155 w 2317118"/>
                    <a:gd name="connsiteY431" fmla="*/ 903047 h 1240210"/>
                    <a:gd name="connsiteX432" fmla="*/ 495383 w 2317118"/>
                    <a:gd name="connsiteY432" fmla="*/ 907064 h 1240210"/>
                    <a:gd name="connsiteX433" fmla="*/ 493294 w 2317118"/>
                    <a:gd name="connsiteY433" fmla="*/ 903128 h 1240210"/>
                    <a:gd name="connsiteX434" fmla="*/ 481004 w 2317118"/>
                    <a:gd name="connsiteY434" fmla="*/ 909955 h 1240210"/>
                    <a:gd name="connsiteX435" fmla="*/ 517874 w 2317118"/>
                    <a:gd name="connsiteY435" fmla="*/ 931242 h 1240210"/>
                    <a:gd name="connsiteX436" fmla="*/ 501809 w 2317118"/>
                    <a:gd name="connsiteY436" fmla="*/ 928511 h 1240210"/>
                    <a:gd name="connsiteX437" fmla="*/ 510163 w 2317118"/>
                    <a:gd name="connsiteY437" fmla="*/ 934456 h 1240210"/>
                    <a:gd name="connsiteX438" fmla="*/ 516027 w 2317118"/>
                    <a:gd name="connsiteY438" fmla="*/ 944336 h 1240210"/>
                    <a:gd name="connsiteX439" fmla="*/ 518919 w 2317118"/>
                    <a:gd name="connsiteY439" fmla="*/ 941203 h 1240210"/>
                    <a:gd name="connsiteX440" fmla="*/ 524863 w 2317118"/>
                    <a:gd name="connsiteY440" fmla="*/ 948031 h 1240210"/>
                    <a:gd name="connsiteX441" fmla="*/ 519642 w 2317118"/>
                    <a:gd name="connsiteY441" fmla="*/ 947549 h 1240210"/>
                    <a:gd name="connsiteX442" fmla="*/ 526068 w 2317118"/>
                    <a:gd name="connsiteY442" fmla="*/ 952127 h 1240210"/>
                    <a:gd name="connsiteX443" fmla="*/ 521409 w 2317118"/>
                    <a:gd name="connsiteY443" fmla="*/ 951485 h 1240210"/>
                    <a:gd name="connsiteX444" fmla="*/ 528638 w 2317118"/>
                    <a:gd name="connsiteY444" fmla="*/ 957429 h 1240210"/>
                    <a:gd name="connsiteX445" fmla="*/ 526791 w 2317118"/>
                    <a:gd name="connsiteY445" fmla="*/ 957188 h 1240210"/>
                    <a:gd name="connsiteX446" fmla="*/ 517473 w 2317118"/>
                    <a:gd name="connsiteY446" fmla="*/ 956305 h 1240210"/>
                    <a:gd name="connsiteX447" fmla="*/ 554022 w 2317118"/>
                    <a:gd name="connsiteY447" fmla="*/ 975262 h 1240210"/>
                    <a:gd name="connsiteX448" fmla="*/ 548961 w 2317118"/>
                    <a:gd name="connsiteY448" fmla="*/ 970041 h 1240210"/>
                    <a:gd name="connsiteX449" fmla="*/ 563179 w 2317118"/>
                    <a:gd name="connsiteY449" fmla="*/ 977431 h 1240210"/>
                    <a:gd name="connsiteX450" fmla="*/ 543981 w 2317118"/>
                    <a:gd name="connsiteY450" fmla="*/ 975664 h 1240210"/>
                    <a:gd name="connsiteX451" fmla="*/ 545507 w 2317118"/>
                    <a:gd name="connsiteY451" fmla="*/ 980242 h 1240210"/>
                    <a:gd name="connsiteX452" fmla="*/ 558922 w 2317118"/>
                    <a:gd name="connsiteY452" fmla="*/ 982732 h 1240210"/>
                    <a:gd name="connsiteX453" fmla="*/ 554263 w 2317118"/>
                    <a:gd name="connsiteY453" fmla="*/ 984741 h 1240210"/>
                    <a:gd name="connsiteX454" fmla="*/ 582539 w 2317118"/>
                    <a:gd name="connsiteY454" fmla="*/ 985464 h 1240210"/>
                    <a:gd name="connsiteX455" fmla="*/ 566794 w 2317118"/>
                    <a:gd name="connsiteY455" fmla="*/ 986508 h 1240210"/>
                    <a:gd name="connsiteX456" fmla="*/ 574907 w 2317118"/>
                    <a:gd name="connsiteY456" fmla="*/ 993497 h 1240210"/>
                    <a:gd name="connsiteX457" fmla="*/ 584065 w 2317118"/>
                    <a:gd name="connsiteY457" fmla="*/ 988757 h 1240210"/>
                    <a:gd name="connsiteX458" fmla="*/ 585671 w 2317118"/>
                    <a:gd name="connsiteY458" fmla="*/ 993577 h 1240210"/>
                    <a:gd name="connsiteX459" fmla="*/ 606557 w 2317118"/>
                    <a:gd name="connsiteY459" fmla="*/ 976547 h 1240210"/>
                    <a:gd name="connsiteX460" fmla="*/ 605834 w 2317118"/>
                    <a:gd name="connsiteY460" fmla="*/ 971727 h 1240210"/>
                    <a:gd name="connsiteX461" fmla="*/ 601657 w 2317118"/>
                    <a:gd name="connsiteY461" fmla="*/ 970683 h 1240210"/>
                    <a:gd name="connsiteX462" fmla="*/ 606717 w 2317118"/>
                    <a:gd name="connsiteY462" fmla="*/ 963052 h 1240210"/>
                    <a:gd name="connsiteX463" fmla="*/ 603183 w 2317118"/>
                    <a:gd name="connsiteY463" fmla="*/ 960482 h 1240210"/>
                    <a:gd name="connsiteX464" fmla="*/ 634350 w 2317118"/>
                    <a:gd name="connsiteY464" fmla="*/ 939596 h 1240210"/>
                    <a:gd name="connsiteX465" fmla="*/ 629289 w 2317118"/>
                    <a:gd name="connsiteY465" fmla="*/ 885857 h 1240210"/>
                    <a:gd name="connsiteX466" fmla="*/ 619650 w 2317118"/>
                    <a:gd name="connsiteY466" fmla="*/ 883929 h 1240210"/>
                    <a:gd name="connsiteX467" fmla="*/ 637322 w 2317118"/>
                    <a:gd name="connsiteY467" fmla="*/ 882082 h 1240210"/>
                    <a:gd name="connsiteX468" fmla="*/ 609207 w 2317118"/>
                    <a:gd name="connsiteY468" fmla="*/ 864972 h 1240210"/>
                    <a:gd name="connsiteX469" fmla="*/ 649130 w 2317118"/>
                    <a:gd name="connsiteY469" fmla="*/ 861036 h 1240210"/>
                    <a:gd name="connsiteX470" fmla="*/ 647363 w 2317118"/>
                    <a:gd name="connsiteY470" fmla="*/ 847781 h 1240210"/>
                    <a:gd name="connsiteX471" fmla="*/ 649452 w 2317118"/>
                    <a:gd name="connsiteY471" fmla="*/ 847781 h 1240210"/>
                    <a:gd name="connsiteX472" fmla="*/ 689214 w 2317118"/>
                    <a:gd name="connsiteY472" fmla="*/ 773800 h 1240210"/>
                    <a:gd name="connsiteX473" fmla="*/ 810108 w 2317118"/>
                    <a:gd name="connsiteY473" fmla="*/ 751388 h 1240210"/>
                    <a:gd name="connsiteX474" fmla="*/ 811714 w 2317118"/>
                    <a:gd name="connsiteY474" fmla="*/ 752111 h 1240210"/>
                    <a:gd name="connsiteX475" fmla="*/ 811795 w 2317118"/>
                    <a:gd name="connsiteY475" fmla="*/ 747131 h 1240210"/>
                    <a:gd name="connsiteX476" fmla="*/ 818140 w 2317118"/>
                    <a:gd name="connsiteY476" fmla="*/ 748335 h 1240210"/>
                    <a:gd name="connsiteX477" fmla="*/ 820149 w 2317118"/>
                    <a:gd name="connsiteY477" fmla="*/ 753075 h 1240210"/>
                    <a:gd name="connsiteX478" fmla="*/ 808501 w 2317118"/>
                    <a:gd name="connsiteY478" fmla="*/ 763919 h 1240210"/>
                    <a:gd name="connsiteX479" fmla="*/ 847781 w 2317118"/>
                    <a:gd name="connsiteY479" fmla="*/ 697006 h 1240210"/>
                    <a:gd name="connsiteX480" fmla="*/ 851718 w 2317118"/>
                    <a:gd name="connsiteY480" fmla="*/ 694275 h 1240210"/>
                    <a:gd name="connsiteX481" fmla="*/ 847862 w 2317118"/>
                    <a:gd name="connsiteY481" fmla="*/ 691945 h 1240210"/>
                    <a:gd name="connsiteX482" fmla="*/ 855011 w 2317118"/>
                    <a:gd name="connsiteY482" fmla="*/ 691303 h 1240210"/>
                    <a:gd name="connsiteX483" fmla="*/ 859349 w 2317118"/>
                    <a:gd name="connsiteY483" fmla="*/ 689053 h 1240210"/>
                    <a:gd name="connsiteX484" fmla="*/ 859108 w 2317118"/>
                    <a:gd name="connsiteY484" fmla="*/ 686965 h 1240210"/>
                    <a:gd name="connsiteX485" fmla="*/ 991809 w 2317118"/>
                    <a:gd name="connsiteY485" fmla="*/ 630494 h 1240210"/>
                    <a:gd name="connsiteX486" fmla="*/ 1014301 w 2317118"/>
                    <a:gd name="connsiteY486" fmla="*/ 550969 h 1240210"/>
                    <a:gd name="connsiteX487" fmla="*/ 1013578 w 2317118"/>
                    <a:gd name="connsiteY487" fmla="*/ 552094 h 1240210"/>
                    <a:gd name="connsiteX488" fmla="*/ 1042095 w 2317118"/>
                    <a:gd name="connsiteY488" fmla="*/ 518356 h 1240210"/>
                    <a:gd name="connsiteX489" fmla="*/ 1068924 w 2317118"/>
                    <a:gd name="connsiteY489" fmla="*/ 495784 h 1240210"/>
                    <a:gd name="connsiteX490" fmla="*/ 161138 w 2317118"/>
                    <a:gd name="connsiteY490" fmla="*/ 229497 h 1240210"/>
                    <a:gd name="connsiteX491" fmla="*/ 161138 w 2317118"/>
                    <a:gd name="connsiteY491" fmla="*/ 229417 h 1240210"/>
                    <a:gd name="connsiteX492" fmla="*/ 161138 w 2317118"/>
                    <a:gd name="connsiteY492" fmla="*/ 229497 h 1240210"/>
                    <a:gd name="connsiteX493" fmla="*/ 160174 w 2317118"/>
                    <a:gd name="connsiteY493" fmla="*/ 230782 h 1240210"/>
                    <a:gd name="connsiteX494" fmla="*/ 161138 w 2317118"/>
                    <a:gd name="connsiteY494" fmla="*/ 229497 h 1240210"/>
                    <a:gd name="connsiteX495" fmla="*/ 346615 w 2317118"/>
                    <a:gd name="connsiteY495" fmla="*/ 191181 h 1240210"/>
                    <a:gd name="connsiteX496" fmla="*/ 345330 w 2317118"/>
                    <a:gd name="connsiteY496" fmla="*/ 191181 h 1240210"/>
                    <a:gd name="connsiteX497" fmla="*/ 342278 w 2317118"/>
                    <a:gd name="connsiteY497" fmla="*/ 189895 h 1240210"/>
                    <a:gd name="connsiteX498" fmla="*/ 347017 w 2317118"/>
                    <a:gd name="connsiteY498" fmla="*/ 190699 h 1240210"/>
                    <a:gd name="connsiteX499" fmla="*/ 346615 w 2317118"/>
                    <a:gd name="connsiteY499" fmla="*/ 191181 h 1240210"/>
                    <a:gd name="connsiteX500" fmla="*/ 396901 w 2317118"/>
                    <a:gd name="connsiteY500" fmla="*/ 195518 h 1240210"/>
                    <a:gd name="connsiteX501" fmla="*/ 378425 w 2317118"/>
                    <a:gd name="connsiteY501" fmla="*/ 185799 h 1240210"/>
                    <a:gd name="connsiteX502" fmla="*/ 385012 w 2317118"/>
                    <a:gd name="connsiteY502" fmla="*/ 184353 h 1240210"/>
                    <a:gd name="connsiteX503" fmla="*/ 338743 w 2317118"/>
                    <a:gd name="connsiteY503" fmla="*/ 172464 h 1240210"/>
                    <a:gd name="connsiteX504" fmla="*/ 325248 w 2317118"/>
                    <a:gd name="connsiteY504" fmla="*/ 181059 h 1240210"/>
                    <a:gd name="connsiteX505" fmla="*/ 316010 w 2317118"/>
                    <a:gd name="connsiteY505" fmla="*/ 192305 h 1240210"/>
                    <a:gd name="connsiteX506" fmla="*/ 394732 w 2317118"/>
                    <a:gd name="connsiteY506" fmla="*/ 198089 h 1240210"/>
                    <a:gd name="connsiteX507" fmla="*/ 396901 w 2317118"/>
                    <a:gd name="connsiteY507" fmla="*/ 195518 h 1240210"/>
                    <a:gd name="connsiteX508" fmla="*/ 80 w 2317118"/>
                    <a:gd name="connsiteY508" fmla="*/ 70126 h 1240210"/>
                    <a:gd name="connsiteX509" fmla="*/ 80 w 2317118"/>
                    <a:gd name="connsiteY509" fmla="*/ 68359 h 1240210"/>
                    <a:gd name="connsiteX510" fmla="*/ 80 w 2317118"/>
                    <a:gd name="connsiteY510" fmla="*/ 68439 h 1240210"/>
                    <a:gd name="connsiteX511" fmla="*/ 0 w 2317118"/>
                    <a:gd name="connsiteY511" fmla="*/ 71170 h 1240210"/>
                    <a:gd name="connsiteX512" fmla="*/ 80 w 2317118"/>
                    <a:gd name="connsiteY512" fmla="*/ 70126 h 1240210"/>
                    <a:gd name="connsiteX513" fmla="*/ 299463 w 2317118"/>
                    <a:gd name="connsiteY513" fmla="*/ 162905 h 1240210"/>
                    <a:gd name="connsiteX514" fmla="*/ 299623 w 2317118"/>
                    <a:gd name="connsiteY514" fmla="*/ 161058 h 1240210"/>
                    <a:gd name="connsiteX515" fmla="*/ 293277 w 2317118"/>
                    <a:gd name="connsiteY515" fmla="*/ 157523 h 1240210"/>
                    <a:gd name="connsiteX516" fmla="*/ 260343 w 2317118"/>
                    <a:gd name="connsiteY516" fmla="*/ 144590 h 1240210"/>
                    <a:gd name="connsiteX517" fmla="*/ 260905 w 2317118"/>
                    <a:gd name="connsiteY517" fmla="*/ 143867 h 1240210"/>
                    <a:gd name="connsiteX518" fmla="*/ 256809 w 2317118"/>
                    <a:gd name="connsiteY518" fmla="*/ 140895 h 1240210"/>
                    <a:gd name="connsiteX519" fmla="*/ 253033 w 2317118"/>
                    <a:gd name="connsiteY519" fmla="*/ 140333 h 1240210"/>
                    <a:gd name="connsiteX520" fmla="*/ 255523 w 2317118"/>
                    <a:gd name="connsiteY520" fmla="*/ 140413 h 1240210"/>
                    <a:gd name="connsiteX521" fmla="*/ 249418 w 2317118"/>
                    <a:gd name="connsiteY521" fmla="*/ 135995 h 1240210"/>
                    <a:gd name="connsiteX522" fmla="*/ 250784 w 2317118"/>
                    <a:gd name="connsiteY522" fmla="*/ 137441 h 1240210"/>
                    <a:gd name="connsiteX523" fmla="*/ 215440 w 2317118"/>
                    <a:gd name="connsiteY523" fmla="*/ 118323 h 1240210"/>
                    <a:gd name="connsiteX524" fmla="*/ 215841 w 2317118"/>
                    <a:gd name="connsiteY524" fmla="*/ 117680 h 1240210"/>
                    <a:gd name="connsiteX525" fmla="*/ 184835 w 2317118"/>
                    <a:gd name="connsiteY525" fmla="*/ 109166 h 1240210"/>
                    <a:gd name="connsiteX526" fmla="*/ 148205 w 2317118"/>
                    <a:gd name="connsiteY526" fmla="*/ 117118 h 1240210"/>
                    <a:gd name="connsiteX527" fmla="*/ 182585 w 2317118"/>
                    <a:gd name="connsiteY527" fmla="*/ 117359 h 1240210"/>
                    <a:gd name="connsiteX528" fmla="*/ 195518 w 2317118"/>
                    <a:gd name="connsiteY528" fmla="*/ 121456 h 1240210"/>
                    <a:gd name="connsiteX529" fmla="*/ 204595 w 2317118"/>
                    <a:gd name="connsiteY529" fmla="*/ 125633 h 1240210"/>
                    <a:gd name="connsiteX530" fmla="*/ 247250 w 2317118"/>
                    <a:gd name="connsiteY530" fmla="*/ 160736 h 1240210"/>
                    <a:gd name="connsiteX531" fmla="*/ 287494 w 2317118"/>
                    <a:gd name="connsiteY531" fmla="*/ 164833 h 1240210"/>
                    <a:gd name="connsiteX532" fmla="*/ 287895 w 2317118"/>
                    <a:gd name="connsiteY532" fmla="*/ 166118 h 1240210"/>
                    <a:gd name="connsiteX533" fmla="*/ 299463 w 2317118"/>
                    <a:gd name="connsiteY533" fmla="*/ 162905 h 1240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</a:cxnLst>
                  <a:rect l="l" t="t" r="r" b="b"/>
                  <a:pathLst>
                    <a:path w="2317118" h="1240210">
                      <a:moveTo>
                        <a:pt x="1189095" y="1238336"/>
                      </a:moveTo>
                      <a:lnTo>
                        <a:pt x="1212149" y="1236408"/>
                      </a:lnTo>
                      <a:lnTo>
                        <a:pt x="1210543" y="1236569"/>
                      </a:lnTo>
                      <a:cubicBezTo>
                        <a:pt x="1195682" y="1237774"/>
                        <a:pt x="1180741" y="1237212"/>
                        <a:pt x="1165880" y="1238497"/>
                      </a:cubicBezTo>
                      <a:cubicBezTo>
                        <a:pt x="1161703" y="1238979"/>
                        <a:pt x="1160177" y="1239300"/>
                        <a:pt x="1158731" y="1239862"/>
                      </a:cubicBezTo>
                      <a:cubicBezTo>
                        <a:pt x="1158731" y="1239943"/>
                        <a:pt x="1158811" y="1240104"/>
                        <a:pt x="1158811" y="1240184"/>
                      </a:cubicBezTo>
                      <a:cubicBezTo>
                        <a:pt x="1167969" y="1240425"/>
                        <a:pt x="1180098" y="1238979"/>
                        <a:pt x="1189095" y="1238336"/>
                      </a:cubicBezTo>
                      <a:moveTo>
                        <a:pt x="838303" y="1193513"/>
                      </a:moveTo>
                      <a:cubicBezTo>
                        <a:pt x="835813" y="1192308"/>
                        <a:pt x="833242" y="1191023"/>
                        <a:pt x="816052" y="1189417"/>
                      </a:cubicBezTo>
                      <a:cubicBezTo>
                        <a:pt x="810831" y="1189015"/>
                        <a:pt x="807939" y="1188854"/>
                        <a:pt x="803440" y="1188935"/>
                      </a:cubicBezTo>
                      <a:cubicBezTo>
                        <a:pt x="807778" y="1190220"/>
                        <a:pt x="810911" y="1190943"/>
                        <a:pt x="816132" y="1191907"/>
                      </a:cubicBezTo>
                      <a:cubicBezTo>
                        <a:pt x="808260" y="1192068"/>
                        <a:pt x="800468" y="1191023"/>
                        <a:pt x="792596" y="1191184"/>
                      </a:cubicBezTo>
                      <a:cubicBezTo>
                        <a:pt x="794122" y="1191826"/>
                        <a:pt x="796050" y="1192710"/>
                        <a:pt x="797576" y="1193353"/>
                      </a:cubicBezTo>
                      <a:lnTo>
                        <a:pt x="807055" y="1195762"/>
                      </a:lnTo>
                      <a:cubicBezTo>
                        <a:pt x="807136" y="1195762"/>
                        <a:pt x="807296" y="1195762"/>
                        <a:pt x="807457" y="1195762"/>
                      </a:cubicBezTo>
                      <a:cubicBezTo>
                        <a:pt x="810670" y="1196004"/>
                        <a:pt x="813562" y="1197690"/>
                        <a:pt x="816775" y="1197690"/>
                      </a:cubicBezTo>
                      <a:cubicBezTo>
                        <a:pt x="821514" y="1197690"/>
                        <a:pt x="826173" y="1196646"/>
                        <a:pt x="830913" y="1197369"/>
                      </a:cubicBezTo>
                      <a:lnTo>
                        <a:pt x="853726" y="1203152"/>
                      </a:lnTo>
                      <a:cubicBezTo>
                        <a:pt x="858224" y="1204599"/>
                        <a:pt x="859108" y="1204599"/>
                        <a:pt x="859509" y="1204599"/>
                      </a:cubicBezTo>
                      <a:cubicBezTo>
                        <a:pt x="859268" y="1203876"/>
                        <a:pt x="859268" y="1203876"/>
                        <a:pt x="838303" y="1193513"/>
                      </a:cubicBezTo>
                      <a:moveTo>
                        <a:pt x="833724" y="1190943"/>
                      </a:moveTo>
                      <a:cubicBezTo>
                        <a:pt x="832599" y="1190381"/>
                        <a:pt x="830993" y="1189738"/>
                        <a:pt x="830672" y="1189738"/>
                      </a:cubicBezTo>
                      <a:cubicBezTo>
                        <a:pt x="830752" y="1189738"/>
                        <a:pt x="830752" y="1189818"/>
                        <a:pt x="830832" y="1189818"/>
                      </a:cubicBezTo>
                      <a:cubicBezTo>
                        <a:pt x="832278" y="1190541"/>
                        <a:pt x="833804" y="1191264"/>
                        <a:pt x="835250" y="1192068"/>
                      </a:cubicBezTo>
                      <a:cubicBezTo>
                        <a:pt x="835090" y="1191907"/>
                        <a:pt x="834849" y="1191505"/>
                        <a:pt x="833724" y="1190943"/>
                      </a:cubicBezTo>
                      <a:moveTo>
                        <a:pt x="829708" y="1189577"/>
                      </a:moveTo>
                      <a:cubicBezTo>
                        <a:pt x="829949" y="1189657"/>
                        <a:pt x="830350" y="1189657"/>
                        <a:pt x="830591" y="1189738"/>
                      </a:cubicBezTo>
                      <a:cubicBezTo>
                        <a:pt x="821675" y="1185320"/>
                        <a:pt x="821675" y="1185320"/>
                        <a:pt x="821273" y="1185239"/>
                      </a:cubicBezTo>
                      <a:cubicBezTo>
                        <a:pt x="815891" y="1185239"/>
                        <a:pt x="813883" y="1185481"/>
                        <a:pt x="814445" y="1186043"/>
                      </a:cubicBezTo>
                      <a:cubicBezTo>
                        <a:pt x="815249" y="1186766"/>
                        <a:pt x="820791" y="1188051"/>
                        <a:pt x="829708" y="1189577"/>
                      </a:cubicBezTo>
                      <a:moveTo>
                        <a:pt x="824326" y="1185320"/>
                      </a:moveTo>
                      <a:cubicBezTo>
                        <a:pt x="824406" y="1185320"/>
                        <a:pt x="824486" y="1185320"/>
                        <a:pt x="824486" y="1185320"/>
                      </a:cubicBezTo>
                      <a:cubicBezTo>
                        <a:pt x="822799" y="1184918"/>
                        <a:pt x="821032" y="1184436"/>
                        <a:pt x="819345" y="1184035"/>
                      </a:cubicBezTo>
                      <a:cubicBezTo>
                        <a:pt x="819426" y="1184035"/>
                        <a:pt x="819426" y="1184115"/>
                        <a:pt x="819506" y="1184115"/>
                      </a:cubicBezTo>
                      <a:cubicBezTo>
                        <a:pt x="819586" y="1184115"/>
                        <a:pt x="819586" y="1184195"/>
                        <a:pt x="819667" y="1184195"/>
                      </a:cubicBezTo>
                      <a:cubicBezTo>
                        <a:pt x="819908" y="1184356"/>
                        <a:pt x="820149" y="1184436"/>
                        <a:pt x="820390" y="1184597"/>
                      </a:cubicBezTo>
                      <a:cubicBezTo>
                        <a:pt x="820872" y="1184838"/>
                        <a:pt x="821273" y="1185159"/>
                        <a:pt x="821755" y="1185320"/>
                      </a:cubicBezTo>
                      <a:cubicBezTo>
                        <a:pt x="821836" y="1185320"/>
                        <a:pt x="821836" y="1185320"/>
                        <a:pt x="821916" y="1185320"/>
                      </a:cubicBezTo>
                      <a:cubicBezTo>
                        <a:pt x="822799" y="1185239"/>
                        <a:pt x="823603" y="1185239"/>
                        <a:pt x="824326" y="1185320"/>
                      </a:cubicBezTo>
                      <a:moveTo>
                        <a:pt x="816614" y="1183312"/>
                      </a:moveTo>
                      <a:cubicBezTo>
                        <a:pt x="817418" y="1183552"/>
                        <a:pt x="818542" y="1183794"/>
                        <a:pt x="819345" y="1184035"/>
                      </a:cubicBezTo>
                      <a:cubicBezTo>
                        <a:pt x="813160" y="1180821"/>
                        <a:pt x="807136" y="1177689"/>
                        <a:pt x="801432" y="1174636"/>
                      </a:cubicBezTo>
                      <a:cubicBezTo>
                        <a:pt x="801031" y="1174395"/>
                        <a:pt x="800549" y="1174074"/>
                        <a:pt x="800147" y="1173994"/>
                      </a:cubicBezTo>
                      <a:cubicBezTo>
                        <a:pt x="800147" y="1173994"/>
                        <a:pt x="789624" y="1172307"/>
                        <a:pt x="783358" y="1171744"/>
                      </a:cubicBezTo>
                      <a:cubicBezTo>
                        <a:pt x="781270" y="1171584"/>
                        <a:pt x="780627" y="1171584"/>
                        <a:pt x="779904" y="1171744"/>
                      </a:cubicBezTo>
                      <a:cubicBezTo>
                        <a:pt x="779824" y="1171825"/>
                        <a:pt x="779824" y="1171905"/>
                        <a:pt x="779744" y="1172066"/>
                      </a:cubicBezTo>
                      <a:cubicBezTo>
                        <a:pt x="781993" y="1174395"/>
                        <a:pt x="810911" y="1181866"/>
                        <a:pt x="816614" y="1183312"/>
                      </a:cubicBezTo>
                      <a:moveTo>
                        <a:pt x="865213" y="1145638"/>
                      </a:moveTo>
                      <a:cubicBezTo>
                        <a:pt x="865213" y="1145638"/>
                        <a:pt x="865293" y="1145638"/>
                        <a:pt x="865373" y="1145638"/>
                      </a:cubicBezTo>
                      <a:cubicBezTo>
                        <a:pt x="864811" y="1145557"/>
                        <a:pt x="864329" y="1145557"/>
                        <a:pt x="863767" y="1145557"/>
                      </a:cubicBezTo>
                      <a:cubicBezTo>
                        <a:pt x="863526" y="1145557"/>
                        <a:pt x="863204" y="1145557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2963" y="1145638"/>
                        <a:pt x="862963" y="1145638"/>
                        <a:pt x="862963" y="1145638"/>
                      </a:cubicBezTo>
                      <a:cubicBezTo>
                        <a:pt x="863847" y="1145638"/>
                        <a:pt x="864490" y="1145638"/>
                        <a:pt x="865213" y="1145638"/>
                      </a:cubicBezTo>
                      <a:moveTo>
                        <a:pt x="887464" y="1118728"/>
                      </a:moveTo>
                      <a:cubicBezTo>
                        <a:pt x="884893" y="1118648"/>
                        <a:pt x="884893" y="1118648"/>
                        <a:pt x="878226" y="1118888"/>
                      </a:cubicBezTo>
                      <a:cubicBezTo>
                        <a:pt x="845934" y="1122021"/>
                        <a:pt x="828181" y="1128287"/>
                        <a:pt x="825691" y="1130054"/>
                      </a:cubicBezTo>
                      <a:cubicBezTo>
                        <a:pt x="826173" y="1130456"/>
                        <a:pt x="826896" y="1130938"/>
                        <a:pt x="827378" y="1131259"/>
                      </a:cubicBezTo>
                      <a:cubicBezTo>
                        <a:pt x="824245" y="1131339"/>
                        <a:pt x="824245" y="1131339"/>
                        <a:pt x="822157" y="1132062"/>
                      </a:cubicBezTo>
                      <a:cubicBezTo>
                        <a:pt x="822398" y="1132544"/>
                        <a:pt x="822639" y="1133187"/>
                        <a:pt x="822880" y="1133669"/>
                      </a:cubicBezTo>
                      <a:cubicBezTo>
                        <a:pt x="819586" y="1134151"/>
                        <a:pt x="816213" y="1133267"/>
                        <a:pt x="812999" y="1134071"/>
                      </a:cubicBezTo>
                      <a:cubicBezTo>
                        <a:pt x="814847" y="1136079"/>
                        <a:pt x="814847" y="1136079"/>
                        <a:pt x="818703" y="1137766"/>
                      </a:cubicBezTo>
                      <a:cubicBezTo>
                        <a:pt x="816775" y="1138730"/>
                        <a:pt x="816775" y="1138730"/>
                        <a:pt x="813722" y="1139131"/>
                      </a:cubicBezTo>
                      <a:cubicBezTo>
                        <a:pt x="813883" y="1139533"/>
                        <a:pt x="814044" y="1140095"/>
                        <a:pt x="814204" y="1140497"/>
                      </a:cubicBezTo>
                      <a:cubicBezTo>
                        <a:pt x="813722" y="1140497"/>
                        <a:pt x="813080" y="1140497"/>
                        <a:pt x="812598" y="1140497"/>
                      </a:cubicBezTo>
                      <a:cubicBezTo>
                        <a:pt x="813321" y="1141220"/>
                        <a:pt x="814285" y="1142184"/>
                        <a:pt x="815008" y="1142906"/>
                      </a:cubicBezTo>
                      <a:cubicBezTo>
                        <a:pt x="812919" y="1142906"/>
                        <a:pt x="810831" y="1142424"/>
                        <a:pt x="808662" y="1142345"/>
                      </a:cubicBezTo>
                      <a:cubicBezTo>
                        <a:pt x="808903" y="1142827"/>
                        <a:pt x="809224" y="1143549"/>
                        <a:pt x="809465" y="1144031"/>
                      </a:cubicBezTo>
                      <a:cubicBezTo>
                        <a:pt x="801995" y="1146682"/>
                        <a:pt x="801995" y="1149735"/>
                        <a:pt x="809385" y="1155759"/>
                      </a:cubicBezTo>
                      <a:cubicBezTo>
                        <a:pt x="808662" y="1155518"/>
                        <a:pt x="807617" y="1155116"/>
                        <a:pt x="806895" y="1154795"/>
                      </a:cubicBezTo>
                      <a:cubicBezTo>
                        <a:pt x="806413" y="1154876"/>
                        <a:pt x="805850" y="1154956"/>
                        <a:pt x="805368" y="1155036"/>
                      </a:cubicBezTo>
                      <a:cubicBezTo>
                        <a:pt x="808983" y="1160258"/>
                        <a:pt x="817980" y="1167648"/>
                        <a:pt x="831957" y="1177207"/>
                      </a:cubicBezTo>
                      <a:cubicBezTo>
                        <a:pt x="825290" y="1176082"/>
                        <a:pt x="822318" y="1175841"/>
                        <a:pt x="818703" y="1176162"/>
                      </a:cubicBezTo>
                      <a:cubicBezTo>
                        <a:pt x="866177" y="1195280"/>
                        <a:pt x="870755" y="1197289"/>
                        <a:pt x="877503" y="1206125"/>
                      </a:cubicBezTo>
                      <a:cubicBezTo>
                        <a:pt x="875655" y="1208775"/>
                        <a:pt x="873406" y="1211989"/>
                        <a:pt x="858144" y="1210623"/>
                      </a:cubicBezTo>
                      <a:cubicBezTo>
                        <a:pt x="833563" y="1208374"/>
                        <a:pt x="809947" y="1201305"/>
                        <a:pt x="785608" y="1197690"/>
                      </a:cubicBezTo>
                      <a:cubicBezTo>
                        <a:pt x="787696" y="1198815"/>
                        <a:pt x="787696" y="1198815"/>
                        <a:pt x="792034" y="1200180"/>
                      </a:cubicBezTo>
                      <a:cubicBezTo>
                        <a:pt x="771390" y="1196807"/>
                        <a:pt x="743596" y="1189417"/>
                        <a:pt x="709537" y="1178251"/>
                      </a:cubicBezTo>
                      <a:cubicBezTo>
                        <a:pt x="745203" y="1189095"/>
                        <a:pt x="793078" y="1202670"/>
                        <a:pt x="829306" y="1211667"/>
                      </a:cubicBezTo>
                      <a:cubicBezTo>
                        <a:pt x="856055" y="1217050"/>
                        <a:pt x="891801" y="1223958"/>
                        <a:pt x="918791" y="1228376"/>
                      </a:cubicBezTo>
                      <a:lnTo>
                        <a:pt x="919273" y="1228456"/>
                      </a:lnTo>
                      <a:cubicBezTo>
                        <a:pt x="943131" y="1231910"/>
                        <a:pt x="972531" y="1235123"/>
                        <a:pt x="977110" y="1230785"/>
                      </a:cubicBezTo>
                      <a:cubicBezTo>
                        <a:pt x="976708" y="1230303"/>
                        <a:pt x="976226" y="1229661"/>
                        <a:pt x="975824" y="1229259"/>
                      </a:cubicBezTo>
                      <a:cubicBezTo>
                        <a:pt x="979359" y="1229099"/>
                        <a:pt x="979359" y="1229099"/>
                        <a:pt x="981126" y="1228697"/>
                      </a:cubicBezTo>
                      <a:cubicBezTo>
                        <a:pt x="978716" y="1228135"/>
                        <a:pt x="978716" y="1228135"/>
                        <a:pt x="972531" y="1227572"/>
                      </a:cubicBezTo>
                      <a:cubicBezTo>
                        <a:pt x="975824" y="1226609"/>
                        <a:pt x="979278" y="1227412"/>
                        <a:pt x="982572" y="1227171"/>
                      </a:cubicBezTo>
                      <a:cubicBezTo>
                        <a:pt x="981206" y="1225885"/>
                        <a:pt x="981206" y="1225885"/>
                        <a:pt x="976226" y="1224279"/>
                      </a:cubicBezTo>
                      <a:cubicBezTo>
                        <a:pt x="982652" y="1224921"/>
                        <a:pt x="983455" y="1224841"/>
                        <a:pt x="986588" y="1224761"/>
                      </a:cubicBezTo>
                      <a:cubicBezTo>
                        <a:pt x="986428" y="1224279"/>
                        <a:pt x="986106" y="1223556"/>
                        <a:pt x="985946" y="1223074"/>
                      </a:cubicBezTo>
                      <a:cubicBezTo>
                        <a:pt x="984018" y="1223636"/>
                        <a:pt x="983214" y="1223797"/>
                        <a:pt x="976949" y="1223234"/>
                      </a:cubicBezTo>
                      <a:cubicBezTo>
                        <a:pt x="978073" y="1223074"/>
                        <a:pt x="979519" y="1222833"/>
                        <a:pt x="980564" y="1222512"/>
                      </a:cubicBezTo>
                      <a:cubicBezTo>
                        <a:pt x="978154" y="1221708"/>
                        <a:pt x="978154" y="1221708"/>
                        <a:pt x="971888" y="1221307"/>
                      </a:cubicBezTo>
                      <a:cubicBezTo>
                        <a:pt x="973334" y="1220423"/>
                        <a:pt x="973334" y="1220423"/>
                        <a:pt x="976547" y="1220825"/>
                      </a:cubicBezTo>
                      <a:cubicBezTo>
                        <a:pt x="976306" y="1220343"/>
                        <a:pt x="975985" y="1219620"/>
                        <a:pt x="975824" y="1219138"/>
                      </a:cubicBezTo>
                      <a:cubicBezTo>
                        <a:pt x="968675" y="1216487"/>
                        <a:pt x="961044" y="1216086"/>
                        <a:pt x="953734" y="1214318"/>
                      </a:cubicBezTo>
                      <a:cubicBezTo>
                        <a:pt x="960321" y="1215362"/>
                        <a:pt x="966988" y="1214961"/>
                        <a:pt x="973575" y="1215604"/>
                      </a:cubicBezTo>
                      <a:cubicBezTo>
                        <a:pt x="971969" y="1211587"/>
                        <a:pt x="958554" y="1210864"/>
                        <a:pt x="957991" y="1210784"/>
                      </a:cubicBezTo>
                      <a:cubicBezTo>
                        <a:pt x="954859" y="1210623"/>
                        <a:pt x="953172" y="1210543"/>
                        <a:pt x="950039" y="1209418"/>
                      </a:cubicBezTo>
                      <a:cubicBezTo>
                        <a:pt x="950200" y="1208936"/>
                        <a:pt x="950441" y="1208374"/>
                        <a:pt x="950682" y="1207892"/>
                      </a:cubicBezTo>
                      <a:cubicBezTo>
                        <a:pt x="950521" y="1207490"/>
                        <a:pt x="950200" y="1206848"/>
                        <a:pt x="950039" y="1206446"/>
                      </a:cubicBezTo>
                      <a:cubicBezTo>
                        <a:pt x="946264" y="1205402"/>
                        <a:pt x="942970" y="1205081"/>
                        <a:pt x="931323" y="1204599"/>
                      </a:cubicBezTo>
                      <a:cubicBezTo>
                        <a:pt x="937508" y="1203313"/>
                        <a:pt x="937588" y="1203313"/>
                        <a:pt x="939275" y="1202189"/>
                      </a:cubicBezTo>
                      <a:cubicBezTo>
                        <a:pt x="935901" y="1201466"/>
                        <a:pt x="935901" y="1201466"/>
                        <a:pt x="929877" y="1201466"/>
                      </a:cubicBezTo>
                      <a:cubicBezTo>
                        <a:pt x="930359" y="1200903"/>
                        <a:pt x="931082" y="1200100"/>
                        <a:pt x="931563" y="1199458"/>
                      </a:cubicBezTo>
                      <a:cubicBezTo>
                        <a:pt x="930841" y="1197610"/>
                        <a:pt x="930359" y="1196244"/>
                        <a:pt x="921603" y="1195120"/>
                      </a:cubicBezTo>
                      <a:cubicBezTo>
                        <a:pt x="918711" y="1194718"/>
                        <a:pt x="918711" y="1194718"/>
                        <a:pt x="903770" y="1189015"/>
                      </a:cubicBezTo>
                      <a:cubicBezTo>
                        <a:pt x="904413" y="1188854"/>
                        <a:pt x="905377" y="1188613"/>
                        <a:pt x="906019" y="1188453"/>
                      </a:cubicBezTo>
                      <a:cubicBezTo>
                        <a:pt x="889311" y="1183070"/>
                        <a:pt x="869952" y="1176082"/>
                        <a:pt x="868426" y="1169656"/>
                      </a:cubicBezTo>
                      <a:cubicBezTo>
                        <a:pt x="861036" y="1169093"/>
                        <a:pt x="860232" y="1169335"/>
                        <a:pt x="857581" y="1169977"/>
                      </a:cubicBezTo>
                      <a:cubicBezTo>
                        <a:pt x="857983" y="1170861"/>
                        <a:pt x="858867" y="1172066"/>
                        <a:pt x="859670" y="1172547"/>
                      </a:cubicBezTo>
                      <a:cubicBezTo>
                        <a:pt x="847460" y="1170781"/>
                        <a:pt x="843444" y="1169817"/>
                        <a:pt x="837178" y="1167326"/>
                      </a:cubicBezTo>
                      <a:cubicBezTo>
                        <a:pt x="838222" y="1167166"/>
                        <a:pt x="839668" y="1166845"/>
                        <a:pt x="840713" y="1166443"/>
                      </a:cubicBezTo>
                      <a:cubicBezTo>
                        <a:pt x="840472" y="1165961"/>
                        <a:pt x="840070" y="1165238"/>
                        <a:pt x="839829" y="1164756"/>
                      </a:cubicBezTo>
                      <a:cubicBezTo>
                        <a:pt x="837259" y="1165639"/>
                        <a:pt x="829627" y="1168290"/>
                        <a:pt x="825611" y="1157044"/>
                      </a:cubicBezTo>
                      <a:cubicBezTo>
                        <a:pt x="827057" y="1154072"/>
                        <a:pt x="830752" y="1154313"/>
                        <a:pt x="832760" y="1152064"/>
                      </a:cubicBezTo>
                      <a:cubicBezTo>
                        <a:pt x="832037" y="1149413"/>
                        <a:pt x="832037" y="1149413"/>
                        <a:pt x="829547" y="1146361"/>
                      </a:cubicBezTo>
                      <a:cubicBezTo>
                        <a:pt x="837098" y="1146923"/>
                        <a:pt x="842640" y="1148289"/>
                        <a:pt x="850191" y="1151502"/>
                      </a:cubicBezTo>
                      <a:cubicBezTo>
                        <a:pt x="845934" y="1149092"/>
                        <a:pt x="845693" y="1148931"/>
                        <a:pt x="844006" y="1147325"/>
                      </a:cubicBezTo>
                      <a:cubicBezTo>
                        <a:pt x="845693" y="1146441"/>
                        <a:pt x="846095" y="1146200"/>
                        <a:pt x="856537" y="1148771"/>
                      </a:cubicBezTo>
                      <a:cubicBezTo>
                        <a:pt x="856377" y="1148369"/>
                        <a:pt x="856136" y="1147887"/>
                        <a:pt x="855895" y="1147485"/>
                      </a:cubicBezTo>
                      <a:cubicBezTo>
                        <a:pt x="856136" y="1147084"/>
                        <a:pt x="856457" y="1146521"/>
                        <a:pt x="856698" y="1146120"/>
                      </a:cubicBezTo>
                      <a:cubicBezTo>
                        <a:pt x="858224" y="1146039"/>
                        <a:pt x="859750" y="1145879"/>
                        <a:pt x="864008" y="1147646"/>
                      </a:cubicBezTo>
                      <a:cubicBezTo>
                        <a:pt x="859349" y="1142103"/>
                        <a:pt x="850191" y="1146521"/>
                        <a:pt x="846175" y="1139533"/>
                      </a:cubicBezTo>
                      <a:cubicBezTo>
                        <a:pt x="841918" y="1138569"/>
                        <a:pt x="841516" y="1138408"/>
                        <a:pt x="839267" y="1137043"/>
                      </a:cubicBezTo>
                      <a:cubicBezTo>
                        <a:pt x="839267" y="1136561"/>
                        <a:pt x="839267" y="1135838"/>
                        <a:pt x="839347" y="1135276"/>
                      </a:cubicBezTo>
                      <a:cubicBezTo>
                        <a:pt x="849388" y="1129893"/>
                        <a:pt x="861839" y="1132786"/>
                        <a:pt x="871478" y="1125957"/>
                      </a:cubicBezTo>
                      <a:cubicBezTo>
                        <a:pt x="872523" y="1118326"/>
                        <a:pt x="884973" y="1118567"/>
                        <a:pt x="887464" y="1118728"/>
                      </a:cubicBezTo>
                      <a:moveTo>
                        <a:pt x="1820553" y="1007072"/>
                      </a:moveTo>
                      <a:cubicBezTo>
                        <a:pt x="1895258" y="949075"/>
                        <a:pt x="1904898" y="941685"/>
                        <a:pt x="1958235" y="890596"/>
                      </a:cubicBezTo>
                      <a:lnTo>
                        <a:pt x="1959039" y="889793"/>
                      </a:lnTo>
                      <a:cubicBezTo>
                        <a:pt x="1960404" y="888427"/>
                        <a:pt x="1962252" y="886580"/>
                        <a:pt x="1963617" y="885134"/>
                      </a:cubicBezTo>
                      <a:cubicBezTo>
                        <a:pt x="1944098" y="904252"/>
                        <a:pt x="1898391" y="948995"/>
                        <a:pt x="1854291" y="975985"/>
                      </a:cubicBezTo>
                      <a:cubicBezTo>
                        <a:pt x="1855094" y="974780"/>
                        <a:pt x="1856139" y="973093"/>
                        <a:pt x="1856942" y="971888"/>
                      </a:cubicBezTo>
                      <a:cubicBezTo>
                        <a:pt x="1756612" y="1035588"/>
                        <a:pt x="1715966" y="1051092"/>
                        <a:pt x="1544707" y="1116640"/>
                      </a:cubicBezTo>
                      <a:cubicBezTo>
                        <a:pt x="1539807" y="1112864"/>
                        <a:pt x="1536835" y="1110535"/>
                        <a:pt x="1531292" y="1112944"/>
                      </a:cubicBezTo>
                      <a:lnTo>
                        <a:pt x="1448233" y="1159374"/>
                      </a:lnTo>
                      <a:cubicBezTo>
                        <a:pt x="1451527" y="1161302"/>
                        <a:pt x="1457230" y="1160980"/>
                        <a:pt x="1461005" y="1160338"/>
                      </a:cubicBezTo>
                      <a:cubicBezTo>
                        <a:pt x="1444136" y="1167005"/>
                        <a:pt x="1429999" y="1179134"/>
                        <a:pt x="1412808" y="1185159"/>
                      </a:cubicBezTo>
                      <a:cubicBezTo>
                        <a:pt x="1365897" y="1201385"/>
                        <a:pt x="1316254" y="1207892"/>
                        <a:pt x="1270066" y="1226367"/>
                      </a:cubicBezTo>
                      <a:cubicBezTo>
                        <a:pt x="1284444" y="1227813"/>
                        <a:pt x="1284444" y="1227813"/>
                        <a:pt x="1311435" y="1223234"/>
                      </a:cubicBezTo>
                      <a:cubicBezTo>
                        <a:pt x="1350956" y="1215764"/>
                        <a:pt x="1351759" y="1215604"/>
                        <a:pt x="1371841" y="1211025"/>
                      </a:cubicBezTo>
                      <a:cubicBezTo>
                        <a:pt x="1413371" y="1200984"/>
                        <a:pt x="1414174" y="1200823"/>
                        <a:pt x="1435541" y="1194718"/>
                      </a:cubicBezTo>
                      <a:cubicBezTo>
                        <a:pt x="1480445" y="1181223"/>
                        <a:pt x="1482212" y="1180661"/>
                        <a:pt x="1506150" y="1172226"/>
                      </a:cubicBezTo>
                      <a:cubicBezTo>
                        <a:pt x="1558041" y="1152947"/>
                        <a:pt x="1560050" y="1152225"/>
                        <a:pt x="1588646" y="1139774"/>
                      </a:cubicBezTo>
                      <a:cubicBezTo>
                        <a:pt x="1634112" y="1118648"/>
                        <a:pt x="1728979" y="1074708"/>
                        <a:pt x="1820553" y="1007072"/>
                      </a:cubicBezTo>
                      <a:moveTo>
                        <a:pt x="688170" y="1018318"/>
                      </a:moveTo>
                      <a:cubicBezTo>
                        <a:pt x="688732" y="1018318"/>
                        <a:pt x="689535" y="1018318"/>
                        <a:pt x="690098" y="1018318"/>
                      </a:cubicBezTo>
                      <a:cubicBezTo>
                        <a:pt x="678289" y="1014542"/>
                        <a:pt x="643186" y="1000003"/>
                        <a:pt x="634109" y="995103"/>
                      </a:cubicBezTo>
                      <a:cubicBezTo>
                        <a:pt x="625353" y="990444"/>
                        <a:pt x="618525" y="988355"/>
                        <a:pt x="610573" y="987793"/>
                      </a:cubicBezTo>
                      <a:cubicBezTo>
                        <a:pt x="606476" y="987713"/>
                        <a:pt x="604066" y="987954"/>
                        <a:pt x="600130" y="988837"/>
                      </a:cubicBezTo>
                      <a:cubicBezTo>
                        <a:pt x="615794" y="998798"/>
                        <a:pt x="615794" y="998798"/>
                        <a:pt x="630816" y="1010687"/>
                      </a:cubicBezTo>
                      <a:cubicBezTo>
                        <a:pt x="620935" y="1007875"/>
                        <a:pt x="617160" y="1006670"/>
                        <a:pt x="607119" y="1002654"/>
                      </a:cubicBezTo>
                      <a:cubicBezTo>
                        <a:pt x="608163" y="1002654"/>
                        <a:pt x="609529" y="1002734"/>
                        <a:pt x="610493" y="1002734"/>
                      </a:cubicBezTo>
                      <a:cubicBezTo>
                        <a:pt x="607922" y="1001128"/>
                        <a:pt x="606637" y="1000083"/>
                        <a:pt x="605111" y="998477"/>
                      </a:cubicBezTo>
                      <a:cubicBezTo>
                        <a:pt x="604709" y="998557"/>
                        <a:pt x="604227" y="998718"/>
                        <a:pt x="603906" y="998959"/>
                      </a:cubicBezTo>
                      <a:cubicBezTo>
                        <a:pt x="603906" y="999602"/>
                        <a:pt x="603906" y="999682"/>
                        <a:pt x="605271" y="1000565"/>
                      </a:cubicBezTo>
                      <a:cubicBezTo>
                        <a:pt x="604147" y="1003136"/>
                        <a:pt x="606878" y="1005305"/>
                        <a:pt x="616116" y="1009000"/>
                      </a:cubicBezTo>
                      <a:cubicBezTo>
                        <a:pt x="600532" y="1005947"/>
                        <a:pt x="600532" y="1005947"/>
                        <a:pt x="594186" y="1005867"/>
                      </a:cubicBezTo>
                      <a:cubicBezTo>
                        <a:pt x="599648" y="1008357"/>
                        <a:pt x="606557" y="1010124"/>
                        <a:pt x="614509" y="1011169"/>
                      </a:cubicBezTo>
                      <a:cubicBezTo>
                        <a:pt x="648568" y="1015667"/>
                        <a:pt x="673309" y="1018077"/>
                        <a:pt x="688170" y="1018318"/>
                      </a:cubicBezTo>
                      <a:moveTo>
                        <a:pt x="478835" y="912526"/>
                      </a:moveTo>
                      <a:cubicBezTo>
                        <a:pt x="478915" y="912526"/>
                        <a:pt x="478915" y="912445"/>
                        <a:pt x="478835" y="912526"/>
                      </a:cubicBezTo>
                      <a:cubicBezTo>
                        <a:pt x="478915" y="912445"/>
                        <a:pt x="478915" y="912445"/>
                        <a:pt x="478835" y="912526"/>
                      </a:cubicBezTo>
                      <a:cubicBezTo>
                        <a:pt x="478674" y="912526"/>
                        <a:pt x="478514" y="912445"/>
                        <a:pt x="478433" y="912526"/>
                      </a:cubicBezTo>
                      <a:cubicBezTo>
                        <a:pt x="478433" y="912526"/>
                        <a:pt x="477710" y="913410"/>
                        <a:pt x="477791" y="913490"/>
                      </a:cubicBezTo>
                      <a:cubicBezTo>
                        <a:pt x="477791" y="913570"/>
                        <a:pt x="478192" y="913169"/>
                        <a:pt x="478835" y="912526"/>
                      </a:cubicBezTo>
                      <a:moveTo>
                        <a:pt x="629932" y="878547"/>
                      </a:moveTo>
                      <a:cubicBezTo>
                        <a:pt x="630012" y="878547"/>
                        <a:pt x="630012" y="878547"/>
                        <a:pt x="630093" y="878547"/>
                      </a:cubicBezTo>
                      <a:cubicBezTo>
                        <a:pt x="629129" y="878467"/>
                        <a:pt x="627763" y="878386"/>
                        <a:pt x="626799" y="878306"/>
                      </a:cubicBezTo>
                      <a:lnTo>
                        <a:pt x="626880" y="878306"/>
                      </a:lnTo>
                      <a:cubicBezTo>
                        <a:pt x="627602" y="878467"/>
                        <a:pt x="627844" y="878467"/>
                        <a:pt x="629932" y="878547"/>
                      </a:cubicBezTo>
                      <a:moveTo>
                        <a:pt x="808581" y="764321"/>
                      </a:moveTo>
                      <a:cubicBezTo>
                        <a:pt x="808662" y="764321"/>
                        <a:pt x="808742" y="764241"/>
                        <a:pt x="808742" y="764241"/>
                      </a:cubicBezTo>
                      <a:cubicBezTo>
                        <a:pt x="808662" y="764241"/>
                        <a:pt x="808581" y="764241"/>
                        <a:pt x="808581" y="764321"/>
                      </a:cubicBezTo>
                      <a:cubicBezTo>
                        <a:pt x="806413" y="765526"/>
                        <a:pt x="804485" y="766570"/>
                        <a:pt x="802236" y="767695"/>
                      </a:cubicBezTo>
                      <a:cubicBezTo>
                        <a:pt x="803842" y="766891"/>
                        <a:pt x="806091" y="765686"/>
                        <a:pt x="808581" y="764321"/>
                      </a:cubicBezTo>
                      <a:moveTo>
                        <a:pt x="938954" y="658930"/>
                      </a:moveTo>
                      <a:cubicBezTo>
                        <a:pt x="939034" y="658930"/>
                        <a:pt x="939114" y="658930"/>
                        <a:pt x="939114" y="658850"/>
                      </a:cubicBezTo>
                      <a:cubicBezTo>
                        <a:pt x="937347" y="658770"/>
                        <a:pt x="937347" y="658770"/>
                        <a:pt x="937026" y="658850"/>
                      </a:cubicBezTo>
                      <a:cubicBezTo>
                        <a:pt x="935821" y="659171"/>
                        <a:pt x="934616" y="659493"/>
                        <a:pt x="933331" y="659814"/>
                      </a:cubicBezTo>
                      <a:cubicBezTo>
                        <a:pt x="935098" y="659573"/>
                        <a:pt x="936946" y="659332"/>
                        <a:pt x="938954" y="658930"/>
                      </a:cubicBezTo>
                      <a:moveTo>
                        <a:pt x="2316820" y="23456"/>
                      </a:moveTo>
                      <a:cubicBezTo>
                        <a:pt x="2316338" y="9318"/>
                        <a:pt x="2315534" y="3053"/>
                        <a:pt x="2315213" y="0"/>
                      </a:cubicBezTo>
                      <a:cubicBezTo>
                        <a:pt x="2314972" y="1285"/>
                        <a:pt x="2314570" y="2972"/>
                        <a:pt x="2314249" y="4257"/>
                      </a:cubicBezTo>
                      <a:cubicBezTo>
                        <a:pt x="2312401" y="17592"/>
                        <a:pt x="2311919" y="31006"/>
                        <a:pt x="2310313" y="44421"/>
                      </a:cubicBezTo>
                      <a:cubicBezTo>
                        <a:pt x="2310233" y="43859"/>
                        <a:pt x="2310152" y="43136"/>
                        <a:pt x="2309992" y="42654"/>
                      </a:cubicBezTo>
                      <a:cubicBezTo>
                        <a:pt x="2309590" y="44341"/>
                        <a:pt x="2309590" y="44341"/>
                        <a:pt x="2309188" y="52535"/>
                      </a:cubicBezTo>
                      <a:cubicBezTo>
                        <a:pt x="2307742" y="53498"/>
                        <a:pt x="2298424" y="87718"/>
                        <a:pt x="2295774" y="129248"/>
                      </a:cubicBezTo>
                      <a:cubicBezTo>
                        <a:pt x="2293685" y="161459"/>
                        <a:pt x="2299228" y="168046"/>
                        <a:pt x="2301718" y="169412"/>
                      </a:cubicBezTo>
                      <a:cubicBezTo>
                        <a:pt x="2310393" y="164994"/>
                        <a:pt x="2318828" y="83220"/>
                        <a:pt x="2316820" y="23456"/>
                      </a:cubicBezTo>
                      <a:moveTo>
                        <a:pt x="1688735" y="180818"/>
                      </a:moveTo>
                      <a:lnTo>
                        <a:pt x="1692992" y="179212"/>
                      </a:lnTo>
                      <a:cubicBezTo>
                        <a:pt x="1692832" y="179212"/>
                        <a:pt x="1692751" y="179292"/>
                        <a:pt x="1692591" y="179372"/>
                      </a:cubicBezTo>
                      <a:cubicBezTo>
                        <a:pt x="1691306" y="179854"/>
                        <a:pt x="1690020" y="180336"/>
                        <a:pt x="1688735" y="180818"/>
                      </a:cubicBezTo>
                      <a:moveTo>
                        <a:pt x="246045" y="295446"/>
                      </a:moveTo>
                      <a:cubicBezTo>
                        <a:pt x="246045" y="295446"/>
                        <a:pt x="246125" y="295446"/>
                        <a:pt x="246125" y="295366"/>
                      </a:cubicBezTo>
                      <a:cubicBezTo>
                        <a:pt x="246125" y="295366"/>
                        <a:pt x="246045" y="295366"/>
                        <a:pt x="246045" y="295446"/>
                      </a:cubicBezTo>
                      <a:cubicBezTo>
                        <a:pt x="245000" y="295286"/>
                        <a:pt x="243956" y="295125"/>
                        <a:pt x="242831" y="294964"/>
                      </a:cubicBezTo>
                      <a:cubicBezTo>
                        <a:pt x="243635" y="295527"/>
                        <a:pt x="244759" y="296008"/>
                        <a:pt x="246045" y="295446"/>
                      </a:cubicBezTo>
                      <a:moveTo>
                        <a:pt x="246768" y="295446"/>
                      </a:moveTo>
                      <a:cubicBezTo>
                        <a:pt x="246768" y="295446"/>
                        <a:pt x="246768" y="295446"/>
                        <a:pt x="246768" y="295446"/>
                      </a:cubicBezTo>
                      <a:cubicBezTo>
                        <a:pt x="246687" y="295366"/>
                        <a:pt x="246687" y="295286"/>
                        <a:pt x="246607" y="295125"/>
                      </a:cubicBezTo>
                      <a:cubicBezTo>
                        <a:pt x="246607" y="295125"/>
                        <a:pt x="246607" y="295125"/>
                        <a:pt x="246607" y="295125"/>
                      </a:cubicBezTo>
                      <a:cubicBezTo>
                        <a:pt x="246446" y="295205"/>
                        <a:pt x="246366" y="295286"/>
                        <a:pt x="246205" y="295366"/>
                      </a:cubicBezTo>
                      <a:cubicBezTo>
                        <a:pt x="246366" y="295366"/>
                        <a:pt x="246527" y="295446"/>
                        <a:pt x="246768" y="295446"/>
                      </a:cubicBezTo>
                      <a:moveTo>
                        <a:pt x="242430" y="294964"/>
                      </a:moveTo>
                      <a:cubicBezTo>
                        <a:pt x="242510" y="294964"/>
                        <a:pt x="242671" y="294964"/>
                        <a:pt x="242831" y="295045"/>
                      </a:cubicBezTo>
                      <a:cubicBezTo>
                        <a:pt x="242189" y="294563"/>
                        <a:pt x="241948" y="294322"/>
                        <a:pt x="241546" y="293920"/>
                      </a:cubicBezTo>
                      <a:cubicBezTo>
                        <a:pt x="240904" y="293197"/>
                        <a:pt x="239458" y="291992"/>
                        <a:pt x="236727" y="290627"/>
                      </a:cubicBezTo>
                      <a:cubicBezTo>
                        <a:pt x="233754" y="289181"/>
                        <a:pt x="230541" y="288699"/>
                        <a:pt x="229336" y="288538"/>
                      </a:cubicBezTo>
                      <a:cubicBezTo>
                        <a:pt x="225722" y="288136"/>
                        <a:pt x="223553" y="288297"/>
                        <a:pt x="220018" y="289020"/>
                      </a:cubicBezTo>
                      <a:cubicBezTo>
                        <a:pt x="220340" y="289261"/>
                        <a:pt x="220741" y="289502"/>
                        <a:pt x="220982" y="289743"/>
                      </a:cubicBezTo>
                      <a:cubicBezTo>
                        <a:pt x="220982" y="289824"/>
                        <a:pt x="220902" y="289903"/>
                        <a:pt x="220902" y="289984"/>
                      </a:cubicBezTo>
                      <a:cubicBezTo>
                        <a:pt x="224195" y="290787"/>
                        <a:pt x="233031" y="293599"/>
                        <a:pt x="242430" y="294964"/>
                      </a:cubicBezTo>
                      <a:moveTo>
                        <a:pt x="221464" y="283397"/>
                      </a:moveTo>
                      <a:cubicBezTo>
                        <a:pt x="221545" y="283397"/>
                        <a:pt x="221625" y="283317"/>
                        <a:pt x="221705" y="283237"/>
                      </a:cubicBezTo>
                      <a:cubicBezTo>
                        <a:pt x="220661" y="282112"/>
                        <a:pt x="219777" y="281389"/>
                        <a:pt x="218733" y="281309"/>
                      </a:cubicBezTo>
                      <a:cubicBezTo>
                        <a:pt x="216725" y="281228"/>
                        <a:pt x="215761" y="283638"/>
                        <a:pt x="215761" y="283638"/>
                      </a:cubicBezTo>
                      <a:cubicBezTo>
                        <a:pt x="217207" y="283879"/>
                        <a:pt x="217769" y="283638"/>
                        <a:pt x="218251" y="282513"/>
                      </a:cubicBezTo>
                      <a:cubicBezTo>
                        <a:pt x="218653" y="282755"/>
                        <a:pt x="219215" y="283156"/>
                        <a:pt x="219617" y="283397"/>
                      </a:cubicBezTo>
                      <a:cubicBezTo>
                        <a:pt x="219456" y="283638"/>
                        <a:pt x="219135" y="284120"/>
                        <a:pt x="219697" y="284040"/>
                      </a:cubicBezTo>
                      <a:cubicBezTo>
                        <a:pt x="219777" y="284040"/>
                        <a:pt x="220259" y="283959"/>
                        <a:pt x="221464" y="283397"/>
                      </a:cubicBezTo>
                      <a:moveTo>
                        <a:pt x="536189" y="960321"/>
                      </a:moveTo>
                      <a:cubicBezTo>
                        <a:pt x="535306" y="960482"/>
                        <a:pt x="533538" y="961044"/>
                        <a:pt x="535948" y="963213"/>
                      </a:cubicBezTo>
                      <a:cubicBezTo>
                        <a:pt x="534904" y="962570"/>
                        <a:pt x="533779" y="961928"/>
                        <a:pt x="532735" y="961365"/>
                      </a:cubicBezTo>
                      <a:cubicBezTo>
                        <a:pt x="533056" y="960642"/>
                        <a:pt x="533699" y="959357"/>
                        <a:pt x="534663" y="958474"/>
                      </a:cubicBezTo>
                      <a:cubicBezTo>
                        <a:pt x="534583" y="959196"/>
                        <a:pt x="535065" y="959598"/>
                        <a:pt x="536430" y="960321"/>
                      </a:cubicBezTo>
                      <a:cubicBezTo>
                        <a:pt x="536350" y="960241"/>
                        <a:pt x="536270" y="960321"/>
                        <a:pt x="536189" y="960321"/>
                      </a:cubicBezTo>
                      <a:moveTo>
                        <a:pt x="554745" y="958152"/>
                      </a:moveTo>
                      <a:cubicBezTo>
                        <a:pt x="548399" y="957590"/>
                        <a:pt x="543981" y="957269"/>
                        <a:pt x="545186" y="958554"/>
                      </a:cubicBezTo>
                      <a:cubicBezTo>
                        <a:pt x="545507" y="958875"/>
                        <a:pt x="546230" y="959277"/>
                        <a:pt x="546712" y="959518"/>
                      </a:cubicBezTo>
                      <a:cubicBezTo>
                        <a:pt x="546391" y="960000"/>
                        <a:pt x="545989" y="960642"/>
                        <a:pt x="545668" y="961125"/>
                      </a:cubicBezTo>
                      <a:cubicBezTo>
                        <a:pt x="543820" y="959036"/>
                        <a:pt x="541893" y="957992"/>
                        <a:pt x="538840" y="957429"/>
                      </a:cubicBezTo>
                      <a:cubicBezTo>
                        <a:pt x="540848" y="957028"/>
                        <a:pt x="541250" y="956867"/>
                        <a:pt x="541491" y="956546"/>
                      </a:cubicBezTo>
                      <a:cubicBezTo>
                        <a:pt x="541250" y="956385"/>
                        <a:pt x="541009" y="956144"/>
                        <a:pt x="537555" y="955903"/>
                      </a:cubicBezTo>
                      <a:cubicBezTo>
                        <a:pt x="536591" y="954778"/>
                        <a:pt x="536511" y="954216"/>
                        <a:pt x="537233" y="953413"/>
                      </a:cubicBezTo>
                      <a:cubicBezTo>
                        <a:pt x="545347" y="956706"/>
                        <a:pt x="552576" y="957831"/>
                        <a:pt x="555388" y="958152"/>
                      </a:cubicBezTo>
                      <a:cubicBezTo>
                        <a:pt x="555227" y="958152"/>
                        <a:pt x="554906" y="958152"/>
                        <a:pt x="554745" y="958152"/>
                      </a:cubicBezTo>
                      <a:moveTo>
                        <a:pt x="548479" y="951164"/>
                      </a:moveTo>
                      <a:cubicBezTo>
                        <a:pt x="548479" y="951164"/>
                        <a:pt x="545266" y="950923"/>
                        <a:pt x="537233" y="950280"/>
                      </a:cubicBezTo>
                      <a:cubicBezTo>
                        <a:pt x="537233" y="950200"/>
                        <a:pt x="537153" y="950200"/>
                        <a:pt x="537153" y="950119"/>
                      </a:cubicBezTo>
                      <a:cubicBezTo>
                        <a:pt x="539804" y="950360"/>
                        <a:pt x="542535" y="950601"/>
                        <a:pt x="545186" y="950842"/>
                      </a:cubicBezTo>
                      <a:cubicBezTo>
                        <a:pt x="546311" y="950923"/>
                        <a:pt x="547435" y="950923"/>
                        <a:pt x="548479" y="951164"/>
                      </a:cubicBezTo>
                      <a:moveTo>
                        <a:pt x="540929" y="918149"/>
                      </a:moveTo>
                      <a:cubicBezTo>
                        <a:pt x="530004" y="916060"/>
                        <a:pt x="522774" y="916864"/>
                        <a:pt x="519481" y="920719"/>
                      </a:cubicBezTo>
                      <a:cubicBezTo>
                        <a:pt x="520606" y="918711"/>
                        <a:pt x="520445" y="917426"/>
                        <a:pt x="518999" y="915338"/>
                      </a:cubicBezTo>
                      <a:cubicBezTo>
                        <a:pt x="528478" y="913731"/>
                        <a:pt x="536189" y="916141"/>
                        <a:pt x="541812" y="918390"/>
                      </a:cubicBezTo>
                      <a:cubicBezTo>
                        <a:pt x="541571" y="918229"/>
                        <a:pt x="541250" y="918149"/>
                        <a:pt x="540929" y="918149"/>
                      </a:cubicBezTo>
                      <a:moveTo>
                        <a:pt x="483735" y="850834"/>
                      </a:moveTo>
                      <a:cubicBezTo>
                        <a:pt x="484378" y="850513"/>
                        <a:pt x="485824" y="850191"/>
                        <a:pt x="487511" y="851316"/>
                      </a:cubicBezTo>
                      <a:cubicBezTo>
                        <a:pt x="486386" y="851235"/>
                        <a:pt x="484860" y="850995"/>
                        <a:pt x="483735" y="850834"/>
                      </a:cubicBezTo>
                      <a:moveTo>
                        <a:pt x="485904" y="847300"/>
                      </a:moveTo>
                      <a:cubicBezTo>
                        <a:pt x="485261" y="846818"/>
                        <a:pt x="484619" y="846255"/>
                        <a:pt x="483976" y="845773"/>
                      </a:cubicBezTo>
                      <a:cubicBezTo>
                        <a:pt x="484699" y="846336"/>
                        <a:pt x="485342" y="846898"/>
                        <a:pt x="486065" y="847460"/>
                      </a:cubicBezTo>
                      <a:cubicBezTo>
                        <a:pt x="485984" y="847380"/>
                        <a:pt x="485904" y="847300"/>
                        <a:pt x="485904" y="847300"/>
                      </a:cubicBezTo>
                      <a:moveTo>
                        <a:pt x="782957" y="776772"/>
                      </a:moveTo>
                      <a:cubicBezTo>
                        <a:pt x="779422" y="778057"/>
                        <a:pt x="775727" y="779342"/>
                        <a:pt x="775486" y="779422"/>
                      </a:cubicBezTo>
                      <a:cubicBezTo>
                        <a:pt x="775727" y="779342"/>
                        <a:pt x="775968" y="779262"/>
                        <a:pt x="776209" y="779182"/>
                      </a:cubicBezTo>
                      <a:cubicBezTo>
                        <a:pt x="778539" y="778378"/>
                        <a:pt x="780949" y="777494"/>
                        <a:pt x="783278" y="776691"/>
                      </a:cubicBezTo>
                      <a:cubicBezTo>
                        <a:pt x="783198" y="776691"/>
                        <a:pt x="783037" y="776772"/>
                        <a:pt x="782957" y="776772"/>
                      </a:cubicBezTo>
                      <a:moveTo>
                        <a:pt x="792436" y="773478"/>
                      </a:moveTo>
                      <a:cubicBezTo>
                        <a:pt x="790186" y="774362"/>
                        <a:pt x="787857" y="775085"/>
                        <a:pt x="785608" y="775888"/>
                      </a:cubicBezTo>
                      <a:cubicBezTo>
                        <a:pt x="787937" y="775085"/>
                        <a:pt x="790186" y="774201"/>
                        <a:pt x="792436" y="773478"/>
                      </a:cubicBezTo>
                      <a:lnTo>
                        <a:pt x="792436" y="773478"/>
                      </a:lnTo>
                      <a:moveTo>
                        <a:pt x="608163" y="754119"/>
                      </a:moveTo>
                      <a:cubicBezTo>
                        <a:pt x="608083" y="754119"/>
                        <a:pt x="608002" y="754119"/>
                        <a:pt x="607922" y="754119"/>
                      </a:cubicBezTo>
                      <a:cubicBezTo>
                        <a:pt x="608002" y="754119"/>
                        <a:pt x="608083" y="754119"/>
                        <a:pt x="608163" y="754119"/>
                      </a:cubicBezTo>
                      <a:lnTo>
                        <a:pt x="608163" y="754119"/>
                      </a:lnTo>
                      <a:moveTo>
                        <a:pt x="599407" y="753396"/>
                      </a:moveTo>
                      <a:cubicBezTo>
                        <a:pt x="599006" y="753396"/>
                        <a:pt x="598604" y="753316"/>
                        <a:pt x="598202" y="753316"/>
                      </a:cubicBezTo>
                      <a:cubicBezTo>
                        <a:pt x="598604" y="753316"/>
                        <a:pt x="599006" y="753316"/>
                        <a:pt x="599407" y="753396"/>
                      </a:cubicBezTo>
                      <a:cubicBezTo>
                        <a:pt x="599407" y="753396"/>
                        <a:pt x="599407" y="753396"/>
                        <a:pt x="599407" y="753396"/>
                      </a:cubicBezTo>
                      <a:moveTo>
                        <a:pt x="738294" y="689696"/>
                      </a:moveTo>
                      <a:cubicBezTo>
                        <a:pt x="736849" y="690178"/>
                        <a:pt x="736849" y="690660"/>
                        <a:pt x="738294" y="691383"/>
                      </a:cubicBezTo>
                      <a:cubicBezTo>
                        <a:pt x="738535" y="691543"/>
                        <a:pt x="738857" y="691624"/>
                        <a:pt x="739098" y="691704"/>
                      </a:cubicBezTo>
                      <a:cubicBezTo>
                        <a:pt x="737893" y="691945"/>
                        <a:pt x="735162" y="692588"/>
                        <a:pt x="737491" y="693954"/>
                      </a:cubicBezTo>
                      <a:cubicBezTo>
                        <a:pt x="738294" y="694436"/>
                        <a:pt x="739660" y="694918"/>
                        <a:pt x="740383" y="695158"/>
                      </a:cubicBezTo>
                      <a:lnTo>
                        <a:pt x="736206" y="695962"/>
                      </a:lnTo>
                      <a:cubicBezTo>
                        <a:pt x="736447" y="696203"/>
                        <a:pt x="736849" y="696444"/>
                        <a:pt x="737090" y="696604"/>
                      </a:cubicBezTo>
                      <a:cubicBezTo>
                        <a:pt x="731788" y="697729"/>
                        <a:pt x="732190" y="695801"/>
                        <a:pt x="732993" y="693954"/>
                      </a:cubicBezTo>
                      <a:cubicBezTo>
                        <a:pt x="731949" y="693793"/>
                        <a:pt x="730503" y="693632"/>
                        <a:pt x="729458" y="693552"/>
                      </a:cubicBezTo>
                      <a:cubicBezTo>
                        <a:pt x="732270" y="693230"/>
                        <a:pt x="733314" y="692990"/>
                        <a:pt x="733635" y="692668"/>
                      </a:cubicBezTo>
                      <a:cubicBezTo>
                        <a:pt x="733555" y="692267"/>
                        <a:pt x="732190" y="691945"/>
                        <a:pt x="728253" y="691543"/>
                      </a:cubicBezTo>
                      <a:cubicBezTo>
                        <a:pt x="729378" y="691303"/>
                        <a:pt x="730422" y="691543"/>
                        <a:pt x="731547" y="691543"/>
                      </a:cubicBezTo>
                      <a:cubicBezTo>
                        <a:pt x="733876" y="691383"/>
                        <a:pt x="733876" y="690982"/>
                        <a:pt x="732912" y="690018"/>
                      </a:cubicBezTo>
                      <a:cubicBezTo>
                        <a:pt x="734760" y="687768"/>
                        <a:pt x="735644" y="685439"/>
                        <a:pt x="735885" y="682547"/>
                      </a:cubicBezTo>
                      <a:cubicBezTo>
                        <a:pt x="736126" y="685519"/>
                        <a:pt x="737812" y="687929"/>
                        <a:pt x="739258" y="689375"/>
                      </a:cubicBezTo>
                      <a:cubicBezTo>
                        <a:pt x="738937" y="689535"/>
                        <a:pt x="738535" y="689616"/>
                        <a:pt x="738294" y="689696"/>
                      </a:cubicBezTo>
                      <a:moveTo>
                        <a:pt x="794765" y="634270"/>
                      </a:moveTo>
                      <a:cubicBezTo>
                        <a:pt x="788339" y="636680"/>
                        <a:pt x="789865" y="638929"/>
                        <a:pt x="790427" y="639732"/>
                      </a:cubicBezTo>
                      <a:cubicBezTo>
                        <a:pt x="787054" y="639813"/>
                        <a:pt x="785126" y="640535"/>
                        <a:pt x="784162" y="640856"/>
                      </a:cubicBezTo>
                      <a:cubicBezTo>
                        <a:pt x="785286" y="641259"/>
                        <a:pt x="786813" y="641740"/>
                        <a:pt x="787937" y="642142"/>
                      </a:cubicBezTo>
                      <a:cubicBezTo>
                        <a:pt x="782796" y="642303"/>
                        <a:pt x="780627" y="641580"/>
                        <a:pt x="780145" y="639491"/>
                      </a:cubicBezTo>
                      <a:cubicBezTo>
                        <a:pt x="781190" y="639652"/>
                        <a:pt x="781752" y="639652"/>
                        <a:pt x="782555" y="639652"/>
                      </a:cubicBezTo>
                      <a:cubicBezTo>
                        <a:pt x="784403" y="639491"/>
                        <a:pt x="785045" y="639089"/>
                        <a:pt x="785206" y="638126"/>
                      </a:cubicBezTo>
                      <a:cubicBezTo>
                        <a:pt x="785929" y="637724"/>
                        <a:pt x="787535" y="637001"/>
                        <a:pt x="787134" y="632824"/>
                      </a:cubicBezTo>
                      <a:cubicBezTo>
                        <a:pt x="788017" y="634109"/>
                        <a:pt x="788419" y="634993"/>
                        <a:pt x="788821" y="636198"/>
                      </a:cubicBezTo>
                      <a:cubicBezTo>
                        <a:pt x="791070" y="635475"/>
                        <a:pt x="793319" y="634752"/>
                        <a:pt x="795568" y="634029"/>
                      </a:cubicBezTo>
                      <a:cubicBezTo>
                        <a:pt x="795327" y="634109"/>
                        <a:pt x="795006" y="634190"/>
                        <a:pt x="794765" y="634270"/>
                      </a:cubicBezTo>
                      <a:moveTo>
                        <a:pt x="904975" y="615875"/>
                      </a:moveTo>
                      <a:cubicBezTo>
                        <a:pt x="902565" y="615794"/>
                        <a:pt x="899914" y="616035"/>
                        <a:pt x="901521" y="617963"/>
                      </a:cubicBezTo>
                      <a:cubicBezTo>
                        <a:pt x="901682" y="618124"/>
                        <a:pt x="901923" y="618365"/>
                        <a:pt x="902083" y="618526"/>
                      </a:cubicBezTo>
                      <a:cubicBezTo>
                        <a:pt x="900878" y="617722"/>
                        <a:pt x="899272" y="617160"/>
                        <a:pt x="895818" y="618606"/>
                      </a:cubicBezTo>
                      <a:cubicBezTo>
                        <a:pt x="897906" y="617722"/>
                        <a:pt x="898549" y="617080"/>
                        <a:pt x="898950" y="615553"/>
                      </a:cubicBezTo>
                      <a:cubicBezTo>
                        <a:pt x="897585" y="616598"/>
                        <a:pt x="897344" y="616598"/>
                        <a:pt x="897103" y="616517"/>
                      </a:cubicBezTo>
                      <a:cubicBezTo>
                        <a:pt x="896942" y="616196"/>
                        <a:pt x="896942" y="615875"/>
                        <a:pt x="897745" y="614188"/>
                      </a:cubicBezTo>
                      <a:cubicBezTo>
                        <a:pt x="897103" y="614348"/>
                        <a:pt x="896300" y="614590"/>
                        <a:pt x="895737" y="614830"/>
                      </a:cubicBezTo>
                      <a:cubicBezTo>
                        <a:pt x="896139" y="614188"/>
                        <a:pt x="896942" y="612742"/>
                        <a:pt x="894613" y="613465"/>
                      </a:cubicBezTo>
                      <a:cubicBezTo>
                        <a:pt x="893890" y="613706"/>
                        <a:pt x="893086" y="614027"/>
                        <a:pt x="892524" y="614268"/>
                      </a:cubicBezTo>
                      <a:cubicBezTo>
                        <a:pt x="892524" y="614108"/>
                        <a:pt x="892604" y="613947"/>
                        <a:pt x="892604" y="613786"/>
                      </a:cubicBezTo>
                      <a:cubicBezTo>
                        <a:pt x="895496" y="612019"/>
                        <a:pt x="895496" y="611376"/>
                        <a:pt x="894452" y="610573"/>
                      </a:cubicBezTo>
                      <a:cubicBezTo>
                        <a:pt x="897424" y="609930"/>
                        <a:pt x="898147" y="611296"/>
                        <a:pt x="898950" y="613545"/>
                      </a:cubicBezTo>
                      <a:cubicBezTo>
                        <a:pt x="899754" y="615714"/>
                        <a:pt x="901923" y="615152"/>
                        <a:pt x="902726" y="614911"/>
                      </a:cubicBezTo>
                      <a:cubicBezTo>
                        <a:pt x="903529" y="615232"/>
                        <a:pt x="904493" y="615634"/>
                        <a:pt x="905296" y="616035"/>
                      </a:cubicBezTo>
                      <a:cubicBezTo>
                        <a:pt x="905216" y="615875"/>
                        <a:pt x="905055" y="615875"/>
                        <a:pt x="904975" y="615875"/>
                      </a:cubicBezTo>
                      <a:moveTo>
                        <a:pt x="446302" y="593784"/>
                      </a:moveTo>
                      <a:cubicBezTo>
                        <a:pt x="446383" y="594026"/>
                        <a:pt x="446463" y="594347"/>
                        <a:pt x="446463" y="594588"/>
                      </a:cubicBezTo>
                      <a:cubicBezTo>
                        <a:pt x="445820" y="595070"/>
                        <a:pt x="445499" y="595230"/>
                        <a:pt x="445338" y="595230"/>
                      </a:cubicBezTo>
                      <a:cubicBezTo>
                        <a:pt x="445017" y="595150"/>
                        <a:pt x="445419" y="594508"/>
                        <a:pt x="446142" y="593142"/>
                      </a:cubicBezTo>
                      <a:cubicBezTo>
                        <a:pt x="446222" y="593383"/>
                        <a:pt x="446302" y="593544"/>
                        <a:pt x="446302" y="593784"/>
                      </a:cubicBezTo>
                      <a:moveTo>
                        <a:pt x="445178" y="592098"/>
                      </a:moveTo>
                      <a:cubicBezTo>
                        <a:pt x="442125" y="591616"/>
                        <a:pt x="434012" y="589929"/>
                        <a:pt x="425738" y="585189"/>
                      </a:cubicBezTo>
                      <a:cubicBezTo>
                        <a:pt x="426301" y="584386"/>
                        <a:pt x="427184" y="583985"/>
                        <a:pt x="429433" y="585029"/>
                      </a:cubicBezTo>
                      <a:cubicBezTo>
                        <a:pt x="436743" y="583985"/>
                        <a:pt x="443169" y="586796"/>
                        <a:pt x="445820" y="592178"/>
                      </a:cubicBezTo>
                      <a:cubicBezTo>
                        <a:pt x="445579" y="592178"/>
                        <a:pt x="445338" y="592098"/>
                        <a:pt x="445178" y="592098"/>
                      </a:cubicBezTo>
                      <a:moveTo>
                        <a:pt x="957670" y="506789"/>
                      </a:moveTo>
                      <a:cubicBezTo>
                        <a:pt x="955983" y="508637"/>
                        <a:pt x="950682" y="514501"/>
                        <a:pt x="948191" y="516991"/>
                      </a:cubicBezTo>
                      <a:cubicBezTo>
                        <a:pt x="944978" y="516027"/>
                        <a:pt x="942569" y="515706"/>
                        <a:pt x="938552" y="515706"/>
                      </a:cubicBezTo>
                      <a:cubicBezTo>
                        <a:pt x="943291" y="519883"/>
                        <a:pt x="942649" y="522694"/>
                        <a:pt x="939998" y="525747"/>
                      </a:cubicBezTo>
                      <a:cubicBezTo>
                        <a:pt x="939355" y="522775"/>
                        <a:pt x="937990" y="516670"/>
                        <a:pt x="933893" y="523257"/>
                      </a:cubicBezTo>
                      <a:cubicBezTo>
                        <a:pt x="932768" y="525024"/>
                        <a:pt x="931724" y="527433"/>
                        <a:pt x="930921" y="529362"/>
                      </a:cubicBezTo>
                      <a:cubicBezTo>
                        <a:pt x="928270" y="528960"/>
                        <a:pt x="926664" y="528799"/>
                        <a:pt x="924013" y="528799"/>
                      </a:cubicBezTo>
                      <a:cubicBezTo>
                        <a:pt x="924334" y="527996"/>
                        <a:pt x="924896" y="526871"/>
                        <a:pt x="925539" y="526389"/>
                      </a:cubicBezTo>
                      <a:cubicBezTo>
                        <a:pt x="928190" y="524381"/>
                        <a:pt x="927226" y="522935"/>
                        <a:pt x="926824" y="522373"/>
                      </a:cubicBezTo>
                      <a:cubicBezTo>
                        <a:pt x="928270" y="522855"/>
                        <a:pt x="931242" y="523979"/>
                        <a:pt x="930760" y="522855"/>
                      </a:cubicBezTo>
                      <a:cubicBezTo>
                        <a:pt x="930519" y="522293"/>
                        <a:pt x="929314" y="521248"/>
                        <a:pt x="928752" y="520767"/>
                      </a:cubicBezTo>
                      <a:cubicBezTo>
                        <a:pt x="931644" y="521248"/>
                        <a:pt x="934295" y="521409"/>
                        <a:pt x="932447" y="518999"/>
                      </a:cubicBezTo>
                      <a:cubicBezTo>
                        <a:pt x="932287" y="518838"/>
                        <a:pt x="932126" y="518597"/>
                        <a:pt x="932046" y="518437"/>
                      </a:cubicBezTo>
                      <a:cubicBezTo>
                        <a:pt x="934295" y="518276"/>
                        <a:pt x="934696" y="518116"/>
                        <a:pt x="935259" y="517794"/>
                      </a:cubicBezTo>
                      <a:cubicBezTo>
                        <a:pt x="935098" y="517232"/>
                        <a:pt x="934696" y="516830"/>
                        <a:pt x="928511" y="515143"/>
                      </a:cubicBezTo>
                      <a:lnTo>
                        <a:pt x="929796" y="514902"/>
                      </a:lnTo>
                      <a:cubicBezTo>
                        <a:pt x="929877" y="514742"/>
                        <a:pt x="930037" y="514581"/>
                        <a:pt x="930118" y="514501"/>
                      </a:cubicBezTo>
                      <a:cubicBezTo>
                        <a:pt x="933009" y="515866"/>
                        <a:pt x="934777" y="516348"/>
                        <a:pt x="934696" y="514420"/>
                      </a:cubicBezTo>
                      <a:cubicBezTo>
                        <a:pt x="935178" y="514420"/>
                        <a:pt x="935660" y="514420"/>
                        <a:pt x="936142" y="514340"/>
                      </a:cubicBezTo>
                      <a:cubicBezTo>
                        <a:pt x="938873" y="513938"/>
                        <a:pt x="939114" y="513216"/>
                        <a:pt x="937267" y="511368"/>
                      </a:cubicBezTo>
                      <a:cubicBezTo>
                        <a:pt x="952770" y="509520"/>
                        <a:pt x="957670" y="506147"/>
                        <a:pt x="959277" y="504942"/>
                      </a:cubicBezTo>
                      <a:cubicBezTo>
                        <a:pt x="958795" y="505504"/>
                        <a:pt x="958152" y="506227"/>
                        <a:pt x="957670" y="506789"/>
                      </a:cubicBezTo>
                      <a:moveTo>
                        <a:pt x="795649" y="472730"/>
                      </a:moveTo>
                      <a:cubicBezTo>
                        <a:pt x="791231" y="472730"/>
                        <a:pt x="784804" y="471525"/>
                        <a:pt x="779583" y="465581"/>
                      </a:cubicBezTo>
                      <a:cubicBezTo>
                        <a:pt x="780226" y="463975"/>
                        <a:pt x="779503" y="463332"/>
                        <a:pt x="776209" y="462448"/>
                      </a:cubicBezTo>
                      <a:cubicBezTo>
                        <a:pt x="782876" y="458110"/>
                        <a:pt x="787375" y="463011"/>
                        <a:pt x="796372" y="472730"/>
                      </a:cubicBezTo>
                      <a:cubicBezTo>
                        <a:pt x="796131" y="472650"/>
                        <a:pt x="795890" y="472730"/>
                        <a:pt x="795649" y="472730"/>
                      </a:cubicBezTo>
                      <a:moveTo>
                        <a:pt x="662063" y="362279"/>
                      </a:moveTo>
                      <a:cubicBezTo>
                        <a:pt x="661983" y="362359"/>
                        <a:pt x="660457" y="363002"/>
                        <a:pt x="653548" y="365573"/>
                      </a:cubicBezTo>
                      <a:cubicBezTo>
                        <a:pt x="653548" y="365412"/>
                        <a:pt x="653629" y="365251"/>
                        <a:pt x="653629" y="365091"/>
                      </a:cubicBezTo>
                      <a:cubicBezTo>
                        <a:pt x="659573" y="363002"/>
                        <a:pt x="661662" y="362279"/>
                        <a:pt x="662063" y="362279"/>
                      </a:cubicBezTo>
                      <a:cubicBezTo>
                        <a:pt x="662063" y="362279"/>
                        <a:pt x="662063" y="362279"/>
                        <a:pt x="662063" y="362279"/>
                      </a:cubicBezTo>
                      <a:moveTo>
                        <a:pt x="488153" y="294964"/>
                      </a:moveTo>
                      <a:cubicBezTo>
                        <a:pt x="486306" y="294643"/>
                        <a:pt x="484378" y="294241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2530" y="293920"/>
                        <a:pt x="482530" y="293920"/>
                        <a:pt x="482530" y="293920"/>
                      </a:cubicBezTo>
                      <a:cubicBezTo>
                        <a:pt x="484619" y="294000"/>
                        <a:pt x="486306" y="294322"/>
                        <a:pt x="488153" y="295045"/>
                      </a:cubicBezTo>
                      <a:cubicBezTo>
                        <a:pt x="488314" y="295045"/>
                        <a:pt x="488233" y="295045"/>
                        <a:pt x="488153" y="294964"/>
                      </a:cubicBezTo>
                      <a:moveTo>
                        <a:pt x="1068924" y="495784"/>
                      </a:moveTo>
                      <a:cubicBezTo>
                        <a:pt x="1087882" y="438430"/>
                        <a:pt x="1048280" y="438189"/>
                        <a:pt x="881600" y="437306"/>
                      </a:cubicBezTo>
                      <a:cubicBezTo>
                        <a:pt x="880475" y="438591"/>
                        <a:pt x="879029" y="440278"/>
                        <a:pt x="877985" y="441483"/>
                      </a:cubicBezTo>
                      <a:cubicBezTo>
                        <a:pt x="879029" y="438912"/>
                        <a:pt x="880314" y="435458"/>
                        <a:pt x="881198" y="432807"/>
                      </a:cubicBezTo>
                      <a:cubicBezTo>
                        <a:pt x="879190" y="432968"/>
                        <a:pt x="876298" y="432968"/>
                        <a:pt x="874531" y="432084"/>
                      </a:cubicBezTo>
                      <a:cubicBezTo>
                        <a:pt x="875655" y="431201"/>
                        <a:pt x="877101" y="430076"/>
                        <a:pt x="878145" y="429192"/>
                      </a:cubicBezTo>
                      <a:cubicBezTo>
                        <a:pt x="876700" y="428469"/>
                        <a:pt x="874772" y="427425"/>
                        <a:pt x="873245" y="426702"/>
                      </a:cubicBezTo>
                      <a:lnTo>
                        <a:pt x="874209" y="425899"/>
                      </a:lnTo>
                      <a:cubicBezTo>
                        <a:pt x="873727" y="425738"/>
                        <a:pt x="819667" y="411601"/>
                        <a:pt x="800388" y="423168"/>
                      </a:cubicBezTo>
                      <a:cubicBezTo>
                        <a:pt x="800549" y="424774"/>
                        <a:pt x="800790" y="426863"/>
                        <a:pt x="800870" y="428469"/>
                      </a:cubicBezTo>
                      <a:cubicBezTo>
                        <a:pt x="800308" y="428952"/>
                        <a:pt x="799585" y="429674"/>
                        <a:pt x="798942" y="430156"/>
                      </a:cubicBezTo>
                      <a:cubicBezTo>
                        <a:pt x="787455" y="432566"/>
                        <a:pt x="784322" y="434012"/>
                        <a:pt x="777414" y="443491"/>
                      </a:cubicBezTo>
                      <a:cubicBezTo>
                        <a:pt x="778619" y="441081"/>
                        <a:pt x="780065" y="437788"/>
                        <a:pt x="781109" y="435297"/>
                      </a:cubicBezTo>
                      <a:cubicBezTo>
                        <a:pt x="767293" y="424774"/>
                        <a:pt x="729860" y="431281"/>
                        <a:pt x="715722" y="433691"/>
                      </a:cubicBezTo>
                      <a:cubicBezTo>
                        <a:pt x="797898" y="398989"/>
                        <a:pt x="724960" y="363886"/>
                        <a:pt x="723675" y="363725"/>
                      </a:cubicBezTo>
                      <a:cubicBezTo>
                        <a:pt x="722309" y="363565"/>
                        <a:pt x="720462" y="364448"/>
                        <a:pt x="719096" y="364769"/>
                      </a:cubicBezTo>
                      <a:cubicBezTo>
                        <a:pt x="718212" y="363565"/>
                        <a:pt x="717088" y="362038"/>
                        <a:pt x="716204" y="360833"/>
                      </a:cubicBezTo>
                      <a:cubicBezTo>
                        <a:pt x="714839" y="360833"/>
                        <a:pt x="713071" y="360833"/>
                        <a:pt x="711706" y="360833"/>
                      </a:cubicBezTo>
                      <a:cubicBezTo>
                        <a:pt x="681342" y="341073"/>
                        <a:pt x="618606" y="351756"/>
                        <a:pt x="618204" y="351997"/>
                      </a:cubicBezTo>
                      <a:cubicBezTo>
                        <a:pt x="598684" y="339787"/>
                        <a:pt x="598684" y="339787"/>
                        <a:pt x="588643" y="343804"/>
                      </a:cubicBezTo>
                      <a:cubicBezTo>
                        <a:pt x="588322" y="330389"/>
                        <a:pt x="584466" y="326855"/>
                        <a:pt x="564304" y="321392"/>
                      </a:cubicBezTo>
                      <a:cubicBezTo>
                        <a:pt x="564304" y="321553"/>
                        <a:pt x="564304" y="321714"/>
                        <a:pt x="564384" y="321874"/>
                      </a:cubicBezTo>
                      <a:cubicBezTo>
                        <a:pt x="552094" y="319304"/>
                        <a:pt x="544704" y="318259"/>
                        <a:pt x="530807" y="318259"/>
                      </a:cubicBezTo>
                      <a:cubicBezTo>
                        <a:pt x="534101" y="316814"/>
                        <a:pt x="538438" y="314323"/>
                        <a:pt x="540688" y="311512"/>
                      </a:cubicBezTo>
                      <a:cubicBezTo>
                        <a:pt x="536912" y="306692"/>
                        <a:pt x="536912" y="306692"/>
                        <a:pt x="528237" y="303158"/>
                      </a:cubicBezTo>
                      <a:cubicBezTo>
                        <a:pt x="527514" y="304041"/>
                        <a:pt x="526630" y="305246"/>
                        <a:pt x="525907" y="306210"/>
                      </a:cubicBezTo>
                      <a:cubicBezTo>
                        <a:pt x="523658" y="304523"/>
                        <a:pt x="520284" y="302837"/>
                        <a:pt x="517633" y="301873"/>
                      </a:cubicBezTo>
                      <a:cubicBezTo>
                        <a:pt x="517714" y="302435"/>
                        <a:pt x="517874" y="303158"/>
                        <a:pt x="517955" y="303720"/>
                      </a:cubicBezTo>
                      <a:lnTo>
                        <a:pt x="516589" y="303077"/>
                      </a:lnTo>
                      <a:cubicBezTo>
                        <a:pt x="515384" y="302917"/>
                        <a:pt x="515384" y="302917"/>
                        <a:pt x="505343" y="296169"/>
                      </a:cubicBezTo>
                      <a:cubicBezTo>
                        <a:pt x="510163" y="295125"/>
                        <a:pt x="515143" y="294563"/>
                        <a:pt x="519963" y="293599"/>
                      </a:cubicBezTo>
                      <a:cubicBezTo>
                        <a:pt x="463974" y="289824"/>
                        <a:pt x="409110" y="272151"/>
                        <a:pt x="352158" y="280264"/>
                      </a:cubicBezTo>
                      <a:cubicBezTo>
                        <a:pt x="352800" y="290145"/>
                        <a:pt x="352800" y="290707"/>
                        <a:pt x="352881" y="296732"/>
                      </a:cubicBezTo>
                      <a:cubicBezTo>
                        <a:pt x="349828" y="291109"/>
                        <a:pt x="349828" y="291109"/>
                        <a:pt x="347740" y="279541"/>
                      </a:cubicBezTo>
                      <a:cubicBezTo>
                        <a:pt x="348222" y="279461"/>
                        <a:pt x="348784" y="279461"/>
                        <a:pt x="349186" y="279381"/>
                      </a:cubicBezTo>
                      <a:cubicBezTo>
                        <a:pt x="347900" y="268135"/>
                        <a:pt x="345892" y="264761"/>
                        <a:pt x="334727" y="264600"/>
                      </a:cubicBezTo>
                      <a:cubicBezTo>
                        <a:pt x="315930" y="267974"/>
                        <a:pt x="284361" y="279381"/>
                        <a:pt x="284281" y="279381"/>
                      </a:cubicBezTo>
                      <a:cubicBezTo>
                        <a:pt x="284602" y="279783"/>
                        <a:pt x="285004" y="280345"/>
                        <a:pt x="285325" y="280746"/>
                      </a:cubicBezTo>
                      <a:cubicBezTo>
                        <a:pt x="274159" y="293920"/>
                        <a:pt x="255604" y="288860"/>
                        <a:pt x="242831" y="298017"/>
                      </a:cubicBezTo>
                      <a:cubicBezTo>
                        <a:pt x="249820" y="311833"/>
                        <a:pt x="249820" y="311833"/>
                        <a:pt x="262191" y="345812"/>
                      </a:cubicBezTo>
                      <a:lnTo>
                        <a:pt x="264440" y="348382"/>
                      </a:lnTo>
                      <a:cubicBezTo>
                        <a:pt x="265082" y="349507"/>
                        <a:pt x="265886" y="351033"/>
                        <a:pt x="266528" y="352238"/>
                      </a:cubicBezTo>
                      <a:cubicBezTo>
                        <a:pt x="261146" y="358665"/>
                        <a:pt x="252551" y="360753"/>
                        <a:pt x="246928" y="366858"/>
                      </a:cubicBezTo>
                      <a:cubicBezTo>
                        <a:pt x="247009" y="368143"/>
                        <a:pt x="247169" y="369910"/>
                        <a:pt x="247250" y="371276"/>
                      </a:cubicBezTo>
                      <a:cubicBezTo>
                        <a:pt x="245964" y="370874"/>
                        <a:pt x="244197" y="370392"/>
                        <a:pt x="242831" y="369991"/>
                      </a:cubicBezTo>
                      <a:cubicBezTo>
                        <a:pt x="233433" y="375453"/>
                        <a:pt x="229738" y="386056"/>
                        <a:pt x="221946" y="393045"/>
                      </a:cubicBezTo>
                      <a:cubicBezTo>
                        <a:pt x="213512" y="409271"/>
                        <a:pt x="218572" y="410958"/>
                        <a:pt x="232148" y="415376"/>
                      </a:cubicBezTo>
                      <a:cubicBezTo>
                        <a:pt x="232228" y="476907"/>
                        <a:pt x="275605" y="531289"/>
                        <a:pt x="361235" y="577156"/>
                      </a:cubicBezTo>
                      <a:cubicBezTo>
                        <a:pt x="459476" y="629691"/>
                        <a:pt x="474497" y="737330"/>
                        <a:pt x="453853" y="797014"/>
                      </a:cubicBezTo>
                      <a:cubicBezTo>
                        <a:pt x="449515" y="809465"/>
                        <a:pt x="449515" y="809465"/>
                        <a:pt x="473453" y="859108"/>
                      </a:cubicBezTo>
                      <a:cubicBezTo>
                        <a:pt x="473212" y="859590"/>
                        <a:pt x="472891" y="860232"/>
                        <a:pt x="472650" y="860634"/>
                      </a:cubicBezTo>
                      <a:cubicBezTo>
                        <a:pt x="484056" y="861276"/>
                        <a:pt x="485583" y="861116"/>
                        <a:pt x="492973" y="860473"/>
                      </a:cubicBezTo>
                      <a:cubicBezTo>
                        <a:pt x="491768" y="861036"/>
                        <a:pt x="490242" y="861679"/>
                        <a:pt x="489037" y="862240"/>
                      </a:cubicBezTo>
                      <a:cubicBezTo>
                        <a:pt x="491366" y="864088"/>
                        <a:pt x="494178" y="866980"/>
                        <a:pt x="496025" y="869309"/>
                      </a:cubicBezTo>
                      <a:cubicBezTo>
                        <a:pt x="494740" y="868908"/>
                        <a:pt x="492973" y="868345"/>
                        <a:pt x="491688" y="867944"/>
                      </a:cubicBezTo>
                      <a:cubicBezTo>
                        <a:pt x="492973" y="878868"/>
                        <a:pt x="500042" y="888427"/>
                        <a:pt x="499158" y="899834"/>
                      </a:cubicBezTo>
                      <a:cubicBezTo>
                        <a:pt x="501970" y="900557"/>
                        <a:pt x="505584" y="901843"/>
                        <a:pt x="508155" y="903047"/>
                      </a:cubicBezTo>
                      <a:cubicBezTo>
                        <a:pt x="502452" y="902967"/>
                        <a:pt x="502452" y="902967"/>
                        <a:pt x="495383" y="907064"/>
                      </a:cubicBezTo>
                      <a:cubicBezTo>
                        <a:pt x="494740" y="905859"/>
                        <a:pt x="493937" y="904252"/>
                        <a:pt x="493294" y="903128"/>
                      </a:cubicBezTo>
                      <a:cubicBezTo>
                        <a:pt x="487270" y="904011"/>
                        <a:pt x="487270" y="904011"/>
                        <a:pt x="481004" y="909955"/>
                      </a:cubicBezTo>
                      <a:cubicBezTo>
                        <a:pt x="490242" y="912445"/>
                        <a:pt x="517633" y="931082"/>
                        <a:pt x="517874" y="931242"/>
                      </a:cubicBezTo>
                      <a:cubicBezTo>
                        <a:pt x="514099" y="930760"/>
                        <a:pt x="514099" y="930760"/>
                        <a:pt x="501809" y="928511"/>
                      </a:cubicBezTo>
                      <a:cubicBezTo>
                        <a:pt x="503817" y="930841"/>
                        <a:pt x="507271" y="933331"/>
                        <a:pt x="510163" y="934456"/>
                      </a:cubicBezTo>
                      <a:cubicBezTo>
                        <a:pt x="511047" y="937749"/>
                        <a:pt x="513697" y="941765"/>
                        <a:pt x="516027" y="944336"/>
                      </a:cubicBezTo>
                      <a:cubicBezTo>
                        <a:pt x="516911" y="943372"/>
                        <a:pt x="518035" y="942086"/>
                        <a:pt x="518919" y="941203"/>
                      </a:cubicBezTo>
                      <a:cubicBezTo>
                        <a:pt x="519883" y="943773"/>
                        <a:pt x="522534" y="946665"/>
                        <a:pt x="524863" y="948031"/>
                      </a:cubicBezTo>
                      <a:cubicBezTo>
                        <a:pt x="523337" y="947870"/>
                        <a:pt x="521248" y="947709"/>
                        <a:pt x="519642" y="947549"/>
                      </a:cubicBezTo>
                      <a:cubicBezTo>
                        <a:pt x="521570" y="948915"/>
                        <a:pt x="524060" y="950842"/>
                        <a:pt x="526068" y="952127"/>
                      </a:cubicBezTo>
                      <a:cubicBezTo>
                        <a:pt x="524702" y="951967"/>
                        <a:pt x="522774" y="951726"/>
                        <a:pt x="521409" y="951485"/>
                      </a:cubicBezTo>
                      <a:cubicBezTo>
                        <a:pt x="522774" y="953895"/>
                        <a:pt x="525988" y="956546"/>
                        <a:pt x="528638" y="957429"/>
                      </a:cubicBezTo>
                      <a:cubicBezTo>
                        <a:pt x="528076" y="957349"/>
                        <a:pt x="527353" y="957269"/>
                        <a:pt x="526791" y="957188"/>
                      </a:cubicBezTo>
                      <a:cubicBezTo>
                        <a:pt x="523979" y="956706"/>
                        <a:pt x="520284" y="956385"/>
                        <a:pt x="517473" y="956305"/>
                      </a:cubicBezTo>
                      <a:cubicBezTo>
                        <a:pt x="517633" y="956465"/>
                        <a:pt x="538840" y="971969"/>
                        <a:pt x="554022" y="975262"/>
                      </a:cubicBezTo>
                      <a:cubicBezTo>
                        <a:pt x="552496" y="973736"/>
                        <a:pt x="550488" y="971648"/>
                        <a:pt x="548961" y="970041"/>
                      </a:cubicBezTo>
                      <a:cubicBezTo>
                        <a:pt x="557315" y="973977"/>
                        <a:pt x="557315" y="973977"/>
                        <a:pt x="563179" y="977431"/>
                      </a:cubicBezTo>
                      <a:cubicBezTo>
                        <a:pt x="559484" y="978395"/>
                        <a:pt x="559484" y="978395"/>
                        <a:pt x="543981" y="975664"/>
                      </a:cubicBezTo>
                      <a:cubicBezTo>
                        <a:pt x="544463" y="977029"/>
                        <a:pt x="545025" y="978877"/>
                        <a:pt x="545507" y="980242"/>
                      </a:cubicBezTo>
                      <a:cubicBezTo>
                        <a:pt x="550889" y="982652"/>
                        <a:pt x="550889" y="982652"/>
                        <a:pt x="558922" y="982732"/>
                      </a:cubicBezTo>
                      <a:cubicBezTo>
                        <a:pt x="557557" y="983295"/>
                        <a:pt x="555629" y="984098"/>
                        <a:pt x="554263" y="984741"/>
                      </a:cubicBezTo>
                      <a:cubicBezTo>
                        <a:pt x="563661" y="987070"/>
                        <a:pt x="573220" y="983054"/>
                        <a:pt x="582539" y="985464"/>
                      </a:cubicBezTo>
                      <a:cubicBezTo>
                        <a:pt x="573702" y="985544"/>
                        <a:pt x="573140" y="985625"/>
                        <a:pt x="566794" y="986508"/>
                      </a:cubicBezTo>
                      <a:cubicBezTo>
                        <a:pt x="568240" y="989400"/>
                        <a:pt x="572016" y="992212"/>
                        <a:pt x="574907" y="993497"/>
                      </a:cubicBezTo>
                      <a:cubicBezTo>
                        <a:pt x="577558" y="991970"/>
                        <a:pt x="581253" y="990042"/>
                        <a:pt x="584065" y="988757"/>
                      </a:cubicBezTo>
                      <a:cubicBezTo>
                        <a:pt x="584547" y="990203"/>
                        <a:pt x="585189" y="992131"/>
                        <a:pt x="585671" y="993577"/>
                      </a:cubicBezTo>
                      <a:cubicBezTo>
                        <a:pt x="595311" y="991408"/>
                        <a:pt x="595311" y="991408"/>
                        <a:pt x="606557" y="976547"/>
                      </a:cubicBezTo>
                      <a:cubicBezTo>
                        <a:pt x="606316" y="975102"/>
                        <a:pt x="606075" y="973174"/>
                        <a:pt x="605834" y="971727"/>
                      </a:cubicBezTo>
                      <a:cubicBezTo>
                        <a:pt x="604548" y="971406"/>
                        <a:pt x="602861" y="971005"/>
                        <a:pt x="601657" y="970683"/>
                      </a:cubicBezTo>
                      <a:cubicBezTo>
                        <a:pt x="603665" y="968836"/>
                        <a:pt x="605834" y="965623"/>
                        <a:pt x="606717" y="963052"/>
                      </a:cubicBezTo>
                      <a:cubicBezTo>
                        <a:pt x="605673" y="962249"/>
                        <a:pt x="604227" y="961285"/>
                        <a:pt x="603183" y="960482"/>
                      </a:cubicBezTo>
                      <a:cubicBezTo>
                        <a:pt x="610493" y="948995"/>
                        <a:pt x="624952" y="948031"/>
                        <a:pt x="634350" y="939596"/>
                      </a:cubicBezTo>
                      <a:cubicBezTo>
                        <a:pt x="624470" y="936464"/>
                        <a:pt x="577799" y="919032"/>
                        <a:pt x="629289" y="885857"/>
                      </a:cubicBezTo>
                      <a:cubicBezTo>
                        <a:pt x="626398" y="885375"/>
                        <a:pt x="622542" y="884572"/>
                        <a:pt x="619650" y="883929"/>
                      </a:cubicBezTo>
                      <a:cubicBezTo>
                        <a:pt x="625514" y="883367"/>
                        <a:pt x="631458" y="883126"/>
                        <a:pt x="637322" y="882082"/>
                      </a:cubicBezTo>
                      <a:cubicBezTo>
                        <a:pt x="609288" y="865213"/>
                        <a:pt x="609288" y="865213"/>
                        <a:pt x="609207" y="864972"/>
                      </a:cubicBezTo>
                      <a:cubicBezTo>
                        <a:pt x="621819" y="856939"/>
                        <a:pt x="636358" y="868105"/>
                        <a:pt x="649130" y="861036"/>
                      </a:cubicBezTo>
                      <a:cubicBezTo>
                        <a:pt x="650014" y="857100"/>
                        <a:pt x="648889" y="851477"/>
                        <a:pt x="647363" y="847781"/>
                      </a:cubicBezTo>
                      <a:cubicBezTo>
                        <a:pt x="648006" y="847781"/>
                        <a:pt x="648809" y="847781"/>
                        <a:pt x="649452" y="847781"/>
                      </a:cubicBezTo>
                      <a:cubicBezTo>
                        <a:pt x="724317" y="837419"/>
                        <a:pt x="733957" y="819426"/>
                        <a:pt x="689214" y="773800"/>
                      </a:cubicBezTo>
                      <a:cubicBezTo>
                        <a:pt x="752673" y="817658"/>
                        <a:pt x="784804" y="788981"/>
                        <a:pt x="810108" y="751388"/>
                      </a:cubicBezTo>
                      <a:cubicBezTo>
                        <a:pt x="810590" y="751629"/>
                        <a:pt x="811232" y="751950"/>
                        <a:pt x="811714" y="752111"/>
                      </a:cubicBezTo>
                      <a:cubicBezTo>
                        <a:pt x="811714" y="750665"/>
                        <a:pt x="811714" y="748657"/>
                        <a:pt x="811795" y="747131"/>
                      </a:cubicBezTo>
                      <a:cubicBezTo>
                        <a:pt x="813722" y="747532"/>
                        <a:pt x="816213" y="748014"/>
                        <a:pt x="818140" y="748335"/>
                      </a:cubicBezTo>
                      <a:cubicBezTo>
                        <a:pt x="818703" y="749781"/>
                        <a:pt x="819506" y="751629"/>
                        <a:pt x="820149" y="753075"/>
                      </a:cubicBezTo>
                      <a:cubicBezTo>
                        <a:pt x="815891" y="759260"/>
                        <a:pt x="815891" y="759260"/>
                        <a:pt x="808501" y="763919"/>
                      </a:cubicBezTo>
                      <a:cubicBezTo>
                        <a:pt x="845693" y="740705"/>
                        <a:pt x="855975" y="723193"/>
                        <a:pt x="847781" y="697006"/>
                      </a:cubicBezTo>
                      <a:cubicBezTo>
                        <a:pt x="848986" y="696203"/>
                        <a:pt x="850513" y="695078"/>
                        <a:pt x="851718" y="694275"/>
                      </a:cubicBezTo>
                      <a:cubicBezTo>
                        <a:pt x="850593" y="693552"/>
                        <a:pt x="848986" y="692668"/>
                        <a:pt x="847862" y="691945"/>
                      </a:cubicBezTo>
                      <a:cubicBezTo>
                        <a:pt x="849950" y="691624"/>
                        <a:pt x="852842" y="691222"/>
                        <a:pt x="855011" y="691303"/>
                      </a:cubicBezTo>
                      <a:cubicBezTo>
                        <a:pt x="856296" y="690580"/>
                        <a:pt x="858063" y="689696"/>
                        <a:pt x="859349" y="689053"/>
                      </a:cubicBezTo>
                      <a:cubicBezTo>
                        <a:pt x="859268" y="688411"/>
                        <a:pt x="859188" y="687607"/>
                        <a:pt x="859108" y="686965"/>
                      </a:cubicBezTo>
                      <a:cubicBezTo>
                        <a:pt x="902967" y="667285"/>
                        <a:pt x="953734" y="663831"/>
                        <a:pt x="991809" y="630494"/>
                      </a:cubicBezTo>
                      <a:cubicBezTo>
                        <a:pt x="1022334" y="603745"/>
                        <a:pt x="1016711" y="566794"/>
                        <a:pt x="1014301" y="550969"/>
                      </a:cubicBezTo>
                      <a:cubicBezTo>
                        <a:pt x="1014060" y="551291"/>
                        <a:pt x="1013819" y="551773"/>
                        <a:pt x="1013578" y="552094"/>
                      </a:cubicBezTo>
                      <a:cubicBezTo>
                        <a:pt x="1008116" y="532012"/>
                        <a:pt x="1033580" y="530486"/>
                        <a:pt x="1042095" y="518356"/>
                      </a:cubicBezTo>
                      <a:cubicBezTo>
                        <a:pt x="1049887" y="509520"/>
                        <a:pt x="1064667" y="508797"/>
                        <a:pt x="1068924" y="495784"/>
                      </a:cubicBezTo>
                      <a:moveTo>
                        <a:pt x="161138" y="229497"/>
                      </a:moveTo>
                      <a:cubicBezTo>
                        <a:pt x="161138" y="229497"/>
                        <a:pt x="161138" y="229417"/>
                        <a:pt x="161138" y="229417"/>
                      </a:cubicBezTo>
                      <a:cubicBezTo>
                        <a:pt x="161218" y="229417"/>
                        <a:pt x="161138" y="229497"/>
                        <a:pt x="161138" y="229497"/>
                      </a:cubicBezTo>
                      <a:cubicBezTo>
                        <a:pt x="160736" y="229899"/>
                        <a:pt x="160495" y="230300"/>
                        <a:pt x="160174" y="230782"/>
                      </a:cubicBezTo>
                      <a:cubicBezTo>
                        <a:pt x="160254" y="231023"/>
                        <a:pt x="160415" y="231345"/>
                        <a:pt x="161138" y="229497"/>
                      </a:cubicBezTo>
                      <a:moveTo>
                        <a:pt x="346615" y="191181"/>
                      </a:moveTo>
                      <a:cubicBezTo>
                        <a:pt x="346615" y="191181"/>
                        <a:pt x="346133" y="191261"/>
                        <a:pt x="345330" y="191181"/>
                      </a:cubicBezTo>
                      <a:cubicBezTo>
                        <a:pt x="344205" y="191020"/>
                        <a:pt x="343241" y="190699"/>
                        <a:pt x="342278" y="189895"/>
                      </a:cubicBezTo>
                      <a:cubicBezTo>
                        <a:pt x="343723" y="189172"/>
                        <a:pt x="345089" y="189413"/>
                        <a:pt x="347017" y="190699"/>
                      </a:cubicBezTo>
                      <a:cubicBezTo>
                        <a:pt x="346856" y="190779"/>
                        <a:pt x="346776" y="191020"/>
                        <a:pt x="346615" y="191181"/>
                      </a:cubicBezTo>
                      <a:moveTo>
                        <a:pt x="396901" y="195518"/>
                      </a:moveTo>
                      <a:cubicBezTo>
                        <a:pt x="400355" y="188851"/>
                        <a:pt x="387181" y="187004"/>
                        <a:pt x="378425" y="185799"/>
                      </a:cubicBezTo>
                      <a:cubicBezTo>
                        <a:pt x="380112" y="184915"/>
                        <a:pt x="382201" y="184513"/>
                        <a:pt x="385012" y="184353"/>
                      </a:cubicBezTo>
                      <a:cubicBezTo>
                        <a:pt x="358423" y="175115"/>
                        <a:pt x="348864" y="173107"/>
                        <a:pt x="338743" y="172464"/>
                      </a:cubicBezTo>
                      <a:cubicBezTo>
                        <a:pt x="329505" y="172705"/>
                        <a:pt x="326373" y="174713"/>
                        <a:pt x="325248" y="181059"/>
                      </a:cubicBezTo>
                      <a:cubicBezTo>
                        <a:pt x="318741" y="183871"/>
                        <a:pt x="307817" y="188530"/>
                        <a:pt x="316010" y="192305"/>
                      </a:cubicBezTo>
                      <a:cubicBezTo>
                        <a:pt x="326935" y="197446"/>
                        <a:pt x="369348" y="197848"/>
                        <a:pt x="394732" y="198089"/>
                      </a:cubicBezTo>
                      <a:cubicBezTo>
                        <a:pt x="395374" y="197286"/>
                        <a:pt x="396419" y="196402"/>
                        <a:pt x="396901" y="195518"/>
                      </a:cubicBezTo>
                      <a:moveTo>
                        <a:pt x="80" y="70126"/>
                      </a:moveTo>
                      <a:cubicBezTo>
                        <a:pt x="161" y="69403"/>
                        <a:pt x="80" y="68761"/>
                        <a:pt x="80" y="68359"/>
                      </a:cubicBezTo>
                      <a:cubicBezTo>
                        <a:pt x="80" y="68359"/>
                        <a:pt x="80" y="68439"/>
                        <a:pt x="80" y="68439"/>
                      </a:cubicBezTo>
                      <a:cubicBezTo>
                        <a:pt x="80" y="69323"/>
                        <a:pt x="0" y="70287"/>
                        <a:pt x="0" y="71170"/>
                      </a:cubicBezTo>
                      <a:cubicBezTo>
                        <a:pt x="80" y="70769"/>
                        <a:pt x="80" y="70448"/>
                        <a:pt x="80" y="70126"/>
                      </a:cubicBezTo>
                      <a:moveTo>
                        <a:pt x="299463" y="162905"/>
                      </a:moveTo>
                      <a:cubicBezTo>
                        <a:pt x="299543" y="162343"/>
                        <a:pt x="299623" y="161620"/>
                        <a:pt x="299623" y="161058"/>
                      </a:cubicBezTo>
                      <a:cubicBezTo>
                        <a:pt x="297856" y="159772"/>
                        <a:pt x="295286" y="158407"/>
                        <a:pt x="293277" y="157523"/>
                      </a:cubicBezTo>
                      <a:lnTo>
                        <a:pt x="260343" y="144590"/>
                      </a:lnTo>
                      <a:cubicBezTo>
                        <a:pt x="260504" y="144349"/>
                        <a:pt x="260745" y="144108"/>
                        <a:pt x="260905" y="143867"/>
                      </a:cubicBezTo>
                      <a:cubicBezTo>
                        <a:pt x="259379" y="142823"/>
                        <a:pt x="259299" y="142823"/>
                        <a:pt x="256809" y="140895"/>
                      </a:cubicBezTo>
                      <a:cubicBezTo>
                        <a:pt x="255684" y="141859"/>
                        <a:pt x="254720" y="142421"/>
                        <a:pt x="253033" y="140333"/>
                      </a:cubicBezTo>
                      <a:cubicBezTo>
                        <a:pt x="253836" y="140413"/>
                        <a:pt x="254640" y="140574"/>
                        <a:pt x="255523" y="140413"/>
                      </a:cubicBezTo>
                      <a:cubicBezTo>
                        <a:pt x="255282" y="139690"/>
                        <a:pt x="255282" y="139690"/>
                        <a:pt x="249418" y="135995"/>
                      </a:cubicBezTo>
                      <a:cubicBezTo>
                        <a:pt x="249820" y="136397"/>
                        <a:pt x="250382" y="137040"/>
                        <a:pt x="250784" y="137441"/>
                      </a:cubicBezTo>
                      <a:cubicBezTo>
                        <a:pt x="236727" y="131015"/>
                        <a:pt x="228131" y="126436"/>
                        <a:pt x="215440" y="118323"/>
                      </a:cubicBezTo>
                      <a:cubicBezTo>
                        <a:pt x="215600" y="118162"/>
                        <a:pt x="215761" y="117841"/>
                        <a:pt x="215841" y="117680"/>
                      </a:cubicBezTo>
                      <a:cubicBezTo>
                        <a:pt x="191582" y="109808"/>
                        <a:pt x="191582" y="109808"/>
                        <a:pt x="184835" y="109166"/>
                      </a:cubicBezTo>
                      <a:cubicBezTo>
                        <a:pt x="156479" y="107639"/>
                        <a:pt x="149812" y="111094"/>
                        <a:pt x="148205" y="117118"/>
                      </a:cubicBezTo>
                      <a:cubicBezTo>
                        <a:pt x="170135" y="112298"/>
                        <a:pt x="180256" y="115190"/>
                        <a:pt x="182585" y="117359"/>
                      </a:cubicBezTo>
                      <a:cubicBezTo>
                        <a:pt x="187486" y="121938"/>
                        <a:pt x="191823" y="123384"/>
                        <a:pt x="195518" y="121456"/>
                      </a:cubicBezTo>
                      <a:cubicBezTo>
                        <a:pt x="198490" y="126436"/>
                        <a:pt x="203230" y="125874"/>
                        <a:pt x="204595" y="125633"/>
                      </a:cubicBezTo>
                      <a:cubicBezTo>
                        <a:pt x="205077" y="125553"/>
                        <a:pt x="251587" y="137120"/>
                        <a:pt x="247250" y="160736"/>
                      </a:cubicBezTo>
                      <a:cubicBezTo>
                        <a:pt x="261709" y="162262"/>
                        <a:pt x="267733" y="162905"/>
                        <a:pt x="287494" y="164833"/>
                      </a:cubicBezTo>
                      <a:cubicBezTo>
                        <a:pt x="287655" y="165235"/>
                        <a:pt x="287815" y="165717"/>
                        <a:pt x="287895" y="166118"/>
                      </a:cubicBezTo>
                      <a:cubicBezTo>
                        <a:pt x="291350" y="165556"/>
                        <a:pt x="296169" y="164512"/>
                        <a:pt x="299463" y="162905"/>
                      </a:cubicBezTo>
                    </a:path>
                  </a:pathLst>
                </a:custGeom>
                <a:solidFill>
                  <a:srgbClr val="29AAE1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44" name="Group 743">
              <a:extLst>
                <a:ext uri="{FF2B5EF4-FFF2-40B4-BE49-F238E27FC236}">
                  <a16:creationId xmlns:a16="http://schemas.microsoft.com/office/drawing/2014/main" id="{087FE4F2-6126-1C4A-0304-A76468EC0B07}"/>
                </a:ext>
              </a:extLst>
            </p:cNvPr>
            <p:cNvGrpSpPr/>
            <p:nvPr/>
          </p:nvGrpSpPr>
          <p:grpSpPr>
            <a:xfrm>
              <a:off x="-5318871" y="3726311"/>
              <a:ext cx="324043" cy="731948"/>
              <a:chOff x="-5318871" y="3726311"/>
              <a:chExt cx="324043" cy="731948"/>
            </a:xfrm>
          </p:grpSpPr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F2CAE749-C476-89D3-EFF7-06081156B537}"/>
                  </a:ext>
                </a:extLst>
              </p:cNvPr>
              <p:cNvSpPr/>
              <p:nvPr/>
            </p:nvSpPr>
            <p:spPr>
              <a:xfrm>
                <a:off x="-5318871" y="4371666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22788043-91D0-6F00-51BF-7CE66820F7C6}"/>
                  </a:ext>
                </a:extLst>
              </p:cNvPr>
              <p:cNvSpPr/>
              <p:nvPr/>
            </p:nvSpPr>
            <p:spPr>
              <a:xfrm>
                <a:off x="-5318871" y="3768162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C36A0866-7E4E-F67A-A129-203468ED04D8}"/>
                  </a:ext>
                </a:extLst>
              </p:cNvPr>
              <p:cNvSpPr/>
              <p:nvPr/>
            </p:nvSpPr>
            <p:spPr>
              <a:xfrm>
                <a:off x="-5318871" y="3822142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834CFF19-F36D-7597-BB0C-72A3C5D0FBC4}"/>
                  </a:ext>
                </a:extLst>
              </p:cNvPr>
              <p:cNvSpPr/>
              <p:nvPr/>
            </p:nvSpPr>
            <p:spPr>
              <a:xfrm>
                <a:off x="-5318871" y="387612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5EBEED16-6AA1-6D93-E732-6C6E52E3AE10}"/>
                  </a:ext>
                </a:extLst>
              </p:cNvPr>
              <p:cNvSpPr/>
              <p:nvPr/>
            </p:nvSpPr>
            <p:spPr>
              <a:xfrm>
                <a:off x="-5318871" y="393018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EC727783-71DA-4397-9DB7-E90D33165BEA}"/>
                  </a:ext>
                </a:extLst>
              </p:cNvPr>
              <p:cNvSpPr/>
              <p:nvPr/>
            </p:nvSpPr>
            <p:spPr>
              <a:xfrm>
                <a:off x="-5318871" y="39841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FE57B001-55CE-8CDE-22BE-AD666C5D2A40}"/>
                  </a:ext>
                </a:extLst>
              </p:cNvPr>
              <p:cNvSpPr/>
              <p:nvPr/>
            </p:nvSpPr>
            <p:spPr>
              <a:xfrm>
                <a:off x="-5318871" y="403814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8" name="Freeform: Shape 437">
                <a:extLst>
                  <a:ext uri="{FF2B5EF4-FFF2-40B4-BE49-F238E27FC236}">
                    <a16:creationId xmlns:a16="http://schemas.microsoft.com/office/drawing/2014/main" id="{CEBD4778-B7AD-D1B2-8FCF-CD597FD34BD2}"/>
                  </a:ext>
                </a:extLst>
              </p:cNvPr>
              <p:cNvSpPr/>
              <p:nvPr/>
            </p:nvSpPr>
            <p:spPr>
              <a:xfrm>
                <a:off x="-5318871" y="409220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9" name="Freeform: Shape 438">
                <a:extLst>
                  <a:ext uri="{FF2B5EF4-FFF2-40B4-BE49-F238E27FC236}">
                    <a16:creationId xmlns:a16="http://schemas.microsoft.com/office/drawing/2014/main" id="{CE5AC18C-2040-BC1D-A8F7-E99CC24124EC}"/>
                  </a:ext>
                </a:extLst>
              </p:cNvPr>
              <p:cNvSpPr/>
              <p:nvPr/>
            </p:nvSpPr>
            <p:spPr>
              <a:xfrm>
                <a:off x="-5318871" y="414618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CBD517B4-4F0B-B45F-9009-9D356922A709}"/>
                  </a:ext>
                </a:extLst>
              </p:cNvPr>
              <p:cNvSpPr/>
              <p:nvPr/>
            </p:nvSpPr>
            <p:spPr>
              <a:xfrm>
                <a:off x="-5318871" y="420016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34A6878C-2FD4-B823-6675-A657040313C5}"/>
                  </a:ext>
                </a:extLst>
              </p:cNvPr>
              <p:cNvSpPr/>
              <p:nvPr/>
            </p:nvSpPr>
            <p:spPr>
              <a:xfrm>
                <a:off x="-5318871" y="425422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1E3296E6-C06C-C05F-B3B7-5F26E92BBF2E}"/>
                  </a:ext>
                </a:extLst>
              </p:cNvPr>
              <p:cNvSpPr/>
              <p:nvPr/>
            </p:nvSpPr>
            <p:spPr>
              <a:xfrm>
                <a:off x="-5318871" y="430820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0989E48C-96E0-6112-9B46-F74991F1DC13}"/>
                  </a:ext>
                </a:extLst>
              </p:cNvPr>
              <p:cNvSpPr/>
              <p:nvPr/>
            </p:nvSpPr>
            <p:spPr>
              <a:xfrm>
                <a:off x="-5318871" y="436218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45250CC5-4FE6-4412-FA56-72E6BA5A900F}"/>
                  </a:ext>
                </a:extLst>
              </p:cNvPr>
              <p:cNvSpPr/>
              <p:nvPr/>
            </p:nvSpPr>
            <p:spPr>
              <a:xfrm>
                <a:off x="-5073228" y="3768162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7 h 690097"/>
                  <a:gd name="connsiteX3" fmla="*/ 0 w 78400"/>
                  <a:gd name="connsiteY3" fmla="*/ 690097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7"/>
                    </a:lnTo>
                    <a:lnTo>
                      <a:pt x="0" y="690097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6" name="Freeform: Shape 445">
                <a:extLst>
                  <a:ext uri="{FF2B5EF4-FFF2-40B4-BE49-F238E27FC236}">
                    <a16:creationId xmlns:a16="http://schemas.microsoft.com/office/drawing/2014/main" id="{2D1C0CA0-F015-923D-8587-4E1A2CEEC256}"/>
                  </a:ext>
                </a:extLst>
              </p:cNvPr>
              <p:cNvSpPr/>
              <p:nvPr/>
            </p:nvSpPr>
            <p:spPr>
              <a:xfrm>
                <a:off x="-5318871" y="3726311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7" name="Freeform: Shape 446">
                <a:extLst>
                  <a:ext uri="{FF2B5EF4-FFF2-40B4-BE49-F238E27FC236}">
                    <a16:creationId xmlns:a16="http://schemas.microsoft.com/office/drawing/2014/main" id="{0DF625B7-D589-D784-93D7-49F443C1455A}"/>
                  </a:ext>
                </a:extLst>
              </p:cNvPr>
              <p:cNvSpPr/>
              <p:nvPr/>
            </p:nvSpPr>
            <p:spPr>
              <a:xfrm>
                <a:off x="-5318871" y="376816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3" name="Group 742">
              <a:extLst>
                <a:ext uri="{FF2B5EF4-FFF2-40B4-BE49-F238E27FC236}">
                  <a16:creationId xmlns:a16="http://schemas.microsoft.com/office/drawing/2014/main" id="{5980F889-F7C9-0638-8546-D160590A4B6F}"/>
                </a:ext>
              </a:extLst>
            </p:cNvPr>
            <p:cNvGrpSpPr/>
            <p:nvPr/>
          </p:nvGrpSpPr>
          <p:grpSpPr>
            <a:xfrm>
              <a:off x="-3309547" y="3726311"/>
              <a:ext cx="324043" cy="731948"/>
              <a:chOff x="-3309547" y="3726311"/>
              <a:chExt cx="324043" cy="731948"/>
            </a:xfrm>
          </p:grpSpPr>
          <p:sp>
            <p:nvSpPr>
              <p:cNvPr id="449" name="Freeform: Shape 448">
                <a:extLst>
                  <a:ext uri="{FF2B5EF4-FFF2-40B4-BE49-F238E27FC236}">
                    <a16:creationId xmlns:a16="http://schemas.microsoft.com/office/drawing/2014/main" id="{E2A4586F-3C32-549F-2FE3-2E07E1B21D7F}"/>
                  </a:ext>
                </a:extLst>
              </p:cNvPr>
              <p:cNvSpPr/>
              <p:nvPr/>
            </p:nvSpPr>
            <p:spPr>
              <a:xfrm>
                <a:off x="-3309547" y="4371666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1 w 324043"/>
                  <a:gd name="connsiteY1" fmla="*/ 83702 h 83701"/>
                  <a:gd name="connsiteX2" fmla="*/ 0 w 324043"/>
                  <a:gd name="connsiteY2" fmla="*/ 41851 h 83701"/>
                  <a:gd name="connsiteX3" fmla="*/ 162021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3" y="83702"/>
                      <a:pt x="162021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8"/>
                      <a:pt x="72539" y="0"/>
                      <a:pt x="162021" y="0"/>
                    </a:cubicBezTo>
                    <a:cubicBezTo>
                      <a:pt x="251503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0" name="Freeform: Shape 449">
                <a:extLst>
                  <a:ext uri="{FF2B5EF4-FFF2-40B4-BE49-F238E27FC236}">
                    <a16:creationId xmlns:a16="http://schemas.microsoft.com/office/drawing/2014/main" id="{E0C5DB8B-EFA1-4D58-5155-7946CB8C0411}"/>
                  </a:ext>
                </a:extLst>
              </p:cNvPr>
              <p:cNvSpPr/>
              <p:nvPr/>
            </p:nvSpPr>
            <p:spPr>
              <a:xfrm>
                <a:off x="-3309547" y="3768162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7906C4A0-1F27-F343-A4B2-1107E57BE282}"/>
                  </a:ext>
                </a:extLst>
              </p:cNvPr>
              <p:cNvSpPr/>
              <p:nvPr/>
            </p:nvSpPr>
            <p:spPr>
              <a:xfrm>
                <a:off x="-3309547" y="3822142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2" name="Freeform: Shape 451">
                <a:extLst>
                  <a:ext uri="{FF2B5EF4-FFF2-40B4-BE49-F238E27FC236}">
                    <a16:creationId xmlns:a16="http://schemas.microsoft.com/office/drawing/2014/main" id="{0C4C7B42-4E33-69E5-1E14-62591F68409C}"/>
                  </a:ext>
                </a:extLst>
              </p:cNvPr>
              <p:cNvSpPr/>
              <p:nvPr/>
            </p:nvSpPr>
            <p:spPr>
              <a:xfrm>
                <a:off x="-3309547" y="387612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3" name="Freeform: Shape 452">
                <a:extLst>
                  <a:ext uri="{FF2B5EF4-FFF2-40B4-BE49-F238E27FC236}">
                    <a16:creationId xmlns:a16="http://schemas.microsoft.com/office/drawing/2014/main" id="{E21F76A7-CB18-DCA3-2B99-4D1E29935CF1}"/>
                  </a:ext>
                </a:extLst>
              </p:cNvPr>
              <p:cNvSpPr/>
              <p:nvPr/>
            </p:nvSpPr>
            <p:spPr>
              <a:xfrm>
                <a:off x="-3309547" y="393018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1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4" name="Freeform: Shape 453">
                <a:extLst>
                  <a:ext uri="{FF2B5EF4-FFF2-40B4-BE49-F238E27FC236}">
                    <a16:creationId xmlns:a16="http://schemas.microsoft.com/office/drawing/2014/main" id="{449A8A2C-779B-5357-BB42-9A98406DE6AA}"/>
                  </a:ext>
                </a:extLst>
              </p:cNvPr>
              <p:cNvSpPr/>
              <p:nvPr/>
            </p:nvSpPr>
            <p:spPr>
              <a:xfrm>
                <a:off x="-3309547" y="39841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5" name="Freeform: Shape 454">
                <a:extLst>
                  <a:ext uri="{FF2B5EF4-FFF2-40B4-BE49-F238E27FC236}">
                    <a16:creationId xmlns:a16="http://schemas.microsoft.com/office/drawing/2014/main" id="{76F825ED-25C2-4DCB-2B0A-FD7150974020}"/>
                  </a:ext>
                </a:extLst>
              </p:cNvPr>
              <p:cNvSpPr/>
              <p:nvPr/>
            </p:nvSpPr>
            <p:spPr>
              <a:xfrm>
                <a:off x="-3309547" y="403814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6" name="Freeform: Shape 455">
                <a:extLst>
                  <a:ext uri="{FF2B5EF4-FFF2-40B4-BE49-F238E27FC236}">
                    <a16:creationId xmlns:a16="http://schemas.microsoft.com/office/drawing/2014/main" id="{BD1A546E-BF71-045B-1805-A95CC5C1EAC0}"/>
                  </a:ext>
                </a:extLst>
              </p:cNvPr>
              <p:cNvSpPr/>
              <p:nvPr/>
            </p:nvSpPr>
            <p:spPr>
              <a:xfrm>
                <a:off x="-3309547" y="409220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7" name="Freeform: Shape 456">
                <a:extLst>
                  <a:ext uri="{FF2B5EF4-FFF2-40B4-BE49-F238E27FC236}">
                    <a16:creationId xmlns:a16="http://schemas.microsoft.com/office/drawing/2014/main" id="{69010746-596A-AC78-54E2-4FBA9F26152E}"/>
                  </a:ext>
                </a:extLst>
              </p:cNvPr>
              <p:cNvSpPr/>
              <p:nvPr/>
            </p:nvSpPr>
            <p:spPr>
              <a:xfrm>
                <a:off x="-3309547" y="414618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8" name="Freeform: Shape 457">
                <a:extLst>
                  <a:ext uri="{FF2B5EF4-FFF2-40B4-BE49-F238E27FC236}">
                    <a16:creationId xmlns:a16="http://schemas.microsoft.com/office/drawing/2014/main" id="{B0A57962-478E-16E6-A016-6B57DA74621B}"/>
                  </a:ext>
                </a:extLst>
              </p:cNvPr>
              <p:cNvSpPr/>
              <p:nvPr/>
            </p:nvSpPr>
            <p:spPr>
              <a:xfrm>
                <a:off x="-3309547" y="420016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9" name="Freeform: Shape 458">
                <a:extLst>
                  <a:ext uri="{FF2B5EF4-FFF2-40B4-BE49-F238E27FC236}">
                    <a16:creationId xmlns:a16="http://schemas.microsoft.com/office/drawing/2014/main" id="{EBE46885-3606-5D27-AE14-6C34634BA28D}"/>
                  </a:ext>
                </a:extLst>
              </p:cNvPr>
              <p:cNvSpPr/>
              <p:nvPr/>
            </p:nvSpPr>
            <p:spPr>
              <a:xfrm>
                <a:off x="-3309547" y="425422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0" name="Freeform: Shape 459">
                <a:extLst>
                  <a:ext uri="{FF2B5EF4-FFF2-40B4-BE49-F238E27FC236}">
                    <a16:creationId xmlns:a16="http://schemas.microsoft.com/office/drawing/2014/main" id="{DA913A0A-04FA-94BD-4391-8BB6D67EA7D4}"/>
                  </a:ext>
                </a:extLst>
              </p:cNvPr>
              <p:cNvSpPr/>
              <p:nvPr/>
            </p:nvSpPr>
            <p:spPr>
              <a:xfrm>
                <a:off x="-3309547" y="430820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1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1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1" name="Freeform: Shape 460">
                <a:extLst>
                  <a:ext uri="{FF2B5EF4-FFF2-40B4-BE49-F238E27FC236}">
                    <a16:creationId xmlns:a16="http://schemas.microsoft.com/office/drawing/2014/main" id="{011EE033-34D7-F643-516C-4264827C1774}"/>
                  </a:ext>
                </a:extLst>
              </p:cNvPr>
              <p:cNvSpPr/>
              <p:nvPr/>
            </p:nvSpPr>
            <p:spPr>
              <a:xfrm>
                <a:off x="-3309547" y="436218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2" name="Freeform: Shape 461">
                <a:extLst>
                  <a:ext uri="{FF2B5EF4-FFF2-40B4-BE49-F238E27FC236}">
                    <a16:creationId xmlns:a16="http://schemas.microsoft.com/office/drawing/2014/main" id="{B3A0531C-8021-F079-08EE-296137E0D7FC}"/>
                  </a:ext>
                </a:extLst>
              </p:cNvPr>
              <p:cNvSpPr/>
              <p:nvPr/>
            </p:nvSpPr>
            <p:spPr>
              <a:xfrm>
                <a:off x="-3063904" y="3768162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7 h 690097"/>
                  <a:gd name="connsiteX3" fmla="*/ 0 w 78400"/>
                  <a:gd name="connsiteY3" fmla="*/ 690097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7"/>
                    </a:lnTo>
                    <a:lnTo>
                      <a:pt x="0" y="690097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4" name="Freeform: Shape 463">
                <a:extLst>
                  <a:ext uri="{FF2B5EF4-FFF2-40B4-BE49-F238E27FC236}">
                    <a16:creationId xmlns:a16="http://schemas.microsoft.com/office/drawing/2014/main" id="{CE6384A4-73E3-4553-B78D-CB743B1106EA}"/>
                  </a:ext>
                </a:extLst>
              </p:cNvPr>
              <p:cNvSpPr/>
              <p:nvPr/>
            </p:nvSpPr>
            <p:spPr>
              <a:xfrm>
                <a:off x="-3309547" y="3726311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1 w 324043"/>
                  <a:gd name="connsiteY1" fmla="*/ 83702 h 83701"/>
                  <a:gd name="connsiteX2" fmla="*/ 0 w 324043"/>
                  <a:gd name="connsiteY2" fmla="*/ 41851 h 83701"/>
                  <a:gd name="connsiteX3" fmla="*/ 162021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3" y="83702"/>
                      <a:pt x="162021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1" y="0"/>
                    </a:cubicBezTo>
                    <a:cubicBezTo>
                      <a:pt x="251503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5" name="Freeform: Shape 464">
                <a:extLst>
                  <a:ext uri="{FF2B5EF4-FFF2-40B4-BE49-F238E27FC236}">
                    <a16:creationId xmlns:a16="http://schemas.microsoft.com/office/drawing/2014/main" id="{AE65E79F-28DF-CAAF-D988-064DCB59ED59}"/>
                  </a:ext>
                </a:extLst>
              </p:cNvPr>
              <p:cNvSpPr/>
              <p:nvPr/>
            </p:nvSpPr>
            <p:spPr>
              <a:xfrm>
                <a:off x="-3309547" y="376816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1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1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2" name="Group 741">
              <a:extLst>
                <a:ext uri="{FF2B5EF4-FFF2-40B4-BE49-F238E27FC236}">
                  <a16:creationId xmlns:a16="http://schemas.microsoft.com/office/drawing/2014/main" id="{F7861E19-07BB-3F06-F50E-2F2F702CB68F}"/>
                </a:ext>
              </a:extLst>
            </p:cNvPr>
            <p:cNvGrpSpPr/>
            <p:nvPr/>
          </p:nvGrpSpPr>
          <p:grpSpPr>
            <a:xfrm>
              <a:off x="-3431404" y="4198800"/>
              <a:ext cx="324043" cy="731948"/>
              <a:chOff x="-3431404" y="4198800"/>
              <a:chExt cx="324043" cy="731948"/>
            </a:xfrm>
          </p:grpSpPr>
          <p:sp>
            <p:nvSpPr>
              <p:cNvPr id="504" name="Freeform: Shape 503">
                <a:extLst>
                  <a:ext uri="{FF2B5EF4-FFF2-40B4-BE49-F238E27FC236}">
                    <a16:creationId xmlns:a16="http://schemas.microsoft.com/office/drawing/2014/main" id="{3BFBCEED-68F0-DBC6-3F8A-E0AC5C0C31D9}"/>
                  </a:ext>
                </a:extLst>
              </p:cNvPr>
              <p:cNvSpPr/>
              <p:nvPr/>
            </p:nvSpPr>
            <p:spPr>
              <a:xfrm>
                <a:off x="-3431404" y="4844155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1 w 324043"/>
                  <a:gd name="connsiteY1" fmla="*/ 83702 h 83701"/>
                  <a:gd name="connsiteX2" fmla="*/ 0 w 324043"/>
                  <a:gd name="connsiteY2" fmla="*/ 41851 h 83701"/>
                  <a:gd name="connsiteX3" fmla="*/ 162021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3" y="83702"/>
                      <a:pt x="162021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8"/>
                      <a:pt x="72539" y="0"/>
                      <a:pt x="162021" y="0"/>
                    </a:cubicBezTo>
                    <a:cubicBezTo>
                      <a:pt x="251503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5" name="Freeform: Shape 504">
                <a:extLst>
                  <a:ext uri="{FF2B5EF4-FFF2-40B4-BE49-F238E27FC236}">
                    <a16:creationId xmlns:a16="http://schemas.microsoft.com/office/drawing/2014/main" id="{8515B65A-AC5A-7489-FB34-06158276B877}"/>
                  </a:ext>
                </a:extLst>
              </p:cNvPr>
              <p:cNvSpPr/>
              <p:nvPr/>
            </p:nvSpPr>
            <p:spPr>
              <a:xfrm>
                <a:off x="-3431404" y="4240651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93F3D13B-BF91-6C74-8FC8-609D84C4D2B8}"/>
                  </a:ext>
                </a:extLst>
              </p:cNvPr>
              <p:cNvSpPr/>
              <p:nvPr/>
            </p:nvSpPr>
            <p:spPr>
              <a:xfrm>
                <a:off x="-3431404" y="4294711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7" name="Freeform: Shape 506">
                <a:extLst>
                  <a:ext uri="{FF2B5EF4-FFF2-40B4-BE49-F238E27FC236}">
                    <a16:creationId xmlns:a16="http://schemas.microsoft.com/office/drawing/2014/main" id="{2CDCDEAC-17F3-5770-650A-E6F7E25A651C}"/>
                  </a:ext>
                </a:extLst>
              </p:cNvPr>
              <p:cNvSpPr/>
              <p:nvPr/>
            </p:nvSpPr>
            <p:spPr>
              <a:xfrm>
                <a:off x="-3431404" y="434869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B329FFD6-0953-660E-EF45-F6D2231868EA}"/>
                  </a:ext>
                </a:extLst>
              </p:cNvPr>
              <p:cNvSpPr/>
              <p:nvPr/>
            </p:nvSpPr>
            <p:spPr>
              <a:xfrm>
                <a:off x="-3431404" y="440267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E74C6F95-D746-3EA3-2673-08DB839C6257}"/>
                  </a:ext>
                </a:extLst>
              </p:cNvPr>
              <p:cNvSpPr/>
              <p:nvPr/>
            </p:nvSpPr>
            <p:spPr>
              <a:xfrm>
                <a:off x="-3431404" y="445673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0" name="Freeform: Shape 509">
                <a:extLst>
                  <a:ext uri="{FF2B5EF4-FFF2-40B4-BE49-F238E27FC236}">
                    <a16:creationId xmlns:a16="http://schemas.microsoft.com/office/drawing/2014/main" id="{748D3094-7A9B-DD72-0703-789B92CC59A4}"/>
                  </a:ext>
                </a:extLst>
              </p:cNvPr>
              <p:cNvSpPr/>
              <p:nvPr/>
            </p:nvSpPr>
            <p:spPr>
              <a:xfrm>
                <a:off x="-3431404" y="451071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1" name="Freeform: Shape 510">
                <a:extLst>
                  <a:ext uri="{FF2B5EF4-FFF2-40B4-BE49-F238E27FC236}">
                    <a16:creationId xmlns:a16="http://schemas.microsoft.com/office/drawing/2014/main" id="{15BF1392-F48E-8AD7-A57E-27345D351CA3}"/>
                  </a:ext>
                </a:extLst>
              </p:cNvPr>
              <p:cNvSpPr/>
              <p:nvPr/>
            </p:nvSpPr>
            <p:spPr>
              <a:xfrm>
                <a:off x="-3431404" y="456469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2" name="Freeform: Shape 511">
                <a:extLst>
                  <a:ext uri="{FF2B5EF4-FFF2-40B4-BE49-F238E27FC236}">
                    <a16:creationId xmlns:a16="http://schemas.microsoft.com/office/drawing/2014/main" id="{26C9CD84-562E-47D7-7C2B-27507FEBB1A0}"/>
                  </a:ext>
                </a:extLst>
              </p:cNvPr>
              <p:cNvSpPr/>
              <p:nvPr/>
            </p:nvSpPr>
            <p:spPr>
              <a:xfrm>
                <a:off x="-3431404" y="461875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3" name="Freeform: Shape 512">
                <a:extLst>
                  <a:ext uri="{FF2B5EF4-FFF2-40B4-BE49-F238E27FC236}">
                    <a16:creationId xmlns:a16="http://schemas.microsoft.com/office/drawing/2014/main" id="{CF5031AF-C5AF-33C7-877F-8575A0F308C7}"/>
                  </a:ext>
                </a:extLst>
              </p:cNvPr>
              <p:cNvSpPr/>
              <p:nvPr/>
            </p:nvSpPr>
            <p:spPr>
              <a:xfrm>
                <a:off x="-3431404" y="467273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4" name="Freeform: Shape 513">
                <a:extLst>
                  <a:ext uri="{FF2B5EF4-FFF2-40B4-BE49-F238E27FC236}">
                    <a16:creationId xmlns:a16="http://schemas.microsoft.com/office/drawing/2014/main" id="{6D66062E-8374-7236-6DAE-5ED5C1CBABDB}"/>
                  </a:ext>
                </a:extLst>
              </p:cNvPr>
              <p:cNvSpPr/>
              <p:nvPr/>
            </p:nvSpPr>
            <p:spPr>
              <a:xfrm>
                <a:off x="-3431404" y="472671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5" name="Freeform: Shape 514">
                <a:extLst>
                  <a:ext uri="{FF2B5EF4-FFF2-40B4-BE49-F238E27FC236}">
                    <a16:creationId xmlns:a16="http://schemas.microsoft.com/office/drawing/2014/main" id="{8359C042-49A5-7560-6975-F6477709C8E6}"/>
                  </a:ext>
                </a:extLst>
              </p:cNvPr>
              <p:cNvSpPr/>
              <p:nvPr/>
            </p:nvSpPr>
            <p:spPr>
              <a:xfrm>
                <a:off x="-3431404" y="478069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6" name="Freeform: Shape 515">
                <a:extLst>
                  <a:ext uri="{FF2B5EF4-FFF2-40B4-BE49-F238E27FC236}">
                    <a16:creationId xmlns:a16="http://schemas.microsoft.com/office/drawing/2014/main" id="{DFB50D02-4A91-8B9F-2F15-C0DE9E736FEC}"/>
                  </a:ext>
                </a:extLst>
              </p:cNvPr>
              <p:cNvSpPr/>
              <p:nvPr/>
            </p:nvSpPr>
            <p:spPr>
              <a:xfrm>
                <a:off x="-3431404" y="483475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7" name="Freeform: Shape 516">
                <a:extLst>
                  <a:ext uri="{FF2B5EF4-FFF2-40B4-BE49-F238E27FC236}">
                    <a16:creationId xmlns:a16="http://schemas.microsoft.com/office/drawing/2014/main" id="{F3194448-7C15-B5FF-D19C-EFF758E637E5}"/>
                  </a:ext>
                </a:extLst>
              </p:cNvPr>
              <p:cNvSpPr/>
              <p:nvPr/>
            </p:nvSpPr>
            <p:spPr>
              <a:xfrm>
                <a:off x="-3185761" y="4240651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9" name="Freeform: Shape 518">
                <a:extLst>
                  <a:ext uri="{FF2B5EF4-FFF2-40B4-BE49-F238E27FC236}">
                    <a16:creationId xmlns:a16="http://schemas.microsoft.com/office/drawing/2014/main" id="{B2473126-A7B9-2F12-DD44-AB3C87DB514D}"/>
                  </a:ext>
                </a:extLst>
              </p:cNvPr>
              <p:cNvSpPr/>
              <p:nvPr/>
            </p:nvSpPr>
            <p:spPr>
              <a:xfrm>
                <a:off x="-3431404" y="4198800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1 w 324043"/>
                  <a:gd name="connsiteY1" fmla="*/ 83702 h 83701"/>
                  <a:gd name="connsiteX2" fmla="*/ 0 w 324043"/>
                  <a:gd name="connsiteY2" fmla="*/ 41851 h 83701"/>
                  <a:gd name="connsiteX3" fmla="*/ 162021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3" y="83702"/>
                      <a:pt x="162021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1" y="0"/>
                    </a:cubicBezTo>
                    <a:cubicBezTo>
                      <a:pt x="251503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0" name="Freeform: Shape 519">
                <a:extLst>
                  <a:ext uri="{FF2B5EF4-FFF2-40B4-BE49-F238E27FC236}">
                    <a16:creationId xmlns:a16="http://schemas.microsoft.com/office/drawing/2014/main" id="{9B5F25DA-F11A-0226-96F3-FCB2EB88C6DE}"/>
                  </a:ext>
                </a:extLst>
              </p:cNvPr>
              <p:cNvSpPr/>
              <p:nvPr/>
            </p:nvSpPr>
            <p:spPr>
              <a:xfrm>
                <a:off x="-3431404" y="4240651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1" name="Group 740">
              <a:extLst>
                <a:ext uri="{FF2B5EF4-FFF2-40B4-BE49-F238E27FC236}">
                  <a16:creationId xmlns:a16="http://schemas.microsoft.com/office/drawing/2014/main" id="{830C6571-1414-89E5-BF4F-055E506EF940}"/>
                </a:ext>
              </a:extLst>
            </p:cNvPr>
            <p:cNvGrpSpPr/>
            <p:nvPr/>
          </p:nvGrpSpPr>
          <p:grpSpPr>
            <a:xfrm>
              <a:off x="-3631903" y="3998783"/>
              <a:ext cx="324043" cy="731948"/>
              <a:chOff x="-3631903" y="3998783"/>
              <a:chExt cx="324043" cy="731948"/>
            </a:xfrm>
          </p:grpSpPr>
          <p:sp>
            <p:nvSpPr>
              <p:cNvPr id="522" name="Freeform: Shape 521">
                <a:extLst>
                  <a:ext uri="{FF2B5EF4-FFF2-40B4-BE49-F238E27FC236}">
                    <a16:creationId xmlns:a16="http://schemas.microsoft.com/office/drawing/2014/main" id="{645FA1D1-6E3C-1900-8CE7-D6983334D136}"/>
                  </a:ext>
                </a:extLst>
              </p:cNvPr>
              <p:cNvSpPr/>
              <p:nvPr/>
            </p:nvSpPr>
            <p:spPr>
              <a:xfrm>
                <a:off x="-3631903" y="4644138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3" name="Freeform: Shape 522">
                <a:extLst>
                  <a:ext uri="{FF2B5EF4-FFF2-40B4-BE49-F238E27FC236}">
                    <a16:creationId xmlns:a16="http://schemas.microsoft.com/office/drawing/2014/main" id="{64784D95-6F55-FB4F-51A9-584857F61D5F}"/>
                  </a:ext>
                </a:extLst>
              </p:cNvPr>
              <p:cNvSpPr/>
              <p:nvPr/>
            </p:nvSpPr>
            <p:spPr>
              <a:xfrm>
                <a:off x="-3631903" y="4040634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6 h 645355"/>
                  <a:gd name="connsiteX3" fmla="*/ 0 w 324043"/>
                  <a:gd name="connsiteY3" fmla="*/ 645356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6"/>
                    </a:lnTo>
                    <a:lnTo>
                      <a:pt x="0" y="645356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4" name="Freeform: Shape 523">
                <a:extLst>
                  <a:ext uri="{FF2B5EF4-FFF2-40B4-BE49-F238E27FC236}">
                    <a16:creationId xmlns:a16="http://schemas.microsoft.com/office/drawing/2014/main" id="{74EB19A9-A347-6281-72FA-56413C644346}"/>
                  </a:ext>
                </a:extLst>
              </p:cNvPr>
              <p:cNvSpPr/>
              <p:nvPr/>
            </p:nvSpPr>
            <p:spPr>
              <a:xfrm>
                <a:off x="-3631903" y="409461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5" name="Freeform: Shape 524">
                <a:extLst>
                  <a:ext uri="{FF2B5EF4-FFF2-40B4-BE49-F238E27FC236}">
                    <a16:creationId xmlns:a16="http://schemas.microsoft.com/office/drawing/2014/main" id="{8C98751B-1433-B348-B10E-4E5E8B203632}"/>
                  </a:ext>
                </a:extLst>
              </p:cNvPr>
              <p:cNvSpPr/>
              <p:nvPr/>
            </p:nvSpPr>
            <p:spPr>
              <a:xfrm>
                <a:off x="-3631903" y="414859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2B140C5B-0D63-2B14-F33A-5C98752049B3}"/>
                  </a:ext>
                </a:extLst>
              </p:cNvPr>
              <p:cNvSpPr/>
              <p:nvPr/>
            </p:nvSpPr>
            <p:spPr>
              <a:xfrm>
                <a:off x="-3631903" y="420265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8E75CBDB-1F70-47E1-7027-1E1433F3E05C}"/>
                  </a:ext>
                </a:extLst>
              </p:cNvPr>
              <p:cNvSpPr/>
              <p:nvPr/>
            </p:nvSpPr>
            <p:spPr>
              <a:xfrm>
                <a:off x="-3631903" y="425663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19AB6109-3EB5-CD05-CF04-5E0DDB9BFC52}"/>
                  </a:ext>
                </a:extLst>
              </p:cNvPr>
              <p:cNvSpPr/>
              <p:nvPr/>
            </p:nvSpPr>
            <p:spPr>
              <a:xfrm>
                <a:off x="-3631903" y="431061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74CEA593-ECCC-8326-D657-CAA05153ED68}"/>
                  </a:ext>
                </a:extLst>
              </p:cNvPr>
              <p:cNvSpPr/>
              <p:nvPr/>
            </p:nvSpPr>
            <p:spPr>
              <a:xfrm>
                <a:off x="-3631903" y="436459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DEBD8B0A-27E6-663C-BAE2-CAB5AE7BC23D}"/>
                  </a:ext>
                </a:extLst>
              </p:cNvPr>
              <p:cNvSpPr/>
              <p:nvPr/>
            </p:nvSpPr>
            <p:spPr>
              <a:xfrm>
                <a:off x="-3631903" y="441865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1" name="Freeform: Shape 530">
                <a:extLst>
                  <a:ext uri="{FF2B5EF4-FFF2-40B4-BE49-F238E27FC236}">
                    <a16:creationId xmlns:a16="http://schemas.microsoft.com/office/drawing/2014/main" id="{27683501-F92C-D300-3967-A89DB807C6AB}"/>
                  </a:ext>
                </a:extLst>
              </p:cNvPr>
              <p:cNvSpPr/>
              <p:nvPr/>
            </p:nvSpPr>
            <p:spPr>
              <a:xfrm>
                <a:off x="-3631903" y="447263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2" name="Freeform: Shape 531">
                <a:extLst>
                  <a:ext uri="{FF2B5EF4-FFF2-40B4-BE49-F238E27FC236}">
                    <a16:creationId xmlns:a16="http://schemas.microsoft.com/office/drawing/2014/main" id="{30FD322D-61A7-90D0-800A-A80828AD579A}"/>
                  </a:ext>
                </a:extLst>
              </p:cNvPr>
              <p:cNvSpPr/>
              <p:nvPr/>
            </p:nvSpPr>
            <p:spPr>
              <a:xfrm>
                <a:off x="-3631903" y="452661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3" name="Freeform: Shape 532">
                <a:extLst>
                  <a:ext uri="{FF2B5EF4-FFF2-40B4-BE49-F238E27FC236}">
                    <a16:creationId xmlns:a16="http://schemas.microsoft.com/office/drawing/2014/main" id="{11CBF617-58B1-15D8-C116-DBA0998240E6}"/>
                  </a:ext>
                </a:extLst>
              </p:cNvPr>
              <p:cNvSpPr/>
              <p:nvPr/>
            </p:nvSpPr>
            <p:spPr>
              <a:xfrm>
                <a:off x="-3631903" y="458067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4" name="Freeform: Shape 533">
                <a:extLst>
                  <a:ext uri="{FF2B5EF4-FFF2-40B4-BE49-F238E27FC236}">
                    <a16:creationId xmlns:a16="http://schemas.microsoft.com/office/drawing/2014/main" id="{719FAA10-0ABF-C9F1-D355-5BD9E157A295}"/>
                  </a:ext>
                </a:extLst>
              </p:cNvPr>
              <p:cNvSpPr/>
              <p:nvPr/>
            </p:nvSpPr>
            <p:spPr>
              <a:xfrm>
                <a:off x="-3631903" y="4634660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5" name="Freeform: Shape 534">
                <a:extLst>
                  <a:ext uri="{FF2B5EF4-FFF2-40B4-BE49-F238E27FC236}">
                    <a16:creationId xmlns:a16="http://schemas.microsoft.com/office/drawing/2014/main" id="{56511B7B-C6EB-68CE-36B3-736591A27784}"/>
                  </a:ext>
                </a:extLst>
              </p:cNvPr>
              <p:cNvSpPr/>
              <p:nvPr/>
            </p:nvSpPr>
            <p:spPr>
              <a:xfrm>
                <a:off x="-3386260" y="4040634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id="{A415444B-71BC-5353-8E11-9393B51AC926}"/>
                  </a:ext>
                </a:extLst>
              </p:cNvPr>
              <p:cNvSpPr/>
              <p:nvPr/>
            </p:nvSpPr>
            <p:spPr>
              <a:xfrm>
                <a:off x="-3631903" y="3998783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5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8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8" name="Freeform: Shape 537">
                <a:extLst>
                  <a:ext uri="{FF2B5EF4-FFF2-40B4-BE49-F238E27FC236}">
                    <a16:creationId xmlns:a16="http://schemas.microsoft.com/office/drawing/2014/main" id="{8DBEBFE6-2673-8B0D-D934-579071AAAF82}"/>
                  </a:ext>
                </a:extLst>
              </p:cNvPr>
              <p:cNvSpPr/>
              <p:nvPr/>
            </p:nvSpPr>
            <p:spPr>
              <a:xfrm>
                <a:off x="-3631903" y="404063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540" name="Graphic 9">
              <a:extLst>
                <a:ext uri="{FF2B5EF4-FFF2-40B4-BE49-F238E27FC236}">
                  <a16:creationId xmlns:a16="http://schemas.microsoft.com/office/drawing/2014/main" id="{1EB10BD0-43B2-F045-4A24-78E8596AA0CF}"/>
                </a:ext>
              </a:extLst>
            </p:cNvPr>
            <p:cNvGrpSpPr/>
            <p:nvPr/>
          </p:nvGrpSpPr>
          <p:grpSpPr>
            <a:xfrm>
              <a:off x="-4149617" y="3558184"/>
              <a:ext cx="324043" cy="731948"/>
              <a:chOff x="-4149617" y="3558184"/>
              <a:chExt cx="324043" cy="731948"/>
            </a:xfrm>
          </p:grpSpPr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id="{9A88CD43-A1DA-5E76-A12B-E0241769BF23}"/>
                  </a:ext>
                </a:extLst>
              </p:cNvPr>
              <p:cNvSpPr/>
              <p:nvPr/>
            </p:nvSpPr>
            <p:spPr>
              <a:xfrm>
                <a:off x="-4149617" y="4203539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8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2" name="Freeform: Shape 541">
                <a:extLst>
                  <a:ext uri="{FF2B5EF4-FFF2-40B4-BE49-F238E27FC236}">
                    <a16:creationId xmlns:a16="http://schemas.microsoft.com/office/drawing/2014/main" id="{57097A9E-8ED1-5A0E-3358-03D0538C17DB}"/>
                  </a:ext>
                </a:extLst>
              </p:cNvPr>
              <p:cNvSpPr/>
              <p:nvPr/>
            </p:nvSpPr>
            <p:spPr>
              <a:xfrm>
                <a:off x="-4149617" y="3600035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3" name="Freeform: Shape 542">
                <a:extLst>
                  <a:ext uri="{FF2B5EF4-FFF2-40B4-BE49-F238E27FC236}">
                    <a16:creationId xmlns:a16="http://schemas.microsoft.com/office/drawing/2014/main" id="{9DDC3317-DE6E-AF7E-FA91-6B813DD3BEA5}"/>
                  </a:ext>
                </a:extLst>
              </p:cNvPr>
              <p:cNvSpPr/>
              <p:nvPr/>
            </p:nvSpPr>
            <p:spPr>
              <a:xfrm>
                <a:off x="-4149617" y="365409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4" name="Freeform: Shape 543">
                <a:extLst>
                  <a:ext uri="{FF2B5EF4-FFF2-40B4-BE49-F238E27FC236}">
                    <a16:creationId xmlns:a16="http://schemas.microsoft.com/office/drawing/2014/main" id="{4FC39DF2-3CE3-DD08-42A9-38F94FC62D18}"/>
                  </a:ext>
                </a:extLst>
              </p:cNvPr>
              <p:cNvSpPr/>
              <p:nvPr/>
            </p:nvSpPr>
            <p:spPr>
              <a:xfrm>
                <a:off x="-4149617" y="370807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5" name="Freeform: Shape 544">
                <a:extLst>
                  <a:ext uri="{FF2B5EF4-FFF2-40B4-BE49-F238E27FC236}">
                    <a16:creationId xmlns:a16="http://schemas.microsoft.com/office/drawing/2014/main" id="{4AE35232-D2A7-90B1-3C82-67AE425805A2}"/>
                  </a:ext>
                </a:extLst>
              </p:cNvPr>
              <p:cNvSpPr/>
              <p:nvPr/>
            </p:nvSpPr>
            <p:spPr>
              <a:xfrm>
                <a:off x="-4149617" y="376205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6" name="Freeform: Shape 545">
                <a:extLst>
                  <a:ext uri="{FF2B5EF4-FFF2-40B4-BE49-F238E27FC236}">
                    <a16:creationId xmlns:a16="http://schemas.microsoft.com/office/drawing/2014/main" id="{6D0AE81A-9122-66DE-8C1F-85AD9437A069}"/>
                  </a:ext>
                </a:extLst>
              </p:cNvPr>
              <p:cNvSpPr/>
              <p:nvPr/>
            </p:nvSpPr>
            <p:spPr>
              <a:xfrm>
                <a:off x="-4149617" y="381611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7" name="Freeform: Shape 546">
                <a:extLst>
                  <a:ext uri="{FF2B5EF4-FFF2-40B4-BE49-F238E27FC236}">
                    <a16:creationId xmlns:a16="http://schemas.microsoft.com/office/drawing/2014/main" id="{7B423D73-7B7B-6453-82F9-84E4833D8BCB}"/>
                  </a:ext>
                </a:extLst>
              </p:cNvPr>
              <p:cNvSpPr/>
              <p:nvPr/>
            </p:nvSpPr>
            <p:spPr>
              <a:xfrm>
                <a:off x="-4149617" y="387009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8" name="Freeform: Shape 547">
                <a:extLst>
                  <a:ext uri="{FF2B5EF4-FFF2-40B4-BE49-F238E27FC236}">
                    <a16:creationId xmlns:a16="http://schemas.microsoft.com/office/drawing/2014/main" id="{B094C633-BEF8-E1CA-B264-F9C95258ABAF}"/>
                  </a:ext>
                </a:extLst>
              </p:cNvPr>
              <p:cNvSpPr/>
              <p:nvPr/>
            </p:nvSpPr>
            <p:spPr>
              <a:xfrm>
                <a:off x="-4149617" y="392407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9" name="Freeform: Shape 548">
                <a:extLst>
                  <a:ext uri="{FF2B5EF4-FFF2-40B4-BE49-F238E27FC236}">
                    <a16:creationId xmlns:a16="http://schemas.microsoft.com/office/drawing/2014/main" id="{E357F0B1-F104-8086-2651-82906195DAD5}"/>
                  </a:ext>
                </a:extLst>
              </p:cNvPr>
              <p:cNvSpPr/>
              <p:nvPr/>
            </p:nvSpPr>
            <p:spPr>
              <a:xfrm>
                <a:off x="-4149617" y="397805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0" name="Freeform: Shape 549">
                <a:extLst>
                  <a:ext uri="{FF2B5EF4-FFF2-40B4-BE49-F238E27FC236}">
                    <a16:creationId xmlns:a16="http://schemas.microsoft.com/office/drawing/2014/main" id="{BD98D537-0C2F-73F0-7DFD-B633ACDFE54E}"/>
                  </a:ext>
                </a:extLst>
              </p:cNvPr>
              <p:cNvSpPr/>
              <p:nvPr/>
            </p:nvSpPr>
            <p:spPr>
              <a:xfrm>
                <a:off x="-4149617" y="403211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1" name="Freeform: Shape 550">
                <a:extLst>
                  <a:ext uri="{FF2B5EF4-FFF2-40B4-BE49-F238E27FC236}">
                    <a16:creationId xmlns:a16="http://schemas.microsoft.com/office/drawing/2014/main" id="{3B4A0BE8-5F3E-F8DA-05FE-81EA3FF6C791}"/>
                  </a:ext>
                </a:extLst>
              </p:cNvPr>
              <p:cNvSpPr/>
              <p:nvPr/>
            </p:nvSpPr>
            <p:spPr>
              <a:xfrm>
                <a:off x="-4149617" y="4086100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2" name="Freeform: Shape 551">
                <a:extLst>
                  <a:ext uri="{FF2B5EF4-FFF2-40B4-BE49-F238E27FC236}">
                    <a16:creationId xmlns:a16="http://schemas.microsoft.com/office/drawing/2014/main" id="{7F6D4D4D-70DA-6DE3-570F-D1EAFFFE77EF}"/>
                  </a:ext>
                </a:extLst>
              </p:cNvPr>
              <p:cNvSpPr/>
              <p:nvPr/>
            </p:nvSpPr>
            <p:spPr>
              <a:xfrm>
                <a:off x="-4149617" y="4140080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3" name="Freeform: Shape 552">
                <a:extLst>
                  <a:ext uri="{FF2B5EF4-FFF2-40B4-BE49-F238E27FC236}">
                    <a16:creationId xmlns:a16="http://schemas.microsoft.com/office/drawing/2014/main" id="{FBF6F4E1-3914-8F55-CD33-87DD991B0868}"/>
                  </a:ext>
                </a:extLst>
              </p:cNvPr>
              <p:cNvSpPr/>
              <p:nvPr/>
            </p:nvSpPr>
            <p:spPr>
              <a:xfrm>
                <a:off x="-4149617" y="4194141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4" name="Freeform: Shape 553">
                <a:extLst>
                  <a:ext uri="{FF2B5EF4-FFF2-40B4-BE49-F238E27FC236}">
                    <a16:creationId xmlns:a16="http://schemas.microsoft.com/office/drawing/2014/main" id="{E0102AB6-BB57-2542-AA4D-E10B517EFEBB}"/>
                  </a:ext>
                </a:extLst>
              </p:cNvPr>
              <p:cNvSpPr/>
              <p:nvPr/>
            </p:nvSpPr>
            <p:spPr>
              <a:xfrm>
                <a:off x="-3903974" y="3600035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5" name="Freeform: Shape 554">
                <a:extLst>
                  <a:ext uri="{FF2B5EF4-FFF2-40B4-BE49-F238E27FC236}">
                    <a16:creationId xmlns:a16="http://schemas.microsoft.com/office/drawing/2014/main" id="{9AA412DB-7AFF-97BA-2335-59A9A4D3C8AD}"/>
                  </a:ext>
                </a:extLst>
              </p:cNvPr>
              <p:cNvSpPr/>
              <p:nvPr/>
            </p:nvSpPr>
            <p:spPr>
              <a:xfrm>
                <a:off x="-4149617" y="3600035"/>
                <a:ext cx="39200" cy="690097"/>
              </a:xfrm>
              <a:custGeom>
                <a:avLst/>
                <a:gdLst>
                  <a:gd name="connsiteX0" fmla="*/ 0 w 39200"/>
                  <a:gd name="connsiteY0" fmla="*/ 0 h 690097"/>
                  <a:gd name="connsiteX1" fmla="*/ 39200 w 39200"/>
                  <a:gd name="connsiteY1" fmla="*/ 0 h 690097"/>
                  <a:gd name="connsiteX2" fmla="*/ 39200 w 39200"/>
                  <a:gd name="connsiteY2" fmla="*/ 690098 h 690097"/>
                  <a:gd name="connsiteX3" fmla="*/ 0 w 392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200" h="690097">
                    <a:moveTo>
                      <a:pt x="0" y="0"/>
                    </a:moveTo>
                    <a:lnTo>
                      <a:pt x="39200" y="0"/>
                    </a:lnTo>
                    <a:lnTo>
                      <a:pt x="392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CBCBC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6" name="Freeform: Shape 555">
                <a:extLst>
                  <a:ext uri="{FF2B5EF4-FFF2-40B4-BE49-F238E27FC236}">
                    <a16:creationId xmlns:a16="http://schemas.microsoft.com/office/drawing/2014/main" id="{F522AB59-8E02-136A-A661-10DAF4E4120E}"/>
                  </a:ext>
                </a:extLst>
              </p:cNvPr>
              <p:cNvSpPr/>
              <p:nvPr/>
            </p:nvSpPr>
            <p:spPr>
              <a:xfrm>
                <a:off x="-4149617" y="3558184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7" name="Freeform: Shape 556">
                <a:extLst>
                  <a:ext uri="{FF2B5EF4-FFF2-40B4-BE49-F238E27FC236}">
                    <a16:creationId xmlns:a16="http://schemas.microsoft.com/office/drawing/2014/main" id="{52848234-C287-5C09-A153-B98299558E51}"/>
                  </a:ext>
                </a:extLst>
              </p:cNvPr>
              <p:cNvSpPr/>
              <p:nvPr/>
            </p:nvSpPr>
            <p:spPr>
              <a:xfrm>
                <a:off x="-4149617" y="360003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0" name="Group 739">
              <a:extLst>
                <a:ext uri="{FF2B5EF4-FFF2-40B4-BE49-F238E27FC236}">
                  <a16:creationId xmlns:a16="http://schemas.microsoft.com/office/drawing/2014/main" id="{D456A7F9-161A-4DB8-F48D-30CA335BE6B9}"/>
                </a:ext>
              </a:extLst>
            </p:cNvPr>
            <p:cNvGrpSpPr/>
            <p:nvPr/>
          </p:nvGrpSpPr>
          <p:grpSpPr>
            <a:xfrm>
              <a:off x="-4149617" y="3014123"/>
              <a:ext cx="324043" cy="731948"/>
              <a:chOff x="-4149617" y="3014123"/>
              <a:chExt cx="324043" cy="731948"/>
            </a:xfrm>
          </p:grpSpPr>
          <p:sp>
            <p:nvSpPr>
              <p:cNvPr id="559" name="Freeform: Shape 558">
                <a:extLst>
                  <a:ext uri="{FF2B5EF4-FFF2-40B4-BE49-F238E27FC236}">
                    <a16:creationId xmlns:a16="http://schemas.microsoft.com/office/drawing/2014/main" id="{08581B3C-548D-E767-01BC-7C8482010094}"/>
                  </a:ext>
                </a:extLst>
              </p:cNvPr>
              <p:cNvSpPr/>
              <p:nvPr/>
            </p:nvSpPr>
            <p:spPr>
              <a:xfrm>
                <a:off x="-4149617" y="3659478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39" y="83702"/>
                      <a:pt x="0" y="64965"/>
                      <a:pt x="0" y="41851"/>
                    </a:cubicBezTo>
                    <a:cubicBezTo>
                      <a:pt x="0" y="18737"/>
                      <a:pt x="72539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0" name="Freeform: Shape 559">
                <a:extLst>
                  <a:ext uri="{FF2B5EF4-FFF2-40B4-BE49-F238E27FC236}">
                    <a16:creationId xmlns:a16="http://schemas.microsoft.com/office/drawing/2014/main" id="{18E9BC25-11AB-3E90-C440-0712EFB09624}"/>
                  </a:ext>
                </a:extLst>
              </p:cNvPr>
              <p:cNvSpPr/>
              <p:nvPr/>
            </p:nvSpPr>
            <p:spPr>
              <a:xfrm>
                <a:off x="-4149617" y="3055974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1" name="Freeform: Shape 560">
                <a:extLst>
                  <a:ext uri="{FF2B5EF4-FFF2-40B4-BE49-F238E27FC236}">
                    <a16:creationId xmlns:a16="http://schemas.microsoft.com/office/drawing/2014/main" id="{6D619794-8FC8-FDC0-119C-908FDE42EE09}"/>
                  </a:ext>
                </a:extLst>
              </p:cNvPr>
              <p:cNvSpPr/>
              <p:nvPr/>
            </p:nvSpPr>
            <p:spPr>
              <a:xfrm>
                <a:off x="-4149617" y="310995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2" name="Freeform: Shape 561">
                <a:extLst>
                  <a:ext uri="{FF2B5EF4-FFF2-40B4-BE49-F238E27FC236}">
                    <a16:creationId xmlns:a16="http://schemas.microsoft.com/office/drawing/2014/main" id="{B609C0A4-7157-10F7-DC85-E36B0F5B5ABA}"/>
                  </a:ext>
                </a:extLst>
              </p:cNvPr>
              <p:cNvSpPr/>
              <p:nvPr/>
            </p:nvSpPr>
            <p:spPr>
              <a:xfrm>
                <a:off x="-4149617" y="316401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3" name="Freeform: Shape 562">
                <a:extLst>
                  <a:ext uri="{FF2B5EF4-FFF2-40B4-BE49-F238E27FC236}">
                    <a16:creationId xmlns:a16="http://schemas.microsoft.com/office/drawing/2014/main" id="{EB7DF2C9-63A1-766A-179F-52B11011DACA}"/>
                  </a:ext>
                </a:extLst>
              </p:cNvPr>
              <p:cNvSpPr/>
              <p:nvPr/>
            </p:nvSpPr>
            <p:spPr>
              <a:xfrm>
                <a:off x="-4149617" y="321799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4" name="Freeform: Shape 563">
                <a:extLst>
                  <a:ext uri="{FF2B5EF4-FFF2-40B4-BE49-F238E27FC236}">
                    <a16:creationId xmlns:a16="http://schemas.microsoft.com/office/drawing/2014/main" id="{7F7EACDF-B1CF-6BB0-1D54-D9A453192242}"/>
                  </a:ext>
                </a:extLst>
              </p:cNvPr>
              <p:cNvSpPr/>
              <p:nvPr/>
            </p:nvSpPr>
            <p:spPr>
              <a:xfrm>
                <a:off x="-4149617" y="327197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5" name="Freeform: Shape 564">
                <a:extLst>
                  <a:ext uri="{FF2B5EF4-FFF2-40B4-BE49-F238E27FC236}">
                    <a16:creationId xmlns:a16="http://schemas.microsoft.com/office/drawing/2014/main" id="{251B4D59-4394-D60B-9526-E492272D3476}"/>
                  </a:ext>
                </a:extLst>
              </p:cNvPr>
              <p:cNvSpPr/>
              <p:nvPr/>
            </p:nvSpPr>
            <p:spPr>
              <a:xfrm>
                <a:off x="-4149617" y="332595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6" name="Freeform: Shape 565">
                <a:extLst>
                  <a:ext uri="{FF2B5EF4-FFF2-40B4-BE49-F238E27FC236}">
                    <a16:creationId xmlns:a16="http://schemas.microsoft.com/office/drawing/2014/main" id="{E29DCB01-3846-023C-09DC-89ED5A6F981D}"/>
                  </a:ext>
                </a:extLst>
              </p:cNvPr>
              <p:cNvSpPr/>
              <p:nvPr/>
            </p:nvSpPr>
            <p:spPr>
              <a:xfrm>
                <a:off x="-4149617" y="338001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7" name="Freeform: Shape 566">
                <a:extLst>
                  <a:ext uri="{FF2B5EF4-FFF2-40B4-BE49-F238E27FC236}">
                    <a16:creationId xmlns:a16="http://schemas.microsoft.com/office/drawing/2014/main" id="{ECAB5D38-FE68-9A28-EC6B-C7C87132D64B}"/>
                  </a:ext>
                </a:extLst>
              </p:cNvPr>
              <p:cNvSpPr/>
              <p:nvPr/>
            </p:nvSpPr>
            <p:spPr>
              <a:xfrm>
                <a:off x="-4149617" y="343399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8" name="Freeform: Shape 567">
                <a:extLst>
                  <a:ext uri="{FF2B5EF4-FFF2-40B4-BE49-F238E27FC236}">
                    <a16:creationId xmlns:a16="http://schemas.microsoft.com/office/drawing/2014/main" id="{C1DE545B-BB0C-4A28-3C37-025AF9EDAF61}"/>
                  </a:ext>
                </a:extLst>
              </p:cNvPr>
              <p:cNvSpPr/>
              <p:nvPr/>
            </p:nvSpPr>
            <p:spPr>
              <a:xfrm>
                <a:off x="-4149617" y="348797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9" name="Freeform: Shape 568">
                <a:extLst>
                  <a:ext uri="{FF2B5EF4-FFF2-40B4-BE49-F238E27FC236}">
                    <a16:creationId xmlns:a16="http://schemas.microsoft.com/office/drawing/2014/main" id="{1A6EEB57-2302-EF62-5B72-3D1EEADB326B}"/>
                  </a:ext>
                </a:extLst>
              </p:cNvPr>
              <p:cNvSpPr/>
              <p:nvPr/>
            </p:nvSpPr>
            <p:spPr>
              <a:xfrm>
                <a:off x="-4149617" y="354203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0" name="Freeform: Shape 569">
                <a:extLst>
                  <a:ext uri="{FF2B5EF4-FFF2-40B4-BE49-F238E27FC236}">
                    <a16:creationId xmlns:a16="http://schemas.microsoft.com/office/drawing/2014/main" id="{102E9578-0BF5-49DC-3EF4-BE8D44B1954B}"/>
                  </a:ext>
                </a:extLst>
              </p:cNvPr>
              <p:cNvSpPr/>
              <p:nvPr/>
            </p:nvSpPr>
            <p:spPr>
              <a:xfrm>
                <a:off x="-4149617" y="359601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1" name="Freeform: Shape 570">
                <a:extLst>
                  <a:ext uri="{FF2B5EF4-FFF2-40B4-BE49-F238E27FC236}">
                    <a16:creationId xmlns:a16="http://schemas.microsoft.com/office/drawing/2014/main" id="{CD708504-A980-AA9F-68EF-FD9F6931ED18}"/>
                  </a:ext>
                </a:extLst>
              </p:cNvPr>
              <p:cNvSpPr/>
              <p:nvPr/>
            </p:nvSpPr>
            <p:spPr>
              <a:xfrm>
                <a:off x="-4149617" y="364999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2" name="Freeform: Shape 571">
                <a:extLst>
                  <a:ext uri="{FF2B5EF4-FFF2-40B4-BE49-F238E27FC236}">
                    <a16:creationId xmlns:a16="http://schemas.microsoft.com/office/drawing/2014/main" id="{A1097702-27DD-DA53-7BAA-9A75DA465460}"/>
                  </a:ext>
                </a:extLst>
              </p:cNvPr>
              <p:cNvSpPr/>
              <p:nvPr/>
            </p:nvSpPr>
            <p:spPr>
              <a:xfrm>
                <a:off x="-3903974" y="3055974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4" name="Freeform: Shape 573">
                <a:extLst>
                  <a:ext uri="{FF2B5EF4-FFF2-40B4-BE49-F238E27FC236}">
                    <a16:creationId xmlns:a16="http://schemas.microsoft.com/office/drawing/2014/main" id="{92FA8BF9-E6E6-C5F3-99F9-2D35AB3962CA}"/>
                  </a:ext>
                </a:extLst>
              </p:cNvPr>
              <p:cNvSpPr/>
              <p:nvPr/>
            </p:nvSpPr>
            <p:spPr>
              <a:xfrm>
                <a:off x="-4149617" y="3014123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85"/>
                      <a:pt x="251507" y="83702"/>
                      <a:pt x="162022" y="83702"/>
                    </a:cubicBezTo>
                    <a:cubicBezTo>
                      <a:pt x="72536" y="83702"/>
                      <a:pt x="0" y="64985"/>
                      <a:pt x="0" y="41851"/>
                    </a:cubicBezTo>
                    <a:cubicBezTo>
                      <a:pt x="0" y="18717"/>
                      <a:pt x="72536" y="0"/>
                      <a:pt x="162022" y="0"/>
                    </a:cubicBezTo>
                    <a:cubicBezTo>
                      <a:pt x="251507" y="0"/>
                      <a:pt x="324043" y="1871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5" name="Freeform: Shape 574">
                <a:extLst>
                  <a:ext uri="{FF2B5EF4-FFF2-40B4-BE49-F238E27FC236}">
                    <a16:creationId xmlns:a16="http://schemas.microsoft.com/office/drawing/2014/main" id="{16166956-EAD8-51A7-A930-BE4E68B66C09}"/>
                  </a:ext>
                </a:extLst>
              </p:cNvPr>
              <p:cNvSpPr/>
              <p:nvPr/>
            </p:nvSpPr>
            <p:spPr>
              <a:xfrm>
                <a:off x="-4149617" y="305597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9" name="Group 738">
              <a:extLst>
                <a:ext uri="{FF2B5EF4-FFF2-40B4-BE49-F238E27FC236}">
                  <a16:creationId xmlns:a16="http://schemas.microsoft.com/office/drawing/2014/main" id="{3C3996D8-0DF7-9143-F0BA-A09549E3DEFD}"/>
                </a:ext>
              </a:extLst>
            </p:cNvPr>
            <p:cNvGrpSpPr/>
            <p:nvPr/>
          </p:nvGrpSpPr>
          <p:grpSpPr>
            <a:xfrm>
              <a:off x="-4860519" y="3900783"/>
              <a:ext cx="324123" cy="731948"/>
              <a:chOff x="-4860519" y="3900783"/>
              <a:chExt cx="324123" cy="731948"/>
            </a:xfrm>
          </p:grpSpPr>
          <p:sp>
            <p:nvSpPr>
              <p:cNvPr id="577" name="Freeform: Shape 576">
                <a:extLst>
                  <a:ext uri="{FF2B5EF4-FFF2-40B4-BE49-F238E27FC236}">
                    <a16:creationId xmlns:a16="http://schemas.microsoft.com/office/drawing/2014/main" id="{CB21287E-AAA8-1871-07D6-B86F09906AF2}"/>
                  </a:ext>
                </a:extLst>
              </p:cNvPr>
              <p:cNvSpPr/>
              <p:nvPr/>
            </p:nvSpPr>
            <p:spPr>
              <a:xfrm>
                <a:off x="-4860439" y="4546138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8" name="Freeform: Shape 577">
                <a:extLst>
                  <a:ext uri="{FF2B5EF4-FFF2-40B4-BE49-F238E27FC236}">
                    <a16:creationId xmlns:a16="http://schemas.microsoft.com/office/drawing/2014/main" id="{C67ACBDC-4BE8-4A05-C7A5-B2E42E644CA6}"/>
                  </a:ext>
                </a:extLst>
              </p:cNvPr>
              <p:cNvSpPr/>
              <p:nvPr/>
            </p:nvSpPr>
            <p:spPr>
              <a:xfrm>
                <a:off x="-4860439" y="3942634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9" name="Freeform: Shape 578">
                <a:extLst>
                  <a:ext uri="{FF2B5EF4-FFF2-40B4-BE49-F238E27FC236}">
                    <a16:creationId xmlns:a16="http://schemas.microsoft.com/office/drawing/2014/main" id="{03E8C670-12CD-D86D-E6A6-153E7EF59BD6}"/>
                  </a:ext>
                </a:extLst>
              </p:cNvPr>
              <p:cNvSpPr/>
              <p:nvPr/>
            </p:nvSpPr>
            <p:spPr>
              <a:xfrm>
                <a:off x="-4860519" y="399661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0" name="Freeform: Shape 579">
                <a:extLst>
                  <a:ext uri="{FF2B5EF4-FFF2-40B4-BE49-F238E27FC236}">
                    <a16:creationId xmlns:a16="http://schemas.microsoft.com/office/drawing/2014/main" id="{26D5E13A-29EE-98BB-D25B-287B83E31BB5}"/>
                  </a:ext>
                </a:extLst>
              </p:cNvPr>
              <p:cNvSpPr/>
              <p:nvPr/>
            </p:nvSpPr>
            <p:spPr>
              <a:xfrm>
                <a:off x="-4860519" y="405067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1" name="Freeform: Shape 580">
                <a:extLst>
                  <a:ext uri="{FF2B5EF4-FFF2-40B4-BE49-F238E27FC236}">
                    <a16:creationId xmlns:a16="http://schemas.microsoft.com/office/drawing/2014/main" id="{2CD2E83A-4C1F-7665-8C8A-8512968DBABA}"/>
                  </a:ext>
                </a:extLst>
              </p:cNvPr>
              <p:cNvSpPr/>
              <p:nvPr/>
            </p:nvSpPr>
            <p:spPr>
              <a:xfrm>
                <a:off x="-4860519" y="410465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2" name="Freeform: Shape 581">
                <a:extLst>
                  <a:ext uri="{FF2B5EF4-FFF2-40B4-BE49-F238E27FC236}">
                    <a16:creationId xmlns:a16="http://schemas.microsoft.com/office/drawing/2014/main" id="{9FFF7183-1D9B-955B-848F-1AC86BE5D8B0}"/>
                  </a:ext>
                </a:extLst>
              </p:cNvPr>
              <p:cNvSpPr/>
              <p:nvPr/>
            </p:nvSpPr>
            <p:spPr>
              <a:xfrm>
                <a:off x="-4860519" y="415863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3" name="Freeform: Shape 582">
                <a:extLst>
                  <a:ext uri="{FF2B5EF4-FFF2-40B4-BE49-F238E27FC236}">
                    <a16:creationId xmlns:a16="http://schemas.microsoft.com/office/drawing/2014/main" id="{C1E5B2A5-D9DF-26ED-F426-0BCF3BE8A1FD}"/>
                  </a:ext>
                </a:extLst>
              </p:cNvPr>
              <p:cNvSpPr/>
              <p:nvPr/>
            </p:nvSpPr>
            <p:spPr>
              <a:xfrm>
                <a:off x="-4860519" y="421269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4" name="Freeform: Shape 583">
                <a:extLst>
                  <a:ext uri="{FF2B5EF4-FFF2-40B4-BE49-F238E27FC236}">
                    <a16:creationId xmlns:a16="http://schemas.microsoft.com/office/drawing/2014/main" id="{25A046AB-786E-EA3C-37E1-8B25309D246B}"/>
                  </a:ext>
                </a:extLst>
              </p:cNvPr>
              <p:cNvSpPr/>
              <p:nvPr/>
            </p:nvSpPr>
            <p:spPr>
              <a:xfrm>
                <a:off x="-4860519" y="426667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5" name="Freeform: Shape 584">
                <a:extLst>
                  <a:ext uri="{FF2B5EF4-FFF2-40B4-BE49-F238E27FC236}">
                    <a16:creationId xmlns:a16="http://schemas.microsoft.com/office/drawing/2014/main" id="{AF0CB5E8-9C9D-8A74-5E1C-3481668DEE81}"/>
                  </a:ext>
                </a:extLst>
              </p:cNvPr>
              <p:cNvSpPr/>
              <p:nvPr/>
            </p:nvSpPr>
            <p:spPr>
              <a:xfrm>
                <a:off x="-4860519" y="432065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6" name="Freeform: Shape 585">
                <a:extLst>
                  <a:ext uri="{FF2B5EF4-FFF2-40B4-BE49-F238E27FC236}">
                    <a16:creationId xmlns:a16="http://schemas.microsoft.com/office/drawing/2014/main" id="{9F7EB0AA-0B44-1BAC-5D0A-B79F3B7724F5}"/>
                  </a:ext>
                </a:extLst>
              </p:cNvPr>
              <p:cNvSpPr/>
              <p:nvPr/>
            </p:nvSpPr>
            <p:spPr>
              <a:xfrm>
                <a:off x="-4860519" y="437471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7" name="Freeform: Shape 586">
                <a:extLst>
                  <a:ext uri="{FF2B5EF4-FFF2-40B4-BE49-F238E27FC236}">
                    <a16:creationId xmlns:a16="http://schemas.microsoft.com/office/drawing/2014/main" id="{98126C9D-3153-C054-FF2B-65674BA3FA95}"/>
                  </a:ext>
                </a:extLst>
              </p:cNvPr>
              <p:cNvSpPr/>
              <p:nvPr/>
            </p:nvSpPr>
            <p:spPr>
              <a:xfrm>
                <a:off x="-4860519" y="442869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8" name="Freeform: Shape 587">
                <a:extLst>
                  <a:ext uri="{FF2B5EF4-FFF2-40B4-BE49-F238E27FC236}">
                    <a16:creationId xmlns:a16="http://schemas.microsoft.com/office/drawing/2014/main" id="{1EB5CFD6-D95E-B29C-5594-D95627C494D5}"/>
                  </a:ext>
                </a:extLst>
              </p:cNvPr>
              <p:cNvSpPr/>
              <p:nvPr/>
            </p:nvSpPr>
            <p:spPr>
              <a:xfrm>
                <a:off x="-4860519" y="448267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9" name="Freeform: Shape 588">
                <a:extLst>
                  <a:ext uri="{FF2B5EF4-FFF2-40B4-BE49-F238E27FC236}">
                    <a16:creationId xmlns:a16="http://schemas.microsoft.com/office/drawing/2014/main" id="{AE3A7505-7E1C-601F-092D-946B352FD867}"/>
                  </a:ext>
                </a:extLst>
              </p:cNvPr>
              <p:cNvSpPr/>
              <p:nvPr/>
            </p:nvSpPr>
            <p:spPr>
              <a:xfrm>
                <a:off x="-4860519" y="4536660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0" name="Freeform: Shape 589">
                <a:extLst>
                  <a:ext uri="{FF2B5EF4-FFF2-40B4-BE49-F238E27FC236}">
                    <a16:creationId xmlns:a16="http://schemas.microsoft.com/office/drawing/2014/main" id="{0C3FF513-77A4-97C3-CE92-F6C0DF807A96}"/>
                  </a:ext>
                </a:extLst>
              </p:cNvPr>
              <p:cNvSpPr/>
              <p:nvPr/>
            </p:nvSpPr>
            <p:spPr>
              <a:xfrm>
                <a:off x="-4614876" y="3942634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2" name="Freeform: Shape 591">
                <a:extLst>
                  <a:ext uri="{FF2B5EF4-FFF2-40B4-BE49-F238E27FC236}">
                    <a16:creationId xmlns:a16="http://schemas.microsoft.com/office/drawing/2014/main" id="{C2815D7D-B8B7-833B-68F0-1AA6B2A10C54}"/>
                  </a:ext>
                </a:extLst>
              </p:cNvPr>
              <p:cNvSpPr/>
              <p:nvPr/>
            </p:nvSpPr>
            <p:spPr>
              <a:xfrm>
                <a:off x="-4860439" y="3900783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3" name="Freeform: Shape 592">
                <a:extLst>
                  <a:ext uri="{FF2B5EF4-FFF2-40B4-BE49-F238E27FC236}">
                    <a16:creationId xmlns:a16="http://schemas.microsoft.com/office/drawing/2014/main" id="{B25226F1-DC85-68C4-A44F-456ADDEA9F01}"/>
                  </a:ext>
                </a:extLst>
              </p:cNvPr>
              <p:cNvSpPr/>
              <p:nvPr/>
            </p:nvSpPr>
            <p:spPr>
              <a:xfrm>
                <a:off x="-4860519" y="3942634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45" name="Group 744">
              <a:extLst>
                <a:ext uri="{FF2B5EF4-FFF2-40B4-BE49-F238E27FC236}">
                  <a16:creationId xmlns:a16="http://schemas.microsoft.com/office/drawing/2014/main" id="{2D133EA6-8772-7108-37BB-E1F694A984DB}"/>
                </a:ext>
              </a:extLst>
            </p:cNvPr>
            <p:cNvGrpSpPr/>
            <p:nvPr/>
          </p:nvGrpSpPr>
          <p:grpSpPr>
            <a:xfrm>
              <a:off x="-4337504" y="3286194"/>
              <a:ext cx="794765" cy="1276010"/>
              <a:chOff x="-4337504" y="3286194"/>
              <a:chExt cx="794765" cy="1276010"/>
            </a:xfrm>
          </p:grpSpPr>
          <p:grpSp>
            <p:nvGrpSpPr>
              <p:cNvPr id="466" name="Graphic 9">
                <a:extLst>
                  <a:ext uri="{FF2B5EF4-FFF2-40B4-BE49-F238E27FC236}">
                    <a16:creationId xmlns:a16="http://schemas.microsoft.com/office/drawing/2014/main" id="{C69A414F-5C60-5A91-3B6B-1F8ACB1F16D9}"/>
                  </a:ext>
                </a:extLst>
              </p:cNvPr>
              <p:cNvGrpSpPr/>
              <p:nvPr/>
            </p:nvGrpSpPr>
            <p:grpSpPr>
              <a:xfrm>
                <a:off x="-3866862" y="3286194"/>
                <a:ext cx="324123" cy="1276010"/>
                <a:chOff x="-3866862" y="3286194"/>
                <a:chExt cx="324123" cy="1276010"/>
              </a:xfrm>
            </p:grpSpPr>
            <p:grpSp>
              <p:nvGrpSpPr>
                <p:cNvPr id="467" name="Graphic 9">
                  <a:extLst>
                    <a:ext uri="{FF2B5EF4-FFF2-40B4-BE49-F238E27FC236}">
                      <a16:creationId xmlns:a16="http://schemas.microsoft.com/office/drawing/2014/main" id="{D44E2B14-9CB1-1F7D-DEBF-10B3F316AF88}"/>
                    </a:ext>
                  </a:extLst>
                </p:cNvPr>
                <p:cNvGrpSpPr/>
                <p:nvPr/>
              </p:nvGrpSpPr>
              <p:grpSpPr>
                <a:xfrm>
                  <a:off x="-3866862" y="3830255"/>
                  <a:ext cx="324123" cy="731948"/>
                  <a:chOff x="-3866862" y="3830255"/>
                  <a:chExt cx="324123" cy="731948"/>
                </a:xfrm>
              </p:grpSpPr>
              <p:sp>
                <p:nvSpPr>
                  <p:cNvPr id="468" name="Freeform: Shape 467">
                    <a:extLst>
                      <a:ext uri="{FF2B5EF4-FFF2-40B4-BE49-F238E27FC236}">
                        <a16:creationId xmlns:a16="http://schemas.microsoft.com/office/drawing/2014/main" id="{366E2C62-C3D0-B98C-44C2-41F2B5ECB32F}"/>
                      </a:ext>
                    </a:extLst>
                  </p:cNvPr>
                  <p:cNvSpPr/>
                  <p:nvPr/>
                </p:nvSpPr>
                <p:spPr>
                  <a:xfrm>
                    <a:off x="-3866782" y="4475610"/>
                    <a:ext cx="324043" cy="83701"/>
                  </a:xfrm>
                  <a:custGeom>
                    <a:avLst/>
                    <a:gdLst>
                      <a:gd name="connsiteX0" fmla="*/ 324043 w 324043"/>
                      <a:gd name="connsiteY0" fmla="*/ 41851 h 83701"/>
                      <a:gd name="connsiteX1" fmla="*/ 162022 w 324043"/>
                      <a:gd name="connsiteY1" fmla="*/ 83702 h 83701"/>
                      <a:gd name="connsiteX2" fmla="*/ 0 w 324043"/>
                      <a:gd name="connsiteY2" fmla="*/ 41851 h 83701"/>
                      <a:gd name="connsiteX3" fmla="*/ 162022 w 324043"/>
                      <a:gd name="connsiteY3" fmla="*/ 0 h 83701"/>
                      <a:gd name="connsiteX4" fmla="*/ 324043 w 324043"/>
                      <a:gd name="connsiteY4" fmla="*/ 41851 h 8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4043" h="83701">
                        <a:moveTo>
                          <a:pt x="324043" y="41851"/>
                        </a:moveTo>
                        <a:cubicBezTo>
                          <a:pt x="324043" y="64964"/>
                          <a:pt x="251504" y="83702"/>
                          <a:pt x="162022" y="83702"/>
                        </a:cubicBezTo>
                        <a:cubicBezTo>
                          <a:pt x="72540" y="83702"/>
                          <a:pt x="0" y="64965"/>
                          <a:pt x="0" y="41851"/>
                        </a:cubicBezTo>
                        <a:cubicBezTo>
                          <a:pt x="0" y="18738"/>
                          <a:pt x="72540" y="0"/>
                          <a:pt x="162022" y="0"/>
                        </a:cubicBezTo>
                        <a:cubicBezTo>
                          <a:pt x="251504" y="0"/>
                          <a:pt x="324043" y="18737"/>
                          <a:pt x="324043" y="41851"/>
                        </a:cubicBez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9" name="Freeform: Shape 468">
                    <a:extLst>
                      <a:ext uri="{FF2B5EF4-FFF2-40B4-BE49-F238E27FC236}">
                        <a16:creationId xmlns:a16="http://schemas.microsoft.com/office/drawing/2014/main" id="{0B96528A-1B3C-D801-DCD7-C49BCF811114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872106"/>
                    <a:ext cx="324043" cy="645355"/>
                  </a:xfrm>
                  <a:custGeom>
                    <a:avLst/>
                    <a:gdLst>
                      <a:gd name="connsiteX0" fmla="*/ 0 w 324043"/>
                      <a:gd name="connsiteY0" fmla="*/ 0 h 645355"/>
                      <a:gd name="connsiteX1" fmla="*/ 324043 w 324043"/>
                      <a:gd name="connsiteY1" fmla="*/ 0 h 645355"/>
                      <a:gd name="connsiteX2" fmla="*/ 324043 w 324043"/>
                      <a:gd name="connsiteY2" fmla="*/ 645355 h 645355"/>
                      <a:gd name="connsiteX3" fmla="*/ 0 w 324043"/>
                      <a:gd name="connsiteY3" fmla="*/ 645355 h 645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4043" h="645355">
                        <a:moveTo>
                          <a:pt x="0" y="0"/>
                        </a:moveTo>
                        <a:lnTo>
                          <a:pt x="324043" y="0"/>
                        </a:lnTo>
                        <a:lnTo>
                          <a:pt x="324043" y="645355"/>
                        </a:lnTo>
                        <a:lnTo>
                          <a:pt x="0" y="645355"/>
                        </a:ln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0" name="Freeform: Shape 469">
                    <a:extLst>
                      <a:ext uri="{FF2B5EF4-FFF2-40B4-BE49-F238E27FC236}">
                        <a16:creationId xmlns:a16="http://schemas.microsoft.com/office/drawing/2014/main" id="{242F23B9-6A13-0D15-280C-DE4EC1FD0097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926087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1" name="Freeform: Shape 470">
                    <a:extLst>
                      <a:ext uri="{FF2B5EF4-FFF2-40B4-BE49-F238E27FC236}">
                        <a16:creationId xmlns:a16="http://schemas.microsoft.com/office/drawing/2014/main" id="{DB00CAF3-2E7C-4EAD-05FA-ED441D34718A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980147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2" name="Freeform: Shape 471">
                    <a:extLst>
                      <a:ext uri="{FF2B5EF4-FFF2-40B4-BE49-F238E27FC236}">
                        <a16:creationId xmlns:a16="http://schemas.microsoft.com/office/drawing/2014/main" id="{B2CDD35D-F7B7-BFC8-F6A9-8440C8EE4E78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034127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3" name="Freeform: Shape 472">
                    <a:extLst>
                      <a:ext uri="{FF2B5EF4-FFF2-40B4-BE49-F238E27FC236}">
                        <a16:creationId xmlns:a16="http://schemas.microsoft.com/office/drawing/2014/main" id="{35505FC7-4C59-0389-B8D2-8D347C4A625A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088108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4" name="Freeform: Shape 473">
                    <a:extLst>
                      <a:ext uri="{FF2B5EF4-FFF2-40B4-BE49-F238E27FC236}">
                        <a16:creationId xmlns:a16="http://schemas.microsoft.com/office/drawing/2014/main" id="{F707FC6D-1173-C7D1-B32B-2D0B4F9FC556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142169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5" name="Freeform: Shape 474">
                    <a:extLst>
                      <a:ext uri="{FF2B5EF4-FFF2-40B4-BE49-F238E27FC236}">
                        <a16:creationId xmlns:a16="http://schemas.microsoft.com/office/drawing/2014/main" id="{80409B48-ECF9-33F1-47A3-19474DFDCA05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196149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6" name="Freeform: Shape 475">
                    <a:extLst>
                      <a:ext uri="{FF2B5EF4-FFF2-40B4-BE49-F238E27FC236}">
                        <a16:creationId xmlns:a16="http://schemas.microsoft.com/office/drawing/2014/main" id="{EDD4B0AA-130A-7F7B-6390-A22336A0BFC1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250130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7" name="Freeform: Shape 476">
                    <a:extLst>
                      <a:ext uri="{FF2B5EF4-FFF2-40B4-BE49-F238E27FC236}">
                        <a16:creationId xmlns:a16="http://schemas.microsoft.com/office/drawing/2014/main" id="{5C79663B-F943-10C4-3058-65C3B7611D72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304110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8" name="Freeform: Shape 477">
                    <a:extLst>
                      <a:ext uri="{FF2B5EF4-FFF2-40B4-BE49-F238E27FC236}">
                        <a16:creationId xmlns:a16="http://schemas.microsoft.com/office/drawing/2014/main" id="{4FF7F115-F9A3-F8D9-0135-B67155F0977E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358171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9" name="Freeform: Shape 478">
                    <a:extLst>
                      <a:ext uri="{FF2B5EF4-FFF2-40B4-BE49-F238E27FC236}">
                        <a16:creationId xmlns:a16="http://schemas.microsoft.com/office/drawing/2014/main" id="{8E025674-5D19-61C7-D1D8-87C4BEFC5811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412151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4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4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0" name="Freeform: Shape 479">
                    <a:extLst>
                      <a:ext uri="{FF2B5EF4-FFF2-40B4-BE49-F238E27FC236}">
                        <a16:creationId xmlns:a16="http://schemas.microsoft.com/office/drawing/2014/main" id="{FA59BEF8-1341-B84C-0711-549A765FA78C}"/>
                      </a:ext>
                    </a:extLst>
                  </p:cNvPr>
                  <p:cNvSpPr/>
                  <p:nvPr/>
                </p:nvSpPr>
                <p:spPr>
                  <a:xfrm>
                    <a:off x="-3866862" y="4466132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1" name="Freeform: Shape 480">
                    <a:extLst>
                      <a:ext uri="{FF2B5EF4-FFF2-40B4-BE49-F238E27FC236}">
                        <a16:creationId xmlns:a16="http://schemas.microsoft.com/office/drawing/2014/main" id="{01E6CC21-7155-F1CF-A08E-1095700C3D7C}"/>
                      </a:ext>
                    </a:extLst>
                  </p:cNvPr>
                  <p:cNvSpPr/>
                  <p:nvPr/>
                </p:nvSpPr>
                <p:spPr>
                  <a:xfrm>
                    <a:off x="-3621219" y="3872106"/>
                    <a:ext cx="78400" cy="690097"/>
                  </a:xfrm>
                  <a:custGeom>
                    <a:avLst/>
                    <a:gdLst>
                      <a:gd name="connsiteX0" fmla="*/ 0 w 78400"/>
                      <a:gd name="connsiteY0" fmla="*/ 0 h 690097"/>
                      <a:gd name="connsiteX1" fmla="*/ 78400 w 78400"/>
                      <a:gd name="connsiteY1" fmla="*/ 0 h 690097"/>
                      <a:gd name="connsiteX2" fmla="*/ 78400 w 78400"/>
                      <a:gd name="connsiteY2" fmla="*/ 690097 h 690097"/>
                      <a:gd name="connsiteX3" fmla="*/ 0 w 78400"/>
                      <a:gd name="connsiteY3" fmla="*/ 690097 h 690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8400" h="690097">
                        <a:moveTo>
                          <a:pt x="0" y="0"/>
                        </a:moveTo>
                        <a:lnTo>
                          <a:pt x="78400" y="0"/>
                        </a:lnTo>
                        <a:lnTo>
                          <a:pt x="78400" y="690097"/>
                        </a:lnTo>
                        <a:lnTo>
                          <a:pt x="0" y="690097"/>
                        </a:lnTo>
                        <a:close/>
                      </a:path>
                    </a:pathLst>
                  </a:custGeom>
                  <a:solidFill>
                    <a:srgbClr val="FADE78">
                      <a:alpha val="70000"/>
                    </a:srgbClr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2" name="Freeform: Shape 481">
                    <a:extLst>
                      <a:ext uri="{FF2B5EF4-FFF2-40B4-BE49-F238E27FC236}">
                        <a16:creationId xmlns:a16="http://schemas.microsoft.com/office/drawing/2014/main" id="{E048B7AE-BCE8-FB57-A0B4-C5D048F3CE93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872106"/>
                    <a:ext cx="39200" cy="690097"/>
                  </a:xfrm>
                  <a:custGeom>
                    <a:avLst/>
                    <a:gdLst>
                      <a:gd name="connsiteX0" fmla="*/ 0 w 39200"/>
                      <a:gd name="connsiteY0" fmla="*/ 0 h 690097"/>
                      <a:gd name="connsiteX1" fmla="*/ 39200 w 39200"/>
                      <a:gd name="connsiteY1" fmla="*/ 0 h 690097"/>
                      <a:gd name="connsiteX2" fmla="*/ 39200 w 39200"/>
                      <a:gd name="connsiteY2" fmla="*/ 690097 h 690097"/>
                      <a:gd name="connsiteX3" fmla="*/ 0 w 39200"/>
                      <a:gd name="connsiteY3" fmla="*/ 690097 h 690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200" h="690097">
                        <a:moveTo>
                          <a:pt x="0" y="0"/>
                        </a:moveTo>
                        <a:lnTo>
                          <a:pt x="39200" y="0"/>
                        </a:lnTo>
                        <a:lnTo>
                          <a:pt x="39200" y="690097"/>
                        </a:lnTo>
                        <a:lnTo>
                          <a:pt x="0" y="690097"/>
                        </a:lnTo>
                        <a:close/>
                      </a:path>
                    </a:pathLst>
                  </a:custGeom>
                  <a:solidFill>
                    <a:srgbClr val="CBCBC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3" name="Freeform: Shape 482">
                    <a:extLst>
                      <a:ext uri="{FF2B5EF4-FFF2-40B4-BE49-F238E27FC236}">
                        <a16:creationId xmlns:a16="http://schemas.microsoft.com/office/drawing/2014/main" id="{93A103D8-5618-D5B6-4814-5B6626657952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830255"/>
                    <a:ext cx="324043" cy="83701"/>
                  </a:xfrm>
                  <a:custGeom>
                    <a:avLst/>
                    <a:gdLst>
                      <a:gd name="connsiteX0" fmla="*/ 324043 w 324043"/>
                      <a:gd name="connsiteY0" fmla="*/ 41851 h 83701"/>
                      <a:gd name="connsiteX1" fmla="*/ 162022 w 324043"/>
                      <a:gd name="connsiteY1" fmla="*/ 83702 h 83701"/>
                      <a:gd name="connsiteX2" fmla="*/ 0 w 324043"/>
                      <a:gd name="connsiteY2" fmla="*/ 41851 h 83701"/>
                      <a:gd name="connsiteX3" fmla="*/ 162022 w 324043"/>
                      <a:gd name="connsiteY3" fmla="*/ 0 h 83701"/>
                      <a:gd name="connsiteX4" fmla="*/ 324043 w 324043"/>
                      <a:gd name="connsiteY4" fmla="*/ 41851 h 8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4043" h="83701">
                        <a:moveTo>
                          <a:pt x="324043" y="41851"/>
                        </a:moveTo>
                        <a:cubicBezTo>
                          <a:pt x="324043" y="64964"/>
                          <a:pt x="251504" y="83702"/>
                          <a:pt x="162022" y="83702"/>
                        </a:cubicBezTo>
                        <a:cubicBezTo>
                          <a:pt x="72540" y="83702"/>
                          <a:pt x="0" y="64965"/>
                          <a:pt x="0" y="41851"/>
                        </a:cubicBezTo>
                        <a:cubicBezTo>
                          <a:pt x="0" y="18737"/>
                          <a:pt x="72540" y="0"/>
                          <a:pt x="162022" y="0"/>
                        </a:cubicBezTo>
                        <a:cubicBezTo>
                          <a:pt x="251504" y="0"/>
                          <a:pt x="324043" y="18737"/>
                          <a:pt x="324043" y="41851"/>
                        </a:cubicBez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4" name="Freeform: Shape 483">
                    <a:extLst>
                      <a:ext uri="{FF2B5EF4-FFF2-40B4-BE49-F238E27FC236}">
                        <a16:creationId xmlns:a16="http://schemas.microsoft.com/office/drawing/2014/main" id="{2ECE7831-0F9A-5737-5CE9-270B0A36F65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872106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485" name="Graphic 9">
                  <a:extLst>
                    <a:ext uri="{FF2B5EF4-FFF2-40B4-BE49-F238E27FC236}">
                      <a16:creationId xmlns:a16="http://schemas.microsoft.com/office/drawing/2014/main" id="{E848053E-D4A2-010D-C476-9AD87E5E11B1}"/>
                    </a:ext>
                  </a:extLst>
                </p:cNvPr>
                <p:cNvGrpSpPr/>
                <p:nvPr/>
              </p:nvGrpSpPr>
              <p:grpSpPr>
                <a:xfrm>
                  <a:off x="-3866862" y="3286194"/>
                  <a:ext cx="324123" cy="731948"/>
                  <a:chOff x="-3866862" y="3286194"/>
                  <a:chExt cx="324123" cy="731948"/>
                </a:xfrm>
              </p:grpSpPr>
              <p:sp>
                <p:nvSpPr>
                  <p:cNvPr id="486" name="Freeform: Shape 485">
                    <a:extLst>
                      <a:ext uri="{FF2B5EF4-FFF2-40B4-BE49-F238E27FC236}">
                        <a16:creationId xmlns:a16="http://schemas.microsoft.com/office/drawing/2014/main" id="{2F09038F-A20B-34A2-15D0-4C0172DAF414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931549"/>
                    <a:ext cx="324043" cy="83701"/>
                  </a:xfrm>
                  <a:custGeom>
                    <a:avLst/>
                    <a:gdLst>
                      <a:gd name="connsiteX0" fmla="*/ 324043 w 324043"/>
                      <a:gd name="connsiteY0" fmla="*/ 41851 h 83701"/>
                      <a:gd name="connsiteX1" fmla="*/ 162022 w 324043"/>
                      <a:gd name="connsiteY1" fmla="*/ 83702 h 83701"/>
                      <a:gd name="connsiteX2" fmla="*/ 0 w 324043"/>
                      <a:gd name="connsiteY2" fmla="*/ 41851 h 83701"/>
                      <a:gd name="connsiteX3" fmla="*/ 162022 w 324043"/>
                      <a:gd name="connsiteY3" fmla="*/ 0 h 83701"/>
                      <a:gd name="connsiteX4" fmla="*/ 324043 w 324043"/>
                      <a:gd name="connsiteY4" fmla="*/ 41851 h 8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4043" h="83701">
                        <a:moveTo>
                          <a:pt x="324043" y="41851"/>
                        </a:moveTo>
                        <a:cubicBezTo>
                          <a:pt x="324043" y="64964"/>
                          <a:pt x="251504" y="83702"/>
                          <a:pt x="162022" y="83702"/>
                        </a:cubicBezTo>
                        <a:cubicBezTo>
                          <a:pt x="72540" y="83702"/>
                          <a:pt x="0" y="64965"/>
                          <a:pt x="0" y="41851"/>
                        </a:cubicBezTo>
                        <a:cubicBezTo>
                          <a:pt x="0" y="18737"/>
                          <a:pt x="72540" y="0"/>
                          <a:pt x="162022" y="0"/>
                        </a:cubicBezTo>
                        <a:cubicBezTo>
                          <a:pt x="251504" y="0"/>
                          <a:pt x="324043" y="18737"/>
                          <a:pt x="324043" y="41851"/>
                        </a:cubicBez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7" name="Freeform: Shape 486">
                    <a:extLst>
                      <a:ext uri="{FF2B5EF4-FFF2-40B4-BE49-F238E27FC236}">
                        <a16:creationId xmlns:a16="http://schemas.microsoft.com/office/drawing/2014/main" id="{F7266C63-76D5-FB7B-2113-0A55F3462102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328045"/>
                    <a:ext cx="324043" cy="645355"/>
                  </a:xfrm>
                  <a:custGeom>
                    <a:avLst/>
                    <a:gdLst>
                      <a:gd name="connsiteX0" fmla="*/ 0 w 324043"/>
                      <a:gd name="connsiteY0" fmla="*/ 0 h 645355"/>
                      <a:gd name="connsiteX1" fmla="*/ 324043 w 324043"/>
                      <a:gd name="connsiteY1" fmla="*/ 0 h 645355"/>
                      <a:gd name="connsiteX2" fmla="*/ 324043 w 324043"/>
                      <a:gd name="connsiteY2" fmla="*/ 645355 h 645355"/>
                      <a:gd name="connsiteX3" fmla="*/ 0 w 324043"/>
                      <a:gd name="connsiteY3" fmla="*/ 645355 h 645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4043" h="645355">
                        <a:moveTo>
                          <a:pt x="0" y="0"/>
                        </a:moveTo>
                        <a:lnTo>
                          <a:pt x="324043" y="0"/>
                        </a:lnTo>
                        <a:lnTo>
                          <a:pt x="324043" y="645355"/>
                        </a:lnTo>
                        <a:lnTo>
                          <a:pt x="0" y="645355"/>
                        </a:ln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8" name="Freeform: Shape 487">
                    <a:extLst>
                      <a:ext uri="{FF2B5EF4-FFF2-40B4-BE49-F238E27FC236}">
                        <a16:creationId xmlns:a16="http://schemas.microsoft.com/office/drawing/2014/main" id="{F9298874-0840-5C4D-C905-AA6A7EC8F84C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382025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9" name="Freeform: Shape 488">
                    <a:extLst>
                      <a:ext uri="{FF2B5EF4-FFF2-40B4-BE49-F238E27FC236}">
                        <a16:creationId xmlns:a16="http://schemas.microsoft.com/office/drawing/2014/main" id="{610E3A45-62DE-181F-19B1-34BEAB7CC5B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436006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0" name="Freeform: Shape 489">
                    <a:extLst>
                      <a:ext uri="{FF2B5EF4-FFF2-40B4-BE49-F238E27FC236}">
                        <a16:creationId xmlns:a16="http://schemas.microsoft.com/office/drawing/2014/main" id="{9B8305AC-2D17-389E-EE7B-628F9137FABF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490066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1" name="Freeform: Shape 490">
                    <a:extLst>
                      <a:ext uri="{FF2B5EF4-FFF2-40B4-BE49-F238E27FC236}">
                        <a16:creationId xmlns:a16="http://schemas.microsoft.com/office/drawing/2014/main" id="{4CE50291-4C06-D838-F7EF-57A8FE1B1C45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544047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2" name="Freeform: Shape 491">
                    <a:extLst>
                      <a:ext uri="{FF2B5EF4-FFF2-40B4-BE49-F238E27FC236}">
                        <a16:creationId xmlns:a16="http://schemas.microsoft.com/office/drawing/2014/main" id="{7B7DC8DB-3862-44A9-A95C-95EE1F96FF5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598027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3" name="Freeform: Shape 492">
                    <a:extLst>
                      <a:ext uri="{FF2B5EF4-FFF2-40B4-BE49-F238E27FC236}">
                        <a16:creationId xmlns:a16="http://schemas.microsoft.com/office/drawing/2014/main" id="{92E71AF9-7BF6-81C7-03E5-2D1BDB8FA1D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652008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4" name="Freeform: Shape 493">
                    <a:extLst>
                      <a:ext uri="{FF2B5EF4-FFF2-40B4-BE49-F238E27FC236}">
                        <a16:creationId xmlns:a16="http://schemas.microsoft.com/office/drawing/2014/main" id="{D00F0C5F-1E6C-2226-B579-DCC0BC9F9619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706068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5" name="Freeform: Shape 494">
                    <a:extLst>
                      <a:ext uri="{FF2B5EF4-FFF2-40B4-BE49-F238E27FC236}">
                        <a16:creationId xmlns:a16="http://schemas.microsoft.com/office/drawing/2014/main" id="{8DEAF822-F56D-9A08-EE06-E99986EC0CF3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760048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6" name="Freeform: Shape 495">
                    <a:extLst>
                      <a:ext uri="{FF2B5EF4-FFF2-40B4-BE49-F238E27FC236}">
                        <a16:creationId xmlns:a16="http://schemas.microsoft.com/office/drawing/2014/main" id="{F3EF9DB1-9FF6-3C0F-8CA6-794926AA7FEB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814029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7" name="Freeform: Shape 496">
                    <a:extLst>
                      <a:ext uri="{FF2B5EF4-FFF2-40B4-BE49-F238E27FC236}">
                        <a16:creationId xmlns:a16="http://schemas.microsoft.com/office/drawing/2014/main" id="{B779CC31-60D2-6C8B-8559-82FAA7EC1B93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868090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8" name="Freeform: Shape 497">
                    <a:extLst>
                      <a:ext uri="{FF2B5EF4-FFF2-40B4-BE49-F238E27FC236}">
                        <a16:creationId xmlns:a16="http://schemas.microsoft.com/office/drawing/2014/main" id="{7BC958FC-0C40-63A2-AA39-35B9B5EC6AA5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922070"/>
                    <a:ext cx="324043" cy="41850"/>
                  </a:xfrm>
                  <a:custGeom>
                    <a:avLst/>
                    <a:gdLst>
                      <a:gd name="connsiteX0" fmla="*/ 324043 w 324043"/>
                      <a:gd name="connsiteY0" fmla="*/ 0 h 41850"/>
                      <a:gd name="connsiteX1" fmla="*/ 162022 w 324043"/>
                      <a:gd name="connsiteY1" fmla="*/ 41851 h 41850"/>
                      <a:gd name="connsiteX2" fmla="*/ 0 w 324043"/>
                      <a:gd name="connsiteY2" fmla="*/ 0 h 41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0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9" name="Freeform: Shape 498">
                    <a:extLst>
                      <a:ext uri="{FF2B5EF4-FFF2-40B4-BE49-F238E27FC236}">
                        <a16:creationId xmlns:a16="http://schemas.microsoft.com/office/drawing/2014/main" id="{B048B5DA-9907-14DC-22B5-A33CBA0C2AEB}"/>
                      </a:ext>
                    </a:extLst>
                  </p:cNvPr>
                  <p:cNvSpPr/>
                  <p:nvPr/>
                </p:nvSpPr>
                <p:spPr>
                  <a:xfrm>
                    <a:off x="-3621219" y="3328045"/>
                    <a:ext cx="78400" cy="690097"/>
                  </a:xfrm>
                  <a:custGeom>
                    <a:avLst/>
                    <a:gdLst>
                      <a:gd name="connsiteX0" fmla="*/ 0 w 78400"/>
                      <a:gd name="connsiteY0" fmla="*/ 0 h 690097"/>
                      <a:gd name="connsiteX1" fmla="*/ 78400 w 78400"/>
                      <a:gd name="connsiteY1" fmla="*/ 0 h 690097"/>
                      <a:gd name="connsiteX2" fmla="*/ 78400 w 78400"/>
                      <a:gd name="connsiteY2" fmla="*/ 690098 h 690097"/>
                      <a:gd name="connsiteX3" fmla="*/ 0 w 78400"/>
                      <a:gd name="connsiteY3" fmla="*/ 690098 h 690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8400" h="690097">
                        <a:moveTo>
                          <a:pt x="0" y="0"/>
                        </a:moveTo>
                        <a:lnTo>
                          <a:pt x="78400" y="0"/>
                        </a:lnTo>
                        <a:lnTo>
                          <a:pt x="78400" y="690098"/>
                        </a:lnTo>
                        <a:lnTo>
                          <a:pt x="0" y="690098"/>
                        </a:lnTo>
                        <a:close/>
                      </a:path>
                    </a:pathLst>
                  </a:custGeom>
                  <a:solidFill>
                    <a:srgbClr val="FADE78">
                      <a:alpha val="70000"/>
                    </a:srgbClr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0" name="Freeform: Shape 499">
                    <a:extLst>
                      <a:ext uri="{FF2B5EF4-FFF2-40B4-BE49-F238E27FC236}">
                        <a16:creationId xmlns:a16="http://schemas.microsoft.com/office/drawing/2014/main" id="{C57E376D-4897-A6A3-CBD9-4A2BB7236C08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328045"/>
                    <a:ext cx="39200" cy="690097"/>
                  </a:xfrm>
                  <a:custGeom>
                    <a:avLst/>
                    <a:gdLst>
                      <a:gd name="connsiteX0" fmla="*/ 0 w 39200"/>
                      <a:gd name="connsiteY0" fmla="*/ 0 h 690097"/>
                      <a:gd name="connsiteX1" fmla="*/ 39200 w 39200"/>
                      <a:gd name="connsiteY1" fmla="*/ 0 h 690097"/>
                      <a:gd name="connsiteX2" fmla="*/ 39200 w 39200"/>
                      <a:gd name="connsiteY2" fmla="*/ 690098 h 690097"/>
                      <a:gd name="connsiteX3" fmla="*/ 0 w 39200"/>
                      <a:gd name="connsiteY3" fmla="*/ 690098 h 690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200" h="690097">
                        <a:moveTo>
                          <a:pt x="0" y="0"/>
                        </a:moveTo>
                        <a:lnTo>
                          <a:pt x="39200" y="0"/>
                        </a:lnTo>
                        <a:lnTo>
                          <a:pt x="39200" y="690098"/>
                        </a:lnTo>
                        <a:lnTo>
                          <a:pt x="0" y="690098"/>
                        </a:lnTo>
                        <a:close/>
                      </a:path>
                    </a:pathLst>
                  </a:custGeom>
                  <a:solidFill>
                    <a:srgbClr val="CBCBC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1" name="Freeform: Shape 500">
                    <a:extLst>
                      <a:ext uri="{FF2B5EF4-FFF2-40B4-BE49-F238E27FC236}">
                        <a16:creationId xmlns:a16="http://schemas.microsoft.com/office/drawing/2014/main" id="{ED35CC70-E306-AFA5-9731-884BCD85EB69}"/>
                      </a:ext>
                    </a:extLst>
                  </p:cNvPr>
                  <p:cNvSpPr/>
                  <p:nvPr/>
                </p:nvSpPr>
                <p:spPr>
                  <a:xfrm>
                    <a:off x="-3866782" y="3286194"/>
                    <a:ext cx="324043" cy="83701"/>
                  </a:xfrm>
                  <a:custGeom>
                    <a:avLst/>
                    <a:gdLst>
                      <a:gd name="connsiteX0" fmla="*/ 324043 w 324043"/>
                      <a:gd name="connsiteY0" fmla="*/ 41851 h 83701"/>
                      <a:gd name="connsiteX1" fmla="*/ 162022 w 324043"/>
                      <a:gd name="connsiteY1" fmla="*/ 83702 h 83701"/>
                      <a:gd name="connsiteX2" fmla="*/ 0 w 324043"/>
                      <a:gd name="connsiteY2" fmla="*/ 41851 h 83701"/>
                      <a:gd name="connsiteX3" fmla="*/ 162022 w 324043"/>
                      <a:gd name="connsiteY3" fmla="*/ 0 h 83701"/>
                      <a:gd name="connsiteX4" fmla="*/ 324043 w 324043"/>
                      <a:gd name="connsiteY4" fmla="*/ 41851 h 83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4043" h="83701">
                        <a:moveTo>
                          <a:pt x="324043" y="41851"/>
                        </a:moveTo>
                        <a:cubicBezTo>
                          <a:pt x="324043" y="64965"/>
                          <a:pt x="251504" y="83702"/>
                          <a:pt x="162022" y="83702"/>
                        </a:cubicBezTo>
                        <a:cubicBezTo>
                          <a:pt x="72540" y="83702"/>
                          <a:pt x="0" y="64965"/>
                          <a:pt x="0" y="41851"/>
                        </a:cubicBezTo>
                        <a:cubicBezTo>
                          <a:pt x="0" y="18738"/>
                          <a:pt x="72540" y="0"/>
                          <a:pt x="162022" y="0"/>
                        </a:cubicBezTo>
                        <a:cubicBezTo>
                          <a:pt x="251504" y="0"/>
                          <a:pt x="324043" y="18738"/>
                          <a:pt x="324043" y="41851"/>
                        </a:cubicBezTo>
                        <a:close/>
                      </a:path>
                    </a:pathLst>
                  </a:custGeom>
                  <a:solidFill>
                    <a:srgbClr val="FAAF3B"/>
                  </a:solidFill>
                  <a:ln w="803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2" name="Freeform: Shape 501">
                    <a:extLst>
                      <a:ext uri="{FF2B5EF4-FFF2-40B4-BE49-F238E27FC236}">
                        <a16:creationId xmlns:a16="http://schemas.microsoft.com/office/drawing/2014/main" id="{096E0A6E-889B-2B57-0FD9-2301004EC2C2}"/>
                      </a:ext>
                    </a:extLst>
                  </p:cNvPr>
                  <p:cNvSpPr/>
                  <p:nvPr/>
                </p:nvSpPr>
                <p:spPr>
                  <a:xfrm>
                    <a:off x="-3866862" y="3328045"/>
                    <a:ext cx="324043" cy="41851"/>
                  </a:xfrm>
                  <a:custGeom>
                    <a:avLst/>
                    <a:gdLst>
                      <a:gd name="connsiteX0" fmla="*/ 324043 w 324043"/>
                      <a:gd name="connsiteY0" fmla="*/ 0 h 41851"/>
                      <a:gd name="connsiteX1" fmla="*/ 162022 w 324043"/>
                      <a:gd name="connsiteY1" fmla="*/ 41851 h 41851"/>
                      <a:gd name="connsiteX2" fmla="*/ 0 w 324043"/>
                      <a:gd name="connsiteY2" fmla="*/ 0 h 41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24043" h="41851">
                        <a:moveTo>
                          <a:pt x="324043" y="0"/>
                        </a:moveTo>
                        <a:cubicBezTo>
                          <a:pt x="324043" y="23135"/>
                          <a:pt x="251507" y="41851"/>
                          <a:pt x="162022" y="41851"/>
                        </a:cubicBezTo>
                        <a:cubicBezTo>
                          <a:pt x="72536" y="41851"/>
                          <a:pt x="0" y="23135"/>
                          <a:pt x="0" y="0"/>
                        </a:cubicBezTo>
                      </a:path>
                    </a:pathLst>
                  </a:custGeom>
                  <a:noFill/>
                  <a:ln w="16062" cap="flat">
                    <a:solidFill>
                      <a:srgbClr val="FADE7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594" name="Graphic 9">
                <a:extLst>
                  <a:ext uri="{FF2B5EF4-FFF2-40B4-BE49-F238E27FC236}">
                    <a16:creationId xmlns:a16="http://schemas.microsoft.com/office/drawing/2014/main" id="{DF7B0F74-126C-66DA-7C5D-85F064EDDA6B}"/>
                  </a:ext>
                </a:extLst>
              </p:cNvPr>
              <p:cNvGrpSpPr/>
              <p:nvPr/>
            </p:nvGrpSpPr>
            <p:grpSpPr>
              <a:xfrm>
                <a:off x="-4337504" y="3661888"/>
                <a:ext cx="324043" cy="731948"/>
                <a:chOff x="-4337504" y="3661888"/>
                <a:chExt cx="324043" cy="731948"/>
              </a:xfrm>
            </p:grpSpPr>
            <p:sp>
              <p:nvSpPr>
                <p:cNvPr id="595" name="Freeform: Shape 594">
                  <a:extLst>
                    <a:ext uri="{FF2B5EF4-FFF2-40B4-BE49-F238E27FC236}">
                      <a16:creationId xmlns:a16="http://schemas.microsoft.com/office/drawing/2014/main" id="{00E1BC4D-77B2-B75D-279A-4DBF9CBA5100}"/>
                    </a:ext>
                  </a:extLst>
                </p:cNvPr>
                <p:cNvSpPr/>
                <p:nvPr/>
              </p:nvSpPr>
              <p:spPr>
                <a:xfrm>
                  <a:off x="-4337504" y="4307243"/>
                  <a:ext cx="324043" cy="83701"/>
                </a:xfrm>
                <a:custGeom>
                  <a:avLst/>
                  <a:gdLst>
                    <a:gd name="connsiteX0" fmla="*/ 324043 w 324043"/>
                    <a:gd name="connsiteY0" fmla="*/ 41851 h 83701"/>
                    <a:gd name="connsiteX1" fmla="*/ 162022 w 324043"/>
                    <a:gd name="connsiteY1" fmla="*/ 83702 h 83701"/>
                    <a:gd name="connsiteX2" fmla="*/ 0 w 324043"/>
                    <a:gd name="connsiteY2" fmla="*/ 41851 h 83701"/>
                    <a:gd name="connsiteX3" fmla="*/ 162022 w 324043"/>
                    <a:gd name="connsiteY3" fmla="*/ 0 h 83701"/>
                    <a:gd name="connsiteX4" fmla="*/ 324043 w 324043"/>
                    <a:gd name="connsiteY4" fmla="*/ 41851 h 83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043" h="83701">
                      <a:moveTo>
                        <a:pt x="324043" y="41851"/>
                      </a:moveTo>
                      <a:cubicBezTo>
                        <a:pt x="324043" y="64964"/>
                        <a:pt x="251504" y="83702"/>
                        <a:pt x="162022" y="83702"/>
                      </a:cubicBezTo>
                      <a:cubicBezTo>
                        <a:pt x="72540" y="83702"/>
                        <a:pt x="0" y="64965"/>
                        <a:pt x="0" y="41851"/>
                      </a:cubicBezTo>
                      <a:cubicBezTo>
                        <a:pt x="0" y="18737"/>
                        <a:pt x="72540" y="0"/>
                        <a:pt x="162022" y="0"/>
                      </a:cubicBezTo>
                      <a:cubicBezTo>
                        <a:pt x="251504" y="0"/>
                        <a:pt x="324043" y="18737"/>
                        <a:pt x="324043" y="41851"/>
                      </a:cubicBezTo>
                      <a:close/>
                    </a:path>
                  </a:pathLst>
                </a:custGeom>
                <a:solidFill>
                  <a:srgbClr val="FAAF3B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6" name="Freeform: Shape 595">
                  <a:extLst>
                    <a:ext uri="{FF2B5EF4-FFF2-40B4-BE49-F238E27FC236}">
                      <a16:creationId xmlns:a16="http://schemas.microsoft.com/office/drawing/2014/main" id="{1E63616D-9D43-3938-4738-A0470888A8B9}"/>
                    </a:ext>
                  </a:extLst>
                </p:cNvPr>
                <p:cNvSpPr/>
                <p:nvPr/>
              </p:nvSpPr>
              <p:spPr>
                <a:xfrm>
                  <a:off x="-4337504" y="3703739"/>
                  <a:ext cx="324043" cy="645355"/>
                </a:xfrm>
                <a:custGeom>
                  <a:avLst/>
                  <a:gdLst>
                    <a:gd name="connsiteX0" fmla="*/ 0 w 324043"/>
                    <a:gd name="connsiteY0" fmla="*/ 0 h 645355"/>
                    <a:gd name="connsiteX1" fmla="*/ 324043 w 324043"/>
                    <a:gd name="connsiteY1" fmla="*/ 0 h 645355"/>
                    <a:gd name="connsiteX2" fmla="*/ 324043 w 324043"/>
                    <a:gd name="connsiteY2" fmla="*/ 645356 h 645355"/>
                    <a:gd name="connsiteX3" fmla="*/ 0 w 324043"/>
                    <a:gd name="connsiteY3" fmla="*/ 645356 h 645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4043" h="645355">
                      <a:moveTo>
                        <a:pt x="0" y="0"/>
                      </a:moveTo>
                      <a:lnTo>
                        <a:pt x="324043" y="0"/>
                      </a:lnTo>
                      <a:lnTo>
                        <a:pt x="324043" y="645356"/>
                      </a:lnTo>
                      <a:lnTo>
                        <a:pt x="0" y="645356"/>
                      </a:lnTo>
                      <a:close/>
                    </a:path>
                  </a:pathLst>
                </a:custGeom>
                <a:solidFill>
                  <a:srgbClr val="FAAF3B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7" name="Freeform: Shape 596">
                  <a:extLst>
                    <a:ext uri="{FF2B5EF4-FFF2-40B4-BE49-F238E27FC236}">
                      <a16:creationId xmlns:a16="http://schemas.microsoft.com/office/drawing/2014/main" id="{BC9C7AC4-66A9-C576-2C24-0952A329B121}"/>
                    </a:ext>
                  </a:extLst>
                </p:cNvPr>
                <p:cNvSpPr/>
                <p:nvPr/>
              </p:nvSpPr>
              <p:spPr>
                <a:xfrm>
                  <a:off x="-4337504" y="3757799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8" name="Freeform: Shape 597">
                  <a:extLst>
                    <a:ext uri="{FF2B5EF4-FFF2-40B4-BE49-F238E27FC236}">
                      <a16:creationId xmlns:a16="http://schemas.microsoft.com/office/drawing/2014/main" id="{AFC1D908-58B5-6CEC-55DC-5458C7D4BD0D}"/>
                    </a:ext>
                  </a:extLst>
                </p:cNvPr>
                <p:cNvSpPr/>
                <p:nvPr/>
              </p:nvSpPr>
              <p:spPr>
                <a:xfrm>
                  <a:off x="-4337504" y="3811780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9" name="Freeform: Shape 598">
                  <a:extLst>
                    <a:ext uri="{FF2B5EF4-FFF2-40B4-BE49-F238E27FC236}">
                      <a16:creationId xmlns:a16="http://schemas.microsoft.com/office/drawing/2014/main" id="{50484791-7EA0-9A90-B782-9BBAEBF40AAC}"/>
                    </a:ext>
                  </a:extLst>
                </p:cNvPr>
                <p:cNvSpPr/>
                <p:nvPr/>
              </p:nvSpPr>
              <p:spPr>
                <a:xfrm>
                  <a:off x="-4337504" y="3865760"/>
                  <a:ext cx="324043" cy="41850"/>
                </a:xfrm>
                <a:custGeom>
                  <a:avLst/>
                  <a:gdLst>
                    <a:gd name="connsiteX0" fmla="*/ 324043 w 324043"/>
                    <a:gd name="connsiteY0" fmla="*/ 0 h 41850"/>
                    <a:gd name="connsiteX1" fmla="*/ 162022 w 324043"/>
                    <a:gd name="connsiteY1" fmla="*/ 41851 h 41850"/>
                    <a:gd name="connsiteX2" fmla="*/ 0 w 324043"/>
                    <a:gd name="connsiteY2" fmla="*/ 0 h 41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0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0" name="Freeform: Shape 599">
                  <a:extLst>
                    <a:ext uri="{FF2B5EF4-FFF2-40B4-BE49-F238E27FC236}">
                      <a16:creationId xmlns:a16="http://schemas.microsoft.com/office/drawing/2014/main" id="{D1A80263-879F-8AED-4339-77BA1FF80FA5}"/>
                    </a:ext>
                  </a:extLst>
                </p:cNvPr>
                <p:cNvSpPr/>
                <p:nvPr/>
              </p:nvSpPr>
              <p:spPr>
                <a:xfrm>
                  <a:off x="-4337504" y="3919740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1" name="Freeform: Shape 600">
                  <a:extLst>
                    <a:ext uri="{FF2B5EF4-FFF2-40B4-BE49-F238E27FC236}">
                      <a16:creationId xmlns:a16="http://schemas.microsoft.com/office/drawing/2014/main" id="{21055BD0-A889-7735-EEE3-6F6D57300AD6}"/>
                    </a:ext>
                  </a:extLst>
                </p:cNvPr>
                <p:cNvSpPr/>
                <p:nvPr/>
              </p:nvSpPr>
              <p:spPr>
                <a:xfrm>
                  <a:off x="-4337504" y="3973802"/>
                  <a:ext cx="324043" cy="41850"/>
                </a:xfrm>
                <a:custGeom>
                  <a:avLst/>
                  <a:gdLst>
                    <a:gd name="connsiteX0" fmla="*/ 324043 w 324043"/>
                    <a:gd name="connsiteY0" fmla="*/ 0 h 41850"/>
                    <a:gd name="connsiteX1" fmla="*/ 162022 w 324043"/>
                    <a:gd name="connsiteY1" fmla="*/ 41851 h 41850"/>
                    <a:gd name="connsiteX2" fmla="*/ 0 w 324043"/>
                    <a:gd name="connsiteY2" fmla="*/ 0 h 41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0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2" name="Freeform: Shape 601">
                  <a:extLst>
                    <a:ext uri="{FF2B5EF4-FFF2-40B4-BE49-F238E27FC236}">
                      <a16:creationId xmlns:a16="http://schemas.microsoft.com/office/drawing/2014/main" id="{BD714BB3-4A87-41A9-7FB0-07105E633012}"/>
                    </a:ext>
                  </a:extLst>
                </p:cNvPr>
                <p:cNvSpPr/>
                <p:nvPr/>
              </p:nvSpPr>
              <p:spPr>
                <a:xfrm>
                  <a:off x="-4337504" y="4027782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3" name="Freeform: Shape 602">
                  <a:extLst>
                    <a:ext uri="{FF2B5EF4-FFF2-40B4-BE49-F238E27FC236}">
                      <a16:creationId xmlns:a16="http://schemas.microsoft.com/office/drawing/2014/main" id="{83D01786-874D-331D-9A4F-190B97D7F5E2}"/>
                    </a:ext>
                  </a:extLst>
                </p:cNvPr>
                <p:cNvSpPr/>
                <p:nvPr/>
              </p:nvSpPr>
              <p:spPr>
                <a:xfrm>
                  <a:off x="-4337504" y="4081762"/>
                  <a:ext cx="324043" cy="41850"/>
                </a:xfrm>
                <a:custGeom>
                  <a:avLst/>
                  <a:gdLst>
                    <a:gd name="connsiteX0" fmla="*/ 324043 w 324043"/>
                    <a:gd name="connsiteY0" fmla="*/ 0 h 41850"/>
                    <a:gd name="connsiteX1" fmla="*/ 162022 w 324043"/>
                    <a:gd name="connsiteY1" fmla="*/ 41851 h 41850"/>
                    <a:gd name="connsiteX2" fmla="*/ 0 w 324043"/>
                    <a:gd name="connsiteY2" fmla="*/ 0 h 41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0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4" name="Freeform: Shape 603">
                  <a:extLst>
                    <a:ext uri="{FF2B5EF4-FFF2-40B4-BE49-F238E27FC236}">
                      <a16:creationId xmlns:a16="http://schemas.microsoft.com/office/drawing/2014/main" id="{43542796-6C00-73E1-819B-F2A91191E17C}"/>
                    </a:ext>
                  </a:extLst>
                </p:cNvPr>
                <p:cNvSpPr/>
                <p:nvPr/>
              </p:nvSpPr>
              <p:spPr>
                <a:xfrm>
                  <a:off x="-4337504" y="4135823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5" name="Freeform: Shape 604">
                  <a:extLst>
                    <a:ext uri="{FF2B5EF4-FFF2-40B4-BE49-F238E27FC236}">
                      <a16:creationId xmlns:a16="http://schemas.microsoft.com/office/drawing/2014/main" id="{97DA698C-585A-5CE1-2EEA-445D6EA8169B}"/>
                    </a:ext>
                  </a:extLst>
                </p:cNvPr>
                <p:cNvSpPr/>
                <p:nvPr/>
              </p:nvSpPr>
              <p:spPr>
                <a:xfrm>
                  <a:off x="-4337504" y="4189803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6" name="Freeform: Shape 605">
                  <a:extLst>
                    <a:ext uri="{FF2B5EF4-FFF2-40B4-BE49-F238E27FC236}">
                      <a16:creationId xmlns:a16="http://schemas.microsoft.com/office/drawing/2014/main" id="{7DB683DF-B4CD-E2DB-808C-9F6C9B2A34D2}"/>
                    </a:ext>
                  </a:extLst>
                </p:cNvPr>
                <p:cNvSpPr/>
                <p:nvPr/>
              </p:nvSpPr>
              <p:spPr>
                <a:xfrm>
                  <a:off x="-4337504" y="4243784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7" name="Freeform: Shape 606">
                  <a:extLst>
                    <a:ext uri="{FF2B5EF4-FFF2-40B4-BE49-F238E27FC236}">
                      <a16:creationId xmlns:a16="http://schemas.microsoft.com/office/drawing/2014/main" id="{317A5F8D-9C42-7D92-7FD6-162BD36B5F77}"/>
                    </a:ext>
                  </a:extLst>
                </p:cNvPr>
                <p:cNvSpPr/>
                <p:nvPr/>
              </p:nvSpPr>
              <p:spPr>
                <a:xfrm>
                  <a:off x="-4337504" y="4297844"/>
                  <a:ext cx="324043" cy="41851"/>
                </a:xfrm>
                <a:custGeom>
                  <a:avLst/>
                  <a:gdLst>
                    <a:gd name="connsiteX0" fmla="*/ 324043 w 324043"/>
                    <a:gd name="connsiteY0" fmla="*/ 0 h 41851"/>
                    <a:gd name="connsiteX1" fmla="*/ 162022 w 324043"/>
                    <a:gd name="connsiteY1" fmla="*/ 41851 h 41851"/>
                    <a:gd name="connsiteX2" fmla="*/ 0 w 324043"/>
                    <a:gd name="connsiteY2" fmla="*/ 0 h 4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1">
                      <a:moveTo>
                        <a:pt x="324043" y="0"/>
                      </a:moveTo>
                      <a:cubicBezTo>
                        <a:pt x="324043" y="23135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5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8" name="Freeform: Shape 607">
                  <a:extLst>
                    <a:ext uri="{FF2B5EF4-FFF2-40B4-BE49-F238E27FC236}">
                      <a16:creationId xmlns:a16="http://schemas.microsoft.com/office/drawing/2014/main" id="{3F2E9C12-C8E1-5FA2-632C-539D82F31E3A}"/>
                    </a:ext>
                  </a:extLst>
                </p:cNvPr>
                <p:cNvSpPr/>
                <p:nvPr/>
              </p:nvSpPr>
              <p:spPr>
                <a:xfrm>
                  <a:off x="-4091861" y="3703739"/>
                  <a:ext cx="78400" cy="690097"/>
                </a:xfrm>
                <a:custGeom>
                  <a:avLst/>
                  <a:gdLst>
                    <a:gd name="connsiteX0" fmla="*/ 0 w 78400"/>
                    <a:gd name="connsiteY0" fmla="*/ 0 h 690097"/>
                    <a:gd name="connsiteX1" fmla="*/ 78400 w 78400"/>
                    <a:gd name="connsiteY1" fmla="*/ 0 h 690097"/>
                    <a:gd name="connsiteX2" fmla="*/ 78400 w 78400"/>
                    <a:gd name="connsiteY2" fmla="*/ 690098 h 690097"/>
                    <a:gd name="connsiteX3" fmla="*/ 0 w 78400"/>
                    <a:gd name="connsiteY3" fmla="*/ 690098 h 690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400" h="690097">
                      <a:moveTo>
                        <a:pt x="0" y="0"/>
                      </a:moveTo>
                      <a:lnTo>
                        <a:pt x="78400" y="0"/>
                      </a:lnTo>
                      <a:lnTo>
                        <a:pt x="78400" y="690098"/>
                      </a:lnTo>
                      <a:lnTo>
                        <a:pt x="0" y="690098"/>
                      </a:lnTo>
                      <a:close/>
                    </a:path>
                  </a:pathLst>
                </a:custGeom>
                <a:solidFill>
                  <a:srgbClr val="FADE78">
                    <a:alpha val="70000"/>
                  </a:srgbClr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9" name="Freeform: Shape 608">
                  <a:extLst>
                    <a:ext uri="{FF2B5EF4-FFF2-40B4-BE49-F238E27FC236}">
                      <a16:creationId xmlns:a16="http://schemas.microsoft.com/office/drawing/2014/main" id="{0A9FE051-FE64-907C-ECB7-07586F3F6AA0}"/>
                    </a:ext>
                  </a:extLst>
                </p:cNvPr>
                <p:cNvSpPr/>
                <p:nvPr/>
              </p:nvSpPr>
              <p:spPr>
                <a:xfrm>
                  <a:off x="-4337504" y="3703739"/>
                  <a:ext cx="39200" cy="690097"/>
                </a:xfrm>
                <a:custGeom>
                  <a:avLst/>
                  <a:gdLst>
                    <a:gd name="connsiteX0" fmla="*/ 0 w 39200"/>
                    <a:gd name="connsiteY0" fmla="*/ 0 h 690097"/>
                    <a:gd name="connsiteX1" fmla="*/ 39200 w 39200"/>
                    <a:gd name="connsiteY1" fmla="*/ 0 h 690097"/>
                    <a:gd name="connsiteX2" fmla="*/ 39200 w 39200"/>
                    <a:gd name="connsiteY2" fmla="*/ 690098 h 690097"/>
                    <a:gd name="connsiteX3" fmla="*/ 0 w 39200"/>
                    <a:gd name="connsiteY3" fmla="*/ 690098 h 690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200" h="690097">
                      <a:moveTo>
                        <a:pt x="0" y="0"/>
                      </a:moveTo>
                      <a:lnTo>
                        <a:pt x="39200" y="0"/>
                      </a:lnTo>
                      <a:lnTo>
                        <a:pt x="39200" y="690098"/>
                      </a:lnTo>
                      <a:lnTo>
                        <a:pt x="0" y="690098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0" name="Freeform: Shape 609">
                  <a:extLst>
                    <a:ext uri="{FF2B5EF4-FFF2-40B4-BE49-F238E27FC236}">
                      <a16:creationId xmlns:a16="http://schemas.microsoft.com/office/drawing/2014/main" id="{BEC953E1-D889-308B-CFF4-39783AA36772}"/>
                    </a:ext>
                  </a:extLst>
                </p:cNvPr>
                <p:cNvSpPr/>
                <p:nvPr/>
              </p:nvSpPr>
              <p:spPr>
                <a:xfrm>
                  <a:off x="-4337504" y="3661888"/>
                  <a:ext cx="324043" cy="83701"/>
                </a:xfrm>
                <a:custGeom>
                  <a:avLst/>
                  <a:gdLst>
                    <a:gd name="connsiteX0" fmla="*/ 324043 w 324043"/>
                    <a:gd name="connsiteY0" fmla="*/ 41851 h 83701"/>
                    <a:gd name="connsiteX1" fmla="*/ 162022 w 324043"/>
                    <a:gd name="connsiteY1" fmla="*/ 83702 h 83701"/>
                    <a:gd name="connsiteX2" fmla="*/ 0 w 324043"/>
                    <a:gd name="connsiteY2" fmla="*/ 41851 h 83701"/>
                    <a:gd name="connsiteX3" fmla="*/ 162022 w 324043"/>
                    <a:gd name="connsiteY3" fmla="*/ 0 h 83701"/>
                    <a:gd name="connsiteX4" fmla="*/ 324043 w 324043"/>
                    <a:gd name="connsiteY4" fmla="*/ 41851 h 83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043" h="83701">
                      <a:moveTo>
                        <a:pt x="324043" y="41851"/>
                      </a:moveTo>
                      <a:cubicBezTo>
                        <a:pt x="324043" y="64965"/>
                        <a:pt x="251504" y="83702"/>
                        <a:pt x="162022" y="83702"/>
                      </a:cubicBezTo>
                      <a:cubicBezTo>
                        <a:pt x="72540" y="83702"/>
                        <a:pt x="0" y="64965"/>
                        <a:pt x="0" y="41851"/>
                      </a:cubicBezTo>
                      <a:cubicBezTo>
                        <a:pt x="0" y="18738"/>
                        <a:pt x="72540" y="0"/>
                        <a:pt x="162022" y="0"/>
                      </a:cubicBezTo>
                      <a:cubicBezTo>
                        <a:pt x="251504" y="0"/>
                        <a:pt x="324043" y="18737"/>
                        <a:pt x="324043" y="41851"/>
                      </a:cubicBezTo>
                      <a:close/>
                    </a:path>
                  </a:pathLst>
                </a:custGeom>
                <a:solidFill>
                  <a:srgbClr val="FAAF3B"/>
                </a:solidFill>
                <a:ln w="80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1" name="Freeform: Shape 610">
                  <a:extLst>
                    <a:ext uri="{FF2B5EF4-FFF2-40B4-BE49-F238E27FC236}">
                      <a16:creationId xmlns:a16="http://schemas.microsoft.com/office/drawing/2014/main" id="{4FD082CF-34C9-A572-EDEB-E504323DB6B7}"/>
                    </a:ext>
                  </a:extLst>
                </p:cNvPr>
                <p:cNvSpPr/>
                <p:nvPr/>
              </p:nvSpPr>
              <p:spPr>
                <a:xfrm>
                  <a:off x="-4337504" y="3703739"/>
                  <a:ext cx="324043" cy="41850"/>
                </a:xfrm>
                <a:custGeom>
                  <a:avLst/>
                  <a:gdLst>
                    <a:gd name="connsiteX0" fmla="*/ 324043 w 324043"/>
                    <a:gd name="connsiteY0" fmla="*/ 0 h 41850"/>
                    <a:gd name="connsiteX1" fmla="*/ 162022 w 324043"/>
                    <a:gd name="connsiteY1" fmla="*/ 41851 h 41850"/>
                    <a:gd name="connsiteX2" fmla="*/ 0 w 324043"/>
                    <a:gd name="connsiteY2" fmla="*/ 0 h 41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043" h="41850">
                      <a:moveTo>
                        <a:pt x="324043" y="0"/>
                      </a:moveTo>
                      <a:cubicBezTo>
                        <a:pt x="324043" y="23134"/>
                        <a:pt x="251507" y="41851"/>
                        <a:pt x="162022" y="41851"/>
                      </a:cubicBezTo>
                      <a:cubicBezTo>
                        <a:pt x="72536" y="41851"/>
                        <a:pt x="0" y="23134"/>
                        <a:pt x="0" y="0"/>
                      </a:cubicBezTo>
                    </a:path>
                  </a:pathLst>
                </a:custGeom>
                <a:noFill/>
                <a:ln w="16062" cap="flat">
                  <a:solidFill>
                    <a:srgbClr val="FADE7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38" name="Group 737">
              <a:extLst>
                <a:ext uri="{FF2B5EF4-FFF2-40B4-BE49-F238E27FC236}">
                  <a16:creationId xmlns:a16="http://schemas.microsoft.com/office/drawing/2014/main" id="{C07F69EA-86C5-6E04-61B0-303107EEDF88}"/>
                </a:ext>
              </a:extLst>
            </p:cNvPr>
            <p:cNvGrpSpPr/>
            <p:nvPr/>
          </p:nvGrpSpPr>
          <p:grpSpPr>
            <a:xfrm>
              <a:off x="-4614957" y="4250772"/>
              <a:ext cx="324124" cy="731948"/>
              <a:chOff x="-4614957" y="4250772"/>
              <a:chExt cx="324124" cy="731948"/>
            </a:xfrm>
          </p:grpSpPr>
          <p:sp>
            <p:nvSpPr>
              <p:cNvPr id="614" name="Freeform: Shape 613">
                <a:extLst>
                  <a:ext uri="{FF2B5EF4-FFF2-40B4-BE49-F238E27FC236}">
                    <a16:creationId xmlns:a16="http://schemas.microsoft.com/office/drawing/2014/main" id="{598FBA2E-8A7F-5197-D101-17FBEC31E11B}"/>
                  </a:ext>
                </a:extLst>
              </p:cNvPr>
              <p:cNvSpPr/>
              <p:nvPr/>
            </p:nvSpPr>
            <p:spPr>
              <a:xfrm>
                <a:off x="-4614876" y="4896127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5" name="Freeform: Shape 614">
                <a:extLst>
                  <a:ext uri="{FF2B5EF4-FFF2-40B4-BE49-F238E27FC236}">
                    <a16:creationId xmlns:a16="http://schemas.microsoft.com/office/drawing/2014/main" id="{B3F5D86C-4E77-2982-DE3E-89C2578AC54B}"/>
                  </a:ext>
                </a:extLst>
              </p:cNvPr>
              <p:cNvSpPr/>
              <p:nvPr/>
            </p:nvSpPr>
            <p:spPr>
              <a:xfrm>
                <a:off x="-4614876" y="4292623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6 h 645355"/>
                  <a:gd name="connsiteX3" fmla="*/ 0 w 324043"/>
                  <a:gd name="connsiteY3" fmla="*/ 645356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6"/>
                    </a:lnTo>
                    <a:lnTo>
                      <a:pt x="0" y="645356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6" name="Freeform: Shape 615">
                <a:extLst>
                  <a:ext uri="{FF2B5EF4-FFF2-40B4-BE49-F238E27FC236}">
                    <a16:creationId xmlns:a16="http://schemas.microsoft.com/office/drawing/2014/main" id="{B92B19CD-F753-A9EA-784B-E605A8051F8B}"/>
                  </a:ext>
                </a:extLst>
              </p:cNvPr>
              <p:cNvSpPr/>
              <p:nvPr/>
            </p:nvSpPr>
            <p:spPr>
              <a:xfrm>
                <a:off x="-4614957" y="434668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7" name="Freeform: Shape 616">
                <a:extLst>
                  <a:ext uri="{FF2B5EF4-FFF2-40B4-BE49-F238E27FC236}">
                    <a16:creationId xmlns:a16="http://schemas.microsoft.com/office/drawing/2014/main" id="{3DE46A47-C606-C079-689A-6EE1C2432DDF}"/>
                  </a:ext>
                </a:extLst>
              </p:cNvPr>
              <p:cNvSpPr/>
              <p:nvPr/>
            </p:nvSpPr>
            <p:spPr>
              <a:xfrm>
                <a:off x="-4614957" y="44006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8" name="Freeform: Shape 617">
                <a:extLst>
                  <a:ext uri="{FF2B5EF4-FFF2-40B4-BE49-F238E27FC236}">
                    <a16:creationId xmlns:a16="http://schemas.microsoft.com/office/drawing/2014/main" id="{C44CBFA6-E7E4-2D43-3A86-72CE585BE2DE}"/>
                  </a:ext>
                </a:extLst>
              </p:cNvPr>
              <p:cNvSpPr/>
              <p:nvPr/>
            </p:nvSpPr>
            <p:spPr>
              <a:xfrm>
                <a:off x="-4614957" y="445464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9" name="Freeform: Shape 618">
                <a:extLst>
                  <a:ext uri="{FF2B5EF4-FFF2-40B4-BE49-F238E27FC236}">
                    <a16:creationId xmlns:a16="http://schemas.microsoft.com/office/drawing/2014/main" id="{08FB4A54-01C9-F5ED-CB55-A66BF637A616}"/>
                  </a:ext>
                </a:extLst>
              </p:cNvPr>
              <p:cNvSpPr/>
              <p:nvPr/>
            </p:nvSpPr>
            <p:spPr>
              <a:xfrm>
                <a:off x="-4614957" y="450870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0" name="Freeform: Shape 619">
                <a:extLst>
                  <a:ext uri="{FF2B5EF4-FFF2-40B4-BE49-F238E27FC236}">
                    <a16:creationId xmlns:a16="http://schemas.microsoft.com/office/drawing/2014/main" id="{E23C3173-C438-8222-ECA3-750D677AF492}"/>
                  </a:ext>
                </a:extLst>
              </p:cNvPr>
              <p:cNvSpPr/>
              <p:nvPr/>
            </p:nvSpPr>
            <p:spPr>
              <a:xfrm>
                <a:off x="-4614957" y="456268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1" name="Freeform: Shape 620">
                <a:extLst>
                  <a:ext uri="{FF2B5EF4-FFF2-40B4-BE49-F238E27FC236}">
                    <a16:creationId xmlns:a16="http://schemas.microsoft.com/office/drawing/2014/main" id="{21E8BBA5-56D3-E8B5-E23E-55437764FCC9}"/>
                  </a:ext>
                </a:extLst>
              </p:cNvPr>
              <p:cNvSpPr/>
              <p:nvPr/>
            </p:nvSpPr>
            <p:spPr>
              <a:xfrm>
                <a:off x="-4614957" y="461666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2" name="Freeform: Shape 621">
                <a:extLst>
                  <a:ext uri="{FF2B5EF4-FFF2-40B4-BE49-F238E27FC236}">
                    <a16:creationId xmlns:a16="http://schemas.microsoft.com/office/drawing/2014/main" id="{29A136DD-CF64-2C7B-9B7C-C513284571A5}"/>
                  </a:ext>
                </a:extLst>
              </p:cNvPr>
              <p:cNvSpPr/>
              <p:nvPr/>
            </p:nvSpPr>
            <p:spPr>
              <a:xfrm>
                <a:off x="-4614957" y="467072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3" name="Freeform: Shape 622">
                <a:extLst>
                  <a:ext uri="{FF2B5EF4-FFF2-40B4-BE49-F238E27FC236}">
                    <a16:creationId xmlns:a16="http://schemas.microsoft.com/office/drawing/2014/main" id="{4130B0D7-A45E-A556-7A30-01F50DB26429}"/>
                  </a:ext>
                </a:extLst>
              </p:cNvPr>
              <p:cNvSpPr/>
              <p:nvPr/>
            </p:nvSpPr>
            <p:spPr>
              <a:xfrm>
                <a:off x="-4614957" y="472470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4" name="Freeform: Shape 623">
                <a:extLst>
                  <a:ext uri="{FF2B5EF4-FFF2-40B4-BE49-F238E27FC236}">
                    <a16:creationId xmlns:a16="http://schemas.microsoft.com/office/drawing/2014/main" id="{89C25015-DDF7-5FBD-5270-CF8C1F6CD643}"/>
                  </a:ext>
                </a:extLst>
              </p:cNvPr>
              <p:cNvSpPr/>
              <p:nvPr/>
            </p:nvSpPr>
            <p:spPr>
              <a:xfrm>
                <a:off x="-4614957" y="477868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5" name="Freeform: Shape 624">
                <a:extLst>
                  <a:ext uri="{FF2B5EF4-FFF2-40B4-BE49-F238E27FC236}">
                    <a16:creationId xmlns:a16="http://schemas.microsoft.com/office/drawing/2014/main" id="{39C54029-53FE-20E6-678A-9E13E608A29E}"/>
                  </a:ext>
                </a:extLst>
              </p:cNvPr>
              <p:cNvSpPr/>
              <p:nvPr/>
            </p:nvSpPr>
            <p:spPr>
              <a:xfrm>
                <a:off x="-4614957" y="483266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6" name="Freeform: Shape 625">
                <a:extLst>
                  <a:ext uri="{FF2B5EF4-FFF2-40B4-BE49-F238E27FC236}">
                    <a16:creationId xmlns:a16="http://schemas.microsoft.com/office/drawing/2014/main" id="{F6633B4A-6D0B-70E6-2AF2-C888D00D3E15}"/>
                  </a:ext>
                </a:extLst>
              </p:cNvPr>
              <p:cNvSpPr/>
              <p:nvPr/>
            </p:nvSpPr>
            <p:spPr>
              <a:xfrm>
                <a:off x="-4614957" y="488672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7" name="Freeform: Shape 626">
                <a:extLst>
                  <a:ext uri="{FF2B5EF4-FFF2-40B4-BE49-F238E27FC236}">
                    <a16:creationId xmlns:a16="http://schemas.microsoft.com/office/drawing/2014/main" id="{F4C22BA4-63FA-CF37-DFE1-4F9D00F13154}"/>
                  </a:ext>
                </a:extLst>
              </p:cNvPr>
              <p:cNvSpPr/>
              <p:nvPr/>
            </p:nvSpPr>
            <p:spPr>
              <a:xfrm>
                <a:off x="-4369314" y="4292623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9" name="Freeform: Shape 628">
                <a:extLst>
                  <a:ext uri="{FF2B5EF4-FFF2-40B4-BE49-F238E27FC236}">
                    <a16:creationId xmlns:a16="http://schemas.microsoft.com/office/drawing/2014/main" id="{77D3208D-9536-094F-BEB2-184727C717EB}"/>
                  </a:ext>
                </a:extLst>
              </p:cNvPr>
              <p:cNvSpPr/>
              <p:nvPr/>
            </p:nvSpPr>
            <p:spPr>
              <a:xfrm>
                <a:off x="-4614876" y="4250772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0" name="Freeform: Shape 629">
                <a:extLst>
                  <a:ext uri="{FF2B5EF4-FFF2-40B4-BE49-F238E27FC236}">
                    <a16:creationId xmlns:a16="http://schemas.microsoft.com/office/drawing/2014/main" id="{759DAA99-C279-D44C-D09E-7D114898C848}"/>
                  </a:ext>
                </a:extLst>
              </p:cNvPr>
              <p:cNvSpPr/>
              <p:nvPr/>
            </p:nvSpPr>
            <p:spPr>
              <a:xfrm>
                <a:off x="-4614957" y="429262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7" name="Group 736">
              <a:extLst>
                <a:ext uri="{FF2B5EF4-FFF2-40B4-BE49-F238E27FC236}">
                  <a16:creationId xmlns:a16="http://schemas.microsoft.com/office/drawing/2014/main" id="{AEC4D15A-1D92-6BC6-AF19-469F766C7120}"/>
                </a:ext>
              </a:extLst>
            </p:cNvPr>
            <p:cNvGrpSpPr/>
            <p:nvPr/>
          </p:nvGrpSpPr>
          <p:grpSpPr>
            <a:xfrm>
              <a:off x="-4614957" y="3706711"/>
              <a:ext cx="324124" cy="731948"/>
              <a:chOff x="-4614957" y="3706711"/>
              <a:chExt cx="324124" cy="731948"/>
            </a:xfrm>
          </p:grpSpPr>
          <p:sp>
            <p:nvSpPr>
              <p:cNvPr id="632" name="Freeform: Shape 631">
                <a:extLst>
                  <a:ext uri="{FF2B5EF4-FFF2-40B4-BE49-F238E27FC236}">
                    <a16:creationId xmlns:a16="http://schemas.microsoft.com/office/drawing/2014/main" id="{2B6690DA-8B0A-0910-72EF-684103CD0A45}"/>
                  </a:ext>
                </a:extLst>
              </p:cNvPr>
              <p:cNvSpPr/>
              <p:nvPr/>
            </p:nvSpPr>
            <p:spPr>
              <a:xfrm>
                <a:off x="-4614876" y="4352066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3" name="Freeform: Shape 632">
                <a:extLst>
                  <a:ext uri="{FF2B5EF4-FFF2-40B4-BE49-F238E27FC236}">
                    <a16:creationId xmlns:a16="http://schemas.microsoft.com/office/drawing/2014/main" id="{B4A6509D-1B75-088C-A400-D97F366E2A0C}"/>
                  </a:ext>
                </a:extLst>
              </p:cNvPr>
              <p:cNvSpPr/>
              <p:nvPr/>
            </p:nvSpPr>
            <p:spPr>
              <a:xfrm>
                <a:off x="-4614876" y="3748562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4" name="Freeform: Shape 633">
                <a:extLst>
                  <a:ext uri="{FF2B5EF4-FFF2-40B4-BE49-F238E27FC236}">
                    <a16:creationId xmlns:a16="http://schemas.microsoft.com/office/drawing/2014/main" id="{A4BCCB72-330B-BA68-1F05-BAB108D7082C}"/>
                  </a:ext>
                </a:extLst>
              </p:cNvPr>
              <p:cNvSpPr/>
              <p:nvPr/>
            </p:nvSpPr>
            <p:spPr>
              <a:xfrm>
                <a:off x="-4614957" y="3802542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5" name="Freeform: Shape 634">
                <a:extLst>
                  <a:ext uri="{FF2B5EF4-FFF2-40B4-BE49-F238E27FC236}">
                    <a16:creationId xmlns:a16="http://schemas.microsoft.com/office/drawing/2014/main" id="{1FF78462-D48E-BE33-E6AC-BDB5B57459A7}"/>
                  </a:ext>
                </a:extLst>
              </p:cNvPr>
              <p:cNvSpPr/>
              <p:nvPr/>
            </p:nvSpPr>
            <p:spPr>
              <a:xfrm>
                <a:off x="-4614957" y="3856603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6" name="Freeform: Shape 635">
                <a:extLst>
                  <a:ext uri="{FF2B5EF4-FFF2-40B4-BE49-F238E27FC236}">
                    <a16:creationId xmlns:a16="http://schemas.microsoft.com/office/drawing/2014/main" id="{92F09291-F66A-0820-C8A2-D2214DF32B18}"/>
                  </a:ext>
                </a:extLst>
              </p:cNvPr>
              <p:cNvSpPr/>
              <p:nvPr/>
            </p:nvSpPr>
            <p:spPr>
              <a:xfrm>
                <a:off x="-4614957" y="3910583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4"/>
                      <a:pt x="251507" y="41851"/>
                      <a:pt x="162022" y="41851"/>
                    </a:cubicBezTo>
                    <a:cubicBezTo>
                      <a:pt x="72536" y="41851"/>
                      <a:pt x="0" y="23134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7" name="Freeform: Shape 636">
                <a:extLst>
                  <a:ext uri="{FF2B5EF4-FFF2-40B4-BE49-F238E27FC236}">
                    <a16:creationId xmlns:a16="http://schemas.microsoft.com/office/drawing/2014/main" id="{8B0959D1-48A1-9651-9F6E-224AE7B8685A}"/>
                  </a:ext>
                </a:extLst>
              </p:cNvPr>
              <p:cNvSpPr/>
              <p:nvPr/>
            </p:nvSpPr>
            <p:spPr>
              <a:xfrm>
                <a:off x="-4614957" y="39645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8" name="Freeform: Shape 637">
                <a:extLst>
                  <a:ext uri="{FF2B5EF4-FFF2-40B4-BE49-F238E27FC236}">
                    <a16:creationId xmlns:a16="http://schemas.microsoft.com/office/drawing/2014/main" id="{06014313-BFF8-01A1-75B4-A5F1C96DFAC6}"/>
                  </a:ext>
                </a:extLst>
              </p:cNvPr>
              <p:cNvSpPr/>
              <p:nvPr/>
            </p:nvSpPr>
            <p:spPr>
              <a:xfrm>
                <a:off x="-4614957" y="401862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9" name="Freeform: Shape 638">
                <a:extLst>
                  <a:ext uri="{FF2B5EF4-FFF2-40B4-BE49-F238E27FC236}">
                    <a16:creationId xmlns:a16="http://schemas.microsoft.com/office/drawing/2014/main" id="{69340F31-F7B1-0D58-9953-E63815CA91A9}"/>
                  </a:ext>
                </a:extLst>
              </p:cNvPr>
              <p:cNvSpPr/>
              <p:nvPr/>
            </p:nvSpPr>
            <p:spPr>
              <a:xfrm>
                <a:off x="-4614957" y="407260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0" name="Freeform: Shape 639">
                <a:extLst>
                  <a:ext uri="{FF2B5EF4-FFF2-40B4-BE49-F238E27FC236}">
                    <a16:creationId xmlns:a16="http://schemas.microsoft.com/office/drawing/2014/main" id="{0852B7DA-1104-9E6B-F223-AE10021561F9}"/>
                  </a:ext>
                </a:extLst>
              </p:cNvPr>
              <p:cNvSpPr/>
              <p:nvPr/>
            </p:nvSpPr>
            <p:spPr>
              <a:xfrm>
                <a:off x="-4614957" y="412658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1" name="Freeform: Shape 640">
                <a:extLst>
                  <a:ext uri="{FF2B5EF4-FFF2-40B4-BE49-F238E27FC236}">
                    <a16:creationId xmlns:a16="http://schemas.microsoft.com/office/drawing/2014/main" id="{6AFD80D6-66B8-6D05-FAA8-0C29FC20987B}"/>
                  </a:ext>
                </a:extLst>
              </p:cNvPr>
              <p:cNvSpPr/>
              <p:nvPr/>
            </p:nvSpPr>
            <p:spPr>
              <a:xfrm>
                <a:off x="-4614957" y="418056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2" name="Freeform: Shape 641">
                <a:extLst>
                  <a:ext uri="{FF2B5EF4-FFF2-40B4-BE49-F238E27FC236}">
                    <a16:creationId xmlns:a16="http://schemas.microsoft.com/office/drawing/2014/main" id="{6B18624B-2145-F851-2338-21FBC520B6F4}"/>
                  </a:ext>
                </a:extLst>
              </p:cNvPr>
              <p:cNvSpPr/>
              <p:nvPr/>
            </p:nvSpPr>
            <p:spPr>
              <a:xfrm>
                <a:off x="-4614957" y="423462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3" name="Freeform: Shape 642">
                <a:extLst>
                  <a:ext uri="{FF2B5EF4-FFF2-40B4-BE49-F238E27FC236}">
                    <a16:creationId xmlns:a16="http://schemas.microsoft.com/office/drawing/2014/main" id="{48AB50DD-0603-7C28-92BA-B3E20375D346}"/>
                  </a:ext>
                </a:extLst>
              </p:cNvPr>
              <p:cNvSpPr/>
              <p:nvPr/>
            </p:nvSpPr>
            <p:spPr>
              <a:xfrm>
                <a:off x="-4614957" y="428860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4" name="Freeform: Shape 643">
                <a:extLst>
                  <a:ext uri="{FF2B5EF4-FFF2-40B4-BE49-F238E27FC236}">
                    <a16:creationId xmlns:a16="http://schemas.microsoft.com/office/drawing/2014/main" id="{C7E42562-A5E9-0C0C-86AF-894C18079916}"/>
                  </a:ext>
                </a:extLst>
              </p:cNvPr>
              <p:cNvSpPr/>
              <p:nvPr/>
            </p:nvSpPr>
            <p:spPr>
              <a:xfrm>
                <a:off x="-4614876" y="4342587"/>
                <a:ext cx="323962" cy="41851"/>
              </a:xfrm>
              <a:custGeom>
                <a:avLst/>
                <a:gdLst>
                  <a:gd name="connsiteX0" fmla="*/ 323963 w 323962"/>
                  <a:gd name="connsiteY0" fmla="*/ 0 h 41851"/>
                  <a:gd name="connsiteX1" fmla="*/ 161941 w 323962"/>
                  <a:gd name="connsiteY1" fmla="*/ 41851 h 41851"/>
                  <a:gd name="connsiteX2" fmla="*/ 0 w 323962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3962" h="41851">
                    <a:moveTo>
                      <a:pt x="323963" y="0"/>
                    </a:moveTo>
                    <a:cubicBezTo>
                      <a:pt x="323963" y="23135"/>
                      <a:pt x="251427" y="41851"/>
                      <a:pt x="161941" y="41851"/>
                    </a:cubicBezTo>
                    <a:cubicBezTo>
                      <a:pt x="7245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5" name="Freeform: Shape 644">
                <a:extLst>
                  <a:ext uri="{FF2B5EF4-FFF2-40B4-BE49-F238E27FC236}">
                    <a16:creationId xmlns:a16="http://schemas.microsoft.com/office/drawing/2014/main" id="{628C0118-FDD0-6CEC-DB52-DAC85F2A1000}"/>
                  </a:ext>
                </a:extLst>
              </p:cNvPr>
              <p:cNvSpPr/>
              <p:nvPr/>
            </p:nvSpPr>
            <p:spPr>
              <a:xfrm>
                <a:off x="-4369314" y="3748562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7 h 690097"/>
                  <a:gd name="connsiteX3" fmla="*/ 0 w 78400"/>
                  <a:gd name="connsiteY3" fmla="*/ 690097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7"/>
                    </a:lnTo>
                    <a:lnTo>
                      <a:pt x="0" y="690097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7" name="Freeform: Shape 646">
                <a:extLst>
                  <a:ext uri="{FF2B5EF4-FFF2-40B4-BE49-F238E27FC236}">
                    <a16:creationId xmlns:a16="http://schemas.microsoft.com/office/drawing/2014/main" id="{A75A12F9-0DA7-D0BB-1A86-5F5BA9F2F6BF}"/>
                  </a:ext>
                </a:extLst>
              </p:cNvPr>
              <p:cNvSpPr/>
              <p:nvPr/>
            </p:nvSpPr>
            <p:spPr>
              <a:xfrm>
                <a:off x="-4614876" y="3706711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8" name="Freeform: Shape 647">
                <a:extLst>
                  <a:ext uri="{FF2B5EF4-FFF2-40B4-BE49-F238E27FC236}">
                    <a16:creationId xmlns:a16="http://schemas.microsoft.com/office/drawing/2014/main" id="{AD2B7CE7-A948-B0E2-B546-F3F86DDFF6CC}"/>
                  </a:ext>
                </a:extLst>
              </p:cNvPr>
              <p:cNvSpPr/>
              <p:nvPr/>
            </p:nvSpPr>
            <p:spPr>
              <a:xfrm>
                <a:off x="-4614957" y="3748562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6" name="Group 735">
              <a:extLst>
                <a:ext uri="{FF2B5EF4-FFF2-40B4-BE49-F238E27FC236}">
                  <a16:creationId xmlns:a16="http://schemas.microsoft.com/office/drawing/2014/main" id="{224BCB0A-B7F9-B42D-C297-0C7CBE5AD866}"/>
                </a:ext>
              </a:extLst>
            </p:cNvPr>
            <p:cNvGrpSpPr/>
            <p:nvPr/>
          </p:nvGrpSpPr>
          <p:grpSpPr>
            <a:xfrm>
              <a:off x="-5116685" y="4319292"/>
              <a:ext cx="324043" cy="731948"/>
              <a:chOff x="-5116685" y="4319292"/>
              <a:chExt cx="324043" cy="731948"/>
            </a:xfrm>
          </p:grpSpPr>
          <p:sp>
            <p:nvSpPr>
              <p:cNvPr id="650" name="Freeform: Shape 649">
                <a:extLst>
                  <a:ext uri="{FF2B5EF4-FFF2-40B4-BE49-F238E27FC236}">
                    <a16:creationId xmlns:a16="http://schemas.microsoft.com/office/drawing/2014/main" id="{559DCF39-FB79-36B1-5033-F39DB9058C37}"/>
                  </a:ext>
                </a:extLst>
              </p:cNvPr>
              <p:cNvSpPr/>
              <p:nvPr/>
            </p:nvSpPr>
            <p:spPr>
              <a:xfrm>
                <a:off x="-5116685" y="4964647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1" name="Freeform: Shape 650">
                <a:extLst>
                  <a:ext uri="{FF2B5EF4-FFF2-40B4-BE49-F238E27FC236}">
                    <a16:creationId xmlns:a16="http://schemas.microsoft.com/office/drawing/2014/main" id="{5977B402-84A4-2F96-E000-7BC5A74D4B0C}"/>
                  </a:ext>
                </a:extLst>
              </p:cNvPr>
              <p:cNvSpPr/>
              <p:nvPr/>
            </p:nvSpPr>
            <p:spPr>
              <a:xfrm>
                <a:off x="-5116685" y="4361143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2" name="Freeform: Shape 651">
                <a:extLst>
                  <a:ext uri="{FF2B5EF4-FFF2-40B4-BE49-F238E27FC236}">
                    <a16:creationId xmlns:a16="http://schemas.microsoft.com/office/drawing/2014/main" id="{E87C0423-77E1-EC03-F9BD-A113EC979EAB}"/>
                  </a:ext>
                </a:extLst>
              </p:cNvPr>
              <p:cNvSpPr/>
              <p:nvPr/>
            </p:nvSpPr>
            <p:spPr>
              <a:xfrm>
                <a:off x="-5116685" y="4415203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2873BC0A-F277-8764-465F-07D9B08B7868}"/>
                  </a:ext>
                </a:extLst>
              </p:cNvPr>
              <p:cNvSpPr/>
              <p:nvPr/>
            </p:nvSpPr>
            <p:spPr>
              <a:xfrm>
                <a:off x="-5116685" y="446918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A6CE574E-8A11-0B30-C03F-D711E7566B71}"/>
                  </a:ext>
                </a:extLst>
              </p:cNvPr>
              <p:cNvSpPr/>
              <p:nvPr/>
            </p:nvSpPr>
            <p:spPr>
              <a:xfrm>
                <a:off x="-5116685" y="4523164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F8B4FDCB-D649-E05E-E267-E86C6C9082FF}"/>
                  </a:ext>
                </a:extLst>
              </p:cNvPr>
              <p:cNvSpPr/>
              <p:nvPr/>
            </p:nvSpPr>
            <p:spPr>
              <a:xfrm>
                <a:off x="-5116685" y="4577225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6" name="Freeform: Shape 655">
                <a:extLst>
                  <a:ext uri="{FF2B5EF4-FFF2-40B4-BE49-F238E27FC236}">
                    <a16:creationId xmlns:a16="http://schemas.microsoft.com/office/drawing/2014/main" id="{484E0D59-7267-4A58-00C2-AC59666152F9}"/>
                  </a:ext>
                </a:extLst>
              </p:cNvPr>
              <p:cNvSpPr/>
              <p:nvPr/>
            </p:nvSpPr>
            <p:spPr>
              <a:xfrm>
                <a:off x="-5116685" y="463120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7" name="Freeform: Shape 656">
                <a:extLst>
                  <a:ext uri="{FF2B5EF4-FFF2-40B4-BE49-F238E27FC236}">
                    <a16:creationId xmlns:a16="http://schemas.microsoft.com/office/drawing/2014/main" id="{50A552AA-CD8F-719F-C36D-038D09697366}"/>
                  </a:ext>
                </a:extLst>
              </p:cNvPr>
              <p:cNvSpPr/>
              <p:nvPr/>
            </p:nvSpPr>
            <p:spPr>
              <a:xfrm>
                <a:off x="-5116685" y="4685186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8" name="Freeform: Shape 657">
                <a:extLst>
                  <a:ext uri="{FF2B5EF4-FFF2-40B4-BE49-F238E27FC236}">
                    <a16:creationId xmlns:a16="http://schemas.microsoft.com/office/drawing/2014/main" id="{903F75DB-B2B9-9C25-27A5-C53A9C732173}"/>
                  </a:ext>
                </a:extLst>
              </p:cNvPr>
              <p:cNvSpPr/>
              <p:nvPr/>
            </p:nvSpPr>
            <p:spPr>
              <a:xfrm>
                <a:off x="-5116685" y="473924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9" name="Freeform: Shape 658">
                <a:extLst>
                  <a:ext uri="{FF2B5EF4-FFF2-40B4-BE49-F238E27FC236}">
                    <a16:creationId xmlns:a16="http://schemas.microsoft.com/office/drawing/2014/main" id="{EA9988A3-B269-1551-A848-0EE5016B0243}"/>
                  </a:ext>
                </a:extLst>
              </p:cNvPr>
              <p:cNvSpPr/>
              <p:nvPr/>
            </p:nvSpPr>
            <p:spPr>
              <a:xfrm>
                <a:off x="-5116685" y="479322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0" name="Freeform: Shape 659">
                <a:extLst>
                  <a:ext uri="{FF2B5EF4-FFF2-40B4-BE49-F238E27FC236}">
                    <a16:creationId xmlns:a16="http://schemas.microsoft.com/office/drawing/2014/main" id="{4311D4FB-D460-9A45-B677-518A98CBACD2}"/>
                  </a:ext>
                </a:extLst>
              </p:cNvPr>
              <p:cNvSpPr/>
              <p:nvPr/>
            </p:nvSpPr>
            <p:spPr>
              <a:xfrm>
                <a:off x="-5116685" y="484720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1" name="Freeform: Shape 660">
                <a:extLst>
                  <a:ext uri="{FF2B5EF4-FFF2-40B4-BE49-F238E27FC236}">
                    <a16:creationId xmlns:a16="http://schemas.microsoft.com/office/drawing/2014/main" id="{41D592EB-3445-1BA4-6638-19DBC15AABA6}"/>
                  </a:ext>
                </a:extLst>
              </p:cNvPr>
              <p:cNvSpPr/>
              <p:nvPr/>
            </p:nvSpPr>
            <p:spPr>
              <a:xfrm>
                <a:off x="-5116685" y="490118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2" name="Freeform: Shape 661">
                <a:extLst>
                  <a:ext uri="{FF2B5EF4-FFF2-40B4-BE49-F238E27FC236}">
                    <a16:creationId xmlns:a16="http://schemas.microsoft.com/office/drawing/2014/main" id="{8D583B73-6E0F-278B-5459-A459C420911B}"/>
                  </a:ext>
                </a:extLst>
              </p:cNvPr>
              <p:cNvSpPr/>
              <p:nvPr/>
            </p:nvSpPr>
            <p:spPr>
              <a:xfrm>
                <a:off x="-5116685" y="4955249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3" name="Freeform: Shape 662">
                <a:extLst>
                  <a:ext uri="{FF2B5EF4-FFF2-40B4-BE49-F238E27FC236}">
                    <a16:creationId xmlns:a16="http://schemas.microsoft.com/office/drawing/2014/main" id="{1CFCAC4B-FE6B-610F-E76E-12E9FDD6E8D9}"/>
                  </a:ext>
                </a:extLst>
              </p:cNvPr>
              <p:cNvSpPr/>
              <p:nvPr/>
            </p:nvSpPr>
            <p:spPr>
              <a:xfrm>
                <a:off x="-4871042" y="4361143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5" name="Freeform: Shape 664">
                <a:extLst>
                  <a:ext uri="{FF2B5EF4-FFF2-40B4-BE49-F238E27FC236}">
                    <a16:creationId xmlns:a16="http://schemas.microsoft.com/office/drawing/2014/main" id="{AB4294A7-2F0B-57AD-279A-B42375151788}"/>
                  </a:ext>
                </a:extLst>
              </p:cNvPr>
              <p:cNvSpPr/>
              <p:nvPr/>
            </p:nvSpPr>
            <p:spPr>
              <a:xfrm>
                <a:off x="-5116685" y="4319292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6" name="Freeform: Shape 665">
                <a:extLst>
                  <a:ext uri="{FF2B5EF4-FFF2-40B4-BE49-F238E27FC236}">
                    <a16:creationId xmlns:a16="http://schemas.microsoft.com/office/drawing/2014/main" id="{E2792763-5076-37FC-EAEB-ED9EF455806D}"/>
                  </a:ext>
                </a:extLst>
              </p:cNvPr>
              <p:cNvSpPr/>
              <p:nvPr/>
            </p:nvSpPr>
            <p:spPr>
              <a:xfrm>
                <a:off x="-5116685" y="4361143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5" name="Group 734">
              <a:extLst>
                <a:ext uri="{FF2B5EF4-FFF2-40B4-BE49-F238E27FC236}">
                  <a16:creationId xmlns:a16="http://schemas.microsoft.com/office/drawing/2014/main" id="{18297139-0210-D125-FA8E-ADD4ED2EFA26}"/>
                </a:ext>
              </a:extLst>
            </p:cNvPr>
            <p:cNvGrpSpPr/>
            <p:nvPr/>
          </p:nvGrpSpPr>
          <p:grpSpPr>
            <a:xfrm>
              <a:off x="-4137889" y="4116464"/>
              <a:ext cx="324043" cy="731948"/>
              <a:chOff x="-4137889" y="4116464"/>
              <a:chExt cx="324043" cy="731948"/>
            </a:xfrm>
          </p:grpSpPr>
          <p:sp>
            <p:nvSpPr>
              <p:cNvPr id="687" name="Freeform: Shape 686">
                <a:extLst>
                  <a:ext uri="{FF2B5EF4-FFF2-40B4-BE49-F238E27FC236}">
                    <a16:creationId xmlns:a16="http://schemas.microsoft.com/office/drawing/2014/main" id="{7BF59BCB-8E3A-C481-CD9A-42EF0FB6041D}"/>
                  </a:ext>
                </a:extLst>
              </p:cNvPr>
              <p:cNvSpPr/>
              <p:nvPr/>
            </p:nvSpPr>
            <p:spPr>
              <a:xfrm>
                <a:off x="-4137889" y="4761819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8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8" name="Freeform: Shape 687">
                <a:extLst>
                  <a:ext uri="{FF2B5EF4-FFF2-40B4-BE49-F238E27FC236}">
                    <a16:creationId xmlns:a16="http://schemas.microsoft.com/office/drawing/2014/main" id="{907E71C8-ADD8-4B37-F9F4-0EDA405CD54E}"/>
                  </a:ext>
                </a:extLst>
              </p:cNvPr>
              <p:cNvSpPr/>
              <p:nvPr/>
            </p:nvSpPr>
            <p:spPr>
              <a:xfrm>
                <a:off x="-4137889" y="4158315"/>
                <a:ext cx="324043" cy="645355"/>
              </a:xfrm>
              <a:custGeom>
                <a:avLst/>
                <a:gdLst>
                  <a:gd name="connsiteX0" fmla="*/ 0 w 324043"/>
                  <a:gd name="connsiteY0" fmla="*/ 0 h 645355"/>
                  <a:gd name="connsiteX1" fmla="*/ 324043 w 324043"/>
                  <a:gd name="connsiteY1" fmla="*/ 0 h 645355"/>
                  <a:gd name="connsiteX2" fmla="*/ 324043 w 324043"/>
                  <a:gd name="connsiteY2" fmla="*/ 645355 h 645355"/>
                  <a:gd name="connsiteX3" fmla="*/ 0 w 324043"/>
                  <a:gd name="connsiteY3" fmla="*/ 645355 h 645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4043" h="645355">
                    <a:moveTo>
                      <a:pt x="0" y="0"/>
                    </a:moveTo>
                    <a:lnTo>
                      <a:pt x="324043" y="0"/>
                    </a:lnTo>
                    <a:lnTo>
                      <a:pt x="324043" y="645355"/>
                    </a:lnTo>
                    <a:lnTo>
                      <a:pt x="0" y="645355"/>
                    </a:ln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9" name="Freeform: Shape 688">
                <a:extLst>
                  <a:ext uri="{FF2B5EF4-FFF2-40B4-BE49-F238E27FC236}">
                    <a16:creationId xmlns:a16="http://schemas.microsoft.com/office/drawing/2014/main" id="{05DE3325-DE2B-E63F-CA71-0AF6BD5235AE}"/>
                  </a:ext>
                </a:extLst>
              </p:cNvPr>
              <p:cNvSpPr/>
              <p:nvPr/>
            </p:nvSpPr>
            <p:spPr>
              <a:xfrm>
                <a:off x="-4137889" y="421237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0" name="Freeform: Shape 689">
                <a:extLst>
                  <a:ext uri="{FF2B5EF4-FFF2-40B4-BE49-F238E27FC236}">
                    <a16:creationId xmlns:a16="http://schemas.microsoft.com/office/drawing/2014/main" id="{93B5629F-4AC2-CA86-D99C-68CE0B66AA18}"/>
                  </a:ext>
                </a:extLst>
              </p:cNvPr>
              <p:cNvSpPr/>
              <p:nvPr/>
            </p:nvSpPr>
            <p:spPr>
              <a:xfrm>
                <a:off x="-4137889" y="426635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1" name="Freeform: Shape 690">
                <a:extLst>
                  <a:ext uri="{FF2B5EF4-FFF2-40B4-BE49-F238E27FC236}">
                    <a16:creationId xmlns:a16="http://schemas.microsoft.com/office/drawing/2014/main" id="{EC5DD424-2AA6-35E7-E26D-A4D10A986DBA}"/>
                  </a:ext>
                </a:extLst>
              </p:cNvPr>
              <p:cNvSpPr/>
              <p:nvPr/>
            </p:nvSpPr>
            <p:spPr>
              <a:xfrm>
                <a:off x="-4137889" y="4320336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2" name="Freeform: Shape 691">
                <a:extLst>
                  <a:ext uri="{FF2B5EF4-FFF2-40B4-BE49-F238E27FC236}">
                    <a16:creationId xmlns:a16="http://schemas.microsoft.com/office/drawing/2014/main" id="{4BF118C7-51CF-296A-28B3-E37BC83A8C83}"/>
                  </a:ext>
                </a:extLst>
              </p:cNvPr>
              <p:cNvSpPr/>
              <p:nvPr/>
            </p:nvSpPr>
            <p:spPr>
              <a:xfrm>
                <a:off x="-4137889" y="4374397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3" name="Freeform: Shape 692">
                <a:extLst>
                  <a:ext uri="{FF2B5EF4-FFF2-40B4-BE49-F238E27FC236}">
                    <a16:creationId xmlns:a16="http://schemas.microsoft.com/office/drawing/2014/main" id="{C6E5BF58-7E9E-CFD3-5ABD-0120FA25F115}"/>
                  </a:ext>
                </a:extLst>
              </p:cNvPr>
              <p:cNvSpPr/>
              <p:nvPr/>
            </p:nvSpPr>
            <p:spPr>
              <a:xfrm>
                <a:off x="-4137889" y="4428377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4" name="Freeform: Shape 693">
                <a:extLst>
                  <a:ext uri="{FF2B5EF4-FFF2-40B4-BE49-F238E27FC236}">
                    <a16:creationId xmlns:a16="http://schemas.microsoft.com/office/drawing/2014/main" id="{DB736C27-FF05-C5AD-9C44-23450A5D286F}"/>
                  </a:ext>
                </a:extLst>
              </p:cNvPr>
              <p:cNvSpPr/>
              <p:nvPr/>
            </p:nvSpPr>
            <p:spPr>
              <a:xfrm>
                <a:off x="-4137889" y="4482358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5" name="Freeform: Shape 694">
                <a:extLst>
                  <a:ext uri="{FF2B5EF4-FFF2-40B4-BE49-F238E27FC236}">
                    <a16:creationId xmlns:a16="http://schemas.microsoft.com/office/drawing/2014/main" id="{33C02D37-9217-C5E3-9907-A0D2B9121D1B}"/>
                  </a:ext>
                </a:extLst>
              </p:cNvPr>
              <p:cNvSpPr/>
              <p:nvPr/>
            </p:nvSpPr>
            <p:spPr>
              <a:xfrm>
                <a:off x="-4137889" y="4536338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6" name="Freeform: Shape 695">
                <a:extLst>
                  <a:ext uri="{FF2B5EF4-FFF2-40B4-BE49-F238E27FC236}">
                    <a16:creationId xmlns:a16="http://schemas.microsoft.com/office/drawing/2014/main" id="{35B55FCC-0AA8-D9BF-4A04-90DB9FCA65D7}"/>
                  </a:ext>
                </a:extLst>
              </p:cNvPr>
              <p:cNvSpPr/>
              <p:nvPr/>
            </p:nvSpPr>
            <p:spPr>
              <a:xfrm>
                <a:off x="-4137889" y="459039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7" name="Freeform: Shape 696">
                <a:extLst>
                  <a:ext uri="{FF2B5EF4-FFF2-40B4-BE49-F238E27FC236}">
                    <a16:creationId xmlns:a16="http://schemas.microsoft.com/office/drawing/2014/main" id="{C045800C-268B-8E81-758A-B7F978046A05}"/>
                  </a:ext>
                </a:extLst>
              </p:cNvPr>
              <p:cNvSpPr/>
              <p:nvPr/>
            </p:nvSpPr>
            <p:spPr>
              <a:xfrm>
                <a:off x="-4137889" y="4644379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8" name="Freeform: Shape 697">
                <a:extLst>
                  <a:ext uri="{FF2B5EF4-FFF2-40B4-BE49-F238E27FC236}">
                    <a16:creationId xmlns:a16="http://schemas.microsoft.com/office/drawing/2014/main" id="{A4A500DD-96B5-729C-A44C-790E5E805D8E}"/>
                  </a:ext>
                </a:extLst>
              </p:cNvPr>
              <p:cNvSpPr/>
              <p:nvPr/>
            </p:nvSpPr>
            <p:spPr>
              <a:xfrm>
                <a:off x="-4137889" y="4698360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9" name="Freeform: Shape 698">
                <a:extLst>
                  <a:ext uri="{FF2B5EF4-FFF2-40B4-BE49-F238E27FC236}">
                    <a16:creationId xmlns:a16="http://schemas.microsoft.com/office/drawing/2014/main" id="{22DA7447-B266-99B7-96FB-8CF69D3E6F42}"/>
                  </a:ext>
                </a:extLst>
              </p:cNvPr>
              <p:cNvSpPr/>
              <p:nvPr/>
            </p:nvSpPr>
            <p:spPr>
              <a:xfrm>
                <a:off x="-4137889" y="4752421"/>
                <a:ext cx="324043" cy="41850"/>
              </a:xfrm>
              <a:custGeom>
                <a:avLst/>
                <a:gdLst>
                  <a:gd name="connsiteX0" fmla="*/ 324043 w 324043"/>
                  <a:gd name="connsiteY0" fmla="*/ 0 h 41850"/>
                  <a:gd name="connsiteX1" fmla="*/ 162022 w 324043"/>
                  <a:gd name="connsiteY1" fmla="*/ 41851 h 41850"/>
                  <a:gd name="connsiteX2" fmla="*/ 0 w 324043"/>
                  <a:gd name="connsiteY2" fmla="*/ 0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0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0" name="Freeform: Shape 699">
                <a:extLst>
                  <a:ext uri="{FF2B5EF4-FFF2-40B4-BE49-F238E27FC236}">
                    <a16:creationId xmlns:a16="http://schemas.microsoft.com/office/drawing/2014/main" id="{CE95BFCA-E50D-47D6-9285-37BBF279710B}"/>
                  </a:ext>
                </a:extLst>
              </p:cNvPr>
              <p:cNvSpPr/>
              <p:nvPr/>
            </p:nvSpPr>
            <p:spPr>
              <a:xfrm>
                <a:off x="-3892246" y="4158315"/>
                <a:ext cx="78400" cy="690097"/>
              </a:xfrm>
              <a:custGeom>
                <a:avLst/>
                <a:gdLst>
                  <a:gd name="connsiteX0" fmla="*/ 0 w 78400"/>
                  <a:gd name="connsiteY0" fmla="*/ 0 h 690097"/>
                  <a:gd name="connsiteX1" fmla="*/ 78400 w 78400"/>
                  <a:gd name="connsiteY1" fmla="*/ 0 h 690097"/>
                  <a:gd name="connsiteX2" fmla="*/ 78400 w 78400"/>
                  <a:gd name="connsiteY2" fmla="*/ 690098 h 690097"/>
                  <a:gd name="connsiteX3" fmla="*/ 0 w 78400"/>
                  <a:gd name="connsiteY3" fmla="*/ 690098 h 690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400" h="690097">
                    <a:moveTo>
                      <a:pt x="0" y="0"/>
                    </a:moveTo>
                    <a:lnTo>
                      <a:pt x="78400" y="0"/>
                    </a:lnTo>
                    <a:lnTo>
                      <a:pt x="78400" y="690098"/>
                    </a:lnTo>
                    <a:lnTo>
                      <a:pt x="0" y="690098"/>
                    </a:lnTo>
                    <a:close/>
                  </a:path>
                </a:pathLst>
              </a:custGeom>
              <a:solidFill>
                <a:srgbClr val="FADE78">
                  <a:alpha val="70000"/>
                </a:srgbClr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2" name="Freeform: Shape 701">
                <a:extLst>
                  <a:ext uri="{FF2B5EF4-FFF2-40B4-BE49-F238E27FC236}">
                    <a16:creationId xmlns:a16="http://schemas.microsoft.com/office/drawing/2014/main" id="{9005AE99-226E-F07D-6FA5-1FA7A6124397}"/>
                  </a:ext>
                </a:extLst>
              </p:cNvPr>
              <p:cNvSpPr/>
              <p:nvPr/>
            </p:nvSpPr>
            <p:spPr>
              <a:xfrm>
                <a:off x="-4137889" y="4116464"/>
                <a:ext cx="324043" cy="83701"/>
              </a:xfrm>
              <a:custGeom>
                <a:avLst/>
                <a:gdLst>
                  <a:gd name="connsiteX0" fmla="*/ 324043 w 324043"/>
                  <a:gd name="connsiteY0" fmla="*/ 41851 h 83701"/>
                  <a:gd name="connsiteX1" fmla="*/ 162022 w 324043"/>
                  <a:gd name="connsiteY1" fmla="*/ 83702 h 83701"/>
                  <a:gd name="connsiteX2" fmla="*/ 0 w 324043"/>
                  <a:gd name="connsiteY2" fmla="*/ 41851 h 83701"/>
                  <a:gd name="connsiteX3" fmla="*/ 162022 w 324043"/>
                  <a:gd name="connsiteY3" fmla="*/ 0 h 83701"/>
                  <a:gd name="connsiteX4" fmla="*/ 324043 w 324043"/>
                  <a:gd name="connsiteY4" fmla="*/ 41851 h 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043" h="83701">
                    <a:moveTo>
                      <a:pt x="324043" y="41851"/>
                    </a:moveTo>
                    <a:cubicBezTo>
                      <a:pt x="324043" y="64964"/>
                      <a:pt x="251504" y="83702"/>
                      <a:pt x="162022" y="83702"/>
                    </a:cubicBezTo>
                    <a:cubicBezTo>
                      <a:pt x="72540" y="83702"/>
                      <a:pt x="0" y="64965"/>
                      <a:pt x="0" y="41851"/>
                    </a:cubicBezTo>
                    <a:cubicBezTo>
                      <a:pt x="0" y="18737"/>
                      <a:pt x="72540" y="0"/>
                      <a:pt x="162022" y="0"/>
                    </a:cubicBezTo>
                    <a:cubicBezTo>
                      <a:pt x="251504" y="0"/>
                      <a:pt x="324043" y="18737"/>
                      <a:pt x="324043" y="41851"/>
                    </a:cubicBezTo>
                    <a:close/>
                  </a:path>
                </a:pathLst>
              </a:custGeom>
              <a:solidFill>
                <a:srgbClr val="FAAF3B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3" name="Freeform: Shape 702">
                <a:extLst>
                  <a:ext uri="{FF2B5EF4-FFF2-40B4-BE49-F238E27FC236}">
                    <a16:creationId xmlns:a16="http://schemas.microsoft.com/office/drawing/2014/main" id="{D77B08FA-9F87-9DF8-9AC5-EF810464687B}"/>
                  </a:ext>
                </a:extLst>
              </p:cNvPr>
              <p:cNvSpPr/>
              <p:nvPr/>
            </p:nvSpPr>
            <p:spPr>
              <a:xfrm>
                <a:off x="-4137889" y="4158315"/>
                <a:ext cx="324043" cy="41851"/>
              </a:xfrm>
              <a:custGeom>
                <a:avLst/>
                <a:gdLst>
                  <a:gd name="connsiteX0" fmla="*/ 324043 w 324043"/>
                  <a:gd name="connsiteY0" fmla="*/ 0 h 41851"/>
                  <a:gd name="connsiteX1" fmla="*/ 162022 w 324043"/>
                  <a:gd name="connsiteY1" fmla="*/ 41851 h 41851"/>
                  <a:gd name="connsiteX2" fmla="*/ 0 w 324043"/>
                  <a:gd name="connsiteY2" fmla="*/ 0 h 4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4043" h="41851">
                    <a:moveTo>
                      <a:pt x="324043" y="0"/>
                    </a:moveTo>
                    <a:cubicBezTo>
                      <a:pt x="324043" y="23135"/>
                      <a:pt x="251507" y="41851"/>
                      <a:pt x="162022" y="41851"/>
                    </a:cubicBezTo>
                    <a:cubicBezTo>
                      <a:pt x="72536" y="41851"/>
                      <a:pt x="0" y="23135"/>
                      <a:pt x="0" y="0"/>
                    </a:cubicBezTo>
                  </a:path>
                </a:pathLst>
              </a:custGeom>
              <a:noFill/>
              <a:ln w="16062" cap="flat">
                <a:solidFill>
                  <a:srgbClr val="FADE7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52" name="Group 751">
            <a:extLst>
              <a:ext uri="{FF2B5EF4-FFF2-40B4-BE49-F238E27FC236}">
                <a16:creationId xmlns:a16="http://schemas.microsoft.com/office/drawing/2014/main" id="{13A8A210-5A56-C57D-A1AB-0336591FB62E}"/>
              </a:ext>
            </a:extLst>
          </p:cNvPr>
          <p:cNvGrpSpPr/>
          <p:nvPr/>
        </p:nvGrpSpPr>
        <p:grpSpPr>
          <a:xfrm>
            <a:off x="1709822" y="0"/>
            <a:ext cx="959765" cy="1431604"/>
            <a:chOff x="1709822" y="0"/>
            <a:chExt cx="959765" cy="1431604"/>
          </a:xfrm>
        </p:grpSpPr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D86A6EEF-AC97-ECD3-F62A-F60665670E80}"/>
                </a:ext>
              </a:extLst>
            </p:cNvPr>
            <p:cNvSpPr/>
            <p:nvPr/>
          </p:nvSpPr>
          <p:spPr>
            <a:xfrm>
              <a:off x="1814248" y="296588"/>
              <a:ext cx="480361" cy="547917"/>
            </a:xfrm>
            <a:custGeom>
              <a:avLst/>
              <a:gdLst>
                <a:gd name="connsiteX0" fmla="*/ 0 w 480361"/>
                <a:gd name="connsiteY0" fmla="*/ 0 h 547917"/>
                <a:gd name="connsiteX1" fmla="*/ 480361 w 480361"/>
                <a:gd name="connsiteY1" fmla="*/ 0 h 547917"/>
                <a:gd name="connsiteX2" fmla="*/ 480361 w 480361"/>
                <a:gd name="connsiteY2" fmla="*/ 547917 h 547917"/>
                <a:gd name="connsiteX3" fmla="*/ 0 w 480361"/>
                <a:gd name="connsiteY3" fmla="*/ 547917 h 547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361" h="547917">
                  <a:moveTo>
                    <a:pt x="0" y="0"/>
                  </a:moveTo>
                  <a:lnTo>
                    <a:pt x="480361" y="0"/>
                  </a:lnTo>
                  <a:lnTo>
                    <a:pt x="480361" y="547917"/>
                  </a:lnTo>
                  <a:lnTo>
                    <a:pt x="0" y="547917"/>
                  </a:lnTo>
                  <a:close/>
                </a:path>
              </a:pathLst>
            </a:custGeom>
            <a:solidFill>
              <a:srgbClr val="F5B79F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113AD711-B29E-93E7-0E4F-D4021F1190D8}"/>
                </a:ext>
              </a:extLst>
            </p:cNvPr>
            <p:cNvSpPr/>
            <p:nvPr/>
          </p:nvSpPr>
          <p:spPr>
            <a:xfrm>
              <a:off x="1768220" y="176015"/>
              <a:ext cx="572417" cy="340189"/>
            </a:xfrm>
            <a:custGeom>
              <a:avLst/>
              <a:gdLst>
                <a:gd name="connsiteX0" fmla="*/ 558842 w 572417"/>
                <a:gd name="connsiteY0" fmla="*/ 340189 h 340189"/>
                <a:gd name="connsiteX1" fmla="*/ 13575 w 572417"/>
                <a:gd name="connsiteY1" fmla="*/ 340189 h 340189"/>
                <a:gd name="connsiteX2" fmla="*/ 0 w 572417"/>
                <a:gd name="connsiteY2" fmla="*/ 326614 h 340189"/>
                <a:gd name="connsiteX3" fmla="*/ 0 w 572417"/>
                <a:gd name="connsiteY3" fmla="*/ 0 h 340189"/>
                <a:gd name="connsiteX4" fmla="*/ 572417 w 572417"/>
                <a:gd name="connsiteY4" fmla="*/ 0 h 340189"/>
                <a:gd name="connsiteX5" fmla="*/ 572417 w 572417"/>
                <a:gd name="connsiteY5" fmla="*/ 326614 h 340189"/>
                <a:gd name="connsiteX6" fmla="*/ 558842 w 572417"/>
                <a:gd name="connsiteY6" fmla="*/ 340189 h 34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2417" h="340189">
                  <a:moveTo>
                    <a:pt x="558842" y="340189"/>
                  </a:moveTo>
                  <a:lnTo>
                    <a:pt x="13575" y="340189"/>
                  </a:lnTo>
                  <a:cubicBezTo>
                    <a:pt x="6105" y="340189"/>
                    <a:pt x="0" y="334084"/>
                    <a:pt x="0" y="326614"/>
                  </a:cubicBezTo>
                  <a:lnTo>
                    <a:pt x="0" y="0"/>
                  </a:lnTo>
                  <a:lnTo>
                    <a:pt x="572417" y="0"/>
                  </a:lnTo>
                  <a:lnTo>
                    <a:pt x="572417" y="326614"/>
                  </a:lnTo>
                  <a:cubicBezTo>
                    <a:pt x="572417" y="334164"/>
                    <a:pt x="566393" y="340189"/>
                    <a:pt x="558842" y="340189"/>
                  </a:cubicBezTo>
                  <a:close/>
                </a:path>
              </a:pathLst>
            </a:custGeom>
            <a:solidFill>
              <a:srgbClr val="FFFFFF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1C50F960-82CF-BD29-8D75-D7876B8CCEE8}"/>
                </a:ext>
              </a:extLst>
            </p:cNvPr>
            <p:cNvSpPr/>
            <p:nvPr/>
          </p:nvSpPr>
          <p:spPr>
            <a:xfrm>
              <a:off x="1723397" y="0"/>
              <a:ext cx="662143" cy="378442"/>
            </a:xfrm>
            <a:custGeom>
              <a:avLst/>
              <a:gdLst>
                <a:gd name="connsiteX0" fmla="*/ 662144 w 662143"/>
                <a:gd name="connsiteY0" fmla="*/ 0 h 1194075"/>
                <a:gd name="connsiteX1" fmla="*/ 0 w 662143"/>
                <a:gd name="connsiteY1" fmla="*/ 0 h 1194075"/>
                <a:gd name="connsiteX2" fmla="*/ 0 w 662143"/>
                <a:gd name="connsiteY2" fmla="*/ 1176323 h 1194075"/>
                <a:gd name="connsiteX3" fmla="*/ 17752 w 662143"/>
                <a:gd name="connsiteY3" fmla="*/ 1194076 h 1194075"/>
                <a:gd name="connsiteX4" fmla="*/ 644391 w 662143"/>
                <a:gd name="connsiteY4" fmla="*/ 1194076 h 1194075"/>
                <a:gd name="connsiteX5" fmla="*/ 662144 w 662143"/>
                <a:gd name="connsiteY5" fmla="*/ 1176323 h 1194075"/>
                <a:gd name="connsiteX6" fmla="*/ 662144 w 662143"/>
                <a:gd name="connsiteY6" fmla="*/ 0 h 119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2143" h="1194075">
                  <a:moveTo>
                    <a:pt x="662144" y="0"/>
                  </a:moveTo>
                  <a:lnTo>
                    <a:pt x="0" y="0"/>
                  </a:lnTo>
                  <a:lnTo>
                    <a:pt x="0" y="1176323"/>
                  </a:lnTo>
                  <a:cubicBezTo>
                    <a:pt x="0" y="1186123"/>
                    <a:pt x="7952" y="1194076"/>
                    <a:pt x="17752" y="1194076"/>
                  </a:cubicBezTo>
                  <a:lnTo>
                    <a:pt x="644391" y="1194076"/>
                  </a:lnTo>
                  <a:cubicBezTo>
                    <a:pt x="654191" y="1194076"/>
                    <a:pt x="662144" y="1186123"/>
                    <a:pt x="662144" y="1176323"/>
                  </a:cubicBezTo>
                  <a:lnTo>
                    <a:pt x="662144" y="0"/>
                  </a:lnTo>
                  <a:close/>
                </a:path>
              </a:pathLst>
            </a:custGeom>
            <a:solidFill>
              <a:srgbClr val="FFC000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7A14C177-5314-FE88-A9A1-9834FEFEE02A}"/>
                </a:ext>
              </a:extLst>
            </p:cNvPr>
            <p:cNvSpPr/>
            <p:nvPr/>
          </p:nvSpPr>
          <p:spPr>
            <a:xfrm>
              <a:off x="1967353" y="625933"/>
              <a:ext cx="647363" cy="176721"/>
            </a:xfrm>
            <a:custGeom>
              <a:avLst/>
              <a:gdLst>
                <a:gd name="connsiteX0" fmla="*/ 559002 w 647363"/>
                <a:gd name="connsiteY0" fmla="*/ 176722 h 176721"/>
                <a:gd name="connsiteX1" fmla="*/ 88361 w 647363"/>
                <a:gd name="connsiteY1" fmla="*/ 176722 h 176721"/>
                <a:gd name="connsiteX2" fmla="*/ 0 w 647363"/>
                <a:gd name="connsiteY2" fmla="*/ 88361 h 176721"/>
                <a:gd name="connsiteX3" fmla="*/ 88361 w 647363"/>
                <a:gd name="connsiteY3" fmla="*/ 0 h 176721"/>
                <a:gd name="connsiteX4" fmla="*/ 559002 w 647363"/>
                <a:gd name="connsiteY4" fmla="*/ 0 h 176721"/>
                <a:gd name="connsiteX5" fmla="*/ 647363 w 647363"/>
                <a:gd name="connsiteY5" fmla="*/ 88361 h 176721"/>
                <a:gd name="connsiteX6" fmla="*/ 559002 w 647363"/>
                <a:gd name="connsiteY6" fmla="*/ 176722 h 17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363" h="176721">
                  <a:moveTo>
                    <a:pt x="559002" y="176722"/>
                  </a:moveTo>
                  <a:lnTo>
                    <a:pt x="88361" y="176722"/>
                  </a:lnTo>
                  <a:cubicBezTo>
                    <a:pt x="39521" y="176722"/>
                    <a:pt x="0" y="137200"/>
                    <a:pt x="0" y="88361"/>
                  </a:cubicBezTo>
                  <a:cubicBezTo>
                    <a:pt x="0" y="39521"/>
                    <a:pt x="39521" y="0"/>
                    <a:pt x="88361" y="0"/>
                  </a:cubicBezTo>
                  <a:lnTo>
                    <a:pt x="559002" y="0"/>
                  </a:lnTo>
                  <a:cubicBezTo>
                    <a:pt x="607842" y="0"/>
                    <a:pt x="647363" y="39521"/>
                    <a:pt x="647363" y="88361"/>
                  </a:cubicBezTo>
                  <a:cubicBezTo>
                    <a:pt x="647363" y="137120"/>
                    <a:pt x="607842" y="176722"/>
                    <a:pt x="559002" y="176722"/>
                  </a:cubicBezTo>
                  <a:close/>
                </a:path>
              </a:pathLst>
            </a:custGeom>
            <a:solidFill>
              <a:srgbClr val="F5B79F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DEBE5919-BBB4-6858-63AC-3BF05418BE48}"/>
                </a:ext>
              </a:extLst>
            </p:cNvPr>
            <p:cNvSpPr/>
            <p:nvPr/>
          </p:nvSpPr>
          <p:spPr>
            <a:xfrm>
              <a:off x="2101495" y="701595"/>
              <a:ext cx="568092" cy="438195"/>
            </a:xfrm>
            <a:custGeom>
              <a:avLst/>
              <a:gdLst>
                <a:gd name="connsiteX0" fmla="*/ 479645 w 568092"/>
                <a:gd name="connsiteY0" fmla="*/ 438196 h 438195"/>
                <a:gd name="connsiteX1" fmla="*/ 430645 w 568092"/>
                <a:gd name="connsiteY1" fmla="*/ 423335 h 438195"/>
                <a:gd name="connsiteX2" fmla="*/ 39287 w 568092"/>
                <a:gd name="connsiteY2" fmla="*/ 161867 h 438195"/>
                <a:gd name="connsiteX3" fmla="*/ 14867 w 568092"/>
                <a:gd name="connsiteY3" fmla="*/ 39287 h 438195"/>
                <a:gd name="connsiteX4" fmla="*/ 137448 w 568092"/>
                <a:gd name="connsiteY4" fmla="*/ 14867 h 438195"/>
                <a:gd name="connsiteX5" fmla="*/ 528805 w 568092"/>
                <a:gd name="connsiteY5" fmla="*/ 276335 h 438195"/>
                <a:gd name="connsiteX6" fmla="*/ 553225 w 568092"/>
                <a:gd name="connsiteY6" fmla="*/ 398915 h 438195"/>
                <a:gd name="connsiteX7" fmla="*/ 479645 w 568092"/>
                <a:gd name="connsiteY7" fmla="*/ 438196 h 438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8092" h="438195">
                  <a:moveTo>
                    <a:pt x="479645" y="438196"/>
                  </a:moveTo>
                  <a:cubicBezTo>
                    <a:pt x="462776" y="438196"/>
                    <a:pt x="445746" y="433376"/>
                    <a:pt x="430645" y="423335"/>
                  </a:cubicBezTo>
                  <a:lnTo>
                    <a:pt x="39287" y="161867"/>
                  </a:lnTo>
                  <a:cubicBezTo>
                    <a:pt x="-1279" y="134716"/>
                    <a:pt x="-12204" y="79852"/>
                    <a:pt x="14867" y="39287"/>
                  </a:cubicBezTo>
                  <a:cubicBezTo>
                    <a:pt x="42018" y="-1279"/>
                    <a:pt x="96882" y="-12203"/>
                    <a:pt x="137448" y="14867"/>
                  </a:cubicBezTo>
                  <a:lnTo>
                    <a:pt x="528805" y="276335"/>
                  </a:lnTo>
                  <a:cubicBezTo>
                    <a:pt x="569371" y="303486"/>
                    <a:pt x="580296" y="358350"/>
                    <a:pt x="553225" y="398915"/>
                  </a:cubicBezTo>
                  <a:cubicBezTo>
                    <a:pt x="536196" y="424459"/>
                    <a:pt x="508161" y="438196"/>
                    <a:pt x="479645" y="438196"/>
                  </a:cubicBezTo>
                  <a:close/>
                </a:path>
              </a:pathLst>
            </a:custGeom>
            <a:solidFill>
              <a:srgbClr val="F5B79F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1" name="Cylinder 750">
              <a:extLst>
                <a:ext uri="{FF2B5EF4-FFF2-40B4-BE49-F238E27FC236}">
                  <a16:creationId xmlns:a16="http://schemas.microsoft.com/office/drawing/2014/main" id="{25CF7BE2-A91E-8F1E-A2A5-C3F08B258279}"/>
                </a:ext>
              </a:extLst>
            </p:cNvPr>
            <p:cNvSpPr/>
            <p:nvPr/>
          </p:nvSpPr>
          <p:spPr>
            <a:xfrm rot="16200000">
              <a:off x="1872277" y="1166522"/>
              <a:ext cx="349192" cy="180972"/>
            </a:xfrm>
            <a:prstGeom prst="can">
              <a:avLst>
                <a:gd name="adj" fmla="val 33386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F543C5BF-8EB6-0CFA-3DF4-17A5F9B13B03}"/>
                </a:ext>
              </a:extLst>
            </p:cNvPr>
            <p:cNvSpPr/>
            <p:nvPr/>
          </p:nvSpPr>
          <p:spPr>
            <a:xfrm>
              <a:off x="1709822" y="706180"/>
              <a:ext cx="689053" cy="629530"/>
            </a:xfrm>
            <a:custGeom>
              <a:avLst/>
              <a:gdLst>
                <a:gd name="connsiteX0" fmla="*/ 508878 w 689053"/>
                <a:gd name="connsiteY0" fmla="*/ 629531 h 629530"/>
                <a:gd name="connsiteX1" fmla="*/ 441001 w 689053"/>
                <a:gd name="connsiteY1" fmla="*/ 597881 h 629530"/>
                <a:gd name="connsiteX2" fmla="*/ 452086 w 689053"/>
                <a:gd name="connsiteY2" fmla="*/ 473453 h 629530"/>
                <a:gd name="connsiteX3" fmla="*/ 512332 w 689053"/>
                <a:gd name="connsiteY3" fmla="*/ 344607 h 629530"/>
                <a:gd name="connsiteX4" fmla="*/ 344527 w 689053"/>
                <a:gd name="connsiteY4" fmla="*/ 176802 h 629530"/>
                <a:gd name="connsiteX5" fmla="*/ 176722 w 689053"/>
                <a:gd name="connsiteY5" fmla="*/ 344607 h 629530"/>
                <a:gd name="connsiteX6" fmla="*/ 232630 w 689053"/>
                <a:gd name="connsiteY6" fmla="*/ 469597 h 629530"/>
                <a:gd name="connsiteX7" fmla="*/ 239458 w 689053"/>
                <a:gd name="connsiteY7" fmla="*/ 594347 h 629530"/>
                <a:gd name="connsiteX8" fmla="*/ 114708 w 689053"/>
                <a:gd name="connsiteY8" fmla="*/ 601175 h 629530"/>
                <a:gd name="connsiteX9" fmla="*/ 0 w 689053"/>
                <a:gd name="connsiteY9" fmla="*/ 344527 h 629530"/>
                <a:gd name="connsiteX10" fmla="*/ 344527 w 689053"/>
                <a:gd name="connsiteY10" fmla="*/ 0 h 629530"/>
                <a:gd name="connsiteX11" fmla="*/ 689053 w 689053"/>
                <a:gd name="connsiteY11" fmla="*/ 344527 h 629530"/>
                <a:gd name="connsiteX12" fmla="*/ 565429 w 689053"/>
                <a:gd name="connsiteY12" fmla="*/ 608886 h 629530"/>
                <a:gd name="connsiteX13" fmla="*/ 508878 w 689053"/>
                <a:gd name="connsiteY13" fmla="*/ 629531 h 62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9053" h="629530">
                  <a:moveTo>
                    <a:pt x="508878" y="629531"/>
                  </a:moveTo>
                  <a:cubicBezTo>
                    <a:pt x="483574" y="629531"/>
                    <a:pt x="458512" y="618767"/>
                    <a:pt x="441001" y="597881"/>
                  </a:cubicBezTo>
                  <a:cubicBezTo>
                    <a:pt x="409673" y="560448"/>
                    <a:pt x="414653" y="504701"/>
                    <a:pt x="452086" y="473453"/>
                  </a:cubicBezTo>
                  <a:cubicBezTo>
                    <a:pt x="490402" y="441402"/>
                    <a:pt x="512332" y="394491"/>
                    <a:pt x="512332" y="344607"/>
                  </a:cubicBezTo>
                  <a:cubicBezTo>
                    <a:pt x="512332" y="252069"/>
                    <a:pt x="437065" y="176802"/>
                    <a:pt x="344527" y="176802"/>
                  </a:cubicBezTo>
                  <a:cubicBezTo>
                    <a:pt x="251989" y="176802"/>
                    <a:pt x="176722" y="252069"/>
                    <a:pt x="176722" y="344607"/>
                  </a:cubicBezTo>
                  <a:cubicBezTo>
                    <a:pt x="176722" y="392242"/>
                    <a:pt x="197125" y="437788"/>
                    <a:pt x="232630" y="469597"/>
                  </a:cubicBezTo>
                  <a:cubicBezTo>
                    <a:pt x="268938" y="502130"/>
                    <a:pt x="272071" y="558039"/>
                    <a:pt x="239458" y="594347"/>
                  </a:cubicBezTo>
                  <a:cubicBezTo>
                    <a:pt x="206925" y="630655"/>
                    <a:pt x="151017" y="633788"/>
                    <a:pt x="114708" y="601175"/>
                  </a:cubicBezTo>
                  <a:cubicBezTo>
                    <a:pt x="41851" y="535868"/>
                    <a:pt x="0" y="442366"/>
                    <a:pt x="0" y="344527"/>
                  </a:cubicBezTo>
                  <a:cubicBezTo>
                    <a:pt x="0" y="154551"/>
                    <a:pt x="154551" y="0"/>
                    <a:pt x="344527" y="0"/>
                  </a:cubicBezTo>
                  <a:cubicBezTo>
                    <a:pt x="534502" y="0"/>
                    <a:pt x="689053" y="154551"/>
                    <a:pt x="689053" y="344527"/>
                  </a:cubicBezTo>
                  <a:cubicBezTo>
                    <a:pt x="689053" y="446865"/>
                    <a:pt x="643989" y="543258"/>
                    <a:pt x="565429" y="608886"/>
                  </a:cubicBezTo>
                  <a:cubicBezTo>
                    <a:pt x="548961" y="622783"/>
                    <a:pt x="528879" y="629531"/>
                    <a:pt x="508878" y="629531"/>
                  </a:cubicBezTo>
                  <a:close/>
                </a:path>
              </a:pathLst>
            </a:custGeom>
            <a:solidFill>
              <a:srgbClr val="F5B79F"/>
            </a:solidFill>
            <a:ln w="80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40295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7</TotalTime>
  <Words>118</Words>
  <Application>Microsoft Office PowerPoint</Application>
  <PresentationFormat>A4 Paper (210x297 mm)</PresentationFormat>
  <Paragraphs>22</Paragraphs>
  <Slides>2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Montserrat</vt:lpstr>
      <vt:lpstr>Roboto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ya Muthukrishnan</dc:creator>
  <cp:lastModifiedBy>Ramya Muthukrishnan</cp:lastModifiedBy>
  <cp:revision>6</cp:revision>
  <dcterms:created xsi:type="dcterms:W3CDTF">2023-03-04T08:05:24Z</dcterms:created>
  <dcterms:modified xsi:type="dcterms:W3CDTF">2023-03-25T12:20:12Z</dcterms:modified>
</cp:coreProperties>
</file>